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60" r:id="rId5"/>
    <p:sldMasterId id="2147483848" r:id="rId6"/>
    <p:sldMasterId id="2147483973" r:id="rId7"/>
  </p:sldMasterIdLst>
  <p:notesMasterIdLst>
    <p:notesMasterId r:id="rId60"/>
  </p:notesMasterIdLst>
  <p:handoutMasterIdLst>
    <p:handoutMasterId r:id="rId61"/>
  </p:handoutMasterIdLst>
  <p:sldIdLst>
    <p:sldId id="937" r:id="rId8"/>
    <p:sldId id="938" r:id="rId9"/>
    <p:sldId id="948" r:id="rId10"/>
    <p:sldId id="860" r:id="rId11"/>
    <p:sldId id="876" r:id="rId12"/>
    <p:sldId id="775" r:id="rId13"/>
    <p:sldId id="911" r:id="rId14"/>
    <p:sldId id="864" r:id="rId15"/>
    <p:sldId id="865" r:id="rId16"/>
    <p:sldId id="776" r:id="rId17"/>
    <p:sldId id="901" r:id="rId18"/>
    <p:sldId id="871" r:id="rId19"/>
    <p:sldId id="872" r:id="rId20"/>
    <p:sldId id="777" r:id="rId21"/>
    <p:sldId id="902" r:id="rId22"/>
    <p:sldId id="862" r:id="rId23"/>
    <p:sldId id="863" r:id="rId24"/>
    <p:sldId id="778" r:id="rId25"/>
    <p:sldId id="903" r:id="rId26"/>
    <p:sldId id="931" r:id="rId27"/>
    <p:sldId id="932" r:id="rId28"/>
    <p:sldId id="933" r:id="rId29"/>
    <p:sldId id="780" r:id="rId30"/>
    <p:sldId id="900" r:id="rId31"/>
    <p:sldId id="866" r:id="rId32"/>
    <p:sldId id="781" r:id="rId33"/>
    <p:sldId id="796" r:id="rId34"/>
    <p:sldId id="940" r:id="rId35"/>
    <p:sldId id="783" r:id="rId36"/>
    <p:sldId id="910" r:id="rId37"/>
    <p:sldId id="782" r:id="rId38"/>
    <p:sldId id="909" r:id="rId39"/>
    <p:sldId id="925" r:id="rId40"/>
    <p:sldId id="926" r:id="rId41"/>
    <p:sldId id="927" r:id="rId42"/>
    <p:sldId id="907" r:id="rId43"/>
    <p:sldId id="908" r:id="rId44"/>
    <p:sldId id="920" r:id="rId45"/>
    <p:sldId id="820" r:id="rId46"/>
    <p:sldId id="821" r:id="rId47"/>
    <p:sldId id="822" r:id="rId48"/>
    <p:sldId id="873" r:id="rId49"/>
    <p:sldId id="874" r:id="rId50"/>
    <p:sldId id="812" r:id="rId51"/>
    <p:sldId id="934" r:id="rId52"/>
    <p:sldId id="921" r:id="rId53"/>
    <p:sldId id="824" r:id="rId54"/>
    <p:sldId id="825" r:id="rId55"/>
    <p:sldId id="917" r:id="rId56"/>
    <p:sldId id="919" r:id="rId57"/>
    <p:sldId id="789" r:id="rId58"/>
    <p:sldId id="939" r:id="rId59"/>
  </p:sldIdLst>
  <p:sldSz cx="12192000" cy="6858000"/>
  <p:notesSz cx="7315200" cy="9601200"/>
  <p:custDataLst>
    <p:tags r:id="rId6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440" userDrawn="1">
          <p15:clr>
            <a:srgbClr val="A4A3A4"/>
          </p15:clr>
        </p15:guide>
        <p15:guide id="13" orient="horz" pos="2568" userDrawn="1">
          <p15:clr>
            <a:srgbClr val="A4A3A4"/>
          </p15:clr>
        </p15:guide>
        <p15:guide id="14" orient="horz" pos="3370" userDrawn="1">
          <p15:clr>
            <a:srgbClr val="A4A3A4"/>
          </p15:clr>
        </p15:guide>
        <p15:guide id="15" orient="horz" pos="3589"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Chordia, Nikita (US - Bengaluru)" initials="CN(-B" lastIdx="2" clrIdx="1">
    <p:extLst>
      <p:ext uri="{19B8F6BF-5375-455C-9EA6-DF929625EA0E}">
        <p15:presenceInfo xmlns:p15="http://schemas.microsoft.com/office/powerpoint/2012/main" userId="S-1-5-21-238447276-1040861923-1850952788-23281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ECA0"/>
    <a:srgbClr val="32E9FF"/>
    <a:srgbClr val="FFCD00"/>
    <a:srgbClr val="A1D794"/>
    <a:srgbClr val="B797CF"/>
    <a:srgbClr val="D0D0CE"/>
    <a:srgbClr val="FFFF00"/>
    <a:srgbClr val="002060"/>
    <a:srgbClr val="7FCBD4"/>
    <a:srgbClr val="BABB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959" autoAdjust="0"/>
    <p:restoredTop sz="94030" autoAdjust="0"/>
  </p:normalViewPr>
  <p:slideViewPr>
    <p:cSldViewPr snapToGrid="0" showGuides="1">
      <p:cViewPr varScale="1">
        <p:scale>
          <a:sx n="124" d="100"/>
          <a:sy n="124" d="100"/>
        </p:scale>
        <p:origin x="840" y="480"/>
      </p:cViewPr>
      <p:guideLst>
        <p:guide/>
        <p:guide orient="horz" pos="2047"/>
        <p:guide orient="horz" pos="1440"/>
        <p:guide orient="horz" pos="2568"/>
        <p:guide orient="horz" pos="3370"/>
        <p:guide orient="horz" pos="3589"/>
        <p:guide pos="4224"/>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8/4/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8/4/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8022212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This is a Current state capability of Product Development focused on digitalization. </a:t>
            </a:r>
            <a:endParaRPr kumimoji="1" lang="ja-JP" altLang="en-US" dirty="0"/>
          </a:p>
        </p:txBody>
      </p:sp>
      <p:sp>
        <p:nvSpPr>
          <p:cNvPr id="4" name="スライド番号プレースホルダー 3"/>
          <p:cNvSpPr>
            <a:spLocks noGrp="1"/>
          </p:cNvSpPr>
          <p:nvPr>
            <p:ph type="sldNum" sz="quarter" idx="5"/>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30062535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d pink to yellow to fit color key</a:t>
            </a:r>
          </a:p>
          <a:p>
            <a:r>
              <a:rPr lang="en-US" dirty="0"/>
              <a:t>Would using straight lines for the current/desired states make it seem less “90s”?</a:t>
            </a:r>
          </a:p>
          <a:p>
            <a:r>
              <a:rPr lang="en-US" dirty="0"/>
              <a:t>Are these categories weighted to assess total maturity for this category?</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6</a:t>
            </a:fld>
            <a:endParaRPr lang="en-US" dirty="0"/>
          </a:p>
        </p:txBody>
      </p:sp>
    </p:spTree>
    <p:extLst>
      <p:ext uri="{BB962C8B-B14F-4D97-AF65-F5344CB8AC3E}">
        <p14:creationId xmlns:p14="http://schemas.microsoft.com/office/powerpoint/2010/main" val="2086820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88927F8-98A3-4E92-8EC6-80E9D7AB3A7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96071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sz="1600" b="1" kern="1200" dirty="0">
              <a:solidFill>
                <a:schemeClr val="tx1"/>
              </a:solidFill>
              <a:effectLst/>
              <a:latin typeface="Arial" panose="020B0604020202020204" pitchFamily="34" charset="0"/>
              <a:ea typeface="+mn-ea"/>
              <a:cs typeface="+mn-cs"/>
            </a:endParaRPr>
          </a:p>
        </p:txBody>
      </p:sp>
      <p:sp>
        <p:nvSpPr>
          <p:cNvPr id="4" name="スライド番号プレースホルダー 3"/>
          <p:cNvSpPr>
            <a:spLocks noGrp="1"/>
          </p:cNvSpPr>
          <p:nvPr>
            <p:ph type="sldNum" sz="quarter" idx="5"/>
          </p:nvPr>
        </p:nvSpPr>
        <p:spPr/>
        <p:txBody>
          <a:bodyPr/>
          <a:lstStyle/>
          <a:p>
            <a:fld id="{C0F4A2C8-6C88-4E71-83EE-698B9D4FE22F}" type="slidenum">
              <a:rPr lang="en-US" smtClean="0"/>
              <a:pPr/>
              <a:t>28</a:t>
            </a:fld>
            <a:endParaRPr lang="en-US" dirty="0"/>
          </a:p>
        </p:txBody>
      </p:sp>
    </p:spTree>
    <p:extLst>
      <p:ext uri="{BB962C8B-B14F-4D97-AF65-F5344CB8AC3E}">
        <p14:creationId xmlns:p14="http://schemas.microsoft.com/office/powerpoint/2010/main" val="18544716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d pink to yellow to fit color key</a:t>
            </a:r>
          </a:p>
          <a:p>
            <a:r>
              <a:rPr lang="en-US" dirty="0"/>
              <a:t>Would using straight lines for the current/desired states make it seem less “90s”?</a:t>
            </a:r>
          </a:p>
          <a:p>
            <a:r>
              <a:rPr lang="en-US" dirty="0"/>
              <a:t>Are these categories weighted to assess total maturity for this category?</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9</a:t>
            </a:fld>
            <a:endParaRPr lang="en-US" dirty="0"/>
          </a:p>
        </p:txBody>
      </p:sp>
    </p:spTree>
    <p:extLst>
      <p:ext uri="{BB962C8B-B14F-4D97-AF65-F5344CB8AC3E}">
        <p14:creationId xmlns:p14="http://schemas.microsoft.com/office/powerpoint/2010/main" val="11630167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88927F8-98A3-4E92-8EC6-80E9D7AB3A7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724037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d pink to yellow to fit color key</a:t>
            </a:r>
          </a:p>
          <a:p>
            <a:r>
              <a:rPr lang="en-US" dirty="0"/>
              <a:t>Would using straight lines for the current/desired states make it seem less “90s”?</a:t>
            </a:r>
          </a:p>
          <a:p>
            <a:r>
              <a:rPr lang="en-US" dirty="0"/>
              <a:t>Are these categories weighted to assess total maturity for this category?</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1</a:t>
            </a:fld>
            <a:endParaRPr lang="en-US" dirty="0"/>
          </a:p>
        </p:txBody>
      </p:sp>
    </p:spTree>
    <p:extLst>
      <p:ext uri="{BB962C8B-B14F-4D97-AF65-F5344CB8AC3E}">
        <p14:creationId xmlns:p14="http://schemas.microsoft.com/office/powerpoint/2010/main" val="9360272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88927F8-98A3-4E92-8EC6-80E9D7AB3A7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722938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1FEE6343-01AD-4AB2-906D-229F5DB863A6}" type="slidenum">
              <a:rPr kumimoji="1" lang="ja-JP" altLang="en-US" smtClean="0"/>
              <a:t>35</a:t>
            </a:fld>
            <a:endParaRPr kumimoji="1" lang="ja-JP" altLang="en-US" dirty="0"/>
          </a:p>
        </p:txBody>
      </p:sp>
    </p:spTree>
    <p:extLst>
      <p:ext uri="{BB962C8B-B14F-4D97-AF65-F5344CB8AC3E}">
        <p14:creationId xmlns:p14="http://schemas.microsoft.com/office/powerpoint/2010/main" val="10613690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d pink to yellow to fit color key</a:t>
            </a:r>
          </a:p>
          <a:p>
            <a:r>
              <a:rPr lang="en-US" dirty="0"/>
              <a:t>Would using straight lines for the current/desired states make it seem less “90s”?</a:t>
            </a:r>
          </a:p>
          <a:p>
            <a:r>
              <a:rPr lang="en-US" dirty="0"/>
              <a:t>Are these categories weighted to assess total maturity for this category?</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6</a:t>
            </a:fld>
            <a:endParaRPr lang="en-US" dirty="0"/>
          </a:p>
        </p:txBody>
      </p:sp>
    </p:spTree>
    <p:extLst>
      <p:ext uri="{BB962C8B-B14F-4D97-AF65-F5344CB8AC3E}">
        <p14:creationId xmlns:p14="http://schemas.microsoft.com/office/powerpoint/2010/main" val="1940071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6195149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88927F8-98A3-4E92-8EC6-80E9D7AB3A7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040573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d pink to yellow to fit color key</a:t>
            </a:r>
          </a:p>
          <a:p>
            <a:r>
              <a:rPr lang="en-US" dirty="0"/>
              <a:t>Would using straight lines for the current/desired states make it seem less “90s”?</a:t>
            </a:r>
          </a:p>
          <a:p>
            <a:r>
              <a:rPr lang="en-US" dirty="0"/>
              <a:t>Are these categories weighted to assess total maturity for this category?</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9</a:t>
            </a:fld>
            <a:endParaRPr lang="en-US" dirty="0"/>
          </a:p>
        </p:txBody>
      </p:sp>
    </p:spTree>
    <p:extLst>
      <p:ext uri="{BB962C8B-B14F-4D97-AF65-F5344CB8AC3E}">
        <p14:creationId xmlns:p14="http://schemas.microsoft.com/office/powerpoint/2010/main" val="11700131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d pink to yellow to fit color key</a:t>
            </a:r>
          </a:p>
          <a:p>
            <a:r>
              <a:rPr lang="en-US" dirty="0"/>
              <a:t>Would using straight lines for the current/desired states make it seem less “90s”?</a:t>
            </a:r>
          </a:p>
          <a:p>
            <a:r>
              <a:rPr lang="en-US" dirty="0"/>
              <a:t>Are these categories weighted to assess total maturity for this category?</a:t>
            </a:r>
          </a:p>
        </p:txBody>
      </p:sp>
      <p:sp>
        <p:nvSpPr>
          <p:cNvPr id="4" name="Slide Number Placeholder 3"/>
          <p:cNvSpPr>
            <a:spLocks noGrp="1"/>
          </p:cNvSpPr>
          <p:nvPr>
            <p:ph type="sldNum" sz="quarter" idx="10"/>
          </p:nvPr>
        </p:nvSpPr>
        <p:spPr/>
        <p:txBody>
          <a:bodyPr/>
          <a:lstStyle/>
          <a:p>
            <a:fld id="{C0F4A2C8-6C88-4E71-83EE-698B9D4FE22F}" type="slidenum">
              <a:rPr lang="en-US" smtClean="0"/>
              <a:pPr/>
              <a:t>40</a:t>
            </a:fld>
            <a:endParaRPr lang="en-US" dirty="0"/>
          </a:p>
        </p:txBody>
      </p:sp>
    </p:spTree>
    <p:extLst>
      <p:ext uri="{BB962C8B-B14F-4D97-AF65-F5344CB8AC3E}">
        <p14:creationId xmlns:p14="http://schemas.microsoft.com/office/powerpoint/2010/main" val="13642641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88927F8-98A3-4E92-8EC6-80E9D7AB3A7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927389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88927F8-98A3-4E92-8EC6-80E9D7AB3A7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43884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88927F8-98A3-4E92-8EC6-80E9D7AB3A7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541227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88927F8-98A3-4E92-8EC6-80E9D7AB3A7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35301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d pink to yellow to fit color key</a:t>
            </a:r>
          </a:p>
          <a:p>
            <a:r>
              <a:rPr lang="en-US" dirty="0"/>
              <a:t>Would using straight lines for the current/desired states make it seem less “90s”?</a:t>
            </a:r>
          </a:p>
          <a:p>
            <a:r>
              <a:rPr lang="en-US" dirty="0"/>
              <a:t>Are these categories weighted to assess total maturity for this category?</a:t>
            </a:r>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8440655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88927F8-98A3-4E92-8EC6-80E9D7AB3A7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37686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88927F8-98A3-4E92-8EC6-80E9D7AB3A7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375773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88927F8-98A3-4E92-8EC6-80E9D7AB3A7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007119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88927F8-98A3-4E92-8EC6-80E9D7AB3A7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97127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342900" indent="-342900">
              <a:buAutoNum type="arabicParenR"/>
            </a:pPr>
            <a:r>
              <a:rPr lang="en-US" dirty="0"/>
              <a:t>No statistical quality control; rely on EDART no analysis completed , during Product development process no metrics </a:t>
            </a:r>
          </a:p>
          <a:p>
            <a:pPr marL="342900" indent="-342900">
              <a:buAutoNum type="arabicParenR"/>
            </a:pPr>
            <a:r>
              <a:rPr lang="en-US" dirty="0"/>
              <a:t>We so far away from understanding what it takes to get to zero-defects; inputs operators perceive have tons of defects (do not treat everything done as a defect; competency level across other companies are higher)</a:t>
            </a:r>
          </a:p>
          <a:p>
            <a:pPr marL="342900" indent="-342900">
              <a:buAutoNum type="arabicParenR"/>
            </a:pPr>
            <a:r>
              <a:rPr lang="en-US" dirty="0"/>
              <a:t>Supply base is currently small but as Molex moves to tier 1 supplier Molex is currently not able </a:t>
            </a:r>
          </a:p>
          <a:p>
            <a:pPr marL="342900" indent="-342900">
              <a:buAutoNum type="arabicParenR"/>
            </a:pPr>
            <a:r>
              <a:rPr lang="en-US" dirty="0"/>
              <a:t>Not included in the early process</a:t>
            </a:r>
          </a:p>
          <a:p>
            <a:pPr marL="342900" indent="-342900">
              <a:buAutoNum type="arabicParenR"/>
            </a:pPr>
            <a:r>
              <a:rPr lang="en-US" dirty="0"/>
              <a:t>If we get more advanced supply base Molex would grind to a halt; unclear direction provided to suppliers</a:t>
            </a:r>
          </a:p>
          <a:p>
            <a:pPr marL="342900" indent="-342900">
              <a:buAutoNum type="arabicParenR"/>
            </a:pPr>
            <a:r>
              <a:rPr lang="en-US" dirty="0"/>
              <a:t>Feedback to post production back to engineering is very weak because the PDT falls apart after PPAP; AQP &amp; team falls apart because there is no sustainment (in the plant they are called QE; handoff is not well defined</a:t>
            </a:r>
          </a:p>
          <a:p>
            <a:pPr marL="342900" indent="-342900">
              <a:buAutoNum type="arabicParenR"/>
            </a:pPr>
            <a:r>
              <a:rPr lang="en-US" dirty="0"/>
              <a:t>Can be tons of defects but no QNs because no one wants to deal with; sometimes the 8D (Ask Chengdu about the process) </a:t>
            </a:r>
          </a:p>
          <a:p>
            <a:pPr marL="342900" indent="-342900">
              <a:buAutoNum type="arabicParenR"/>
            </a:pPr>
            <a:endParaRPr lang="en-US" dirty="0"/>
          </a:p>
          <a:p>
            <a:pPr marL="342900" indent="-342900">
              <a:buAutoNum type="arabicParenR"/>
            </a:pPr>
            <a:endParaRPr lang="en-US" dirty="0"/>
          </a:p>
          <a:p>
            <a:pPr marL="342900" indent="-342900">
              <a:buAutoNum type="arabicParenR"/>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42635440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88927F8-98A3-4E92-8EC6-80E9D7AB3A7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54111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171634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537365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5958269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7066667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2070636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9373282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8246801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5002340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2006569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3479971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3839175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7782792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9681511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2337279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2714606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7887187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494540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6987890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97517679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8668233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965909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5234538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46476009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7222759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2045839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295382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One Tex Box">
    <p:spTree>
      <p:nvGrpSpPr>
        <p:cNvPr id="1" name=""/>
        <p:cNvGrpSpPr/>
        <p:nvPr/>
      </p:nvGrpSpPr>
      <p:grpSpPr>
        <a:xfrm>
          <a:off x="0" y="0"/>
          <a:ext cx="0" cy="0"/>
          <a:chOff x="0" y="0"/>
          <a:chExt cx="0" cy="0"/>
        </a:xfrm>
      </p:grpSpPr>
      <p:sp>
        <p:nvSpPr>
          <p:cNvPr id="3" name="Segnaposto contenuto 2"/>
          <p:cNvSpPr>
            <a:spLocks noGrp="1"/>
          </p:cNvSpPr>
          <p:nvPr>
            <p:ph idx="1"/>
          </p:nvPr>
        </p:nvSpPr>
        <p:spPr>
          <a:xfrm>
            <a:off x="609600" y="1600201"/>
            <a:ext cx="11055019" cy="4525963"/>
          </a:xfrm>
          <a:prstGeom prst="rect">
            <a:avLst/>
          </a:prstGeom>
        </p:spPr>
        <p:txBody>
          <a:bodyPr lIns="0" tIns="0" rIns="0" bIns="0">
            <a:normAutofit/>
          </a:bodyPr>
          <a:lstStyle>
            <a:lvl1pPr marL="342900" indent="-342900">
              <a:buFont typeface="Wingdings" charset="2"/>
              <a:buChar char="§"/>
              <a:defRPr sz="2160">
                <a:solidFill>
                  <a:srgbClr val="000000"/>
                </a:solidFill>
              </a:defRPr>
            </a:lvl1pPr>
            <a:lvl2pPr marL="891540" indent="-342900">
              <a:buSzPct val="120000"/>
              <a:buFont typeface="Arial"/>
              <a:buChar char="•"/>
              <a:defRPr sz="1920">
                <a:solidFill>
                  <a:srgbClr val="000000"/>
                </a:solidFill>
              </a:defRPr>
            </a:lvl2pPr>
            <a:lvl3pPr marL="1440180" indent="-342900">
              <a:buSzPct val="80000"/>
              <a:buFont typeface="Wingdings" charset="2"/>
              <a:buChar char="ü"/>
              <a:defRPr sz="1680">
                <a:solidFill>
                  <a:srgbClr val="000000"/>
                </a:solidFill>
              </a:defRPr>
            </a:lvl3pPr>
            <a:lvl4pPr marL="1851660" indent="-205740">
              <a:buSzPct val="80000"/>
              <a:buFont typeface="Courier New"/>
              <a:buChar char="o"/>
              <a:defRPr sz="1440">
                <a:solidFill>
                  <a:srgbClr val="000000"/>
                </a:solidFill>
              </a:defRPr>
            </a:lvl4pPr>
            <a:lvl5pPr marL="2400300" indent="-205740">
              <a:buSzPct val="80000"/>
              <a:buFont typeface="Wingdings" charset="2"/>
              <a:buChar char="²"/>
              <a:defRPr sz="1440">
                <a:solidFill>
                  <a:srgbClr val="000000"/>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0" name="Segnaposto numero diapositiva 5"/>
          <p:cNvSpPr>
            <a:spLocks noGrp="1"/>
          </p:cNvSpPr>
          <p:nvPr>
            <p:ph type="sldNum" sz="quarter" idx="4"/>
          </p:nvPr>
        </p:nvSpPr>
        <p:spPr>
          <a:xfrm>
            <a:off x="11184565" y="6358098"/>
            <a:ext cx="609600" cy="365125"/>
          </a:xfrm>
          <a:prstGeom prst="rect">
            <a:avLst/>
          </a:prstGeom>
        </p:spPr>
        <p:txBody>
          <a:bodyPr vert="horz" lIns="91440" tIns="45720" rIns="91440" bIns="45720" rtlCol="0" anchor="t"/>
          <a:lstStyle>
            <a:lvl1pPr algn="l">
              <a:defRPr sz="1080">
                <a:solidFill>
                  <a:schemeClr val="bg1"/>
                </a:solidFill>
                <a:latin typeface="Arial"/>
                <a:cs typeface="Arial"/>
              </a:defRPr>
            </a:lvl1pPr>
          </a:lstStyle>
          <a:p>
            <a:fld id="{04F2263D-2B56-3241-AE08-5B72161B4332}" type="slidenum">
              <a:rPr lang="it-IT" smtClean="0"/>
              <a:pPr/>
              <a:t>‹#›</a:t>
            </a:fld>
            <a:endParaRPr lang="it-IT"/>
          </a:p>
        </p:txBody>
      </p:sp>
      <p:sp>
        <p:nvSpPr>
          <p:cNvPr id="11" name="Titolo 1"/>
          <p:cNvSpPr>
            <a:spLocks noGrp="1"/>
          </p:cNvSpPr>
          <p:nvPr>
            <p:ph type="title"/>
          </p:nvPr>
        </p:nvSpPr>
        <p:spPr>
          <a:xfrm>
            <a:off x="609600" y="140290"/>
            <a:ext cx="11055019" cy="423587"/>
          </a:xfrm>
          <a:prstGeom prst="rect">
            <a:avLst/>
          </a:prstGeom>
        </p:spPr>
        <p:txBody>
          <a:bodyPr lIns="0" tIns="0" rIns="0" bIns="0">
            <a:normAutofit/>
          </a:bodyPr>
          <a:lstStyle>
            <a:lvl1pPr>
              <a:defRPr sz="2640" b="1"/>
            </a:lvl1pPr>
          </a:lstStyle>
          <a:p>
            <a:r>
              <a:rPr lang="it-IT" dirty="0"/>
              <a:t>Fare clic per modificare stile</a:t>
            </a:r>
          </a:p>
        </p:txBody>
      </p:sp>
      <p:sp>
        <p:nvSpPr>
          <p:cNvPr id="15" name="Segnaposto testo 4"/>
          <p:cNvSpPr>
            <a:spLocks noGrp="1"/>
          </p:cNvSpPr>
          <p:nvPr>
            <p:ph type="body" sz="quarter" idx="10"/>
          </p:nvPr>
        </p:nvSpPr>
        <p:spPr>
          <a:xfrm>
            <a:off x="609600" y="563877"/>
            <a:ext cx="11055019" cy="344804"/>
          </a:xfrm>
          <a:prstGeom prst="rect">
            <a:avLst/>
          </a:prstGeom>
        </p:spPr>
        <p:txBody>
          <a:bodyPr vert="horz" lIns="0" tIns="0" rIns="0" bIns="0"/>
          <a:lstStyle>
            <a:lvl1pPr marL="0" indent="0">
              <a:buNone/>
              <a:defRPr sz="1920">
                <a:solidFill>
                  <a:srgbClr val="6E6E6E"/>
                </a:solidFill>
              </a:defRPr>
            </a:lvl1pPr>
          </a:lstStyle>
          <a:p>
            <a:pPr lvl="0"/>
            <a:r>
              <a:rPr lang="it-IT" dirty="0"/>
              <a:t>Fare clic per modificare gli stili del testo dello schema</a:t>
            </a:r>
          </a:p>
        </p:txBody>
      </p:sp>
    </p:spTree>
    <p:extLst>
      <p:ext uri="{BB962C8B-B14F-4D97-AF65-F5344CB8AC3E}">
        <p14:creationId xmlns:p14="http://schemas.microsoft.com/office/powerpoint/2010/main" val="171082111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221372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33333"/>
                </a:solidFill>
              </a:defRPr>
            </a:lvl1pPr>
          </a:lstStyle>
          <a:p>
            <a:r>
              <a:rPr lang="ja-JP" altLang="en-US"/>
              <a:t>マスター タイトルの書式設定</a:t>
            </a:r>
            <a:endParaRPr lang="en-US" dirty="0"/>
          </a:p>
        </p:txBody>
      </p:sp>
      <p:sp>
        <p:nvSpPr>
          <p:cNvPr id="7" name="Text Placeholder 2"/>
          <p:cNvSpPr>
            <a:spLocks noGrp="1"/>
          </p:cNvSpPr>
          <p:nvPr>
            <p:ph idx="1"/>
          </p:nvPr>
        </p:nvSpPr>
        <p:spPr>
          <a:xfrm>
            <a:off x="480484" y="1598671"/>
            <a:ext cx="11231949" cy="4237685"/>
          </a:xfrm>
          <a:prstGeom prst="rect">
            <a:avLst/>
          </a:prstGeom>
        </p:spPr>
        <p:txBody>
          <a:bodyPr vert="horz" lIns="0" tIns="45720" rIns="91440" bIns="45720" rtlCol="0">
            <a:noAutofit/>
          </a:bodyPr>
          <a:lstStyle>
            <a:lvl1pPr>
              <a:buClr>
                <a:srgbClr val="EA0437"/>
              </a:buClr>
              <a:defRPr/>
            </a:lvl1pPr>
            <a:lvl2pPr>
              <a:buClr>
                <a:srgbClr val="EA0437"/>
              </a:buClr>
              <a:defRPr/>
            </a:lvl2pPr>
            <a:lvl3pPr>
              <a:buClr>
                <a:srgbClr val="EA0437"/>
              </a:buClr>
              <a:defRPr/>
            </a:lvl3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Tree>
    <p:extLst>
      <p:ext uri="{BB962C8B-B14F-4D97-AF65-F5344CB8AC3E}">
        <p14:creationId xmlns:p14="http://schemas.microsoft.com/office/powerpoint/2010/main" val="159669960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3045289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10959430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73811714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31323687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4565915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73356062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4147448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990376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1394156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1066981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4104418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00025972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06583971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3858468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1679695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6887420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2730584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58434466"/>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17754478"/>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3764307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3144712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4441742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6216141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107153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0348102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6251054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7523664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3220469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8136143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9097270"/>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9163957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7306298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80550325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803790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1804210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3454732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21614808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4036481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1244630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120443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Empty without line">
    <p:spTree>
      <p:nvGrpSpPr>
        <p:cNvPr id="1" name=""/>
        <p:cNvGrpSpPr/>
        <p:nvPr/>
      </p:nvGrpSpPr>
      <p:grpSpPr>
        <a:xfrm>
          <a:off x="0" y="0"/>
          <a:ext cx="0" cy="0"/>
          <a:chOff x="0" y="0"/>
          <a:chExt cx="0" cy="0"/>
        </a:xfrm>
      </p:grpSpPr>
      <p:sp>
        <p:nvSpPr>
          <p:cNvPr id="9" name="Espace réservé du numéro de diapositive 5"/>
          <p:cNvSpPr>
            <a:spLocks noGrp="1"/>
          </p:cNvSpPr>
          <p:nvPr>
            <p:ph type="sldNum" sz="quarter" idx="15"/>
          </p:nvPr>
        </p:nvSpPr>
        <p:spPr>
          <a:xfrm>
            <a:off x="480053" y="6080289"/>
            <a:ext cx="1377027" cy="589031"/>
          </a:xfrm>
          <a:prstGeom prst="rect">
            <a:avLst/>
          </a:prstGeom>
        </p:spPr>
        <p:txBody>
          <a:bodyPr/>
          <a:lstStyle/>
          <a:p>
            <a:fld id="{CCEA77D5-0B01-41C0-8AB2-471B057BD053}" type="slidenum">
              <a:rPr lang="en-CA" smtClean="0"/>
              <a:pPr/>
              <a:t>‹#›</a:t>
            </a:fld>
            <a:endParaRPr lang="en-CA" dirty="0"/>
          </a:p>
        </p:txBody>
      </p:sp>
      <p:sp>
        <p:nvSpPr>
          <p:cNvPr id="2" name="Rectangle 1"/>
          <p:cNvSpPr/>
          <p:nvPr userDrawn="1"/>
        </p:nvSpPr>
        <p:spPr>
          <a:xfrm>
            <a:off x="239349" y="332656"/>
            <a:ext cx="11952651" cy="5832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Tree>
    <p:extLst>
      <p:ext uri="{BB962C8B-B14F-4D97-AF65-F5344CB8AC3E}">
        <p14:creationId xmlns:p14="http://schemas.microsoft.com/office/powerpoint/2010/main" val="39142850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064461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lvl1pPr>
              <a:lnSpc>
                <a:spcPct val="70000"/>
              </a:lnSpc>
              <a:defRPr/>
            </a:lvl1pPr>
          </a:lstStyle>
          <a:p>
            <a:r>
              <a:rPr lang="en-US" dirty="0"/>
              <a:t>Click to edit Master title style</a:t>
            </a:r>
          </a:p>
        </p:txBody>
      </p:sp>
      <p:sp>
        <p:nvSpPr>
          <p:cNvPr id="4" name="Text Placeholder 8"/>
          <p:cNvSpPr>
            <a:spLocks noGrp="1"/>
          </p:cNvSpPr>
          <p:nvPr>
            <p:ph type="body" sz="quarter" idx="14"/>
          </p:nvPr>
        </p:nvSpPr>
        <p:spPr>
          <a:xfrm>
            <a:off x="511175" y="1279083"/>
            <a:ext cx="11071225" cy="647700"/>
          </a:xfrm>
        </p:spPr>
        <p:txBody>
          <a:bodyPr>
            <a:noAutofit/>
          </a:bodyPr>
          <a:lstStyle>
            <a:lvl1pPr marL="0" indent="0">
              <a:buNone/>
              <a:defRPr sz="18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151050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One Tex Box">
    <p:spTree>
      <p:nvGrpSpPr>
        <p:cNvPr id="1" name=""/>
        <p:cNvGrpSpPr/>
        <p:nvPr/>
      </p:nvGrpSpPr>
      <p:grpSpPr>
        <a:xfrm>
          <a:off x="0" y="0"/>
          <a:ext cx="0" cy="0"/>
          <a:chOff x="0" y="0"/>
          <a:chExt cx="0" cy="0"/>
        </a:xfrm>
      </p:grpSpPr>
      <p:sp>
        <p:nvSpPr>
          <p:cNvPr id="3" name="Segnaposto contenuto 2"/>
          <p:cNvSpPr>
            <a:spLocks noGrp="1"/>
          </p:cNvSpPr>
          <p:nvPr>
            <p:ph idx="1"/>
          </p:nvPr>
        </p:nvSpPr>
        <p:spPr>
          <a:xfrm>
            <a:off x="609600" y="1600201"/>
            <a:ext cx="11055019" cy="4525963"/>
          </a:xfrm>
          <a:prstGeom prst="rect">
            <a:avLst/>
          </a:prstGeom>
        </p:spPr>
        <p:txBody>
          <a:bodyPr lIns="0" tIns="0" rIns="0" bIns="0">
            <a:normAutofit/>
          </a:bodyPr>
          <a:lstStyle>
            <a:lvl1pPr marL="342900" indent="-342900">
              <a:buFont typeface="Wingdings" charset="2"/>
              <a:buChar char="§"/>
              <a:defRPr sz="2160">
                <a:solidFill>
                  <a:srgbClr val="000000"/>
                </a:solidFill>
              </a:defRPr>
            </a:lvl1pPr>
            <a:lvl2pPr marL="891540" indent="-342900">
              <a:buSzPct val="120000"/>
              <a:buFont typeface="Arial"/>
              <a:buChar char="•"/>
              <a:defRPr sz="1920">
                <a:solidFill>
                  <a:srgbClr val="000000"/>
                </a:solidFill>
              </a:defRPr>
            </a:lvl2pPr>
            <a:lvl3pPr marL="1440180" indent="-342900">
              <a:buSzPct val="80000"/>
              <a:buFont typeface="Wingdings" charset="2"/>
              <a:buChar char="ü"/>
              <a:defRPr sz="1680">
                <a:solidFill>
                  <a:srgbClr val="000000"/>
                </a:solidFill>
              </a:defRPr>
            </a:lvl3pPr>
            <a:lvl4pPr marL="1851660" indent="-205740">
              <a:buSzPct val="80000"/>
              <a:buFont typeface="Courier New"/>
              <a:buChar char="o"/>
              <a:defRPr sz="1440">
                <a:solidFill>
                  <a:srgbClr val="000000"/>
                </a:solidFill>
              </a:defRPr>
            </a:lvl4pPr>
            <a:lvl5pPr marL="2400300" indent="-205740">
              <a:buSzPct val="80000"/>
              <a:buFont typeface="Wingdings" charset="2"/>
              <a:buChar char="²"/>
              <a:defRPr sz="1440">
                <a:solidFill>
                  <a:srgbClr val="000000"/>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0" name="Segnaposto numero diapositiva 5"/>
          <p:cNvSpPr>
            <a:spLocks noGrp="1"/>
          </p:cNvSpPr>
          <p:nvPr>
            <p:ph type="sldNum" sz="quarter" idx="4"/>
          </p:nvPr>
        </p:nvSpPr>
        <p:spPr>
          <a:xfrm>
            <a:off x="11184565" y="6358098"/>
            <a:ext cx="609600" cy="365125"/>
          </a:xfrm>
          <a:prstGeom prst="rect">
            <a:avLst/>
          </a:prstGeom>
        </p:spPr>
        <p:txBody>
          <a:bodyPr vert="horz" lIns="91440" tIns="45720" rIns="91440" bIns="45720" rtlCol="0" anchor="t"/>
          <a:lstStyle>
            <a:lvl1pPr algn="l">
              <a:defRPr sz="1080">
                <a:solidFill>
                  <a:schemeClr val="bg1"/>
                </a:solidFill>
                <a:latin typeface="Arial"/>
                <a:cs typeface="Arial"/>
              </a:defRPr>
            </a:lvl1pPr>
          </a:lstStyle>
          <a:p>
            <a:fld id="{04F2263D-2B56-3241-AE08-5B72161B4332}" type="slidenum">
              <a:rPr lang="it-IT" smtClean="0"/>
              <a:pPr/>
              <a:t>‹#›</a:t>
            </a:fld>
            <a:endParaRPr lang="it-IT"/>
          </a:p>
        </p:txBody>
      </p:sp>
      <p:sp>
        <p:nvSpPr>
          <p:cNvPr id="11" name="Titolo 1"/>
          <p:cNvSpPr>
            <a:spLocks noGrp="1"/>
          </p:cNvSpPr>
          <p:nvPr>
            <p:ph type="title"/>
          </p:nvPr>
        </p:nvSpPr>
        <p:spPr>
          <a:xfrm>
            <a:off x="609600" y="140290"/>
            <a:ext cx="11055019" cy="423587"/>
          </a:xfrm>
          <a:prstGeom prst="rect">
            <a:avLst/>
          </a:prstGeom>
        </p:spPr>
        <p:txBody>
          <a:bodyPr lIns="0" tIns="0" rIns="0" bIns="0">
            <a:normAutofit/>
          </a:bodyPr>
          <a:lstStyle>
            <a:lvl1pPr>
              <a:defRPr sz="2640" b="1"/>
            </a:lvl1pPr>
          </a:lstStyle>
          <a:p>
            <a:r>
              <a:rPr lang="it-IT"/>
              <a:t>Fare clic per modificare stile</a:t>
            </a:r>
          </a:p>
        </p:txBody>
      </p:sp>
      <p:sp>
        <p:nvSpPr>
          <p:cNvPr id="15" name="Segnaposto testo 4"/>
          <p:cNvSpPr>
            <a:spLocks noGrp="1"/>
          </p:cNvSpPr>
          <p:nvPr>
            <p:ph type="body" sz="quarter" idx="10"/>
          </p:nvPr>
        </p:nvSpPr>
        <p:spPr>
          <a:xfrm>
            <a:off x="609600" y="563877"/>
            <a:ext cx="11055019" cy="344804"/>
          </a:xfrm>
          <a:prstGeom prst="rect">
            <a:avLst/>
          </a:prstGeom>
        </p:spPr>
        <p:txBody>
          <a:bodyPr vert="horz" lIns="0" tIns="0" rIns="0" bIns="0"/>
          <a:lstStyle>
            <a:lvl1pPr marL="0" indent="0">
              <a:buNone/>
              <a:defRPr sz="1920">
                <a:solidFill>
                  <a:srgbClr val="6E6E6E"/>
                </a:solidFill>
              </a:defRPr>
            </a:lvl1pPr>
          </a:lstStyle>
          <a:p>
            <a:pPr lvl="0"/>
            <a:r>
              <a:rPr lang="it-IT"/>
              <a:t>Fare clic per modificare gli stili del testo dello schema</a:t>
            </a:r>
          </a:p>
        </p:txBody>
      </p:sp>
    </p:spTree>
    <p:extLst>
      <p:ext uri="{BB962C8B-B14F-4D97-AF65-F5344CB8AC3E}">
        <p14:creationId xmlns:p14="http://schemas.microsoft.com/office/powerpoint/2010/main" val="287358103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1_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33333"/>
                </a:solidFill>
              </a:defRPr>
            </a:lvl1pPr>
          </a:lstStyle>
          <a:p>
            <a:r>
              <a:rPr lang="en-US"/>
              <a:t>Click to edit Master title style</a:t>
            </a:r>
          </a:p>
        </p:txBody>
      </p:sp>
      <p:sp>
        <p:nvSpPr>
          <p:cNvPr id="7" name="Text Placeholder 2"/>
          <p:cNvSpPr>
            <a:spLocks noGrp="1"/>
          </p:cNvSpPr>
          <p:nvPr>
            <p:ph idx="1"/>
          </p:nvPr>
        </p:nvSpPr>
        <p:spPr>
          <a:xfrm>
            <a:off x="480484" y="1598671"/>
            <a:ext cx="11231949" cy="4237685"/>
          </a:xfrm>
          <a:prstGeom prst="rect">
            <a:avLst/>
          </a:prstGeom>
        </p:spPr>
        <p:txBody>
          <a:bodyPr vert="horz" lIns="0" tIns="45720" rIns="91440" bIns="45720" rtlCol="0">
            <a:noAutofit/>
          </a:bodyPr>
          <a:lstStyle>
            <a:lvl1pPr>
              <a:buClr>
                <a:srgbClr val="EA0437"/>
              </a:buClr>
              <a:defRPr/>
            </a:lvl1pPr>
            <a:lvl2pPr>
              <a:buClr>
                <a:srgbClr val="EA0437"/>
              </a:buClr>
              <a:defRPr/>
            </a:lvl2pPr>
            <a:lvl3pPr>
              <a:buClr>
                <a:srgbClr val="EA0437"/>
              </a:buClr>
              <a:defRPr/>
            </a:lvl3pPr>
          </a:lstStyle>
          <a:p>
            <a:pPr lvl="0"/>
            <a:r>
              <a:rPr lang="en-US"/>
              <a:t>Edit Master text styles</a:t>
            </a:r>
          </a:p>
          <a:p>
            <a:pPr lvl="1"/>
            <a:r>
              <a:rPr lang="en-US"/>
              <a:t>Second level</a:t>
            </a:r>
          </a:p>
          <a:p>
            <a:pPr lvl="2"/>
            <a:r>
              <a:rPr lang="en-US"/>
              <a:t>Third level</a:t>
            </a:r>
          </a:p>
        </p:txBody>
      </p:sp>
      <p:sp>
        <p:nvSpPr>
          <p:cNvPr id="4" name="Footer Placeholder 4">
            <a:extLst>
              <a:ext uri="{FF2B5EF4-FFF2-40B4-BE49-F238E27FC236}">
                <a16:creationId xmlns:a16="http://schemas.microsoft.com/office/drawing/2014/main" id="{4E3B0822-A1DD-47C3-99B7-7838245EC907}"/>
              </a:ext>
            </a:extLst>
          </p:cNvPr>
          <p:cNvSpPr txBox="1">
            <a:spLocks/>
          </p:cNvSpPr>
          <p:nvPr userDrawn="1"/>
        </p:nvSpPr>
        <p:spPr>
          <a:xfrm>
            <a:off x="1057573" y="6417184"/>
            <a:ext cx="9273116" cy="445553"/>
          </a:xfrm>
          <a:prstGeom prst="rect">
            <a:avLst/>
          </a:prstGeom>
        </p:spPr>
        <p:txBody>
          <a:bodyPr lIns="0"/>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67" kern="1200" dirty="0">
                <a:solidFill>
                  <a:srgbClr val="B2B2B2"/>
                </a:solidFill>
              </a:rPr>
              <a:t>Molex Confidential Information</a:t>
            </a:r>
          </a:p>
          <a:p>
            <a:pPr marL="0" marR="0" indent="0" algn="l" defTabSz="1219170" rtl="0" eaLnBrk="1" fontAlgn="auto" latinLnBrk="0" hangingPunct="1">
              <a:lnSpc>
                <a:spcPct val="100000"/>
              </a:lnSpc>
              <a:spcBef>
                <a:spcPts val="0"/>
              </a:spcBef>
              <a:spcAft>
                <a:spcPts val="0"/>
              </a:spcAft>
              <a:buClrTx/>
              <a:buSzTx/>
              <a:buFontTx/>
              <a:buNone/>
              <a:tabLst/>
              <a:defRPr/>
            </a:pPr>
            <a:r>
              <a:rPr lang="en-US" sz="1067" kern="1200" dirty="0">
                <a:solidFill>
                  <a:srgbClr val="B2B2B2"/>
                </a:solidFill>
              </a:rPr>
              <a:t>© Molex, LLC – All Rights Reserved. Unauthorized Reproduction/Distribution is Prohibited.</a:t>
            </a:r>
          </a:p>
        </p:txBody>
      </p:sp>
    </p:spTree>
    <p:extLst>
      <p:ext uri="{BB962C8B-B14F-4D97-AF65-F5344CB8AC3E}">
        <p14:creationId xmlns:p14="http://schemas.microsoft.com/office/powerpoint/2010/main" val="29448922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One Tex Box">
    <p:spTree>
      <p:nvGrpSpPr>
        <p:cNvPr id="1" name=""/>
        <p:cNvGrpSpPr/>
        <p:nvPr/>
      </p:nvGrpSpPr>
      <p:grpSpPr>
        <a:xfrm>
          <a:off x="0" y="0"/>
          <a:ext cx="0" cy="0"/>
          <a:chOff x="0" y="0"/>
          <a:chExt cx="0" cy="0"/>
        </a:xfrm>
      </p:grpSpPr>
      <p:sp>
        <p:nvSpPr>
          <p:cNvPr id="3" name="Segnaposto contenuto 2"/>
          <p:cNvSpPr>
            <a:spLocks noGrp="1"/>
          </p:cNvSpPr>
          <p:nvPr>
            <p:ph idx="1"/>
          </p:nvPr>
        </p:nvSpPr>
        <p:spPr>
          <a:xfrm>
            <a:off x="609600" y="1600201"/>
            <a:ext cx="11055019" cy="4525963"/>
          </a:xfrm>
          <a:prstGeom prst="rect">
            <a:avLst/>
          </a:prstGeom>
        </p:spPr>
        <p:txBody>
          <a:bodyPr lIns="0" tIns="0" rIns="0" bIns="0">
            <a:normAutofit/>
          </a:bodyPr>
          <a:lstStyle>
            <a:lvl1pPr marL="342900" indent="-342900">
              <a:buFont typeface="Wingdings" charset="2"/>
              <a:buChar char="§"/>
              <a:defRPr sz="2160">
                <a:solidFill>
                  <a:srgbClr val="000000"/>
                </a:solidFill>
              </a:defRPr>
            </a:lvl1pPr>
            <a:lvl2pPr marL="891540" indent="-342900">
              <a:buSzPct val="120000"/>
              <a:buFont typeface="Arial"/>
              <a:buChar char="•"/>
              <a:defRPr sz="1920">
                <a:solidFill>
                  <a:srgbClr val="000000"/>
                </a:solidFill>
              </a:defRPr>
            </a:lvl2pPr>
            <a:lvl3pPr marL="1440180" indent="-342900">
              <a:buSzPct val="80000"/>
              <a:buFont typeface="Wingdings" charset="2"/>
              <a:buChar char="ü"/>
              <a:defRPr sz="1680">
                <a:solidFill>
                  <a:srgbClr val="000000"/>
                </a:solidFill>
              </a:defRPr>
            </a:lvl3pPr>
            <a:lvl4pPr marL="1851660" indent="-205740">
              <a:buSzPct val="80000"/>
              <a:buFont typeface="Courier New"/>
              <a:buChar char="o"/>
              <a:defRPr sz="1440">
                <a:solidFill>
                  <a:srgbClr val="000000"/>
                </a:solidFill>
              </a:defRPr>
            </a:lvl4pPr>
            <a:lvl5pPr marL="2400300" indent="-205740">
              <a:buSzPct val="80000"/>
              <a:buFont typeface="Wingdings" charset="2"/>
              <a:buChar char="²"/>
              <a:defRPr sz="1440">
                <a:solidFill>
                  <a:srgbClr val="000000"/>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0" name="Segnaposto numero diapositiva 5"/>
          <p:cNvSpPr>
            <a:spLocks noGrp="1"/>
          </p:cNvSpPr>
          <p:nvPr>
            <p:ph type="sldNum" sz="quarter" idx="4"/>
          </p:nvPr>
        </p:nvSpPr>
        <p:spPr>
          <a:xfrm>
            <a:off x="11184565" y="6358098"/>
            <a:ext cx="609600" cy="365125"/>
          </a:xfrm>
          <a:prstGeom prst="rect">
            <a:avLst/>
          </a:prstGeom>
        </p:spPr>
        <p:txBody>
          <a:bodyPr vert="horz" lIns="91440" tIns="45720" rIns="91440" bIns="45720" rtlCol="0" anchor="t"/>
          <a:lstStyle>
            <a:lvl1pPr algn="l">
              <a:defRPr sz="1080">
                <a:solidFill>
                  <a:schemeClr val="bg1"/>
                </a:solidFill>
                <a:latin typeface="Arial"/>
                <a:cs typeface="Arial"/>
              </a:defRPr>
            </a:lvl1pPr>
          </a:lstStyle>
          <a:p>
            <a:fld id="{04F2263D-2B56-3241-AE08-5B72161B4332}" type="slidenum">
              <a:rPr lang="it-IT" smtClean="0"/>
              <a:pPr/>
              <a:t>‹#›</a:t>
            </a:fld>
            <a:endParaRPr lang="it-IT"/>
          </a:p>
        </p:txBody>
      </p:sp>
      <p:sp>
        <p:nvSpPr>
          <p:cNvPr id="11" name="Titolo 1"/>
          <p:cNvSpPr>
            <a:spLocks noGrp="1"/>
          </p:cNvSpPr>
          <p:nvPr>
            <p:ph type="title"/>
          </p:nvPr>
        </p:nvSpPr>
        <p:spPr>
          <a:xfrm>
            <a:off x="609600" y="140290"/>
            <a:ext cx="11055019" cy="423587"/>
          </a:xfrm>
          <a:prstGeom prst="rect">
            <a:avLst/>
          </a:prstGeom>
        </p:spPr>
        <p:txBody>
          <a:bodyPr lIns="0" tIns="0" rIns="0" bIns="0">
            <a:normAutofit/>
          </a:bodyPr>
          <a:lstStyle>
            <a:lvl1pPr>
              <a:defRPr sz="2640" b="1"/>
            </a:lvl1pPr>
          </a:lstStyle>
          <a:p>
            <a:r>
              <a:rPr lang="it-IT" dirty="0"/>
              <a:t>Fare clic per modificare stile</a:t>
            </a:r>
          </a:p>
        </p:txBody>
      </p:sp>
      <p:sp>
        <p:nvSpPr>
          <p:cNvPr id="15" name="Segnaposto testo 4"/>
          <p:cNvSpPr>
            <a:spLocks noGrp="1"/>
          </p:cNvSpPr>
          <p:nvPr>
            <p:ph type="body" sz="quarter" idx="10"/>
          </p:nvPr>
        </p:nvSpPr>
        <p:spPr>
          <a:xfrm>
            <a:off x="609600" y="563877"/>
            <a:ext cx="11055019" cy="344804"/>
          </a:xfrm>
          <a:prstGeom prst="rect">
            <a:avLst/>
          </a:prstGeom>
        </p:spPr>
        <p:txBody>
          <a:bodyPr vert="horz" lIns="0" tIns="0" rIns="0" bIns="0"/>
          <a:lstStyle>
            <a:lvl1pPr marL="0" indent="0">
              <a:buNone/>
              <a:defRPr sz="1920">
                <a:solidFill>
                  <a:srgbClr val="6E6E6E"/>
                </a:solidFill>
              </a:defRPr>
            </a:lvl1pPr>
          </a:lstStyle>
          <a:p>
            <a:pPr lvl="0"/>
            <a:r>
              <a:rPr lang="it-IT" dirty="0"/>
              <a:t>Fare clic per modificare gli stili del testo dello schema</a:t>
            </a:r>
          </a:p>
        </p:txBody>
      </p:sp>
    </p:spTree>
    <p:extLst>
      <p:ext uri="{BB962C8B-B14F-4D97-AF65-F5344CB8AC3E}">
        <p14:creationId xmlns:p14="http://schemas.microsoft.com/office/powerpoint/2010/main" val="1630282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32383156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78156640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6018557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08022032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 Deloitte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823660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 Deloitte dark green">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360280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 Deloitte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63435456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 Deloitte dark blue">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4163076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 Deloitte black">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89546526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97536093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5479899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00218036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33692832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4224250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1236884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2519276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3375310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1582792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97791848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8188121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2991488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1463367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364709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9309519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945869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1340906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7867803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2562997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696564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034817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4666729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5803143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276367754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1406799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8967721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077090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column icon gree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35740997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294998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3990471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14398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One Tex Box">
    <p:spTree>
      <p:nvGrpSpPr>
        <p:cNvPr id="1" name=""/>
        <p:cNvGrpSpPr/>
        <p:nvPr/>
      </p:nvGrpSpPr>
      <p:grpSpPr>
        <a:xfrm>
          <a:off x="0" y="0"/>
          <a:ext cx="0" cy="0"/>
          <a:chOff x="0" y="0"/>
          <a:chExt cx="0" cy="0"/>
        </a:xfrm>
      </p:grpSpPr>
      <p:sp>
        <p:nvSpPr>
          <p:cNvPr id="3" name="Segnaposto contenuto 2"/>
          <p:cNvSpPr>
            <a:spLocks noGrp="1"/>
          </p:cNvSpPr>
          <p:nvPr>
            <p:ph idx="1"/>
          </p:nvPr>
        </p:nvSpPr>
        <p:spPr>
          <a:xfrm>
            <a:off x="609600" y="1600201"/>
            <a:ext cx="11055019" cy="4525963"/>
          </a:xfrm>
          <a:prstGeom prst="rect">
            <a:avLst/>
          </a:prstGeom>
        </p:spPr>
        <p:txBody>
          <a:bodyPr lIns="0" tIns="0" rIns="0" bIns="0">
            <a:normAutofit/>
          </a:bodyPr>
          <a:lstStyle>
            <a:lvl1pPr marL="342900" indent="-342900">
              <a:buFont typeface="Wingdings" charset="2"/>
              <a:buChar char="§"/>
              <a:defRPr sz="2160">
                <a:solidFill>
                  <a:srgbClr val="000000"/>
                </a:solidFill>
              </a:defRPr>
            </a:lvl1pPr>
            <a:lvl2pPr marL="891540" indent="-342900">
              <a:buSzPct val="120000"/>
              <a:buFont typeface="Arial"/>
              <a:buChar char="•"/>
              <a:defRPr sz="1920">
                <a:solidFill>
                  <a:srgbClr val="000000"/>
                </a:solidFill>
              </a:defRPr>
            </a:lvl2pPr>
            <a:lvl3pPr marL="1440180" indent="-342900">
              <a:buSzPct val="80000"/>
              <a:buFont typeface="Wingdings" charset="2"/>
              <a:buChar char="ü"/>
              <a:defRPr sz="1680">
                <a:solidFill>
                  <a:srgbClr val="000000"/>
                </a:solidFill>
              </a:defRPr>
            </a:lvl3pPr>
            <a:lvl4pPr marL="1851660" indent="-205740">
              <a:buSzPct val="80000"/>
              <a:buFont typeface="Courier New"/>
              <a:buChar char="o"/>
              <a:defRPr sz="1440">
                <a:solidFill>
                  <a:srgbClr val="000000"/>
                </a:solidFill>
              </a:defRPr>
            </a:lvl4pPr>
            <a:lvl5pPr marL="2400300" indent="-205740">
              <a:buSzPct val="80000"/>
              <a:buFont typeface="Wingdings" charset="2"/>
              <a:buChar char="²"/>
              <a:defRPr sz="1440">
                <a:solidFill>
                  <a:srgbClr val="000000"/>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0" name="Segnaposto numero diapositiva 5"/>
          <p:cNvSpPr>
            <a:spLocks noGrp="1"/>
          </p:cNvSpPr>
          <p:nvPr>
            <p:ph type="sldNum" sz="quarter" idx="4"/>
          </p:nvPr>
        </p:nvSpPr>
        <p:spPr>
          <a:xfrm>
            <a:off x="11184565" y="6358098"/>
            <a:ext cx="609600" cy="365125"/>
          </a:xfrm>
          <a:prstGeom prst="rect">
            <a:avLst/>
          </a:prstGeom>
        </p:spPr>
        <p:txBody>
          <a:bodyPr vert="horz" lIns="91440" tIns="45720" rIns="91440" bIns="45720" rtlCol="0" anchor="t"/>
          <a:lstStyle>
            <a:lvl1pPr algn="l">
              <a:defRPr sz="1080">
                <a:solidFill>
                  <a:schemeClr val="bg1"/>
                </a:solidFill>
                <a:latin typeface="Arial"/>
                <a:cs typeface="Arial"/>
              </a:defRPr>
            </a:lvl1pPr>
          </a:lstStyle>
          <a:p>
            <a:fld id="{04F2263D-2B56-3241-AE08-5B72161B4332}" type="slidenum">
              <a:rPr lang="it-IT" smtClean="0"/>
              <a:pPr/>
              <a:t>‹#›</a:t>
            </a:fld>
            <a:endParaRPr lang="it-IT"/>
          </a:p>
        </p:txBody>
      </p:sp>
      <p:sp>
        <p:nvSpPr>
          <p:cNvPr id="11" name="Titolo 1"/>
          <p:cNvSpPr>
            <a:spLocks noGrp="1"/>
          </p:cNvSpPr>
          <p:nvPr>
            <p:ph type="title"/>
          </p:nvPr>
        </p:nvSpPr>
        <p:spPr>
          <a:xfrm>
            <a:off x="609600" y="140290"/>
            <a:ext cx="11055019" cy="423587"/>
          </a:xfrm>
          <a:prstGeom prst="rect">
            <a:avLst/>
          </a:prstGeom>
        </p:spPr>
        <p:txBody>
          <a:bodyPr lIns="0" tIns="0" rIns="0" bIns="0">
            <a:normAutofit/>
          </a:bodyPr>
          <a:lstStyle>
            <a:lvl1pPr>
              <a:defRPr sz="2640" b="1"/>
            </a:lvl1pPr>
          </a:lstStyle>
          <a:p>
            <a:r>
              <a:rPr lang="it-IT" dirty="0"/>
              <a:t>Fare clic per modificare stile</a:t>
            </a:r>
          </a:p>
        </p:txBody>
      </p:sp>
      <p:sp>
        <p:nvSpPr>
          <p:cNvPr id="15" name="Segnaposto testo 4"/>
          <p:cNvSpPr>
            <a:spLocks noGrp="1"/>
          </p:cNvSpPr>
          <p:nvPr>
            <p:ph type="body" sz="quarter" idx="10"/>
          </p:nvPr>
        </p:nvSpPr>
        <p:spPr>
          <a:xfrm>
            <a:off x="609600" y="563877"/>
            <a:ext cx="11055019" cy="344804"/>
          </a:xfrm>
          <a:prstGeom prst="rect">
            <a:avLst/>
          </a:prstGeom>
        </p:spPr>
        <p:txBody>
          <a:bodyPr vert="horz" lIns="0" tIns="0" rIns="0" bIns="0"/>
          <a:lstStyle>
            <a:lvl1pPr marL="0" indent="0">
              <a:buNone/>
              <a:defRPr sz="1920">
                <a:solidFill>
                  <a:srgbClr val="6E6E6E"/>
                </a:solidFill>
              </a:defRPr>
            </a:lvl1pPr>
          </a:lstStyle>
          <a:p>
            <a:pPr lvl="0"/>
            <a:r>
              <a:rPr lang="it-IT" dirty="0"/>
              <a:t>Fare clic per modificare gli stili del testo dello schema</a:t>
            </a:r>
          </a:p>
        </p:txBody>
      </p:sp>
    </p:spTree>
    <p:extLst>
      <p:ext uri="{BB962C8B-B14F-4D97-AF65-F5344CB8AC3E}">
        <p14:creationId xmlns:p14="http://schemas.microsoft.com/office/powerpoint/2010/main" val="25169799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Empty without line">
    <p:spTree>
      <p:nvGrpSpPr>
        <p:cNvPr id="1" name=""/>
        <p:cNvGrpSpPr/>
        <p:nvPr/>
      </p:nvGrpSpPr>
      <p:grpSpPr>
        <a:xfrm>
          <a:off x="0" y="0"/>
          <a:ext cx="0" cy="0"/>
          <a:chOff x="0" y="0"/>
          <a:chExt cx="0" cy="0"/>
        </a:xfrm>
      </p:grpSpPr>
      <p:sp>
        <p:nvSpPr>
          <p:cNvPr id="9" name="Espace réservé du numéro de diapositive 5"/>
          <p:cNvSpPr>
            <a:spLocks noGrp="1"/>
          </p:cNvSpPr>
          <p:nvPr>
            <p:ph type="sldNum" sz="quarter" idx="15"/>
          </p:nvPr>
        </p:nvSpPr>
        <p:spPr>
          <a:xfrm>
            <a:off x="480053" y="6080289"/>
            <a:ext cx="1377027" cy="589031"/>
          </a:xfrm>
          <a:prstGeom prst="rect">
            <a:avLst/>
          </a:prstGeom>
        </p:spPr>
        <p:txBody>
          <a:bodyPr/>
          <a:lstStyle/>
          <a:p>
            <a:fld id="{CCEA77D5-0B01-41C0-8AB2-471B057BD053}" type="slidenum">
              <a:rPr lang="en-CA" smtClean="0"/>
              <a:pPr/>
              <a:t>‹#›</a:t>
            </a:fld>
            <a:endParaRPr lang="en-CA" dirty="0"/>
          </a:p>
        </p:txBody>
      </p:sp>
      <p:sp>
        <p:nvSpPr>
          <p:cNvPr id="2" name="Rectangle 1"/>
          <p:cNvSpPr/>
          <p:nvPr userDrawn="1"/>
        </p:nvSpPr>
        <p:spPr>
          <a:xfrm>
            <a:off x="239349" y="332656"/>
            <a:ext cx="11952651" cy="5832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Tree>
    <p:extLst>
      <p:ext uri="{BB962C8B-B14F-4D97-AF65-F5344CB8AC3E}">
        <p14:creationId xmlns:p14="http://schemas.microsoft.com/office/powerpoint/2010/main" val="31111969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9419247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33333"/>
                </a:solidFill>
              </a:defRPr>
            </a:lvl1pPr>
          </a:lstStyle>
          <a:p>
            <a:r>
              <a:rPr lang="ja-JP" altLang="en-US"/>
              <a:t>マスター タイトルの書式設定</a:t>
            </a:r>
            <a:endParaRPr lang="en-US" dirty="0"/>
          </a:p>
        </p:txBody>
      </p:sp>
      <p:sp>
        <p:nvSpPr>
          <p:cNvPr id="7" name="Text Placeholder 2"/>
          <p:cNvSpPr>
            <a:spLocks noGrp="1"/>
          </p:cNvSpPr>
          <p:nvPr>
            <p:ph idx="1"/>
          </p:nvPr>
        </p:nvSpPr>
        <p:spPr>
          <a:xfrm>
            <a:off x="480484" y="1598671"/>
            <a:ext cx="11231949" cy="4237685"/>
          </a:xfrm>
          <a:prstGeom prst="rect">
            <a:avLst/>
          </a:prstGeom>
        </p:spPr>
        <p:txBody>
          <a:bodyPr vert="horz" lIns="0" tIns="45720" rIns="91440" bIns="45720" rtlCol="0">
            <a:noAutofit/>
          </a:bodyPr>
          <a:lstStyle>
            <a:lvl1pPr>
              <a:buClr>
                <a:srgbClr val="EA0437"/>
              </a:buClr>
              <a:defRPr/>
            </a:lvl1pPr>
            <a:lvl2pPr>
              <a:buClr>
                <a:srgbClr val="EA0437"/>
              </a:buClr>
              <a:defRPr/>
            </a:lvl2pPr>
            <a:lvl3pPr>
              <a:buClr>
                <a:srgbClr val="EA0437"/>
              </a:buClr>
              <a:defRPr/>
            </a:lvl3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Tree>
    <p:extLst>
      <p:ext uri="{BB962C8B-B14F-4D97-AF65-F5344CB8AC3E}">
        <p14:creationId xmlns:p14="http://schemas.microsoft.com/office/powerpoint/2010/main" val="370285501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6856177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343211407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7244381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09315124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244016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49741037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31341258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0049574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1957832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96209257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9800962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0076992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7953628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10085226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oleObject" Target="../embeddings/oleObject1.bin"/><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theme" Target="../theme/theme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image" Target="../media/image1.emf"/><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tags" Target="../tags/tag3.xml"/><Relationship Id="rId20" Type="http://schemas.openxmlformats.org/officeDocument/2006/relationships/slideLayout" Target="../slideLayouts/slideLayout61.xml"/><Relationship Id="rId41" Type="http://schemas.openxmlformats.org/officeDocument/2006/relationships/slideLayout" Target="../slideLayouts/slideLayout8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slideLayout" Target="../slideLayouts/slideLayout124.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slideLayout" Target="../slideLayouts/slideLayout127.xml"/><Relationship Id="rId47" Type="http://schemas.openxmlformats.org/officeDocument/2006/relationships/image" Target="../media/image1.emf"/><Relationship Id="rId7" Type="http://schemas.openxmlformats.org/officeDocument/2006/relationships/slideLayout" Target="../slideLayouts/slideLayout9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tags" Target="../tags/tag4.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4" Type="http://schemas.openxmlformats.org/officeDocument/2006/relationships/theme" Target="../theme/theme3.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slideLayout" Target="../slideLayouts/slideLayout128.xml"/><Relationship Id="rId8" Type="http://schemas.openxmlformats.org/officeDocument/2006/relationships/slideLayout" Target="../slideLayouts/slideLayout93.xml"/><Relationship Id="rId3" Type="http://schemas.openxmlformats.org/officeDocument/2006/relationships/slideLayout" Target="../slideLayouts/slideLayout88.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oleObject" Target="../embeddings/oleObject1.bin"/><Relationship Id="rId20" Type="http://schemas.openxmlformats.org/officeDocument/2006/relationships/slideLayout" Target="../slideLayouts/slideLayout105.xml"/><Relationship Id="rId41" Type="http://schemas.openxmlformats.org/officeDocument/2006/relationships/slideLayout" Target="../slideLayouts/slideLayout12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slideLayout" Target="../slideLayouts/slideLayout170.xml"/><Relationship Id="rId47" Type="http://schemas.openxmlformats.org/officeDocument/2006/relationships/tags" Target="../tags/tag5.xml"/><Relationship Id="rId7" Type="http://schemas.openxmlformats.org/officeDocument/2006/relationships/slideLayout" Target="../slideLayouts/slideLayout13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9" Type="http://schemas.openxmlformats.org/officeDocument/2006/relationships/slideLayout" Target="../slideLayouts/slideLayout157.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45" Type="http://schemas.openxmlformats.org/officeDocument/2006/relationships/slideLayout" Target="../slideLayouts/slideLayout173.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49" Type="http://schemas.openxmlformats.org/officeDocument/2006/relationships/image" Target="../media/image1.emf"/><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slideLayout" Target="../slideLayouts/slideLayout172.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slideLayout" Target="../slideLayouts/slideLayout171.xml"/><Relationship Id="rId48" Type="http://schemas.openxmlformats.org/officeDocument/2006/relationships/oleObject" Target="../embeddings/oleObject1.bin"/><Relationship Id="rId8" Type="http://schemas.openxmlformats.org/officeDocument/2006/relationships/slideLayout" Target="../slideLayouts/slideLayout136.xml"/><Relationship Id="rId3" Type="http://schemas.openxmlformats.org/officeDocument/2006/relationships/slideLayout" Target="../slideLayouts/slideLayout131.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 Id="rId46" Type="http://schemas.openxmlformats.org/officeDocument/2006/relationships/theme" Target="../theme/theme4.xml"/><Relationship Id="rId20" Type="http://schemas.openxmlformats.org/officeDocument/2006/relationships/slideLayout" Target="../slideLayouts/slideLayout148.xml"/><Relationship Id="rId41" Type="http://schemas.openxmlformats.org/officeDocument/2006/relationships/slideLayout" Target="../slideLayouts/slideLayout169.xml"/><Relationship Id="rId1" Type="http://schemas.openxmlformats.org/officeDocument/2006/relationships/slideLayout" Target="../slideLayouts/slideLayout129.xml"/><Relationship Id="rId6" Type="http://schemas.openxmlformats.org/officeDocument/2006/relationships/slideLayout" Target="../slideLayouts/slideLayout1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0606220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スライド" r:id="rId44" imgW="270" imgH="270" progId="TCLayout.ActiveDocument.1">
                  <p:embed/>
                </p:oleObj>
              </mc:Choice>
              <mc:Fallback>
                <p:oleObj name="think-cell スライド" r:id="rId44" imgW="270" imgH="270" progId="TCLayout.ActiveDocument.1">
                  <p:embed/>
                  <p:pic>
                    <p:nvPicPr>
                      <p:cNvPr id="0" name=""/>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8" r:id="rId24"/>
    <p:sldLayoutId id="2147483715" r:id="rId25"/>
    <p:sldLayoutId id="2147483716" r:id="rId26"/>
    <p:sldLayoutId id="2147483717"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968"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スライド" r:id="rId47" imgW="270" imgH="270" progId="TCLayout.ActiveDocument.1">
                  <p:embed/>
                </p:oleObj>
              </mc:Choice>
              <mc:Fallback>
                <p:oleObj name="think-cell スライド" r:id="rId47" imgW="270" imgH="270" progId="TCLayout.ActiveDocument.1">
                  <p:embed/>
                  <p:pic>
                    <p:nvPicPr>
                      <p:cNvPr id="4" name="Object 3" hidden="1"/>
                      <p:cNvPicPr/>
                      <p:nvPr/>
                    </p:nvPicPr>
                    <p:blipFill>
                      <a:blip r:embed="rId4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a:t>
            </a:r>
            <a:r>
              <a:rPr lang="en-US" altLang="ja-JP" sz="650" b="0" noProof="0" dirty="0">
                <a:solidFill>
                  <a:schemeClr val="tx1"/>
                </a:solidFill>
                <a:latin typeface="+mn-lt"/>
              </a:rPr>
              <a:t>9</a:t>
            </a:r>
            <a:r>
              <a:rPr lang="en-US" sz="650" b="0" noProof="0" dirty="0">
                <a:solidFill>
                  <a:schemeClr val="tx1"/>
                </a:solidFill>
                <a:latin typeface="+mn-lt"/>
              </a:rPr>
              <a:t>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896628546"/>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796" r:id="rId36"/>
    <p:sldLayoutId id="2147483797" r:id="rId37"/>
    <p:sldLayoutId id="2147483798" r:id="rId38"/>
    <p:sldLayoutId id="2147483799" r:id="rId39"/>
    <p:sldLayoutId id="2147483800" r:id="rId40"/>
    <p:sldLayoutId id="2147483802" r:id="rId41"/>
    <p:sldLayoutId id="2147483892" r:id="rId42"/>
    <p:sldLayoutId id="2147483967" r:id="rId43"/>
    <p:sldLayoutId id="2147484019" r:id="rId4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スライド" r:id="rId46" imgW="270" imgH="270" progId="TCLayout.ActiveDocument.1">
                  <p:embed/>
                </p:oleObj>
              </mc:Choice>
              <mc:Fallback>
                <p:oleObj name="think-cell スライド"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a:t>
            </a:r>
            <a:r>
              <a:rPr lang="en-US" altLang="ja-JP" sz="650" b="0" noProof="0" dirty="0">
                <a:solidFill>
                  <a:schemeClr val="tx1"/>
                </a:solidFill>
                <a:latin typeface="+mn-lt"/>
              </a:rPr>
              <a:t>9</a:t>
            </a:r>
            <a:r>
              <a:rPr lang="en-US" sz="650" b="0" noProof="0" dirty="0">
                <a:solidFill>
                  <a:schemeClr val="tx1"/>
                </a:solidFill>
                <a:latin typeface="+mn-lt"/>
              </a:rPr>
              <a:t>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433294928"/>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76" r:id="rId28"/>
    <p:sldLayoutId id="2147483877" r:id="rId29"/>
    <p:sldLayoutId id="2147483878" r:id="rId30"/>
    <p:sldLayoutId id="2147483879" r:id="rId31"/>
    <p:sldLayoutId id="2147483880" r:id="rId32"/>
    <p:sldLayoutId id="2147483881" r:id="rId33"/>
    <p:sldLayoutId id="2147483882" r:id="rId34"/>
    <p:sldLayoutId id="2147483883" r:id="rId35"/>
    <p:sldLayoutId id="2147483884" r:id="rId36"/>
    <p:sldLayoutId id="2147483885" r:id="rId37"/>
    <p:sldLayoutId id="2147483886" r:id="rId38"/>
    <p:sldLayoutId id="2147483887" r:id="rId39"/>
    <p:sldLayoutId id="2147483888" r:id="rId40"/>
    <p:sldLayoutId id="2147483890" r:id="rId41"/>
    <p:sldLayoutId id="2147483971" r:id="rId42"/>
    <p:sldLayoutId id="2147484020" r:id="rId43"/>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7"/>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スライド" r:id="rId48" imgW="270" imgH="270" progId="TCLayout.ActiveDocument.1">
                  <p:embed/>
                </p:oleObj>
              </mc:Choice>
              <mc:Fallback>
                <p:oleObj name="think-cell スライド" r:id="rId48" imgW="270" imgH="270" progId="TCLayout.ActiveDocument.1">
                  <p:embed/>
                  <p:pic>
                    <p:nvPicPr>
                      <p:cNvPr id="4" name="Object 3" hidden="1"/>
                      <p:cNvPicPr/>
                      <p:nvPr/>
                    </p:nvPicPr>
                    <p:blipFill>
                      <a:blip r:embed="rId4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8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729549885"/>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 id="2147483986" r:id="rId13"/>
    <p:sldLayoutId id="2147483987" r:id="rId14"/>
    <p:sldLayoutId id="2147483988" r:id="rId15"/>
    <p:sldLayoutId id="2147483989" r:id="rId16"/>
    <p:sldLayoutId id="2147483990" r:id="rId17"/>
    <p:sldLayoutId id="2147483991" r:id="rId18"/>
    <p:sldLayoutId id="2147483992" r:id="rId19"/>
    <p:sldLayoutId id="2147483993" r:id="rId20"/>
    <p:sldLayoutId id="2147483994" r:id="rId21"/>
    <p:sldLayoutId id="2147483995" r:id="rId22"/>
    <p:sldLayoutId id="2147483996" r:id="rId23"/>
    <p:sldLayoutId id="2147483997" r:id="rId24"/>
    <p:sldLayoutId id="2147483998" r:id="rId25"/>
    <p:sldLayoutId id="2147483999" r:id="rId26"/>
    <p:sldLayoutId id="2147484000" r:id="rId27"/>
    <p:sldLayoutId id="2147484001" r:id="rId28"/>
    <p:sldLayoutId id="2147484002" r:id="rId29"/>
    <p:sldLayoutId id="2147484003" r:id="rId30"/>
    <p:sldLayoutId id="2147484004" r:id="rId31"/>
    <p:sldLayoutId id="2147484005" r:id="rId32"/>
    <p:sldLayoutId id="2147484006" r:id="rId33"/>
    <p:sldLayoutId id="2147484007" r:id="rId34"/>
    <p:sldLayoutId id="2147484008" r:id="rId35"/>
    <p:sldLayoutId id="2147484009" r:id="rId36"/>
    <p:sldLayoutId id="2147484010" r:id="rId37"/>
    <p:sldLayoutId id="2147484011" r:id="rId38"/>
    <p:sldLayoutId id="2147484012" r:id="rId39"/>
    <p:sldLayoutId id="2147484013" r:id="rId40"/>
    <p:sldLayoutId id="2147484014" r:id="rId41"/>
    <p:sldLayoutId id="2147484015" r:id="rId42"/>
    <p:sldLayoutId id="2147484016" r:id="rId43"/>
    <p:sldLayoutId id="2147484017" r:id="rId44"/>
    <p:sldLayoutId id="2147484018" r:id="rId45"/>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7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4.xml"/></Relationships>
</file>

<file path=ppt/slides/_rels/slide1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1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5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7.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71.xml"/></Relationships>
</file>

<file path=ppt/slides/_rels/slide2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0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4.xml"/></Relationships>
</file>

<file path=ppt/slides/_rels/slide2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0.xml"/><Relationship Id="rId1" Type="http://schemas.openxmlformats.org/officeDocument/2006/relationships/slideLayout" Target="../slideLayouts/slideLayout5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4.xml"/></Relationships>
</file>

<file path=ppt/slides/_rels/slide2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3.xml"/><Relationship Id="rId1" Type="http://schemas.openxmlformats.org/officeDocument/2006/relationships/slideLayout" Target="../slideLayouts/slideLayout5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4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4.xml"/></Relationships>
</file>

<file path=ppt/slides/_rels/slide3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5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4.xml"/></Relationships>
</file>

<file path=ppt/slides/_rels/slide3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5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4.xml"/></Relationships>
</file>

<file path=ppt/slides/_rels/slide4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5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4.xml"/></Relationships>
</file>

<file path=ppt/slides/_rels/slide4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5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4.xml"/></Relationships>
</file>

<file path=ppt/slides/_rels/slide4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7.xml"/><Relationship Id="rId4" Type="http://schemas.openxmlformats.org/officeDocument/2006/relationships/image" Target="../media/image21.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7.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4.xml"/></Relationships>
</file>

<file path=ppt/slides/_rels/slide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376241A7-6BC0-48CD-8FCE-6D1C67706040}"/>
              </a:ext>
            </a:extLst>
          </p:cNvPr>
          <p:cNvSpPr>
            <a:spLocks noGrp="1"/>
          </p:cNvSpPr>
          <p:nvPr>
            <p:ph type="body" sz="quarter" idx="14"/>
          </p:nvPr>
        </p:nvSpPr>
        <p:spPr>
          <a:xfrm>
            <a:off x="537555" y="684671"/>
            <a:ext cx="11308707" cy="647700"/>
          </a:xfrm>
        </p:spPr>
        <p:txBody>
          <a:bodyPr/>
          <a:lstStyle/>
          <a:p>
            <a:r>
              <a:rPr lang="en-US" dirty="0">
                <a:solidFill>
                  <a:schemeClr val="tx1"/>
                </a:solidFill>
              </a:rPr>
              <a:t>Japan CCS had very similar results to other BUs; highly dependent on tribal knowledge yet through extraordinary effort able to overcome non-optimal enablers</a:t>
            </a:r>
          </a:p>
        </p:txBody>
      </p:sp>
      <p:sp>
        <p:nvSpPr>
          <p:cNvPr id="10" name="Title 3">
            <a:extLst>
              <a:ext uri="{FF2B5EF4-FFF2-40B4-BE49-F238E27FC236}">
                <a16:creationId xmlns:a16="http://schemas.microsoft.com/office/drawing/2014/main" id="{20E9761F-CC6F-467D-97D9-576DD53D98A9}"/>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lnSpc>
                <a:spcPct val="70000"/>
              </a:lnSpc>
              <a:spcBef>
                <a:spcPct val="0"/>
              </a:spcBef>
              <a:buNone/>
              <a:defRPr sz="2000" kern="1200">
                <a:solidFill>
                  <a:schemeClr val="tx1"/>
                </a:solidFill>
                <a:latin typeface="+mj-lt"/>
                <a:ea typeface="+mj-ea"/>
                <a:cs typeface="+mj-cs"/>
              </a:defRPr>
            </a:lvl1pPr>
          </a:lstStyle>
          <a:p>
            <a:r>
              <a:rPr lang="en-US" sz="2400" b="1" dirty="0"/>
              <a:t>Digital Development CMM Update (1/2) </a:t>
            </a:r>
            <a:br>
              <a:rPr lang="en-US" sz="2400" b="1" dirty="0"/>
            </a:br>
            <a:endParaRPr lang="en-US" sz="2400" b="1" dirty="0"/>
          </a:p>
        </p:txBody>
      </p:sp>
      <p:pic>
        <p:nvPicPr>
          <p:cNvPr id="4" name="図 3"/>
          <p:cNvPicPr>
            <a:picLocks noChangeAspect="1"/>
          </p:cNvPicPr>
          <p:nvPr/>
        </p:nvPicPr>
        <p:blipFill>
          <a:blip r:embed="rId2"/>
          <a:stretch>
            <a:fillRect/>
          </a:stretch>
        </p:blipFill>
        <p:spPr>
          <a:xfrm>
            <a:off x="187389" y="2107977"/>
            <a:ext cx="5267206" cy="3546281"/>
          </a:xfrm>
          <a:prstGeom prst="rect">
            <a:avLst/>
          </a:prstGeom>
        </p:spPr>
      </p:pic>
      <p:sp>
        <p:nvSpPr>
          <p:cNvPr id="8" name="Text Placeholder 3">
            <a:extLst>
              <a:ext uri="{FF2B5EF4-FFF2-40B4-BE49-F238E27FC236}">
                <a16:creationId xmlns:a16="http://schemas.microsoft.com/office/drawing/2014/main" id="{581DEEDD-FD6B-4FF8-8BA5-47BF4CE3F000}"/>
              </a:ext>
            </a:extLst>
          </p:cNvPr>
          <p:cNvSpPr txBox="1">
            <a:spLocks/>
          </p:cNvSpPr>
          <p:nvPr/>
        </p:nvSpPr>
        <p:spPr>
          <a:xfrm>
            <a:off x="5263763" y="1655634"/>
            <a:ext cx="6582499" cy="4450966"/>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accent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accent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accent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accent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81BC00"/>
              </a:buClr>
              <a:buSzPct val="75000"/>
              <a:buFont typeface="Arial" panose="020B0604020202020204" pitchFamily="34" charset="0"/>
              <a:buNone/>
              <a:tabLst/>
              <a:defRPr/>
            </a:pPr>
            <a:r>
              <a:rPr kumimoji="0" lang="en-US" sz="1400" b="1" i="0" u="sng" strike="noStrike" kern="1200" cap="none" spc="0" normalizeH="0" baseline="0" noProof="0" dirty="0">
                <a:ln>
                  <a:noFill/>
                </a:ln>
                <a:solidFill>
                  <a:srgbClr val="FF0000"/>
                </a:solidFill>
                <a:effectLst/>
                <a:uLnTx/>
                <a:uFillTx/>
                <a:latin typeface="Frutiger Next Pro Light"/>
                <a:ea typeface="+mn-ea"/>
                <a:cs typeface="+mn-cs"/>
              </a:rPr>
              <a:t>Preliminary Findings</a:t>
            </a:r>
          </a:p>
          <a:p>
            <a:pPr lvl="0">
              <a:spcBef>
                <a:spcPts val="600"/>
              </a:spcBef>
              <a:buClr>
                <a:srgbClr val="81BC00"/>
              </a:buClr>
              <a:defRPr/>
            </a:pPr>
            <a:r>
              <a:rPr lang="en-US" sz="1400" i="1" dirty="0">
                <a:solidFill>
                  <a:schemeClr val="tx1"/>
                </a:solidFill>
                <a:latin typeface="Frutiger Next Pro Light"/>
              </a:rPr>
              <a:t>Project / Portfolio Management </a:t>
            </a:r>
            <a:r>
              <a:rPr lang="en-US" sz="1200" b="1" dirty="0">
                <a:solidFill>
                  <a:schemeClr val="tx1"/>
                </a:solidFill>
                <a:latin typeface="Frutiger Next Pro Light"/>
              </a:rPr>
              <a:t>– </a:t>
            </a:r>
            <a:r>
              <a:rPr lang="en-US" sz="1200" dirty="0">
                <a:solidFill>
                  <a:schemeClr val="tx1"/>
                </a:solidFill>
                <a:latin typeface="Frutiger Next Pro Light"/>
              </a:rPr>
              <a:t>Capability is highly variable between teams / businesses and this </a:t>
            </a:r>
            <a:r>
              <a:rPr lang="en-US" sz="1200" b="1" dirty="0">
                <a:solidFill>
                  <a:schemeClr val="tx1"/>
                </a:solidFill>
                <a:latin typeface="Frutiger Next Pro Light"/>
              </a:rPr>
              <a:t>lack of standardization / single source of truth </a:t>
            </a:r>
            <a:r>
              <a:rPr lang="en-US" sz="1200" dirty="0">
                <a:solidFill>
                  <a:schemeClr val="tx1"/>
                </a:solidFill>
                <a:latin typeface="Frutiger Next Pro Light"/>
              </a:rPr>
              <a:t>limits Molex's effectiveness. Increasing capabilities in these areas </a:t>
            </a:r>
            <a:r>
              <a:rPr lang="en-US" sz="1200" b="1" dirty="0">
                <a:solidFill>
                  <a:schemeClr val="tx1"/>
                </a:solidFill>
                <a:latin typeface="Frutiger Next Pro Light"/>
              </a:rPr>
              <a:t>will allow Molex to transition from reactive to a proactive / agile organization</a:t>
            </a:r>
          </a:p>
          <a:p>
            <a:pPr marL="228600" marR="0" lvl="0" indent="-228600" algn="l" defTabSz="914400" rtl="0" eaLnBrk="1" fontAlgn="auto" latinLnBrk="0" hangingPunct="1">
              <a:lnSpc>
                <a:spcPct val="100000"/>
              </a:lnSpc>
              <a:spcBef>
                <a:spcPts val="600"/>
              </a:spcBef>
              <a:spcAft>
                <a:spcPts val="0"/>
              </a:spcAft>
              <a:buClr>
                <a:srgbClr val="81BC00"/>
              </a:buClr>
              <a:buSzPct val="75000"/>
              <a:buFont typeface="Arial" panose="020B0604020202020204" pitchFamily="34" charset="0"/>
              <a:buChar char="•"/>
              <a:tabLst/>
              <a:defRPr/>
            </a:pPr>
            <a:r>
              <a:rPr kumimoji="0" lang="en-US" sz="1400" i="1" u="none" strike="noStrike" kern="1200" cap="none" spc="0" normalizeH="0" baseline="0" noProof="0" dirty="0">
                <a:ln>
                  <a:noFill/>
                </a:ln>
                <a:solidFill>
                  <a:schemeClr val="tx1"/>
                </a:solidFill>
                <a:effectLst/>
                <a:uLnTx/>
                <a:uFillTx/>
                <a:latin typeface="Frutiger Next Pro Light"/>
                <a:ea typeface="+mn-ea"/>
                <a:cs typeface="+mn-cs"/>
              </a:rPr>
              <a:t>Variants &amp; Options Management </a:t>
            </a:r>
            <a:r>
              <a:rPr kumimoji="0" lang="en-US" sz="1200" b="0" i="0" u="none" strike="noStrike" kern="1200" cap="none" spc="0" normalizeH="0" baseline="0" noProof="0" dirty="0">
                <a:ln>
                  <a:noFill/>
                </a:ln>
                <a:solidFill>
                  <a:schemeClr val="tx1"/>
                </a:solidFill>
                <a:effectLst/>
                <a:uLnTx/>
                <a:uFillTx/>
                <a:latin typeface="Frutiger Next Pro Light"/>
                <a:ea typeface="+mn-ea"/>
                <a:cs typeface="+mn-cs"/>
              </a:rPr>
              <a:t>– </a:t>
            </a:r>
            <a:r>
              <a:rPr lang="en-US" sz="1200" dirty="0">
                <a:solidFill>
                  <a:schemeClr val="tx1"/>
                </a:solidFill>
                <a:latin typeface="Frutiger Next Pro Light"/>
              </a:rPr>
              <a:t>A concept that is </a:t>
            </a:r>
            <a:r>
              <a:rPr lang="en-US" sz="1200" b="1" dirty="0">
                <a:solidFill>
                  <a:schemeClr val="tx1"/>
                </a:solidFill>
                <a:latin typeface="Frutiger Next Pro Light"/>
              </a:rPr>
              <a:t>not currently being utilized anywhere within Molex</a:t>
            </a:r>
            <a:r>
              <a:rPr lang="en-US" sz="1200" dirty="0">
                <a:solidFill>
                  <a:schemeClr val="tx1"/>
                </a:solidFill>
                <a:latin typeface="Frutiger Next Pro Light"/>
              </a:rPr>
              <a:t>, but as the company transitions to complex engineered solutions there is an opportunity to incorporate. In the future, variation mgmt. can </a:t>
            </a:r>
            <a:r>
              <a:rPr lang="en-US" sz="1200" b="1" dirty="0">
                <a:solidFill>
                  <a:schemeClr val="tx1"/>
                </a:solidFill>
                <a:latin typeface="Frutiger Next Pro Light"/>
              </a:rPr>
              <a:t>decrease redundant / manual effort of maintaining duplicate BOMs and increase speed / effectiveness to customer demands</a:t>
            </a:r>
            <a:endParaRPr kumimoji="0" lang="en-US" sz="1200" b="1" i="0" u="none" strike="noStrike" kern="1200" cap="none" spc="0" normalizeH="0" baseline="0" noProof="0" dirty="0">
              <a:ln>
                <a:noFill/>
              </a:ln>
              <a:solidFill>
                <a:schemeClr val="tx1"/>
              </a:solidFill>
              <a:effectLst/>
              <a:uLnTx/>
              <a:uFillTx/>
              <a:latin typeface="Frutiger Next Pro Light"/>
              <a:ea typeface="+mn-ea"/>
              <a:cs typeface="+mn-cs"/>
            </a:endParaRPr>
          </a:p>
          <a:p>
            <a:pPr marL="228600" marR="0" lvl="0" indent="-228600" algn="l" defTabSz="914400" rtl="0" eaLnBrk="1" fontAlgn="auto" latinLnBrk="0" hangingPunct="1">
              <a:lnSpc>
                <a:spcPct val="100000"/>
              </a:lnSpc>
              <a:spcBef>
                <a:spcPts val="600"/>
              </a:spcBef>
              <a:spcAft>
                <a:spcPts val="0"/>
              </a:spcAft>
              <a:buClr>
                <a:srgbClr val="81BC00"/>
              </a:buClr>
              <a:buSzPct val="75000"/>
              <a:buFont typeface="Arial" panose="020B0604020202020204" pitchFamily="34" charset="0"/>
              <a:buChar char="•"/>
              <a:tabLst/>
              <a:defRPr/>
            </a:pPr>
            <a:r>
              <a:rPr kumimoji="0" lang="en-US" sz="1400" i="1" u="none" strike="noStrike" kern="1200" cap="none" spc="0" normalizeH="0" baseline="0" noProof="0" dirty="0">
                <a:ln>
                  <a:noFill/>
                </a:ln>
                <a:solidFill>
                  <a:schemeClr val="tx1"/>
                </a:solidFill>
                <a:effectLst/>
                <a:uLnTx/>
                <a:uFillTx/>
                <a:latin typeface="Frutiger Next Pro Light"/>
                <a:ea typeface="+mn-ea"/>
                <a:cs typeface="+mn-cs"/>
              </a:rPr>
              <a:t>Change Mgmt</a:t>
            </a:r>
            <a:r>
              <a:rPr kumimoji="0" lang="en-US" sz="1400" i="0" u="none" strike="noStrike" kern="1200" cap="none" spc="0" normalizeH="0" baseline="0" noProof="0" dirty="0">
                <a:ln>
                  <a:noFill/>
                </a:ln>
                <a:solidFill>
                  <a:schemeClr val="tx1"/>
                </a:solidFill>
                <a:effectLst/>
                <a:uLnTx/>
                <a:uFillTx/>
                <a:latin typeface="Frutiger Next Pro Light"/>
                <a:ea typeface="+mn-ea"/>
                <a:cs typeface="+mn-cs"/>
              </a:rPr>
              <a:t>. </a:t>
            </a:r>
            <a:r>
              <a:rPr kumimoji="0" lang="en-US" sz="1200" i="0" u="none" strike="noStrike" kern="1200" cap="none" spc="0" normalizeH="0" baseline="0" noProof="0" dirty="0">
                <a:ln>
                  <a:noFill/>
                </a:ln>
                <a:solidFill>
                  <a:schemeClr val="tx1"/>
                </a:solidFill>
                <a:effectLst/>
                <a:uLnTx/>
                <a:uFillTx/>
                <a:latin typeface="Frutiger Next Pro Light"/>
                <a:ea typeface="+mn-ea"/>
                <a:cs typeface="+mn-cs"/>
              </a:rPr>
              <a:t>– </a:t>
            </a:r>
            <a:r>
              <a:rPr lang="en-US" sz="1200" dirty="0">
                <a:solidFill>
                  <a:schemeClr val="tx1"/>
                </a:solidFill>
                <a:latin typeface="Frutiger Next Pro Light"/>
              </a:rPr>
              <a:t>A system is in place but quality of the change management process is </a:t>
            </a:r>
            <a:r>
              <a:rPr lang="en-US" sz="1200" b="1" dirty="0">
                <a:solidFill>
                  <a:schemeClr val="tx1"/>
                </a:solidFill>
                <a:latin typeface="Frutiger Next Pro Light"/>
              </a:rPr>
              <a:t>different depending on business / function</a:t>
            </a:r>
            <a:r>
              <a:rPr lang="en-US" sz="1200" dirty="0">
                <a:solidFill>
                  <a:schemeClr val="tx1"/>
                </a:solidFill>
                <a:latin typeface="Frutiger Next Pro Light"/>
              </a:rPr>
              <a:t>. A “standard global but flexible” change mgmt. process can ensure </a:t>
            </a:r>
            <a:r>
              <a:rPr lang="en-US" sz="1200" b="1" dirty="0">
                <a:solidFill>
                  <a:schemeClr val="tx1"/>
                </a:solidFill>
                <a:latin typeface="Frutiger Next Pro Light"/>
              </a:rPr>
              <a:t>cross-functional representation and appropriate rigor without decreasing speed to market</a:t>
            </a:r>
            <a:endParaRPr kumimoji="0" lang="en-US" sz="1200" b="1" i="0" u="none" strike="noStrike" kern="1200" cap="none" spc="0" normalizeH="0" baseline="0" noProof="0" dirty="0">
              <a:ln>
                <a:noFill/>
              </a:ln>
              <a:solidFill>
                <a:schemeClr val="tx1"/>
              </a:solidFill>
              <a:effectLst/>
              <a:uLnTx/>
              <a:uFillTx/>
              <a:latin typeface="Frutiger Next Pro Light"/>
              <a:ea typeface="+mn-ea"/>
              <a:cs typeface="+mn-cs"/>
            </a:endParaRPr>
          </a:p>
          <a:p>
            <a:pPr lvl="0">
              <a:spcBef>
                <a:spcPts val="600"/>
              </a:spcBef>
              <a:buClr>
                <a:srgbClr val="81BC00"/>
              </a:buClr>
              <a:defRPr/>
            </a:pPr>
            <a:r>
              <a:rPr kumimoji="0" lang="en-US" sz="1400" i="1" u="none" strike="noStrike" kern="1200" cap="none" spc="0" normalizeH="0" baseline="0" noProof="0" dirty="0">
                <a:ln>
                  <a:noFill/>
                </a:ln>
                <a:solidFill>
                  <a:schemeClr val="tx1"/>
                </a:solidFill>
                <a:effectLst/>
                <a:uLnTx/>
                <a:uFillTx/>
                <a:latin typeface="Frutiger Next Pro Light"/>
                <a:ea typeface="+mn-ea"/>
                <a:cs typeface="+mn-cs"/>
              </a:rPr>
              <a:t>Requirements Mgmt. </a:t>
            </a:r>
            <a:r>
              <a:rPr kumimoji="0" lang="en-US" sz="1200" b="1" i="0" u="none" strike="noStrike" kern="1200" cap="none" spc="0" normalizeH="0" baseline="0" noProof="0" dirty="0">
                <a:ln>
                  <a:noFill/>
                </a:ln>
                <a:solidFill>
                  <a:schemeClr val="tx1"/>
                </a:solidFill>
                <a:effectLst/>
                <a:uLnTx/>
                <a:uFillTx/>
                <a:latin typeface="Frutiger Next Pro Light"/>
                <a:ea typeface="+mn-ea"/>
                <a:cs typeface="+mn-cs"/>
              </a:rPr>
              <a:t>– </a:t>
            </a:r>
            <a:r>
              <a:rPr kumimoji="0" lang="en-US" sz="1200" i="0" u="none" strike="noStrike" kern="1200" cap="none" spc="0" normalizeH="0" baseline="0" noProof="0" dirty="0">
                <a:ln>
                  <a:noFill/>
                </a:ln>
                <a:solidFill>
                  <a:schemeClr val="tx1"/>
                </a:solidFill>
                <a:effectLst/>
                <a:uLnTx/>
                <a:uFillTx/>
                <a:latin typeface="Frutiger Next Pro Light"/>
              </a:rPr>
              <a:t>Consistent pressure to increase speed to market causes a </a:t>
            </a:r>
            <a:r>
              <a:rPr kumimoji="0" lang="en-US" sz="1200" b="1" i="0" u="none" strike="noStrike" kern="1200" cap="none" spc="0" normalizeH="0" baseline="0" noProof="0" dirty="0">
                <a:ln>
                  <a:noFill/>
                </a:ln>
                <a:solidFill>
                  <a:schemeClr val="tx1"/>
                </a:solidFill>
                <a:effectLst/>
                <a:uLnTx/>
                <a:uFillTx/>
                <a:latin typeface="Frutiger Next Pro Light"/>
              </a:rPr>
              <a:t>constant trade-off speed vs quality of the process</a:t>
            </a:r>
            <a:r>
              <a:rPr kumimoji="0" lang="en-US" sz="1200" i="0" u="none" strike="noStrike" kern="1200" cap="none" spc="0" normalizeH="0" baseline="0" noProof="0" dirty="0">
                <a:ln>
                  <a:noFill/>
                </a:ln>
                <a:solidFill>
                  <a:schemeClr val="tx1"/>
                </a:solidFill>
                <a:effectLst/>
                <a:uLnTx/>
                <a:uFillTx/>
                <a:latin typeface="Frutiger Next Pro Light"/>
              </a:rPr>
              <a:t>. </a:t>
            </a:r>
            <a:r>
              <a:rPr lang="en-US" sz="1200" dirty="0">
                <a:solidFill>
                  <a:schemeClr val="tx1"/>
                </a:solidFill>
                <a:latin typeface="Frutiger Next Pro Light"/>
              </a:rPr>
              <a:t>Manual linkage of requirements to designs/tests/results and downstream makes </a:t>
            </a:r>
            <a:r>
              <a:rPr lang="en-US" sz="1200" b="1" dirty="0">
                <a:solidFill>
                  <a:schemeClr val="tx1"/>
                </a:solidFill>
                <a:latin typeface="Frutiger Next Pro Light"/>
              </a:rPr>
              <a:t>managing change impacts, audits and traceability cumbersome</a:t>
            </a:r>
            <a:endParaRPr kumimoji="0" lang="en-US" sz="1200" b="1" i="0" u="none" strike="noStrike" kern="1200" cap="none" spc="0" normalizeH="0" baseline="0" noProof="0" dirty="0">
              <a:ln>
                <a:noFill/>
              </a:ln>
              <a:solidFill>
                <a:schemeClr val="tx1"/>
              </a:solidFill>
              <a:effectLst/>
              <a:uLnTx/>
              <a:uFillTx/>
              <a:latin typeface="Frutiger Next Pro Light"/>
            </a:endParaRPr>
          </a:p>
          <a:p>
            <a:pPr marL="228600" marR="0" lvl="0" indent="-228600" algn="l" defTabSz="914400" rtl="0" eaLnBrk="1" fontAlgn="auto" latinLnBrk="0" hangingPunct="1">
              <a:lnSpc>
                <a:spcPct val="100000"/>
              </a:lnSpc>
              <a:spcBef>
                <a:spcPts val="600"/>
              </a:spcBef>
              <a:spcAft>
                <a:spcPts val="0"/>
              </a:spcAft>
              <a:buClr>
                <a:srgbClr val="81BC00"/>
              </a:buClr>
              <a:buSzPct val="75000"/>
              <a:buFont typeface="Arial" panose="020B0604020202020204" pitchFamily="34" charset="0"/>
              <a:buChar char="•"/>
              <a:tabLst/>
              <a:defRPr/>
            </a:pPr>
            <a:r>
              <a:rPr kumimoji="0" lang="en-US" sz="1400" i="1" u="none" strike="noStrike" kern="1200" cap="none" spc="0" normalizeH="0" baseline="0" noProof="0" dirty="0">
                <a:ln>
                  <a:noFill/>
                </a:ln>
                <a:solidFill>
                  <a:schemeClr val="tx1"/>
                </a:solidFill>
                <a:effectLst/>
                <a:uLnTx/>
                <a:uFillTx/>
                <a:latin typeface="Frutiger Next Pro Light"/>
                <a:ea typeface="+mn-ea"/>
                <a:cs typeface="+mn-cs"/>
              </a:rPr>
              <a:t>Design for X </a:t>
            </a:r>
            <a:r>
              <a:rPr kumimoji="0" lang="en-US" sz="1200" b="1" i="0" u="none" strike="noStrike" kern="1200" cap="none" spc="0" normalizeH="0" baseline="0" noProof="0" dirty="0">
                <a:ln>
                  <a:noFill/>
                </a:ln>
                <a:solidFill>
                  <a:schemeClr val="tx1"/>
                </a:solidFill>
                <a:effectLst/>
                <a:uLnTx/>
                <a:uFillTx/>
                <a:latin typeface="Frutiger Next Pro Light"/>
                <a:ea typeface="+mn-ea"/>
                <a:cs typeface="+mn-cs"/>
              </a:rPr>
              <a:t>– </a:t>
            </a:r>
            <a:r>
              <a:rPr lang="en-US" sz="1200" b="1" noProof="0" dirty="0">
                <a:solidFill>
                  <a:schemeClr val="tx1"/>
                </a:solidFill>
                <a:latin typeface="Frutiger Next Pro Light"/>
              </a:rPr>
              <a:t>Vision for Molex is to be an innovation leader</a:t>
            </a:r>
            <a:r>
              <a:rPr lang="ja-JP" altLang="en-US" sz="1200" b="1" dirty="0">
                <a:solidFill>
                  <a:schemeClr val="tx1"/>
                </a:solidFill>
                <a:latin typeface="Frutiger Next Pro Light"/>
              </a:rPr>
              <a:t> </a:t>
            </a:r>
            <a:r>
              <a:rPr lang="en-US" altLang="ja-JP" sz="1200" dirty="0">
                <a:solidFill>
                  <a:schemeClr val="tx1"/>
                </a:solidFill>
                <a:latin typeface="Frutiger Next Pro Light"/>
              </a:rPr>
              <a:t>and all DfX elements that support this vision were prioritized (e.g. Marketplace, Mfg., etc.). As the company transitions to more integrated solutions, </a:t>
            </a:r>
            <a:r>
              <a:rPr lang="en-US" altLang="ja-JP" sz="1200" b="1" dirty="0">
                <a:solidFill>
                  <a:schemeClr val="tx1"/>
                </a:solidFill>
                <a:latin typeface="Frutiger Next Pro Light"/>
              </a:rPr>
              <a:t>eliminating functional silos and incorporating feedback early in design is vital</a:t>
            </a:r>
            <a:endParaRPr kumimoji="0" lang="en-US" sz="1400" b="1" i="0" u="none" strike="noStrike" kern="1200" cap="none" spc="0" normalizeH="0" baseline="0" noProof="0" dirty="0">
              <a:ln>
                <a:noFill/>
              </a:ln>
              <a:solidFill>
                <a:srgbClr val="000000"/>
              </a:solidFill>
              <a:effectLst/>
              <a:uLnTx/>
              <a:uFillTx/>
              <a:latin typeface="Frutiger Next Pro Light"/>
              <a:ea typeface="+mn-ea"/>
              <a:cs typeface="+mn-cs"/>
            </a:endParaRPr>
          </a:p>
        </p:txBody>
      </p:sp>
    </p:spTree>
    <p:extLst>
      <p:ext uri="{BB962C8B-B14F-4D97-AF65-F5344CB8AC3E}">
        <p14:creationId xmlns:p14="http://schemas.microsoft.com/office/powerpoint/2010/main" val="401025152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 name="Rectangle 29">
            <a:extLst>
              <a:ext uri="{FF2B5EF4-FFF2-40B4-BE49-F238E27FC236}">
                <a16:creationId xmlns:a16="http://schemas.microsoft.com/office/drawing/2014/main" id="{414A5754-2284-478E-B89D-4C6EBF43222D}"/>
              </a:ext>
            </a:extLst>
          </p:cNvPr>
          <p:cNvSpPr>
            <a:spLocks noChangeArrowheads="1"/>
          </p:cNvSpPr>
          <p:nvPr/>
        </p:nvSpPr>
        <p:spPr bwMode="auto">
          <a:xfrm>
            <a:off x="10127837" y="1335302"/>
            <a:ext cx="1225920" cy="123379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Digital/Automated communication extends to all disciplines, supply base and required customers to share impact of Changes</a:t>
            </a:r>
          </a:p>
        </p:txBody>
      </p:sp>
      <p:sp>
        <p:nvSpPr>
          <p:cNvPr id="303" name="Rectangle 29">
            <a:extLst>
              <a:ext uri="{FF2B5EF4-FFF2-40B4-BE49-F238E27FC236}">
                <a16:creationId xmlns:a16="http://schemas.microsoft.com/office/drawing/2014/main" id="{169FCFAF-039D-46BF-8602-4414C3564AEF}"/>
              </a:ext>
            </a:extLst>
          </p:cNvPr>
          <p:cNvSpPr>
            <a:spLocks noChangeArrowheads="1"/>
          </p:cNvSpPr>
          <p:nvPr/>
        </p:nvSpPr>
        <p:spPr bwMode="auto">
          <a:xfrm>
            <a:off x="8788620" y="1326047"/>
            <a:ext cx="1227352" cy="123379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Global CM dashboard with balanced metrics on risks, costs, timing and reason code that are all used for approval and allocation. </a:t>
            </a:r>
          </a:p>
        </p:txBody>
      </p:sp>
      <p:sp>
        <p:nvSpPr>
          <p:cNvPr id="304" name="Rectangle: Rounded Corners 303">
            <a:extLst>
              <a:ext uri="{FF2B5EF4-FFF2-40B4-BE49-F238E27FC236}">
                <a16:creationId xmlns:a16="http://schemas.microsoft.com/office/drawing/2014/main" id="{0A543C3D-C090-4466-B952-23F3FCE228FA}"/>
              </a:ext>
            </a:extLst>
          </p:cNvPr>
          <p:cNvSpPr>
            <a:spLocks noChangeArrowheads="1"/>
          </p:cNvSpPr>
          <p:nvPr/>
        </p:nvSpPr>
        <p:spPr bwMode="auto">
          <a:xfrm>
            <a:off x="7456676" y="1337762"/>
            <a:ext cx="1227352" cy="123379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Automated </a:t>
            </a:r>
            <a:r>
              <a:rPr lang="en-US" sz="800" kern="0" dirty="0">
                <a:solidFill>
                  <a:prstClr val="black"/>
                </a:solidFill>
                <a:latin typeface="Verdana"/>
                <a:ea typeface="Tahoma" pitchFamily="34" charset="0"/>
                <a:cs typeface="Tahoma" pitchFamily="34" charset="0"/>
              </a:rPr>
              <a:t>in</a:t>
            </a: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tegration across the enterprise (ERP, MES, CRM, purchasing systems) and key </a:t>
            </a:r>
            <a:r>
              <a:rPr lang="en-US" sz="800" kern="0" dirty="0">
                <a:solidFill>
                  <a:prstClr val="black"/>
                </a:solidFill>
                <a:latin typeface="Verdana"/>
                <a:ea typeface="Tahoma" pitchFamily="34" charset="0"/>
                <a:cs typeface="Tahoma" pitchFamily="34" charset="0"/>
              </a:rPr>
              <a:t>partners</a:t>
            </a:r>
            <a:endPar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endParaRPr>
          </a:p>
        </p:txBody>
      </p:sp>
      <p:sp>
        <p:nvSpPr>
          <p:cNvPr id="3" name="Slide Number Placeholder 2">
            <a:extLst>
              <a:ext uri="{FF2B5EF4-FFF2-40B4-BE49-F238E27FC236}">
                <a16:creationId xmlns:a16="http://schemas.microsoft.com/office/drawing/2014/main" id="{2072606D-E086-43BE-A778-BAEAF85D98E9}"/>
              </a:ext>
            </a:extLst>
          </p:cNvPr>
          <p:cNvSpPr>
            <a:spLocks noGrp="1"/>
          </p:cNvSpPr>
          <p:nvPr>
            <p:ph type="sldNum"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04F2263D-2B56-3241-AE08-5B72161B4332}" type="slidenum">
              <a:rPr kumimoji="0" lang="it-IT" sz="1080" b="0" i="0" u="none" strike="noStrike" kern="1200" cap="none" spc="0" normalizeH="0" baseline="0" noProof="0" smtClean="0">
                <a:ln>
                  <a:noFill/>
                </a:ln>
                <a:solidFill>
                  <a:prstClr val="white"/>
                </a:solidFill>
                <a:effectLst/>
                <a:uLnTx/>
                <a:uFillTx/>
                <a:latin typeface="Arial"/>
                <a:ea typeface="+mn-ea"/>
                <a:cs typeface="Arial"/>
              </a:rPr>
              <a:pPr marL="0" marR="0" lvl="0" indent="0" algn="l" defTabSz="1219170" rtl="0" eaLnBrk="1" fontAlgn="auto" latinLnBrk="0" hangingPunct="1">
                <a:lnSpc>
                  <a:spcPct val="100000"/>
                </a:lnSpc>
                <a:spcBef>
                  <a:spcPts val="0"/>
                </a:spcBef>
                <a:spcAft>
                  <a:spcPts val="0"/>
                </a:spcAft>
                <a:buClrTx/>
                <a:buSzTx/>
                <a:buFontTx/>
                <a:buNone/>
                <a:tabLst/>
                <a:defRPr/>
              </a:pPr>
              <a:t>10</a:t>
            </a:fld>
            <a:endParaRPr kumimoji="0" lang="it-IT" sz="1080" b="0" i="0" u="none" strike="noStrike" kern="1200" cap="none" spc="0" normalizeH="0" baseline="0" noProof="0" dirty="0">
              <a:ln>
                <a:noFill/>
              </a:ln>
              <a:solidFill>
                <a:prstClr val="white"/>
              </a:solidFill>
              <a:effectLst/>
              <a:uLnTx/>
              <a:uFillTx/>
              <a:latin typeface="Arial"/>
              <a:ea typeface="+mn-ea"/>
              <a:cs typeface="Arial"/>
            </a:endParaRPr>
          </a:p>
        </p:txBody>
      </p:sp>
      <p:sp>
        <p:nvSpPr>
          <p:cNvPr id="12" name="Rectangle 7">
            <a:extLst>
              <a:ext uri="{FF2B5EF4-FFF2-40B4-BE49-F238E27FC236}">
                <a16:creationId xmlns:a16="http://schemas.microsoft.com/office/drawing/2014/main" id="{89411D9C-053D-4946-839E-6D26F10068DD}"/>
              </a:ext>
            </a:extLst>
          </p:cNvPr>
          <p:cNvSpPr>
            <a:spLocks noChangeArrowheads="1"/>
          </p:cNvSpPr>
          <p:nvPr/>
        </p:nvSpPr>
        <p:spPr bwMode="auto">
          <a:xfrm>
            <a:off x="8795894" y="5428347"/>
            <a:ext cx="1227352" cy="600810"/>
          </a:xfrm>
          <a:prstGeom prst="roundRect">
            <a:avLst/>
          </a:prstGeom>
          <a:solidFill>
            <a:srgbClr val="414141"/>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schemeClr val="bg1"/>
                </a:solidFill>
                <a:effectLst/>
                <a:uLnTx/>
                <a:uFillTx/>
                <a:latin typeface="Verdana"/>
                <a:ea typeface="+mn-ea"/>
                <a:cs typeface="Tahoma" pitchFamily="34" charset="0"/>
              </a:rPr>
              <a:t>Metrics &amp; Dashboard</a:t>
            </a:r>
          </a:p>
        </p:txBody>
      </p:sp>
      <p:sp>
        <p:nvSpPr>
          <p:cNvPr id="13" name="Rectangle 21">
            <a:extLst>
              <a:ext uri="{FF2B5EF4-FFF2-40B4-BE49-F238E27FC236}">
                <a16:creationId xmlns:a16="http://schemas.microsoft.com/office/drawing/2014/main" id="{9494F342-742E-4F71-AB7B-2D1D9BBD3975}"/>
              </a:ext>
            </a:extLst>
          </p:cNvPr>
          <p:cNvSpPr>
            <a:spLocks noChangeArrowheads="1"/>
          </p:cNvSpPr>
          <p:nvPr/>
        </p:nvSpPr>
        <p:spPr bwMode="auto">
          <a:xfrm>
            <a:off x="8817404" y="4077072"/>
            <a:ext cx="1227350"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Only reason code tracked for Change Management</a:t>
            </a:r>
            <a:endParaRPr lang="en-US" sz="800" kern="0" dirty="0">
              <a:solidFill>
                <a:prstClr val="black"/>
              </a:solidFill>
              <a:latin typeface="Verdana"/>
              <a:ea typeface="Tahoma" pitchFamily="34" charset="0"/>
              <a:cs typeface="Tahoma" pitchFamily="34" charset="0"/>
            </a:endParaRPr>
          </a:p>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No standard CM dashboards </a:t>
            </a:r>
          </a:p>
        </p:txBody>
      </p:sp>
      <p:sp>
        <p:nvSpPr>
          <p:cNvPr id="15" name="Rectangle 37">
            <a:extLst>
              <a:ext uri="{FF2B5EF4-FFF2-40B4-BE49-F238E27FC236}">
                <a16:creationId xmlns:a16="http://schemas.microsoft.com/office/drawing/2014/main" id="{050EAE1C-5961-4EB4-BE7A-B5BFB705320B}"/>
              </a:ext>
            </a:extLst>
          </p:cNvPr>
          <p:cNvSpPr>
            <a:spLocks noChangeArrowheads="1"/>
          </p:cNvSpPr>
          <p:nvPr/>
        </p:nvSpPr>
        <p:spPr bwMode="auto">
          <a:xfrm>
            <a:off x="8795892" y="2790586"/>
            <a:ext cx="1227352" cy="102013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Limited number of metrics to track drivers for changes.</a:t>
            </a:r>
          </a:p>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 Manual dashboards created</a:t>
            </a:r>
            <a:r>
              <a:rPr lang="en-US" sz="800" kern="0" dirty="0">
                <a:solidFill>
                  <a:prstClr val="black"/>
                </a:solidFill>
                <a:latin typeface="Verdana"/>
                <a:ea typeface="Tahoma" pitchFamily="34" charset="0"/>
                <a:cs typeface="Tahoma" pitchFamily="34" charset="0"/>
              </a:rPr>
              <a:t> fir tracking/reporting</a:t>
            </a:r>
            <a:endPar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endParaRPr>
          </a:p>
        </p:txBody>
      </p:sp>
      <p:sp>
        <p:nvSpPr>
          <p:cNvPr id="16" name="Rectangle 8">
            <a:extLst>
              <a:ext uri="{FF2B5EF4-FFF2-40B4-BE49-F238E27FC236}">
                <a16:creationId xmlns:a16="http://schemas.microsoft.com/office/drawing/2014/main" id="{86FC1AB1-4EC3-47AE-B7BD-EFA316B6781A}"/>
              </a:ext>
            </a:extLst>
          </p:cNvPr>
          <p:cNvSpPr>
            <a:spLocks noChangeArrowheads="1"/>
          </p:cNvSpPr>
          <p:nvPr/>
        </p:nvSpPr>
        <p:spPr bwMode="auto">
          <a:xfrm>
            <a:off x="3504718" y="5413153"/>
            <a:ext cx="1228049" cy="600810"/>
          </a:xfrm>
          <a:prstGeom prst="roundRect">
            <a:avLst/>
          </a:prstGeom>
          <a:solidFill>
            <a:srgbClr val="414141"/>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schemeClr val="bg1"/>
                </a:solidFill>
                <a:effectLst/>
                <a:uLnTx/>
                <a:uFillTx/>
                <a:latin typeface="Verdana"/>
                <a:ea typeface="+mn-ea"/>
                <a:cs typeface="Tahoma" pitchFamily="34" charset="0"/>
              </a:rPr>
              <a:t>Workflow</a:t>
            </a:r>
          </a:p>
        </p:txBody>
      </p:sp>
      <p:sp>
        <p:nvSpPr>
          <p:cNvPr id="17" name="Rectangle 22">
            <a:extLst>
              <a:ext uri="{FF2B5EF4-FFF2-40B4-BE49-F238E27FC236}">
                <a16:creationId xmlns:a16="http://schemas.microsoft.com/office/drawing/2014/main" id="{FCEB742F-2B95-4737-BD11-314F2ECB33BF}"/>
              </a:ext>
            </a:extLst>
          </p:cNvPr>
          <p:cNvSpPr>
            <a:spLocks noChangeArrowheads="1"/>
          </p:cNvSpPr>
          <p:nvPr/>
        </p:nvSpPr>
        <p:spPr bwMode="auto">
          <a:xfrm>
            <a:off x="3504718" y="4077072"/>
            <a:ext cx="1228049"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Manual workflow for authorizing PRs and CRs and creating CO</a:t>
            </a:r>
          </a:p>
        </p:txBody>
      </p:sp>
      <p:sp>
        <p:nvSpPr>
          <p:cNvPr id="18" name="Rectangle 30">
            <a:extLst>
              <a:ext uri="{FF2B5EF4-FFF2-40B4-BE49-F238E27FC236}">
                <a16:creationId xmlns:a16="http://schemas.microsoft.com/office/drawing/2014/main" id="{B38F5789-7241-4B9A-8B01-899F8985D73C}"/>
              </a:ext>
            </a:extLst>
          </p:cNvPr>
          <p:cNvSpPr>
            <a:spLocks noChangeArrowheads="1"/>
          </p:cNvSpPr>
          <p:nvPr/>
        </p:nvSpPr>
        <p:spPr bwMode="auto">
          <a:xfrm>
            <a:off x="3502385" y="1278123"/>
            <a:ext cx="1235118" cy="123379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alt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Workflow is standardized across the enterprise &amp; provides full cross functional collaboration with automated flexibility for Fast Track with approval assignments</a:t>
            </a:r>
          </a:p>
        </p:txBody>
      </p:sp>
      <p:sp>
        <p:nvSpPr>
          <p:cNvPr id="19" name="Rectangle 38">
            <a:extLst>
              <a:ext uri="{FF2B5EF4-FFF2-40B4-BE49-F238E27FC236}">
                <a16:creationId xmlns:a16="http://schemas.microsoft.com/office/drawing/2014/main" id="{BBA0EE1C-D32C-48F7-96BF-80C5615662BA}"/>
              </a:ext>
            </a:extLst>
          </p:cNvPr>
          <p:cNvSpPr>
            <a:spLocks noChangeArrowheads="1"/>
          </p:cNvSpPr>
          <p:nvPr/>
        </p:nvSpPr>
        <p:spPr bwMode="auto">
          <a:xfrm>
            <a:off x="3504718" y="2790585"/>
            <a:ext cx="1228049" cy="102013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Workflow is well defined and electronic but has limited functionality &amp; some manual work</a:t>
            </a:r>
          </a:p>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lang="en-US" sz="800" kern="0" dirty="0">
                <a:solidFill>
                  <a:prstClr val="black"/>
                </a:solidFill>
                <a:latin typeface="Verdana"/>
                <a:ea typeface="Tahoma" pitchFamily="34" charset="0"/>
                <a:cs typeface="Tahoma" pitchFamily="34" charset="0"/>
              </a:rPr>
              <a:t>N</a:t>
            </a: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on-standardized fast track process</a:t>
            </a:r>
          </a:p>
        </p:txBody>
      </p:sp>
      <p:sp>
        <p:nvSpPr>
          <p:cNvPr id="20" name="Rectangle 9">
            <a:extLst>
              <a:ext uri="{FF2B5EF4-FFF2-40B4-BE49-F238E27FC236}">
                <a16:creationId xmlns:a16="http://schemas.microsoft.com/office/drawing/2014/main" id="{7BC9F924-93FE-4B5A-9695-F22B807F1D15}"/>
              </a:ext>
            </a:extLst>
          </p:cNvPr>
          <p:cNvSpPr>
            <a:spLocks noChangeArrowheads="1"/>
          </p:cNvSpPr>
          <p:nvPr/>
        </p:nvSpPr>
        <p:spPr bwMode="auto">
          <a:xfrm>
            <a:off x="789647" y="5420479"/>
            <a:ext cx="1263989" cy="600810"/>
          </a:xfrm>
          <a:prstGeom prst="roundRect">
            <a:avLst/>
          </a:prstGeom>
          <a:solidFill>
            <a:srgbClr val="414141"/>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schemeClr val="bg1"/>
                </a:solidFill>
                <a:effectLst/>
                <a:uLnTx/>
                <a:uFillTx/>
                <a:latin typeface="Verdana"/>
                <a:ea typeface="+mn-ea"/>
                <a:cs typeface="Tahoma" pitchFamily="34" charset="0"/>
              </a:rPr>
              <a:t>Process</a:t>
            </a:r>
          </a:p>
        </p:txBody>
      </p:sp>
      <p:sp>
        <p:nvSpPr>
          <p:cNvPr id="21" name="Rectangle: Rounded Corners 20">
            <a:extLst>
              <a:ext uri="{FF2B5EF4-FFF2-40B4-BE49-F238E27FC236}">
                <a16:creationId xmlns:a16="http://schemas.microsoft.com/office/drawing/2014/main" id="{0A33586C-9C7D-43B1-A6BF-802E3E8A4713}"/>
              </a:ext>
            </a:extLst>
          </p:cNvPr>
          <p:cNvSpPr>
            <a:spLocks noChangeArrowheads="1"/>
          </p:cNvSpPr>
          <p:nvPr/>
        </p:nvSpPr>
        <p:spPr bwMode="auto">
          <a:xfrm>
            <a:off x="789646" y="4077072"/>
            <a:ext cx="1270844"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Manual Change Management process with limited information flows and repositories</a:t>
            </a:r>
          </a:p>
        </p:txBody>
      </p:sp>
      <p:sp>
        <p:nvSpPr>
          <p:cNvPr id="22" name="Rectangle 31">
            <a:extLst>
              <a:ext uri="{FF2B5EF4-FFF2-40B4-BE49-F238E27FC236}">
                <a16:creationId xmlns:a16="http://schemas.microsoft.com/office/drawing/2014/main" id="{EC4B539B-08F3-43A3-B503-4D8441396FF5}"/>
              </a:ext>
            </a:extLst>
          </p:cNvPr>
          <p:cNvSpPr>
            <a:spLocks noChangeArrowheads="1"/>
          </p:cNvSpPr>
          <p:nvPr/>
        </p:nvSpPr>
        <p:spPr bwMode="auto">
          <a:xfrm>
            <a:off x="789645" y="1291355"/>
            <a:ext cx="1265786" cy="123379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A single global Change Management process that is closed loop from PR to CR to CO that is workflow enabled</a:t>
            </a:r>
          </a:p>
        </p:txBody>
      </p:sp>
      <p:sp>
        <p:nvSpPr>
          <p:cNvPr id="23" name="Rectangle 39">
            <a:extLst>
              <a:ext uri="{FF2B5EF4-FFF2-40B4-BE49-F238E27FC236}">
                <a16:creationId xmlns:a16="http://schemas.microsoft.com/office/drawing/2014/main" id="{41E8B736-F124-4478-AA78-E2E68413A3FB}"/>
              </a:ext>
            </a:extLst>
          </p:cNvPr>
          <p:cNvSpPr>
            <a:spLocks noChangeArrowheads="1"/>
          </p:cNvSpPr>
          <p:nvPr/>
        </p:nvSpPr>
        <p:spPr bwMode="auto">
          <a:xfrm>
            <a:off x="789646" y="2790585"/>
            <a:ext cx="1265785" cy="102013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Multiple Change Management processes that flow from PRs to CRs to COs</a:t>
            </a:r>
          </a:p>
        </p:txBody>
      </p:sp>
      <p:sp>
        <p:nvSpPr>
          <p:cNvPr id="24" name="Rectangle 4">
            <a:extLst>
              <a:ext uri="{FF2B5EF4-FFF2-40B4-BE49-F238E27FC236}">
                <a16:creationId xmlns:a16="http://schemas.microsoft.com/office/drawing/2014/main" id="{602B7306-A8E1-42ED-8ACD-E457CC0AAF9D}"/>
              </a:ext>
            </a:extLst>
          </p:cNvPr>
          <p:cNvSpPr>
            <a:spLocks noChangeArrowheads="1"/>
          </p:cNvSpPr>
          <p:nvPr/>
        </p:nvSpPr>
        <p:spPr bwMode="auto">
          <a:xfrm>
            <a:off x="2140806" y="5420479"/>
            <a:ext cx="1265470" cy="600810"/>
          </a:xfrm>
          <a:prstGeom prst="roundRect">
            <a:avLst/>
          </a:prstGeom>
          <a:solidFill>
            <a:srgbClr val="414141"/>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schemeClr val="bg1"/>
                </a:solidFill>
                <a:effectLst/>
                <a:uLnTx/>
                <a:uFillTx/>
                <a:latin typeface="Verdana"/>
                <a:ea typeface="+mn-ea"/>
                <a:cs typeface="Tahoma" pitchFamily="34" charset="0"/>
              </a:rPr>
              <a:t>Approval</a:t>
            </a:r>
          </a:p>
        </p:txBody>
      </p:sp>
      <p:sp>
        <p:nvSpPr>
          <p:cNvPr id="25" name="Rectangle 18">
            <a:extLst>
              <a:ext uri="{FF2B5EF4-FFF2-40B4-BE49-F238E27FC236}">
                <a16:creationId xmlns:a16="http://schemas.microsoft.com/office/drawing/2014/main" id="{9EE7E24C-A225-47B2-8E20-B22A8C3469A9}"/>
              </a:ext>
            </a:extLst>
          </p:cNvPr>
          <p:cNvSpPr>
            <a:spLocks noChangeArrowheads="1"/>
          </p:cNvSpPr>
          <p:nvPr/>
        </p:nvSpPr>
        <p:spPr bwMode="auto">
          <a:xfrm>
            <a:off x="2148498" y="4077072"/>
            <a:ext cx="1268212"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No Change Management Board or defined gate review process for approving changes</a:t>
            </a:r>
          </a:p>
        </p:txBody>
      </p:sp>
      <p:sp>
        <p:nvSpPr>
          <p:cNvPr id="26" name="Rectangle 26">
            <a:extLst>
              <a:ext uri="{FF2B5EF4-FFF2-40B4-BE49-F238E27FC236}">
                <a16:creationId xmlns:a16="http://schemas.microsoft.com/office/drawing/2014/main" id="{A8845EB9-3AD9-40A3-8BA0-D9D87BE9F403}"/>
              </a:ext>
            </a:extLst>
          </p:cNvPr>
          <p:cNvSpPr>
            <a:spLocks noChangeArrowheads="1"/>
          </p:cNvSpPr>
          <p:nvPr/>
        </p:nvSpPr>
        <p:spPr bwMode="auto">
          <a:xfrm>
            <a:off x="2153872" y="1271660"/>
            <a:ext cx="1269853" cy="123379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 Globally consistent approval process with pre-defined  cross functional Change Management Board and standard PR, CR and CO processes</a:t>
            </a:r>
          </a:p>
        </p:txBody>
      </p:sp>
      <p:sp>
        <p:nvSpPr>
          <p:cNvPr id="27" name="Rectangle 7">
            <a:extLst>
              <a:ext uri="{FF2B5EF4-FFF2-40B4-BE49-F238E27FC236}">
                <a16:creationId xmlns:a16="http://schemas.microsoft.com/office/drawing/2014/main" id="{550F40B6-D274-4BDD-BA85-E6BEF5BF6BEB}"/>
              </a:ext>
            </a:extLst>
          </p:cNvPr>
          <p:cNvSpPr>
            <a:spLocks noChangeArrowheads="1"/>
          </p:cNvSpPr>
          <p:nvPr/>
        </p:nvSpPr>
        <p:spPr bwMode="auto">
          <a:xfrm>
            <a:off x="6136193" y="5420479"/>
            <a:ext cx="1230823" cy="600810"/>
          </a:xfrm>
          <a:prstGeom prst="roundRect">
            <a:avLst/>
          </a:prstGeom>
          <a:solidFill>
            <a:srgbClr val="414141"/>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schemeClr val="bg1"/>
                </a:solidFill>
                <a:effectLst/>
                <a:uLnTx/>
                <a:uFillTx/>
                <a:latin typeface="Verdana"/>
                <a:ea typeface="+mn-ea"/>
                <a:cs typeface="Tahoma" pitchFamily="34" charset="0"/>
              </a:rPr>
              <a:t>Customer &amp; Supplier Change Management </a:t>
            </a:r>
          </a:p>
        </p:txBody>
      </p:sp>
      <p:sp>
        <p:nvSpPr>
          <p:cNvPr id="28" name="Rectangle 21">
            <a:extLst>
              <a:ext uri="{FF2B5EF4-FFF2-40B4-BE49-F238E27FC236}">
                <a16:creationId xmlns:a16="http://schemas.microsoft.com/office/drawing/2014/main" id="{0A989E20-2081-48AB-A18D-60AA3A53A360}"/>
              </a:ext>
            </a:extLst>
          </p:cNvPr>
          <p:cNvSpPr>
            <a:spLocks noChangeArrowheads="1"/>
          </p:cNvSpPr>
          <p:nvPr/>
        </p:nvSpPr>
        <p:spPr bwMode="auto">
          <a:xfrm>
            <a:off x="6136193" y="4088502"/>
            <a:ext cx="1230823"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Changes are “pushed” </a:t>
            </a:r>
            <a:r>
              <a:rPr lang="en-US" sz="800" kern="0" dirty="0">
                <a:solidFill>
                  <a:prstClr val="black"/>
                </a:solidFill>
                <a:latin typeface="Verdana"/>
                <a:ea typeface="Tahoma" pitchFamily="34" charset="0"/>
                <a:cs typeface="Tahoma" pitchFamily="34" charset="0"/>
              </a:rPr>
              <a:t>from/to Customers &amp; Suppliers with no involvement </a:t>
            </a:r>
          </a:p>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Manual incorporation with ad-hoc processes </a:t>
            </a:r>
          </a:p>
        </p:txBody>
      </p:sp>
      <p:sp>
        <p:nvSpPr>
          <p:cNvPr id="29" name="Rectangle 29">
            <a:extLst>
              <a:ext uri="{FF2B5EF4-FFF2-40B4-BE49-F238E27FC236}">
                <a16:creationId xmlns:a16="http://schemas.microsoft.com/office/drawing/2014/main" id="{AFF8977B-5255-4A34-AB01-73EFE68AC71C}"/>
              </a:ext>
            </a:extLst>
          </p:cNvPr>
          <p:cNvSpPr>
            <a:spLocks noChangeArrowheads="1"/>
          </p:cNvSpPr>
          <p:nvPr/>
        </p:nvSpPr>
        <p:spPr bwMode="auto">
          <a:xfrm>
            <a:off x="6136192" y="1299203"/>
            <a:ext cx="1229316" cy="123379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Standardized Customer and Supplier CM process with integrated workflows and shared metrics</a:t>
            </a:r>
          </a:p>
        </p:txBody>
      </p:sp>
      <p:sp>
        <p:nvSpPr>
          <p:cNvPr id="30" name="Rectangle 37">
            <a:extLst>
              <a:ext uri="{FF2B5EF4-FFF2-40B4-BE49-F238E27FC236}">
                <a16:creationId xmlns:a16="http://schemas.microsoft.com/office/drawing/2014/main" id="{19C05F41-7151-4195-AC60-EF5E1A09B2E6}"/>
              </a:ext>
            </a:extLst>
          </p:cNvPr>
          <p:cNvSpPr>
            <a:spLocks noChangeArrowheads="1"/>
          </p:cNvSpPr>
          <p:nvPr/>
        </p:nvSpPr>
        <p:spPr bwMode="auto">
          <a:xfrm>
            <a:off x="6136192" y="2790585"/>
            <a:ext cx="1229316" cy="102013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lang="en-US" sz="800" kern="0" dirty="0">
                <a:solidFill>
                  <a:prstClr val="black"/>
                </a:solidFill>
                <a:latin typeface="Verdana"/>
                <a:ea typeface="Tahoma" pitchFamily="34" charset="0"/>
                <a:cs typeface="Tahoma" pitchFamily="34" charset="0"/>
              </a:rPr>
              <a:t>Customers/Suppliers embedded into CM process, but unique processes for each</a:t>
            </a:r>
          </a:p>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Automated methods for managing these changes</a:t>
            </a:r>
          </a:p>
        </p:txBody>
      </p:sp>
      <p:sp>
        <p:nvSpPr>
          <p:cNvPr id="31" name="Rectangle 7">
            <a:extLst>
              <a:ext uri="{FF2B5EF4-FFF2-40B4-BE49-F238E27FC236}">
                <a16:creationId xmlns:a16="http://schemas.microsoft.com/office/drawing/2014/main" id="{D39C9F5B-464F-45C4-B3BE-E6006E5FBA4D}"/>
              </a:ext>
            </a:extLst>
          </p:cNvPr>
          <p:cNvSpPr>
            <a:spLocks noChangeArrowheads="1"/>
          </p:cNvSpPr>
          <p:nvPr/>
        </p:nvSpPr>
        <p:spPr bwMode="auto">
          <a:xfrm>
            <a:off x="7463948" y="5420479"/>
            <a:ext cx="1220080" cy="600810"/>
          </a:xfrm>
          <a:prstGeom prst="roundRect">
            <a:avLst/>
          </a:prstGeom>
          <a:solidFill>
            <a:srgbClr val="414141"/>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schemeClr val="bg1"/>
                </a:solidFill>
                <a:effectLst/>
                <a:uLnTx/>
                <a:uFillTx/>
                <a:latin typeface="Verdana"/>
                <a:ea typeface="+mn-ea"/>
                <a:cs typeface="Tahoma" pitchFamily="34" charset="0"/>
              </a:rPr>
              <a:t>Cross-Functional Integration &amp; Traceability</a:t>
            </a:r>
          </a:p>
        </p:txBody>
      </p:sp>
      <p:sp>
        <p:nvSpPr>
          <p:cNvPr id="32" name="Rectangle 21">
            <a:extLst>
              <a:ext uri="{FF2B5EF4-FFF2-40B4-BE49-F238E27FC236}">
                <a16:creationId xmlns:a16="http://schemas.microsoft.com/office/drawing/2014/main" id="{CE9FB38D-D95C-466E-ABAD-7E236803F08F}"/>
              </a:ext>
            </a:extLst>
          </p:cNvPr>
          <p:cNvSpPr>
            <a:spLocks noChangeArrowheads="1"/>
          </p:cNvSpPr>
          <p:nvPr/>
        </p:nvSpPr>
        <p:spPr bwMode="auto">
          <a:xfrm>
            <a:off x="7463948" y="4077072"/>
            <a:ext cx="1227352"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No integration between functions and across systems</a:t>
            </a:r>
          </a:p>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 Manual look-ups and rekeying required to trace changes across the value chain</a:t>
            </a:r>
          </a:p>
        </p:txBody>
      </p:sp>
      <p:sp>
        <p:nvSpPr>
          <p:cNvPr id="34" name="Rectangle 37">
            <a:extLst>
              <a:ext uri="{FF2B5EF4-FFF2-40B4-BE49-F238E27FC236}">
                <a16:creationId xmlns:a16="http://schemas.microsoft.com/office/drawing/2014/main" id="{30EBBA3F-4F54-463D-801A-71BB26E09363}"/>
              </a:ext>
            </a:extLst>
          </p:cNvPr>
          <p:cNvSpPr>
            <a:spLocks noChangeArrowheads="1"/>
          </p:cNvSpPr>
          <p:nvPr/>
        </p:nvSpPr>
        <p:spPr bwMode="auto">
          <a:xfrm>
            <a:off x="7463948" y="2790585"/>
            <a:ext cx="1227352" cy="102013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Integration between Product Development, Engineering and Manufacturing systems with common CO #s, some rekeying </a:t>
            </a:r>
          </a:p>
        </p:txBody>
      </p:sp>
      <p:sp>
        <p:nvSpPr>
          <p:cNvPr id="35" name="Rectangle 7">
            <a:extLst>
              <a:ext uri="{FF2B5EF4-FFF2-40B4-BE49-F238E27FC236}">
                <a16:creationId xmlns:a16="http://schemas.microsoft.com/office/drawing/2014/main" id="{CE1C586A-D42B-4698-9861-1613EA31EBBD}"/>
              </a:ext>
            </a:extLst>
          </p:cNvPr>
          <p:cNvSpPr>
            <a:spLocks noChangeArrowheads="1"/>
          </p:cNvSpPr>
          <p:nvPr/>
        </p:nvSpPr>
        <p:spPr bwMode="auto">
          <a:xfrm>
            <a:off x="4815407" y="5420479"/>
            <a:ext cx="1222344" cy="600810"/>
          </a:xfrm>
          <a:prstGeom prst="roundRect">
            <a:avLst/>
          </a:prstGeom>
          <a:solidFill>
            <a:srgbClr val="414141"/>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schemeClr val="bg1"/>
                </a:solidFill>
                <a:effectLst/>
                <a:uLnTx/>
                <a:uFillTx/>
                <a:latin typeface="Verdana"/>
                <a:ea typeface="+mn-ea"/>
                <a:cs typeface="Tahoma" pitchFamily="34" charset="0"/>
              </a:rPr>
              <a:t>Change Request Consolidation</a:t>
            </a:r>
          </a:p>
        </p:txBody>
      </p:sp>
      <p:sp>
        <p:nvSpPr>
          <p:cNvPr id="36" name="Rectangle 21">
            <a:extLst>
              <a:ext uri="{FF2B5EF4-FFF2-40B4-BE49-F238E27FC236}">
                <a16:creationId xmlns:a16="http://schemas.microsoft.com/office/drawing/2014/main" id="{5F0164DA-BEC8-46B2-883A-E18671F51262}"/>
              </a:ext>
            </a:extLst>
          </p:cNvPr>
          <p:cNvSpPr>
            <a:spLocks noChangeArrowheads="1"/>
          </p:cNvSpPr>
          <p:nvPr/>
        </p:nvSpPr>
        <p:spPr bwMode="auto">
          <a:xfrm>
            <a:off x="4812623" y="4077072"/>
            <a:ext cx="1225128"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No process in place for evaluating and consolidating CRs</a:t>
            </a:r>
          </a:p>
        </p:txBody>
      </p:sp>
      <p:sp>
        <p:nvSpPr>
          <p:cNvPr id="37" name="Rectangle 29">
            <a:extLst>
              <a:ext uri="{FF2B5EF4-FFF2-40B4-BE49-F238E27FC236}">
                <a16:creationId xmlns:a16="http://schemas.microsoft.com/office/drawing/2014/main" id="{A457F8E6-DAEF-4EB9-B2AC-B9023B889E96}"/>
              </a:ext>
            </a:extLst>
          </p:cNvPr>
          <p:cNvSpPr>
            <a:spLocks noChangeArrowheads="1"/>
          </p:cNvSpPr>
          <p:nvPr/>
        </p:nvSpPr>
        <p:spPr bwMode="auto">
          <a:xfrm>
            <a:off x="4815407" y="1299203"/>
            <a:ext cx="1222344" cy="123379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Globally consistent CR evaluation &amp; consolidation process with defined guidelines and approvals</a:t>
            </a:r>
          </a:p>
        </p:txBody>
      </p:sp>
      <p:sp>
        <p:nvSpPr>
          <p:cNvPr id="38" name="Rectangle: Rounded Corners 37">
            <a:extLst>
              <a:ext uri="{FF2B5EF4-FFF2-40B4-BE49-F238E27FC236}">
                <a16:creationId xmlns:a16="http://schemas.microsoft.com/office/drawing/2014/main" id="{0197D0A6-8E21-4A84-A462-567A5BC04396}"/>
              </a:ext>
            </a:extLst>
          </p:cNvPr>
          <p:cNvSpPr>
            <a:spLocks noChangeArrowheads="1"/>
          </p:cNvSpPr>
          <p:nvPr/>
        </p:nvSpPr>
        <p:spPr bwMode="auto">
          <a:xfrm>
            <a:off x="4812623" y="2790585"/>
            <a:ext cx="1225128" cy="102013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Ad-hoc CR consolidation process that varies by Business Unit / Product Line</a:t>
            </a:r>
          </a:p>
        </p:txBody>
      </p:sp>
      <p:sp>
        <p:nvSpPr>
          <p:cNvPr id="53" name="Rectangle 34">
            <a:extLst>
              <a:ext uri="{FF2B5EF4-FFF2-40B4-BE49-F238E27FC236}">
                <a16:creationId xmlns:a16="http://schemas.microsoft.com/office/drawing/2014/main" id="{AF8E69E6-0964-4A43-BA8E-0A4B75F11629}"/>
              </a:ext>
            </a:extLst>
          </p:cNvPr>
          <p:cNvSpPr>
            <a:spLocks noChangeArrowheads="1"/>
          </p:cNvSpPr>
          <p:nvPr/>
        </p:nvSpPr>
        <p:spPr bwMode="auto">
          <a:xfrm>
            <a:off x="2140806" y="2780930"/>
            <a:ext cx="1275904" cy="102013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Guidelines provided for evaluation of PRs &amp; CRs to create COs, but the process not standardized;</a:t>
            </a:r>
          </a:p>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lang="en-US" sz="800" kern="0" dirty="0">
                <a:solidFill>
                  <a:prstClr val="black"/>
                </a:solidFill>
                <a:latin typeface="Verdana"/>
                <a:ea typeface="Tahoma" pitchFamily="34" charset="0"/>
                <a:cs typeface="Tahoma" pitchFamily="34" charset="0"/>
              </a:rPr>
              <a:t>N</a:t>
            </a: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o Change Management Board</a:t>
            </a:r>
          </a:p>
        </p:txBody>
      </p:sp>
      <p:sp>
        <p:nvSpPr>
          <p:cNvPr id="54" name="Rectangle 7">
            <a:extLst>
              <a:ext uri="{FF2B5EF4-FFF2-40B4-BE49-F238E27FC236}">
                <a16:creationId xmlns:a16="http://schemas.microsoft.com/office/drawing/2014/main" id="{B21AC980-B638-43BB-8941-DFA5DF540DC8}"/>
              </a:ext>
            </a:extLst>
          </p:cNvPr>
          <p:cNvSpPr>
            <a:spLocks noChangeArrowheads="1"/>
          </p:cNvSpPr>
          <p:nvPr/>
        </p:nvSpPr>
        <p:spPr bwMode="auto">
          <a:xfrm>
            <a:off x="10135110" y="5420479"/>
            <a:ext cx="1225920" cy="600810"/>
          </a:xfrm>
          <a:prstGeom prst="roundRect">
            <a:avLst/>
          </a:prstGeom>
          <a:solidFill>
            <a:srgbClr val="414141"/>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schemeClr val="bg1"/>
                </a:solidFill>
                <a:effectLst/>
                <a:uLnTx/>
                <a:uFillTx/>
                <a:latin typeface="Verdana"/>
                <a:ea typeface="+mn-ea"/>
                <a:cs typeface="Tahoma" pitchFamily="34" charset="0"/>
              </a:rPr>
              <a:t>Change Order</a:t>
            </a:r>
            <a:br>
              <a:rPr kumimoji="0" lang="en-US" sz="800" b="1" i="0" u="none" strike="noStrike" kern="0" cap="none" spc="0" normalizeH="0" baseline="0" noProof="0" dirty="0">
                <a:ln>
                  <a:noFill/>
                </a:ln>
                <a:solidFill>
                  <a:schemeClr val="bg1"/>
                </a:solidFill>
                <a:effectLst/>
                <a:uLnTx/>
                <a:uFillTx/>
                <a:latin typeface="Verdana"/>
                <a:ea typeface="+mn-ea"/>
                <a:cs typeface="Tahoma" pitchFamily="34" charset="0"/>
              </a:rPr>
            </a:br>
            <a:r>
              <a:rPr kumimoji="0" lang="en-US" sz="800" b="1" i="0" u="none" strike="noStrike" kern="0" cap="none" spc="0" normalizeH="0" baseline="0" noProof="0" dirty="0">
                <a:ln>
                  <a:noFill/>
                </a:ln>
                <a:solidFill>
                  <a:schemeClr val="bg1"/>
                </a:solidFill>
                <a:effectLst/>
                <a:uLnTx/>
                <a:uFillTx/>
                <a:latin typeface="Verdana"/>
                <a:ea typeface="+mn-ea"/>
                <a:cs typeface="Tahoma" pitchFamily="34" charset="0"/>
              </a:rPr>
              <a:t>Communication</a:t>
            </a:r>
          </a:p>
        </p:txBody>
      </p:sp>
      <p:sp>
        <p:nvSpPr>
          <p:cNvPr id="55" name="Rectangle 21">
            <a:extLst>
              <a:ext uri="{FF2B5EF4-FFF2-40B4-BE49-F238E27FC236}">
                <a16:creationId xmlns:a16="http://schemas.microsoft.com/office/drawing/2014/main" id="{0C7F3625-DE96-4C66-8563-C96417A4DD3A}"/>
              </a:ext>
            </a:extLst>
          </p:cNvPr>
          <p:cNvSpPr>
            <a:spLocks noChangeArrowheads="1"/>
          </p:cNvSpPr>
          <p:nvPr/>
        </p:nvSpPr>
        <p:spPr bwMode="auto">
          <a:xfrm>
            <a:off x="10135110" y="4077072"/>
            <a:ext cx="1225920"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Communication of Changes is sporadic and intra-department based</a:t>
            </a:r>
          </a:p>
        </p:txBody>
      </p:sp>
      <p:sp>
        <p:nvSpPr>
          <p:cNvPr id="57" name="Rectangle 37">
            <a:extLst>
              <a:ext uri="{FF2B5EF4-FFF2-40B4-BE49-F238E27FC236}">
                <a16:creationId xmlns:a16="http://schemas.microsoft.com/office/drawing/2014/main" id="{86C3597B-88E8-473B-A093-D54E1D3DB4EF}"/>
              </a:ext>
            </a:extLst>
          </p:cNvPr>
          <p:cNvSpPr>
            <a:spLocks noChangeArrowheads="1"/>
          </p:cNvSpPr>
          <p:nvPr/>
        </p:nvSpPr>
        <p:spPr bwMode="auto">
          <a:xfrm>
            <a:off x="10135110" y="2790585"/>
            <a:ext cx="1225920" cy="102013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Communication is standard and structured but manual and requiring  multiple channels (email, dashboards, meetings)</a:t>
            </a:r>
          </a:p>
        </p:txBody>
      </p:sp>
      <p:sp>
        <p:nvSpPr>
          <p:cNvPr id="60" name="Text Box 11">
            <a:extLst>
              <a:ext uri="{FF2B5EF4-FFF2-40B4-BE49-F238E27FC236}">
                <a16:creationId xmlns:a16="http://schemas.microsoft.com/office/drawing/2014/main" id="{F24911B8-5282-4D31-9C31-3E70CA985F2B}"/>
              </a:ext>
            </a:extLst>
          </p:cNvPr>
          <p:cNvSpPr txBox="1">
            <a:spLocks noChangeArrowheads="1"/>
          </p:cNvSpPr>
          <p:nvPr/>
        </p:nvSpPr>
        <p:spPr bwMode="auto">
          <a:xfrm rot="-5400000">
            <a:off x="165906" y="4511543"/>
            <a:ext cx="574558" cy="312420"/>
          </a:xfrm>
          <a:prstGeom prst="rect">
            <a:avLst/>
          </a:prstGeom>
          <a:noFill/>
          <a:ln w="12700" algn="ctr">
            <a:noFill/>
            <a:miter lim="800000"/>
            <a:headEnd/>
            <a:tailEnd/>
          </a:ln>
        </p:spPr>
        <p:txBody>
          <a:bodyPr lIns="0" tIns="0" rIns="0" bIns="0" anchor="b"/>
          <a:lstStyle/>
          <a:p>
            <a:pPr marL="0" marR="0" lvl="0" indent="0" algn="ctr" defTabSz="1082040" rtl="0" eaLnBrk="0" fontAlgn="base" latinLnBrk="0" hangingPunct="0">
              <a:lnSpc>
                <a:spcPct val="90000"/>
              </a:lnSpc>
              <a:spcBef>
                <a:spcPct val="50000"/>
              </a:spcBef>
              <a:spcAft>
                <a:spcPct val="0"/>
              </a:spcAft>
              <a:buClr>
                <a:srgbClr val="8099CC"/>
              </a:buClr>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Low</a:t>
            </a:r>
          </a:p>
        </p:txBody>
      </p:sp>
      <p:sp>
        <p:nvSpPr>
          <p:cNvPr id="61" name="Text Box 12">
            <a:extLst>
              <a:ext uri="{FF2B5EF4-FFF2-40B4-BE49-F238E27FC236}">
                <a16:creationId xmlns:a16="http://schemas.microsoft.com/office/drawing/2014/main" id="{19BDB3AA-236D-4851-A698-4E2699C3EDDA}"/>
              </a:ext>
            </a:extLst>
          </p:cNvPr>
          <p:cNvSpPr txBox="1">
            <a:spLocks noChangeArrowheads="1"/>
          </p:cNvSpPr>
          <p:nvPr/>
        </p:nvSpPr>
        <p:spPr bwMode="auto">
          <a:xfrm rot="-5400000">
            <a:off x="109551" y="1641958"/>
            <a:ext cx="868768" cy="255455"/>
          </a:xfrm>
          <a:prstGeom prst="rect">
            <a:avLst/>
          </a:prstGeom>
          <a:noFill/>
          <a:ln w="12700" algn="ctr">
            <a:noFill/>
            <a:miter lim="800000"/>
            <a:headEnd/>
            <a:tailEnd/>
          </a:ln>
        </p:spPr>
        <p:txBody>
          <a:bodyPr wrap="square" lIns="0" rIns="0" anchor="b">
            <a:spAutoFit/>
          </a:bodyPr>
          <a:lstStyle/>
          <a:p>
            <a:pPr marL="0" marR="0" lvl="0" indent="0" algn="ctr" defTabSz="1097280" rtl="0" eaLnBrk="0" fontAlgn="base" latinLnBrk="0" hangingPunct="0">
              <a:lnSpc>
                <a:spcPct val="106000"/>
              </a:lnSpc>
              <a:spcBef>
                <a:spcPct val="50000"/>
              </a:spcBef>
              <a:spcAft>
                <a:spcPct val="0"/>
              </a:spcAft>
              <a:buClrTx/>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Advanced</a:t>
            </a:r>
          </a:p>
        </p:txBody>
      </p:sp>
      <p:sp>
        <p:nvSpPr>
          <p:cNvPr id="62" name="Text Box 13">
            <a:extLst>
              <a:ext uri="{FF2B5EF4-FFF2-40B4-BE49-F238E27FC236}">
                <a16:creationId xmlns:a16="http://schemas.microsoft.com/office/drawing/2014/main" id="{DBB33185-7C10-49D1-9A3F-B9F5DF65A314}"/>
              </a:ext>
            </a:extLst>
          </p:cNvPr>
          <p:cNvSpPr txBox="1">
            <a:spLocks noChangeArrowheads="1"/>
          </p:cNvSpPr>
          <p:nvPr/>
        </p:nvSpPr>
        <p:spPr bwMode="auto">
          <a:xfrm rot="-5400000">
            <a:off x="275657" y="3228691"/>
            <a:ext cx="544176" cy="255455"/>
          </a:xfrm>
          <a:prstGeom prst="rect">
            <a:avLst/>
          </a:prstGeom>
          <a:noFill/>
          <a:ln w="12700" algn="ctr">
            <a:noFill/>
            <a:miter lim="800000"/>
            <a:headEnd/>
            <a:tailEnd/>
          </a:ln>
        </p:spPr>
        <p:txBody>
          <a:bodyPr wrap="square" lIns="0" rIns="0" anchor="b">
            <a:spAutoFit/>
          </a:bodyPr>
          <a:lstStyle/>
          <a:p>
            <a:pPr marL="0" marR="0" lvl="0" indent="0" algn="ctr" defTabSz="1097280" rtl="0" eaLnBrk="0" fontAlgn="base" latinLnBrk="0" hangingPunct="0">
              <a:lnSpc>
                <a:spcPct val="106000"/>
              </a:lnSpc>
              <a:spcBef>
                <a:spcPct val="50000"/>
              </a:spcBef>
              <a:spcAft>
                <a:spcPct val="0"/>
              </a:spcAft>
              <a:buClrTx/>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Basic</a:t>
            </a:r>
          </a:p>
        </p:txBody>
      </p:sp>
      <p:sp>
        <p:nvSpPr>
          <p:cNvPr id="63" name="Text Box 28">
            <a:extLst>
              <a:ext uri="{FF2B5EF4-FFF2-40B4-BE49-F238E27FC236}">
                <a16:creationId xmlns:a16="http://schemas.microsoft.com/office/drawing/2014/main" id="{19D78A0B-A44A-4425-ACEB-E12213ADA8B8}"/>
              </a:ext>
            </a:extLst>
          </p:cNvPr>
          <p:cNvSpPr txBox="1">
            <a:spLocks noChangeArrowheads="1"/>
          </p:cNvSpPr>
          <p:nvPr/>
        </p:nvSpPr>
        <p:spPr bwMode="auto">
          <a:xfrm>
            <a:off x="469900" y="935529"/>
            <a:ext cx="822946" cy="241595"/>
          </a:xfrm>
          <a:prstGeom prst="rect">
            <a:avLst/>
          </a:prstGeom>
          <a:noFill/>
          <a:ln w="25400">
            <a:noFill/>
            <a:miter lim="800000"/>
            <a:headEnd/>
            <a:tailEnd type="none" w="med" len="lg"/>
          </a:ln>
        </p:spPr>
        <p:txBody>
          <a:bodyPr wrap="square" lIns="0" tIns="54859" rIns="109718" bIns="54859">
            <a:spAutoFit/>
          </a:bodyPr>
          <a:lstStyle/>
          <a:p>
            <a:pPr marL="274320" marR="0" lvl="0" indent="-274320" algn="r" defTabSz="1082040" rtl="0" eaLnBrk="0" fontAlgn="base" latinLnBrk="0" hangingPunct="0">
              <a:lnSpc>
                <a:spcPct val="85000"/>
              </a:lnSpc>
              <a:spcBef>
                <a:spcPct val="0"/>
              </a:spcBef>
              <a:spcAft>
                <a:spcPct val="0"/>
              </a:spcAft>
              <a:buClr>
                <a:srgbClr val="8099CC"/>
              </a:buClr>
              <a:buSzTx/>
              <a:buFontTx/>
              <a:buNone/>
              <a:tabLst/>
              <a:defRPr/>
            </a:pPr>
            <a:r>
              <a:rPr kumimoji="0" lang="en-US" altLang="en-US" sz="1000" b="1" i="0" u="none" strike="noStrike" kern="1200" cap="none" spc="0" normalizeH="0" baseline="0" noProof="0" dirty="0">
                <a:ln>
                  <a:noFill/>
                </a:ln>
                <a:solidFill>
                  <a:prstClr val="black"/>
                </a:solidFill>
                <a:effectLst/>
                <a:uLnTx/>
                <a:uFillTx/>
                <a:latin typeface="Verdana"/>
                <a:ea typeface="+mn-ea"/>
                <a:cs typeface="Arial" charset="0"/>
              </a:rPr>
              <a:t>Maturity</a:t>
            </a:r>
          </a:p>
        </p:txBody>
      </p:sp>
      <p:sp>
        <p:nvSpPr>
          <p:cNvPr id="64" name="Line 15">
            <a:extLst>
              <a:ext uri="{FF2B5EF4-FFF2-40B4-BE49-F238E27FC236}">
                <a16:creationId xmlns:a16="http://schemas.microsoft.com/office/drawing/2014/main" id="{5677187E-8D5F-4D9D-AEFC-DBC6A97E6608}"/>
              </a:ext>
            </a:extLst>
          </p:cNvPr>
          <p:cNvSpPr>
            <a:spLocks noChangeShapeType="1"/>
          </p:cNvSpPr>
          <p:nvPr/>
        </p:nvSpPr>
        <p:spPr bwMode="auto">
          <a:xfrm flipV="1">
            <a:off x="713232" y="1299203"/>
            <a:ext cx="0" cy="4031776"/>
          </a:xfrm>
          <a:prstGeom prst="line">
            <a:avLst/>
          </a:prstGeom>
          <a:noFill/>
          <a:ln w="38100">
            <a:solidFill>
              <a:schemeClr val="tx1"/>
            </a:solidFill>
            <a:round/>
            <a:headEnd/>
            <a:tailEnd type="triangle" w="med" len="med"/>
          </a:ln>
        </p:spPr>
        <p:txBody>
          <a:bodyPr/>
          <a:lstStyle/>
          <a:p>
            <a:pPr marL="0" marR="0" lvl="0" indent="0" algn="l" defTabSz="1097280" rtl="0" eaLnBrk="0" fontAlgn="auto" latinLnBrk="0" hangingPunct="0">
              <a:lnSpc>
                <a:spcPct val="106000"/>
              </a:lnSpc>
              <a:spcBef>
                <a:spcPct val="50000"/>
              </a:spcBef>
              <a:spcAft>
                <a:spcPts val="0"/>
              </a:spcAft>
              <a:buClrTx/>
              <a:buSzPct val="100000"/>
              <a:buFontTx/>
              <a:buNone/>
              <a:tabLst/>
              <a:defRPr/>
            </a:pPr>
            <a:endParaRPr kumimoji="0" lang="en-US" sz="800" b="0" i="0" u="none" strike="noStrike" kern="0" cap="none" spc="0" normalizeH="0" baseline="0" noProof="0" dirty="0">
              <a:ln>
                <a:noFill/>
              </a:ln>
              <a:solidFill>
                <a:prstClr val="black"/>
              </a:solidFill>
              <a:effectLst/>
              <a:uLnTx/>
              <a:uFillTx/>
              <a:latin typeface="Verdana"/>
              <a:ea typeface="+mn-ea"/>
              <a:cs typeface="Arial" charset="0"/>
            </a:endParaRPr>
          </a:p>
        </p:txBody>
      </p:sp>
      <p:sp>
        <p:nvSpPr>
          <p:cNvPr id="65" name="Line 16">
            <a:extLst>
              <a:ext uri="{FF2B5EF4-FFF2-40B4-BE49-F238E27FC236}">
                <a16:creationId xmlns:a16="http://schemas.microsoft.com/office/drawing/2014/main" id="{23A4D140-9BE4-4DF8-AB8F-90D63AE68C7E}"/>
              </a:ext>
            </a:extLst>
          </p:cNvPr>
          <p:cNvSpPr>
            <a:spLocks noChangeShapeType="1"/>
          </p:cNvSpPr>
          <p:nvPr/>
        </p:nvSpPr>
        <p:spPr bwMode="auto">
          <a:xfrm flipV="1">
            <a:off x="694414" y="5330980"/>
            <a:ext cx="10290659" cy="0"/>
          </a:xfrm>
          <a:prstGeom prst="line">
            <a:avLst/>
          </a:prstGeom>
          <a:noFill/>
          <a:ln w="38100">
            <a:solidFill>
              <a:schemeClr val="tx1"/>
            </a:solidFill>
            <a:round/>
            <a:headEnd/>
            <a:tailEnd/>
          </a:ln>
        </p:spPr>
        <p:txBody>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Verdana"/>
              <a:ea typeface="+mn-ea"/>
              <a:cs typeface="Arial" charset="0"/>
            </a:endParaRPr>
          </a:p>
        </p:txBody>
      </p:sp>
      <p:cxnSp>
        <p:nvCxnSpPr>
          <p:cNvPr id="66" name="Straight Arrow Connector 65">
            <a:extLst>
              <a:ext uri="{FF2B5EF4-FFF2-40B4-BE49-F238E27FC236}">
                <a16:creationId xmlns:a16="http://schemas.microsoft.com/office/drawing/2014/main" id="{823A0C62-E1AE-4430-BFFB-9D6874BE8F63}"/>
              </a:ext>
            </a:extLst>
          </p:cNvPr>
          <p:cNvCxnSpPr>
            <a:cxnSpLocks/>
          </p:cNvCxnSpPr>
          <p:nvPr/>
        </p:nvCxnSpPr>
        <p:spPr>
          <a:xfrm flipV="1">
            <a:off x="10748070" y="2563661"/>
            <a:ext cx="0" cy="22692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8" name="Straight Arrow Connector 67">
            <a:extLst>
              <a:ext uri="{FF2B5EF4-FFF2-40B4-BE49-F238E27FC236}">
                <a16:creationId xmlns:a16="http://schemas.microsoft.com/office/drawing/2014/main" id="{E6AC8705-C563-4EB1-91AC-41FBBFE53E22}"/>
              </a:ext>
            </a:extLst>
          </p:cNvPr>
          <p:cNvCxnSpPr>
            <a:cxnSpLocks/>
          </p:cNvCxnSpPr>
          <p:nvPr/>
        </p:nvCxnSpPr>
        <p:spPr>
          <a:xfrm flipV="1">
            <a:off x="9409569" y="2551947"/>
            <a:ext cx="1" cy="238639"/>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0" name="Straight Arrow Connector 69">
            <a:extLst>
              <a:ext uri="{FF2B5EF4-FFF2-40B4-BE49-F238E27FC236}">
                <a16:creationId xmlns:a16="http://schemas.microsoft.com/office/drawing/2014/main" id="{C1E8D061-D81F-435C-8B7C-5156A6F95EAF}"/>
              </a:ext>
            </a:extLst>
          </p:cNvPr>
          <p:cNvCxnSpPr>
            <a:cxnSpLocks/>
          </p:cNvCxnSpPr>
          <p:nvPr/>
        </p:nvCxnSpPr>
        <p:spPr>
          <a:xfrm flipV="1">
            <a:off x="8077624" y="2554100"/>
            <a:ext cx="1" cy="23648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2" name="Straight Arrow Connector 71">
            <a:extLst>
              <a:ext uri="{FF2B5EF4-FFF2-40B4-BE49-F238E27FC236}">
                <a16:creationId xmlns:a16="http://schemas.microsoft.com/office/drawing/2014/main" id="{FF9E7ADE-0E5C-49BD-80AF-80A853E62F64}"/>
              </a:ext>
            </a:extLst>
          </p:cNvPr>
          <p:cNvCxnSpPr>
            <a:cxnSpLocks/>
          </p:cNvCxnSpPr>
          <p:nvPr/>
        </p:nvCxnSpPr>
        <p:spPr>
          <a:xfrm flipV="1">
            <a:off x="6750850" y="2527317"/>
            <a:ext cx="0" cy="263268"/>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4" name="Straight Arrow Connector 73">
            <a:extLst>
              <a:ext uri="{FF2B5EF4-FFF2-40B4-BE49-F238E27FC236}">
                <a16:creationId xmlns:a16="http://schemas.microsoft.com/office/drawing/2014/main" id="{16146153-9D69-409F-B987-D60F0F8B3344}"/>
              </a:ext>
            </a:extLst>
          </p:cNvPr>
          <p:cNvCxnSpPr>
            <a:cxnSpLocks/>
            <a:endCxn id="37" idx="2"/>
          </p:cNvCxnSpPr>
          <p:nvPr/>
        </p:nvCxnSpPr>
        <p:spPr>
          <a:xfrm flipV="1">
            <a:off x="5425187" y="2532994"/>
            <a:ext cx="1392" cy="2575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6" name="Straight Arrow Connector 75">
            <a:extLst>
              <a:ext uri="{FF2B5EF4-FFF2-40B4-BE49-F238E27FC236}">
                <a16:creationId xmlns:a16="http://schemas.microsoft.com/office/drawing/2014/main" id="{FA9B1233-6371-40EF-92E9-457673F7BD54}"/>
              </a:ext>
            </a:extLst>
          </p:cNvPr>
          <p:cNvCxnSpPr>
            <a:cxnSpLocks/>
          </p:cNvCxnSpPr>
          <p:nvPr/>
        </p:nvCxnSpPr>
        <p:spPr>
          <a:xfrm flipH="1" flipV="1">
            <a:off x="4115208" y="2511718"/>
            <a:ext cx="3536" cy="278868"/>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8" name="Straight Arrow Connector 77">
            <a:extLst>
              <a:ext uri="{FF2B5EF4-FFF2-40B4-BE49-F238E27FC236}">
                <a16:creationId xmlns:a16="http://schemas.microsoft.com/office/drawing/2014/main" id="{E286CCDB-280F-420B-B514-3B357BE1628A}"/>
              </a:ext>
            </a:extLst>
          </p:cNvPr>
          <p:cNvCxnSpPr>
            <a:cxnSpLocks/>
          </p:cNvCxnSpPr>
          <p:nvPr/>
        </p:nvCxnSpPr>
        <p:spPr>
          <a:xfrm flipH="1" flipV="1">
            <a:off x="2776119" y="2511776"/>
            <a:ext cx="2639" cy="26915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0975436C-561A-4CE0-B933-F8FB024B2CCB}"/>
              </a:ext>
            </a:extLst>
          </p:cNvPr>
          <p:cNvCxnSpPr>
            <a:cxnSpLocks/>
          </p:cNvCxnSpPr>
          <p:nvPr/>
        </p:nvCxnSpPr>
        <p:spPr>
          <a:xfrm flipH="1" flipV="1">
            <a:off x="1422538" y="2525146"/>
            <a:ext cx="1" cy="265439"/>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0F85670A-C096-4DC3-A4B9-0AA541E48CA5}"/>
              </a:ext>
            </a:extLst>
          </p:cNvPr>
          <p:cNvCxnSpPr>
            <a:cxnSpLocks/>
          </p:cNvCxnSpPr>
          <p:nvPr/>
        </p:nvCxnSpPr>
        <p:spPr>
          <a:xfrm flipH="1" flipV="1">
            <a:off x="1422539" y="3810715"/>
            <a:ext cx="2530" cy="26635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6" name="Straight Arrow Connector 85">
            <a:extLst>
              <a:ext uri="{FF2B5EF4-FFF2-40B4-BE49-F238E27FC236}">
                <a16:creationId xmlns:a16="http://schemas.microsoft.com/office/drawing/2014/main" id="{550CA6A6-00ED-4A54-AF29-756653ECEB72}"/>
              </a:ext>
            </a:extLst>
          </p:cNvPr>
          <p:cNvCxnSpPr>
            <a:cxnSpLocks/>
          </p:cNvCxnSpPr>
          <p:nvPr/>
        </p:nvCxnSpPr>
        <p:spPr>
          <a:xfrm flipH="1" flipV="1">
            <a:off x="2778759" y="3810715"/>
            <a:ext cx="3846" cy="266358"/>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D91197F6-DA2A-4F54-BD36-2EF3A0627929}"/>
              </a:ext>
            </a:extLst>
          </p:cNvPr>
          <p:cNvCxnSpPr>
            <a:cxnSpLocks/>
          </p:cNvCxnSpPr>
          <p:nvPr/>
        </p:nvCxnSpPr>
        <p:spPr>
          <a:xfrm flipV="1">
            <a:off x="4118742" y="3810715"/>
            <a:ext cx="0" cy="26635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DFC844BA-026D-4186-A007-9E3261102FD0}"/>
              </a:ext>
            </a:extLst>
          </p:cNvPr>
          <p:cNvCxnSpPr>
            <a:cxnSpLocks/>
          </p:cNvCxnSpPr>
          <p:nvPr/>
        </p:nvCxnSpPr>
        <p:spPr>
          <a:xfrm flipV="1">
            <a:off x="5425187" y="3810715"/>
            <a:ext cx="0" cy="26635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2" name="Straight Arrow Connector 91">
            <a:extLst>
              <a:ext uri="{FF2B5EF4-FFF2-40B4-BE49-F238E27FC236}">
                <a16:creationId xmlns:a16="http://schemas.microsoft.com/office/drawing/2014/main" id="{CC5B4516-F295-4D71-8F11-57F280DCD570}"/>
              </a:ext>
            </a:extLst>
          </p:cNvPr>
          <p:cNvCxnSpPr>
            <a:cxnSpLocks/>
          </p:cNvCxnSpPr>
          <p:nvPr/>
        </p:nvCxnSpPr>
        <p:spPr>
          <a:xfrm flipH="1" flipV="1">
            <a:off x="6750850" y="3810716"/>
            <a:ext cx="755" cy="27778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93B8B943-76FE-4E73-9F23-7F968D613620}"/>
              </a:ext>
            </a:extLst>
          </p:cNvPr>
          <p:cNvCxnSpPr>
            <a:cxnSpLocks/>
          </p:cNvCxnSpPr>
          <p:nvPr/>
        </p:nvCxnSpPr>
        <p:spPr>
          <a:xfrm flipV="1">
            <a:off x="8077624" y="3810715"/>
            <a:ext cx="0" cy="26635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6" name="Straight Arrow Connector 95">
            <a:extLst>
              <a:ext uri="{FF2B5EF4-FFF2-40B4-BE49-F238E27FC236}">
                <a16:creationId xmlns:a16="http://schemas.microsoft.com/office/drawing/2014/main" id="{951B9733-F2B7-42D3-82A9-B7D1FEE838AF}"/>
              </a:ext>
            </a:extLst>
          </p:cNvPr>
          <p:cNvCxnSpPr>
            <a:cxnSpLocks/>
          </p:cNvCxnSpPr>
          <p:nvPr/>
        </p:nvCxnSpPr>
        <p:spPr>
          <a:xfrm flipV="1">
            <a:off x="9409568" y="3810717"/>
            <a:ext cx="0" cy="26635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8" name="Straight Arrow Connector 97">
            <a:extLst>
              <a:ext uri="{FF2B5EF4-FFF2-40B4-BE49-F238E27FC236}">
                <a16:creationId xmlns:a16="http://schemas.microsoft.com/office/drawing/2014/main" id="{6B10563A-2006-486B-AD7B-F28294C97EA7}"/>
              </a:ext>
            </a:extLst>
          </p:cNvPr>
          <p:cNvCxnSpPr>
            <a:cxnSpLocks/>
            <a:endCxn id="57" idx="2"/>
          </p:cNvCxnSpPr>
          <p:nvPr/>
        </p:nvCxnSpPr>
        <p:spPr>
          <a:xfrm flipV="1">
            <a:off x="10748070" y="3810716"/>
            <a:ext cx="0" cy="26635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67" name="Title 1">
            <a:extLst>
              <a:ext uri="{FF2B5EF4-FFF2-40B4-BE49-F238E27FC236}">
                <a16:creationId xmlns:a16="http://schemas.microsoft.com/office/drawing/2014/main" id="{28906D1C-A2C3-46F8-8ABB-D8B716CDF30C}"/>
              </a:ext>
            </a:extLst>
          </p:cNvPr>
          <p:cNvSpPr txBox="1">
            <a:spLocks/>
          </p:cNvSpPr>
          <p:nvPr/>
        </p:nvSpPr>
        <p:spPr>
          <a:xfrm>
            <a:off x="469900" y="402587"/>
            <a:ext cx="8397735" cy="717944"/>
          </a:xfrm>
          <a:prstGeom prst="rect">
            <a:avLst/>
          </a:prstGeom>
        </p:spPr>
        <p:txBody>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Verdana"/>
                <a:ea typeface="+mj-ea"/>
                <a:cs typeface="+mj-cs"/>
              </a:rPr>
              <a:t>Change Management (CM) and Control</a:t>
            </a:r>
          </a:p>
        </p:txBody>
      </p:sp>
      <p:sp>
        <p:nvSpPr>
          <p:cNvPr id="5" name="Rectangle 4">
            <a:extLst>
              <a:ext uri="{FF2B5EF4-FFF2-40B4-BE49-F238E27FC236}">
                <a16:creationId xmlns:a16="http://schemas.microsoft.com/office/drawing/2014/main" id="{B705AEC1-88ED-4561-BF38-9B93F9FD5B74}"/>
              </a:ext>
            </a:extLst>
          </p:cNvPr>
          <p:cNvSpPr/>
          <p:nvPr/>
        </p:nvSpPr>
        <p:spPr>
          <a:xfrm>
            <a:off x="5425187" y="6124887"/>
            <a:ext cx="2589170" cy="707886"/>
          </a:xfrm>
          <a:prstGeom prst="rect">
            <a:avLst/>
          </a:prstGeom>
          <a:noFill/>
        </p:spPr>
        <p:txBody>
          <a:bodyPr wrap="none">
            <a:spAutoFit/>
          </a:bodyPr>
          <a:lstStyle/>
          <a:p>
            <a:r>
              <a:rPr lang="en-US" sz="1000" b="1" u="sng" kern="0" dirty="0">
                <a:solidFill>
                  <a:prstClr val="black"/>
                </a:solidFill>
                <a:ea typeface="Tahoma" pitchFamily="34" charset="0"/>
                <a:cs typeface="Tahoma" pitchFamily="34" charset="0"/>
              </a:rPr>
              <a:t>Key (local terminology may vary)</a:t>
            </a:r>
          </a:p>
          <a:p>
            <a:r>
              <a:rPr lang="en-US" sz="1000" kern="0" dirty="0">
                <a:solidFill>
                  <a:prstClr val="black"/>
                </a:solidFill>
                <a:ea typeface="Tahoma" pitchFamily="34" charset="0"/>
                <a:cs typeface="Tahoma" pitchFamily="34" charset="0"/>
              </a:rPr>
              <a:t>PR = Problem Report</a:t>
            </a:r>
          </a:p>
          <a:p>
            <a:r>
              <a:rPr lang="en-US" sz="1000" kern="0" dirty="0">
                <a:solidFill>
                  <a:prstClr val="black"/>
                </a:solidFill>
                <a:ea typeface="Tahoma" pitchFamily="34" charset="0"/>
                <a:cs typeface="Tahoma" pitchFamily="34" charset="0"/>
              </a:rPr>
              <a:t>CR = Change Request</a:t>
            </a:r>
          </a:p>
          <a:p>
            <a:r>
              <a:rPr lang="en-US" sz="1000" kern="0" dirty="0">
                <a:solidFill>
                  <a:prstClr val="black"/>
                </a:solidFill>
                <a:ea typeface="Tahoma" pitchFamily="34" charset="0"/>
                <a:cs typeface="Tahoma" pitchFamily="34" charset="0"/>
              </a:rPr>
              <a:t>CO = Change Order</a:t>
            </a:r>
            <a:endParaRPr lang="en-US" sz="1000" dirty="0"/>
          </a:p>
        </p:txBody>
      </p:sp>
      <p:sp>
        <p:nvSpPr>
          <p:cNvPr id="111" name="Freeform: Shape 110">
            <a:extLst>
              <a:ext uri="{FF2B5EF4-FFF2-40B4-BE49-F238E27FC236}">
                <a16:creationId xmlns:a16="http://schemas.microsoft.com/office/drawing/2014/main" id="{4416EDE9-B1DE-4B3F-8FE3-F68B82E711C9}"/>
              </a:ext>
            </a:extLst>
          </p:cNvPr>
          <p:cNvSpPr/>
          <p:nvPr/>
        </p:nvSpPr>
        <p:spPr bwMode="auto">
          <a:xfrm flipV="1">
            <a:off x="1446582" y="1849797"/>
            <a:ext cx="9328828" cy="1071775"/>
          </a:xfrm>
          <a:custGeom>
            <a:avLst/>
            <a:gdLst>
              <a:gd name="connsiteX0" fmla="*/ 0 w 9431867"/>
              <a:gd name="connsiteY0" fmla="*/ 450771 h 1268056"/>
              <a:gd name="connsiteX1" fmla="*/ 1295400 w 9431867"/>
              <a:gd name="connsiteY1" fmla="*/ 10504 h 1268056"/>
              <a:gd name="connsiteX2" fmla="*/ 2692400 w 9431867"/>
              <a:gd name="connsiteY2" fmla="*/ 467704 h 1268056"/>
              <a:gd name="connsiteX3" fmla="*/ 4021667 w 9431867"/>
              <a:gd name="connsiteY3" fmla="*/ 831771 h 1268056"/>
              <a:gd name="connsiteX4" fmla="*/ 5376334 w 9431867"/>
              <a:gd name="connsiteY4" fmla="*/ 1255104 h 1268056"/>
              <a:gd name="connsiteX5" fmla="*/ 6688667 w 9431867"/>
              <a:gd name="connsiteY5" fmla="*/ 306838 h 1268056"/>
              <a:gd name="connsiteX6" fmla="*/ 8034867 w 9431867"/>
              <a:gd name="connsiteY6" fmla="*/ 27438 h 1268056"/>
              <a:gd name="connsiteX7" fmla="*/ 9431867 w 9431867"/>
              <a:gd name="connsiteY7" fmla="*/ 882571 h 1268056"/>
              <a:gd name="connsiteX0" fmla="*/ 0 w 9431867"/>
              <a:gd name="connsiteY0" fmla="*/ 450771 h 1268056"/>
              <a:gd name="connsiteX1" fmla="*/ 1397989 w 9431867"/>
              <a:gd name="connsiteY1" fmla="*/ 10512 h 1268056"/>
              <a:gd name="connsiteX2" fmla="*/ 2692400 w 9431867"/>
              <a:gd name="connsiteY2" fmla="*/ 467704 h 1268056"/>
              <a:gd name="connsiteX3" fmla="*/ 4021667 w 9431867"/>
              <a:gd name="connsiteY3" fmla="*/ 831771 h 1268056"/>
              <a:gd name="connsiteX4" fmla="*/ 5376334 w 9431867"/>
              <a:gd name="connsiteY4" fmla="*/ 1255104 h 1268056"/>
              <a:gd name="connsiteX5" fmla="*/ 6688667 w 9431867"/>
              <a:gd name="connsiteY5" fmla="*/ 306838 h 1268056"/>
              <a:gd name="connsiteX6" fmla="*/ 8034867 w 9431867"/>
              <a:gd name="connsiteY6" fmla="*/ 27438 h 1268056"/>
              <a:gd name="connsiteX7" fmla="*/ 9431867 w 9431867"/>
              <a:gd name="connsiteY7" fmla="*/ 882571 h 1268056"/>
              <a:gd name="connsiteX0" fmla="*/ 0 w 9431867"/>
              <a:gd name="connsiteY0" fmla="*/ 450771 h 1268056"/>
              <a:gd name="connsiteX1" fmla="*/ 1500579 w 9431867"/>
              <a:gd name="connsiteY1" fmla="*/ 271950 h 1268056"/>
              <a:gd name="connsiteX2" fmla="*/ 2692400 w 9431867"/>
              <a:gd name="connsiteY2" fmla="*/ 467704 h 1268056"/>
              <a:gd name="connsiteX3" fmla="*/ 4021667 w 9431867"/>
              <a:gd name="connsiteY3" fmla="*/ 831771 h 1268056"/>
              <a:gd name="connsiteX4" fmla="*/ 5376334 w 9431867"/>
              <a:gd name="connsiteY4" fmla="*/ 1255104 h 1268056"/>
              <a:gd name="connsiteX5" fmla="*/ 6688667 w 9431867"/>
              <a:gd name="connsiteY5" fmla="*/ 306838 h 1268056"/>
              <a:gd name="connsiteX6" fmla="*/ 8034867 w 9431867"/>
              <a:gd name="connsiteY6" fmla="*/ 27438 h 1268056"/>
              <a:gd name="connsiteX7" fmla="*/ 9431867 w 9431867"/>
              <a:gd name="connsiteY7" fmla="*/ 882571 h 1268056"/>
              <a:gd name="connsiteX0" fmla="*/ 0 w 9431867"/>
              <a:gd name="connsiteY0" fmla="*/ 963191 h 1780476"/>
              <a:gd name="connsiteX1" fmla="*/ 1500579 w 9431867"/>
              <a:gd name="connsiteY1" fmla="*/ 0 h 1780476"/>
              <a:gd name="connsiteX2" fmla="*/ 2692400 w 9431867"/>
              <a:gd name="connsiteY2" fmla="*/ 980124 h 1780476"/>
              <a:gd name="connsiteX3" fmla="*/ 4021667 w 9431867"/>
              <a:gd name="connsiteY3" fmla="*/ 1344191 h 1780476"/>
              <a:gd name="connsiteX4" fmla="*/ 5376334 w 9431867"/>
              <a:gd name="connsiteY4" fmla="*/ 1767524 h 1780476"/>
              <a:gd name="connsiteX5" fmla="*/ 6688667 w 9431867"/>
              <a:gd name="connsiteY5" fmla="*/ 819258 h 1780476"/>
              <a:gd name="connsiteX6" fmla="*/ 8034867 w 9431867"/>
              <a:gd name="connsiteY6" fmla="*/ 539858 h 1780476"/>
              <a:gd name="connsiteX7" fmla="*/ 9431867 w 9431867"/>
              <a:gd name="connsiteY7" fmla="*/ 1394991 h 1780476"/>
              <a:gd name="connsiteX0" fmla="*/ 0 w 9431867"/>
              <a:gd name="connsiteY0" fmla="*/ 1486123 h 2303408"/>
              <a:gd name="connsiteX1" fmla="*/ 1500579 w 9431867"/>
              <a:gd name="connsiteY1" fmla="*/ 0 h 2303408"/>
              <a:gd name="connsiteX2" fmla="*/ 2692400 w 9431867"/>
              <a:gd name="connsiteY2" fmla="*/ 1503056 h 2303408"/>
              <a:gd name="connsiteX3" fmla="*/ 4021667 w 9431867"/>
              <a:gd name="connsiteY3" fmla="*/ 1867123 h 2303408"/>
              <a:gd name="connsiteX4" fmla="*/ 5376334 w 9431867"/>
              <a:gd name="connsiteY4" fmla="*/ 2290456 h 2303408"/>
              <a:gd name="connsiteX5" fmla="*/ 6688667 w 9431867"/>
              <a:gd name="connsiteY5" fmla="*/ 1342190 h 2303408"/>
              <a:gd name="connsiteX6" fmla="*/ 8034867 w 9431867"/>
              <a:gd name="connsiteY6" fmla="*/ 1062790 h 2303408"/>
              <a:gd name="connsiteX7" fmla="*/ 9431867 w 9431867"/>
              <a:gd name="connsiteY7" fmla="*/ 1917923 h 2303408"/>
              <a:gd name="connsiteX0" fmla="*/ 0 w 9431867"/>
              <a:gd name="connsiteY0" fmla="*/ 56664 h 2965657"/>
              <a:gd name="connsiteX1" fmla="*/ 1500579 w 9431867"/>
              <a:gd name="connsiteY1" fmla="*/ 662249 h 2965657"/>
              <a:gd name="connsiteX2" fmla="*/ 2692400 w 9431867"/>
              <a:gd name="connsiteY2" fmla="*/ 2165305 h 2965657"/>
              <a:gd name="connsiteX3" fmla="*/ 4021667 w 9431867"/>
              <a:gd name="connsiteY3" fmla="*/ 2529372 h 2965657"/>
              <a:gd name="connsiteX4" fmla="*/ 5376334 w 9431867"/>
              <a:gd name="connsiteY4" fmla="*/ 2952705 h 2965657"/>
              <a:gd name="connsiteX5" fmla="*/ 6688667 w 9431867"/>
              <a:gd name="connsiteY5" fmla="*/ 2004439 h 2965657"/>
              <a:gd name="connsiteX6" fmla="*/ 8034867 w 9431867"/>
              <a:gd name="connsiteY6" fmla="*/ 1725039 h 2965657"/>
              <a:gd name="connsiteX7" fmla="*/ 9431867 w 9431867"/>
              <a:gd name="connsiteY7" fmla="*/ 2580172 h 2965657"/>
              <a:gd name="connsiteX0" fmla="*/ 0 w 9441194"/>
              <a:gd name="connsiteY0" fmla="*/ 143755 h 2529816"/>
              <a:gd name="connsiteX1" fmla="*/ 1509906 w 9441194"/>
              <a:gd name="connsiteY1" fmla="*/ 226408 h 2529816"/>
              <a:gd name="connsiteX2" fmla="*/ 2701727 w 9441194"/>
              <a:gd name="connsiteY2" fmla="*/ 1729464 h 2529816"/>
              <a:gd name="connsiteX3" fmla="*/ 4030994 w 9441194"/>
              <a:gd name="connsiteY3" fmla="*/ 2093531 h 2529816"/>
              <a:gd name="connsiteX4" fmla="*/ 5385661 w 9441194"/>
              <a:gd name="connsiteY4" fmla="*/ 2516864 h 2529816"/>
              <a:gd name="connsiteX5" fmla="*/ 6697994 w 9441194"/>
              <a:gd name="connsiteY5" fmla="*/ 1568598 h 2529816"/>
              <a:gd name="connsiteX6" fmla="*/ 8044194 w 9441194"/>
              <a:gd name="connsiteY6" fmla="*/ 1289198 h 2529816"/>
              <a:gd name="connsiteX7" fmla="*/ 9441194 w 9441194"/>
              <a:gd name="connsiteY7" fmla="*/ 2144331 h 2529816"/>
              <a:gd name="connsiteX0" fmla="*/ 0 w 9441194"/>
              <a:gd name="connsiteY0" fmla="*/ 97159 h 2490570"/>
              <a:gd name="connsiteX1" fmla="*/ 1509906 w 9441194"/>
              <a:gd name="connsiteY1" fmla="*/ 179812 h 2490570"/>
              <a:gd name="connsiteX2" fmla="*/ 2767011 w 9441194"/>
              <a:gd name="connsiteY2" fmla="*/ 637038 h 2490570"/>
              <a:gd name="connsiteX3" fmla="*/ 4030994 w 9441194"/>
              <a:gd name="connsiteY3" fmla="*/ 2046935 h 2490570"/>
              <a:gd name="connsiteX4" fmla="*/ 5385661 w 9441194"/>
              <a:gd name="connsiteY4" fmla="*/ 2470268 h 2490570"/>
              <a:gd name="connsiteX5" fmla="*/ 6697994 w 9441194"/>
              <a:gd name="connsiteY5" fmla="*/ 1522002 h 2490570"/>
              <a:gd name="connsiteX6" fmla="*/ 8044194 w 9441194"/>
              <a:gd name="connsiteY6" fmla="*/ 1242602 h 2490570"/>
              <a:gd name="connsiteX7" fmla="*/ 9441194 w 9441194"/>
              <a:gd name="connsiteY7" fmla="*/ 2097735 h 2490570"/>
              <a:gd name="connsiteX0" fmla="*/ 0 w 9441194"/>
              <a:gd name="connsiteY0" fmla="*/ 88672 h 2485162"/>
              <a:gd name="connsiteX1" fmla="*/ 1509906 w 9441194"/>
              <a:gd name="connsiteY1" fmla="*/ 171325 h 2485162"/>
              <a:gd name="connsiteX2" fmla="*/ 2794990 w 9441194"/>
              <a:gd name="connsiteY2" fmla="*/ 367084 h 2485162"/>
              <a:gd name="connsiteX3" fmla="*/ 4030994 w 9441194"/>
              <a:gd name="connsiteY3" fmla="*/ 2038448 h 2485162"/>
              <a:gd name="connsiteX4" fmla="*/ 5385661 w 9441194"/>
              <a:gd name="connsiteY4" fmla="*/ 2461781 h 2485162"/>
              <a:gd name="connsiteX5" fmla="*/ 6697994 w 9441194"/>
              <a:gd name="connsiteY5" fmla="*/ 1513515 h 2485162"/>
              <a:gd name="connsiteX6" fmla="*/ 8044194 w 9441194"/>
              <a:gd name="connsiteY6" fmla="*/ 1234115 h 2485162"/>
              <a:gd name="connsiteX7" fmla="*/ 9441194 w 9441194"/>
              <a:gd name="connsiteY7" fmla="*/ 2089248 h 2485162"/>
              <a:gd name="connsiteX0" fmla="*/ 0 w 9441194"/>
              <a:gd name="connsiteY0" fmla="*/ 88672 h 2493621"/>
              <a:gd name="connsiteX1" fmla="*/ 1509906 w 9441194"/>
              <a:gd name="connsiteY1" fmla="*/ 171325 h 2493621"/>
              <a:gd name="connsiteX2" fmla="*/ 2794990 w 9441194"/>
              <a:gd name="connsiteY2" fmla="*/ 367084 h 2493621"/>
              <a:gd name="connsiteX3" fmla="*/ 4058974 w 9441194"/>
              <a:gd name="connsiteY3" fmla="*/ 208241 h 2493621"/>
              <a:gd name="connsiteX4" fmla="*/ 5385661 w 9441194"/>
              <a:gd name="connsiteY4" fmla="*/ 2461781 h 2493621"/>
              <a:gd name="connsiteX5" fmla="*/ 6697994 w 9441194"/>
              <a:gd name="connsiteY5" fmla="*/ 1513515 h 2493621"/>
              <a:gd name="connsiteX6" fmla="*/ 8044194 w 9441194"/>
              <a:gd name="connsiteY6" fmla="*/ 1234115 h 2493621"/>
              <a:gd name="connsiteX7" fmla="*/ 9441194 w 9441194"/>
              <a:gd name="connsiteY7" fmla="*/ 2089248 h 2493621"/>
              <a:gd name="connsiteX0" fmla="*/ 0 w 9441194"/>
              <a:gd name="connsiteY0" fmla="*/ 88672 h 2493621"/>
              <a:gd name="connsiteX1" fmla="*/ 1509906 w 9441194"/>
              <a:gd name="connsiteY1" fmla="*/ 171325 h 2493621"/>
              <a:gd name="connsiteX2" fmla="*/ 2794990 w 9441194"/>
              <a:gd name="connsiteY2" fmla="*/ 367084 h 2493621"/>
              <a:gd name="connsiteX3" fmla="*/ 4058974 w 9441194"/>
              <a:gd name="connsiteY3" fmla="*/ 208241 h 2493621"/>
              <a:gd name="connsiteX4" fmla="*/ 5385661 w 9441194"/>
              <a:gd name="connsiteY4" fmla="*/ 2461781 h 2493621"/>
              <a:gd name="connsiteX5" fmla="*/ 6697994 w 9441194"/>
              <a:gd name="connsiteY5" fmla="*/ 1513515 h 2493621"/>
              <a:gd name="connsiteX6" fmla="*/ 8044194 w 9441194"/>
              <a:gd name="connsiteY6" fmla="*/ 1234115 h 2493621"/>
              <a:gd name="connsiteX7" fmla="*/ 9441194 w 9441194"/>
              <a:gd name="connsiteY7" fmla="*/ 2089248 h 2493621"/>
              <a:gd name="connsiteX0" fmla="*/ 0 w 9441194"/>
              <a:gd name="connsiteY0" fmla="*/ 88672 h 2089260"/>
              <a:gd name="connsiteX1" fmla="*/ 1509906 w 9441194"/>
              <a:gd name="connsiteY1" fmla="*/ 171325 h 2089260"/>
              <a:gd name="connsiteX2" fmla="*/ 2794990 w 9441194"/>
              <a:gd name="connsiteY2" fmla="*/ 367084 h 2089260"/>
              <a:gd name="connsiteX3" fmla="*/ 4058974 w 9441194"/>
              <a:gd name="connsiteY3" fmla="*/ 208241 h 2089260"/>
              <a:gd name="connsiteX4" fmla="*/ 5422966 w 9441194"/>
              <a:gd name="connsiteY4" fmla="*/ 631546 h 2089260"/>
              <a:gd name="connsiteX5" fmla="*/ 6697994 w 9441194"/>
              <a:gd name="connsiteY5" fmla="*/ 1513515 h 2089260"/>
              <a:gd name="connsiteX6" fmla="*/ 8044194 w 9441194"/>
              <a:gd name="connsiteY6" fmla="*/ 1234115 h 2089260"/>
              <a:gd name="connsiteX7" fmla="*/ 9441194 w 9441194"/>
              <a:gd name="connsiteY7" fmla="*/ 2089248 h 2089260"/>
              <a:gd name="connsiteX0" fmla="*/ 0 w 9441194"/>
              <a:gd name="connsiteY0" fmla="*/ 88672 h 2089260"/>
              <a:gd name="connsiteX1" fmla="*/ 1509906 w 9441194"/>
              <a:gd name="connsiteY1" fmla="*/ 171325 h 2089260"/>
              <a:gd name="connsiteX2" fmla="*/ 2794990 w 9441194"/>
              <a:gd name="connsiteY2" fmla="*/ 367084 h 2089260"/>
              <a:gd name="connsiteX3" fmla="*/ 4058974 w 9441194"/>
              <a:gd name="connsiteY3" fmla="*/ 208241 h 2089260"/>
              <a:gd name="connsiteX4" fmla="*/ 5432293 w 9441194"/>
              <a:gd name="connsiteY4" fmla="*/ 370107 h 2089260"/>
              <a:gd name="connsiteX5" fmla="*/ 6697994 w 9441194"/>
              <a:gd name="connsiteY5" fmla="*/ 1513515 h 2089260"/>
              <a:gd name="connsiteX6" fmla="*/ 8044194 w 9441194"/>
              <a:gd name="connsiteY6" fmla="*/ 1234115 h 2089260"/>
              <a:gd name="connsiteX7" fmla="*/ 9441194 w 9441194"/>
              <a:gd name="connsiteY7" fmla="*/ 2089248 h 2089260"/>
              <a:gd name="connsiteX0" fmla="*/ 0 w 9441194"/>
              <a:gd name="connsiteY0" fmla="*/ 88672 h 2089260"/>
              <a:gd name="connsiteX1" fmla="*/ 1509906 w 9441194"/>
              <a:gd name="connsiteY1" fmla="*/ 171325 h 2089260"/>
              <a:gd name="connsiteX2" fmla="*/ 2794990 w 9441194"/>
              <a:gd name="connsiteY2" fmla="*/ 367084 h 2089260"/>
              <a:gd name="connsiteX3" fmla="*/ 4058974 w 9441194"/>
              <a:gd name="connsiteY3" fmla="*/ 208241 h 2089260"/>
              <a:gd name="connsiteX4" fmla="*/ 5432293 w 9441194"/>
              <a:gd name="connsiteY4" fmla="*/ 370107 h 2089260"/>
              <a:gd name="connsiteX5" fmla="*/ 6735299 w 9441194"/>
              <a:gd name="connsiteY5" fmla="*/ 206216 h 2089260"/>
              <a:gd name="connsiteX6" fmla="*/ 8044194 w 9441194"/>
              <a:gd name="connsiteY6" fmla="*/ 1234115 h 2089260"/>
              <a:gd name="connsiteX7" fmla="*/ 9441194 w 9441194"/>
              <a:gd name="connsiteY7" fmla="*/ 2089248 h 2089260"/>
              <a:gd name="connsiteX0" fmla="*/ 0 w 9441194"/>
              <a:gd name="connsiteY0" fmla="*/ 88672 h 2089260"/>
              <a:gd name="connsiteX1" fmla="*/ 1509906 w 9441194"/>
              <a:gd name="connsiteY1" fmla="*/ 171325 h 2089260"/>
              <a:gd name="connsiteX2" fmla="*/ 2794990 w 9441194"/>
              <a:gd name="connsiteY2" fmla="*/ 367084 h 2089260"/>
              <a:gd name="connsiteX3" fmla="*/ 4058974 w 9441194"/>
              <a:gd name="connsiteY3" fmla="*/ 208241 h 2089260"/>
              <a:gd name="connsiteX4" fmla="*/ 5432293 w 9441194"/>
              <a:gd name="connsiteY4" fmla="*/ 370107 h 2089260"/>
              <a:gd name="connsiteX5" fmla="*/ 6735299 w 9441194"/>
              <a:gd name="connsiteY5" fmla="*/ 206216 h 2089260"/>
              <a:gd name="connsiteX6" fmla="*/ 8044194 w 9441194"/>
              <a:gd name="connsiteY6" fmla="*/ 711175 h 2089260"/>
              <a:gd name="connsiteX7" fmla="*/ 9441194 w 9441194"/>
              <a:gd name="connsiteY7" fmla="*/ 2089248 h 2089260"/>
              <a:gd name="connsiteX0" fmla="*/ 0 w 9450521"/>
              <a:gd name="connsiteY0" fmla="*/ 88672 h 724489"/>
              <a:gd name="connsiteX1" fmla="*/ 1509906 w 9450521"/>
              <a:gd name="connsiteY1" fmla="*/ 171325 h 724489"/>
              <a:gd name="connsiteX2" fmla="*/ 2794990 w 9450521"/>
              <a:gd name="connsiteY2" fmla="*/ 367084 h 724489"/>
              <a:gd name="connsiteX3" fmla="*/ 4058974 w 9450521"/>
              <a:gd name="connsiteY3" fmla="*/ 208241 h 724489"/>
              <a:gd name="connsiteX4" fmla="*/ 5432293 w 9450521"/>
              <a:gd name="connsiteY4" fmla="*/ 370107 h 724489"/>
              <a:gd name="connsiteX5" fmla="*/ 6735299 w 9450521"/>
              <a:gd name="connsiteY5" fmla="*/ 206216 h 724489"/>
              <a:gd name="connsiteX6" fmla="*/ 8044194 w 9450521"/>
              <a:gd name="connsiteY6" fmla="*/ 711175 h 724489"/>
              <a:gd name="connsiteX7" fmla="*/ 9450521 w 9450521"/>
              <a:gd name="connsiteY7" fmla="*/ 520491 h 724489"/>
              <a:gd name="connsiteX0" fmla="*/ 0 w 9290322"/>
              <a:gd name="connsiteY0" fmla="*/ 62557425 h 62557424"/>
              <a:gd name="connsiteX1" fmla="*/ 1349707 w 9290322"/>
              <a:gd name="connsiteY1" fmla="*/ 4255351 h 62557424"/>
              <a:gd name="connsiteX2" fmla="*/ 2634791 w 9290322"/>
              <a:gd name="connsiteY2" fmla="*/ 4451110 h 62557424"/>
              <a:gd name="connsiteX3" fmla="*/ 3898775 w 9290322"/>
              <a:gd name="connsiteY3" fmla="*/ 4292267 h 62557424"/>
              <a:gd name="connsiteX4" fmla="*/ 5272094 w 9290322"/>
              <a:gd name="connsiteY4" fmla="*/ 4454133 h 62557424"/>
              <a:gd name="connsiteX5" fmla="*/ 6575100 w 9290322"/>
              <a:gd name="connsiteY5" fmla="*/ 4290242 h 62557424"/>
              <a:gd name="connsiteX6" fmla="*/ 7883995 w 9290322"/>
              <a:gd name="connsiteY6" fmla="*/ 4795201 h 62557424"/>
              <a:gd name="connsiteX7" fmla="*/ 9290322 w 9290322"/>
              <a:gd name="connsiteY7" fmla="*/ 4604517 h 62557424"/>
              <a:gd name="connsiteX0" fmla="*/ 0 w 9290322"/>
              <a:gd name="connsiteY0" fmla="*/ 61726513 h 61726512"/>
              <a:gd name="connsiteX1" fmla="*/ 1528754 w 9290322"/>
              <a:gd name="connsiteY1" fmla="*/ 51770162 h 61726512"/>
              <a:gd name="connsiteX2" fmla="*/ 2634791 w 9290322"/>
              <a:gd name="connsiteY2" fmla="*/ 3620198 h 61726512"/>
              <a:gd name="connsiteX3" fmla="*/ 3898775 w 9290322"/>
              <a:gd name="connsiteY3" fmla="*/ 3461355 h 61726512"/>
              <a:gd name="connsiteX4" fmla="*/ 5272094 w 9290322"/>
              <a:gd name="connsiteY4" fmla="*/ 3623221 h 61726512"/>
              <a:gd name="connsiteX5" fmla="*/ 6575100 w 9290322"/>
              <a:gd name="connsiteY5" fmla="*/ 3459330 h 61726512"/>
              <a:gd name="connsiteX6" fmla="*/ 7883995 w 9290322"/>
              <a:gd name="connsiteY6" fmla="*/ 3964289 h 61726512"/>
              <a:gd name="connsiteX7" fmla="*/ 9290322 w 9290322"/>
              <a:gd name="connsiteY7" fmla="*/ 3773605 h 61726512"/>
              <a:gd name="connsiteX0" fmla="*/ 0 w 9290322"/>
              <a:gd name="connsiteY0" fmla="*/ 60395856 h 60395855"/>
              <a:gd name="connsiteX1" fmla="*/ 1528754 w 9290322"/>
              <a:gd name="connsiteY1" fmla="*/ 50439505 h 60395855"/>
              <a:gd name="connsiteX2" fmla="*/ 2776143 w 9290322"/>
              <a:gd name="connsiteY2" fmla="*/ 31613997 h 60395855"/>
              <a:gd name="connsiteX3" fmla="*/ 3898775 w 9290322"/>
              <a:gd name="connsiteY3" fmla="*/ 2130698 h 60395855"/>
              <a:gd name="connsiteX4" fmla="*/ 5272094 w 9290322"/>
              <a:gd name="connsiteY4" fmla="*/ 2292564 h 60395855"/>
              <a:gd name="connsiteX5" fmla="*/ 6575100 w 9290322"/>
              <a:gd name="connsiteY5" fmla="*/ 2128673 h 60395855"/>
              <a:gd name="connsiteX6" fmla="*/ 7883995 w 9290322"/>
              <a:gd name="connsiteY6" fmla="*/ 2633632 h 60395855"/>
              <a:gd name="connsiteX7" fmla="*/ 9290322 w 9290322"/>
              <a:gd name="connsiteY7" fmla="*/ 2442948 h 60395855"/>
              <a:gd name="connsiteX0" fmla="*/ 0 w 9290322"/>
              <a:gd name="connsiteY0" fmla="*/ 59393786 h 59393785"/>
              <a:gd name="connsiteX1" fmla="*/ 1528754 w 9290322"/>
              <a:gd name="connsiteY1" fmla="*/ 49437435 h 59393785"/>
              <a:gd name="connsiteX2" fmla="*/ 2776143 w 9290322"/>
              <a:gd name="connsiteY2" fmla="*/ 30611927 h 59393785"/>
              <a:gd name="connsiteX3" fmla="*/ 4021280 w 9290322"/>
              <a:gd name="connsiteY3" fmla="*/ 17772238 h 59393785"/>
              <a:gd name="connsiteX4" fmla="*/ 5272094 w 9290322"/>
              <a:gd name="connsiteY4" fmla="*/ 1290494 h 59393785"/>
              <a:gd name="connsiteX5" fmla="*/ 6575100 w 9290322"/>
              <a:gd name="connsiteY5" fmla="*/ 1126603 h 59393785"/>
              <a:gd name="connsiteX6" fmla="*/ 7883995 w 9290322"/>
              <a:gd name="connsiteY6" fmla="*/ 1631562 h 59393785"/>
              <a:gd name="connsiteX7" fmla="*/ 9290322 w 9290322"/>
              <a:gd name="connsiteY7" fmla="*/ 1440878 h 59393785"/>
              <a:gd name="connsiteX0" fmla="*/ 0 w 9290322"/>
              <a:gd name="connsiteY0" fmla="*/ 59393786 h 59393785"/>
              <a:gd name="connsiteX1" fmla="*/ 1528754 w 9290322"/>
              <a:gd name="connsiteY1" fmla="*/ 49437435 h 59393785"/>
              <a:gd name="connsiteX2" fmla="*/ 2776143 w 9290322"/>
              <a:gd name="connsiteY2" fmla="*/ 30611927 h 59393785"/>
              <a:gd name="connsiteX3" fmla="*/ 4021280 w 9290322"/>
              <a:gd name="connsiteY3" fmla="*/ 17772238 h 59393785"/>
              <a:gd name="connsiteX4" fmla="*/ 5272094 w 9290322"/>
              <a:gd name="connsiteY4" fmla="*/ 1290494 h 59393785"/>
              <a:gd name="connsiteX5" fmla="*/ 6575100 w 9290322"/>
              <a:gd name="connsiteY5" fmla="*/ 1126603 h 59393785"/>
              <a:gd name="connsiteX6" fmla="*/ 7883995 w 9290322"/>
              <a:gd name="connsiteY6" fmla="*/ 1631562 h 59393785"/>
              <a:gd name="connsiteX7" fmla="*/ 9290322 w 9290322"/>
              <a:gd name="connsiteY7" fmla="*/ 1440878 h 59393785"/>
              <a:gd name="connsiteX0" fmla="*/ 0 w 9290322"/>
              <a:gd name="connsiteY0" fmla="*/ 61208600 h 61208599"/>
              <a:gd name="connsiteX1" fmla="*/ 1528754 w 9290322"/>
              <a:gd name="connsiteY1" fmla="*/ 51252249 h 61208599"/>
              <a:gd name="connsiteX2" fmla="*/ 2776143 w 9290322"/>
              <a:gd name="connsiteY2" fmla="*/ 32426741 h 61208599"/>
              <a:gd name="connsiteX3" fmla="*/ 4021280 w 9290322"/>
              <a:gd name="connsiteY3" fmla="*/ 19587052 h 61208599"/>
              <a:gd name="connsiteX4" fmla="*/ 5319211 w 9290322"/>
              <a:gd name="connsiteY4" fmla="*/ 44582241 h 61208599"/>
              <a:gd name="connsiteX5" fmla="*/ 6575100 w 9290322"/>
              <a:gd name="connsiteY5" fmla="*/ 2941417 h 61208599"/>
              <a:gd name="connsiteX6" fmla="*/ 7883995 w 9290322"/>
              <a:gd name="connsiteY6" fmla="*/ 3446376 h 61208599"/>
              <a:gd name="connsiteX7" fmla="*/ 9290322 w 9290322"/>
              <a:gd name="connsiteY7" fmla="*/ 3255692 h 61208599"/>
              <a:gd name="connsiteX0" fmla="*/ 0 w 9290322"/>
              <a:gd name="connsiteY0" fmla="*/ 60798220 h 60798219"/>
              <a:gd name="connsiteX1" fmla="*/ 1528754 w 9290322"/>
              <a:gd name="connsiteY1" fmla="*/ 50841869 h 60798219"/>
              <a:gd name="connsiteX2" fmla="*/ 2776143 w 9290322"/>
              <a:gd name="connsiteY2" fmla="*/ 32016361 h 60798219"/>
              <a:gd name="connsiteX3" fmla="*/ 4021280 w 9290322"/>
              <a:gd name="connsiteY3" fmla="*/ 19176672 h 60798219"/>
              <a:gd name="connsiteX4" fmla="*/ 5290941 w 9290322"/>
              <a:gd name="connsiteY4" fmla="*/ 38623991 h 60798219"/>
              <a:gd name="connsiteX5" fmla="*/ 6575100 w 9290322"/>
              <a:gd name="connsiteY5" fmla="*/ 2531037 h 60798219"/>
              <a:gd name="connsiteX6" fmla="*/ 7883995 w 9290322"/>
              <a:gd name="connsiteY6" fmla="*/ 3035996 h 60798219"/>
              <a:gd name="connsiteX7" fmla="*/ 9290322 w 9290322"/>
              <a:gd name="connsiteY7" fmla="*/ 2845312 h 60798219"/>
              <a:gd name="connsiteX0" fmla="*/ 0 w 9290322"/>
              <a:gd name="connsiteY0" fmla="*/ 57992430 h 57992429"/>
              <a:gd name="connsiteX1" fmla="*/ 1528754 w 9290322"/>
              <a:gd name="connsiteY1" fmla="*/ 48036079 h 57992429"/>
              <a:gd name="connsiteX2" fmla="*/ 2776143 w 9290322"/>
              <a:gd name="connsiteY2" fmla="*/ 29210571 h 57992429"/>
              <a:gd name="connsiteX3" fmla="*/ 4021280 w 9290322"/>
              <a:gd name="connsiteY3" fmla="*/ 16370882 h 57992429"/>
              <a:gd name="connsiteX4" fmla="*/ 5290941 w 9290322"/>
              <a:gd name="connsiteY4" fmla="*/ 35818201 h 57992429"/>
              <a:gd name="connsiteX5" fmla="*/ 6763570 w 9290322"/>
              <a:gd name="connsiteY5" fmla="*/ 39352890 h 57992429"/>
              <a:gd name="connsiteX6" fmla="*/ 7883995 w 9290322"/>
              <a:gd name="connsiteY6" fmla="*/ 230206 h 57992429"/>
              <a:gd name="connsiteX7" fmla="*/ 9290322 w 9290322"/>
              <a:gd name="connsiteY7" fmla="*/ 39522 h 57992429"/>
              <a:gd name="connsiteX0" fmla="*/ 0 w 9290322"/>
              <a:gd name="connsiteY0" fmla="*/ 57992430 h 57992429"/>
              <a:gd name="connsiteX1" fmla="*/ 1528754 w 9290322"/>
              <a:gd name="connsiteY1" fmla="*/ 48036079 h 57992429"/>
              <a:gd name="connsiteX2" fmla="*/ 2776143 w 9290322"/>
              <a:gd name="connsiteY2" fmla="*/ 29210571 h 57992429"/>
              <a:gd name="connsiteX3" fmla="*/ 4021280 w 9290322"/>
              <a:gd name="connsiteY3" fmla="*/ 16370882 h 57992429"/>
              <a:gd name="connsiteX4" fmla="*/ 5290941 w 9290322"/>
              <a:gd name="connsiteY4" fmla="*/ 35818201 h 57992429"/>
              <a:gd name="connsiteX5" fmla="*/ 6763570 w 9290322"/>
              <a:gd name="connsiteY5" fmla="*/ 39352890 h 57992429"/>
              <a:gd name="connsiteX6" fmla="*/ 7883995 w 9290322"/>
              <a:gd name="connsiteY6" fmla="*/ 230206 h 57992429"/>
              <a:gd name="connsiteX7" fmla="*/ 9290322 w 9290322"/>
              <a:gd name="connsiteY7" fmla="*/ 39522 h 57992429"/>
              <a:gd name="connsiteX0" fmla="*/ 0 w 9290322"/>
              <a:gd name="connsiteY0" fmla="*/ 57954265 h 57954264"/>
              <a:gd name="connsiteX1" fmla="*/ 1528754 w 9290322"/>
              <a:gd name="connsiteY1" fmla="*/ 47997914 h 57954264"/>
              <a:gd name="connsiteX2" fmla="*/ 2776143 w 9290322"/>
              <a:gd name="connsiteY2" fmla="*/ 29172406 h 57954264"/>
              <a:gd name="connsiteX3" fmla="*/ 4021280 w 9290322"/>
              <a:gd name="connsiteY3" fmla="*/ 16332717 h 57954264"/>
              <a:gd name="connsiteX4" fmla="*/ 5290941 w 9290322"/>
              <a:gd name="connsiteY4" fmla="*/ 35780036 h 57954264"/>
              <a:gd name="connsiteX5" fmla="*/ 6763570 w 9290322"/>
              <a:gd name="connsiteY5" fmla="*/ 39314725 h 57954264"/>
              <a:gd name="connsiteX6" fmla="*/ 7997077 w 9290322"/>
              <a:gd name="connsiteY6" fmla="*/ 16307284 h 57954264"/>
              <a:gd name="connsiteX7" fmla="*/ 9290322 w 9290322"/>
              <a:gd name="connsiteY7" fmla="*/ 1357 h 57954264"/>
              <a:gd name="connsiteX0" fmla="*/ 0 w 9290322"/>
              <a:gd name="connsiteY0" fmla="*/ 57954265 h 57954264"/>
              <a:gd name="connsiteX1" fmla="*/ 1528754 w 9290322"/>
              <a:gd name="connsiteY1" fmla="*/ 47997914 h 57954264"/>
              <a:gd name="connsiteX2" fmla="*/ 2776143 w 9290322"/>
              <a:gd name="connsiteY2" fmla="*/ 29172406 h 57954264"/>
              <a:gd name="connsiteX3" fmla="*/ 4021280 w 9290322"/>
              <a:gd name="connsiteY3" fmla="*/ 16332717 h 57954264"/>
              <a:gd name="connsiteX4" fmla="*/ 5290941 w 9290322"/>
              <a:gd name="connsiteY4" fmla="*/ 35780036 h 57954264"/>
              <a:gd name="connsiteX5" fmla="*/ 6763570 w 9290322"/>
              <a:gd name="connsiteY5" fmla="*/ 39314725 h 57954264"/>
              <a:gd name="connsiteX6" fmla="*/ 7997077 w 9290322"/>
              <a:gd name="connsiteY6" fmla="*/ 16307284 h 57954264"/>
              <a:gd name="connsiteX7" fmla="*/ 9290322 w 9290322"/>
              <a:gd name="connsiteY7" fmla="*/ 1357 h 57954264"/>
              <a:gd name="connsiteX0" fmla="*/ 0 w 9290322"/>
              <a:gd name="connsiteY0" fmla="*/ 57954986 h 57954985"/>
              <a:gd name="connsiteX1" fmla="*/ 1528754 w 9290322"/>
              <a:gd name="connsiteY1" fmla="*/ 47998635 h 57954985"/>
              <a:gd name="connsiteX2" fmla="*/ 2776143 w 9290322"/>
              <a:gd name="connsiteY2" fmla="*/ 29173127 h 57954985"/>
              <a:gd name="connsiteX3" fmla="*/ 4021280 w 9290322"/>
              <a:gd name="connsiteY3" fmla="*/ 16333438 h 57954985"/>
              <a:gd name="connsiteX4" fmla="*/ 5290941 w 9290322"/>
              <a:gd name="connsiteY4" fmla="*/ 35780757 h 57954985"/>
              <a:gd name="connsiteX5" fmla="*/ 6763570 w 9290322"/>
              <a:gd name="connsiteY5" fmla="*/ 39315446 h 57954985"/>
              <a:gd name="connsiteX6" fmla="*/ 7978230 w 9290322"/>
              <a:gd name="connsiteY6" fmla="*/ 10495951 h 57954985"/>
              <a:gd name="connsiteX7" fmla="*/ 9290322 w 9290322"/>
              <a:gd name="connsiteY7" fmla="*/ 2078 h 57954985"/>
              <a:gd name="connsiteX0" fmla="*/ 0 w 9252628"/>
              <a:gd name="connsiteY0" fmla="*/ 47462890 h 47462889"/>
              <a:gd name="connsiteX1" fmla="*/ 1528754 w 9252628"/>
              <a:gd name="connsiteY1" fmla="*/ 37506539 h 47462889"/>
              <a:gd name="connsiteX2" fmla="*/ 2776143 w 9252628"/>
              <a:gd name="connsiteY2" fmla="*/ 18681031 h 47462889"/>
              <a:gd name="connsiteX3" fmla="*/ 4021280 w 9252628"/>
              <a:gd name="connsiteY3" fmla="*/ 5841342 h 47462889"/>
              <a:gd name="connsiteX4" fmla="*/ 5290941 w 9252628"/>
              <a:gd name="connsiteY4" fmla="*/ 25288661 h 47462889"/>
              <a:gd name="connsiteX5" fmla="*/ 6763570 w 9252628"/>
              <a:gd name="connsiteY5" fmla="*/ 28823350 h 47462889"/>
              <a:gd name="connsiteX6" fmla="*/ 7978230 w 9252628"/>
              <a:gd name="connsiteY6" fmla="*/ 3855 h 47462889"/>
              <a:gd name="connsiteX7" fmla="*/ 9252628 w 9252628"/>
              <a:gd name="connsiteY7" fmla="*/ 30458547 h 47462889"/>
              <a:gd name="connsiteX0" fmla="*/ 0 w 9290322"/>
              <a:gd name="connsiteY0" fmla="*/ 47462890 h 47462889"/>
              <a:gd name="connsiteX1" fmla="*/ 1528754 w 9290322"/>
              <a:gd name="connsiteY1" fmla="*/ 37506539 h 47462889"/>
              <a:gd name="connsiteX2" fmla="*/ 2776143 w 9290322"/>
              <a:gd name="connsiteY2" fmla="*/ 18681031 h 47462889"/>
              <a:gd name="connsiteX3" fmla="*/ 4021280 w 9290322"/>
              <a:gd name="connsiteY3" fmla="*/ 5841342 h 47462889"/>
              <a:gd name="connsiteX4" fmla="*/ 5290941 w 9290322"/>
              <a:gd name="connsiteY4" fmla="*/ 25288661 h 47462889"/>
              <a:gd name="connsiteX5" fmla="*/ 6763570 w 9290322"/>
              <a:gd name="connsiteY5" fmla="*/ 28823350 h 47462889"/>
              <a:gd name="connsiteX6" fmla="*/ 7978230 w 9290322"/>
              <a:gd name="connsiteY6" fmla="*/ 3855 h 47462889"/>
              <a:gd name="connsiteX7" fmla="*/ 9290322 w 9290322"/>
              <a:gd name="connsiteY7" fmla="*/ 32572021 h 47462889"/>
              <a:gd name="connsiteX0" fmla="*/ 0 w 9279014"/>
              <a:gd name="connsiteY0" fmla="*/ 5933121 h 37703242"/>
              <a:gd name="connsiteX1" fmla="*/ 1517446 w 9279014"/>
              <a:gd name="connsiteY1" fmla="*/ 37506539 h 37703242"/>
              <a:gd name="connsiteX2" fmla="*/ 2764835 w 9279014"/>
              <a:gd name="connsiteY2" fmla="*/ 18681031 h 37703242"/>
              <a:gd name="connsiteX3" fmla="*/ 4009972 w 9279014"/>
              <a:gd name="connsiteY3" fmla="*/ 5841342 h 37703242"/>
              <a:gd name="connsiteX4" fmla="*/ 5279633 w 9279014"/>
              <a:gd name="connsiteY4" fmla="*/ 25288661 h 37703242"/>
              <a:gd name="connsiteX5" fmla="*/ 6752262 w 9279014"/>
              <a:gd name="connsiteY5" fmla="*/ 28823350 h 37703242"/>
              <a:gd name="connsiteX6" fmla="*/ 7966922 w 9279014"/>
              <a:gd name="connsiteY6" fmla="*/ 3855 h 37703242"/>
              <a:gd name="connsiteX7" fmla="*/ 9279014 w 9279014"/>
              <a:gd name="connsiteY7" fmla="*/ 32572021 h 37703242"/>
              <a:gd name="connsiteX0" fmla="*/ 0 w 9279014"/>
              <a:gd name="connsiteY0" fmla="*/ 5933121 h 32572021"/>
              <a:gd name="connsiteX1" fmla="*/ 1449596 w 9279014"/>
              <a:gd name="connsiteY1" fmla="*/ 7706553 h 32572021"/>
              <a:gd name="connsiteX2" fmla="*/ 2764835 w 9279014"/>
              <a:gd name="connsiteY2" fmla="*/ 18681031 h 32572021"/>
              <a:gd name="connsiteX3" fmla="*/ 4009972 w 9279014"/>
              <a:gd name="connsiteY3" fmla="*/ 5841342 h 32572021"/>
              <a:gd name="connsiteX4" fmla="*/ 5279633 w 9279014"/>
              <a:gd name="connsiteY4" fmla="*/ 25288661 h 32572021"/>
              <a:gd name="connsiteX5" fmla="*/ 6752262 w 9279014"/>
              <a:gd name="connsiteY5" fmla="*/ 28823350 h 32572021"/>
              <a:gd name="connsiteX6" fmla="*/ 7966922 w 9279014"/>
              <a:gd name="connsiteY6" fmla="*/ 3855 h 32572021"/>
              <a:gd name="connsiteX7" fmla="*/ 9279014 w 9279014"/>
              <a:gd name="connsiteY7" fmla="*/ 32572021 h 32572021"/>
              <a:gd name="connsiteX0" fmla="*/ 0 w 9279014"/>
              <a:gd name="connsiteY0" fmla="*/ 5933121 h 32572021"/>
              <a:gd name="connsiteX1" fmla="*/ 1449596 w 9279014"/>
              <a:gd name="connsiteY1" fmla="*/ 7706553 h 32572021"/>
              <a:gd name="connsiteX2" fmla="*/ 2719602 w 9279014"/>
              <a:gd name="connsiteY2" fmla="*/ 2829975 h 32572021"/>
              <a:gd name="connsiteX3" fmla="*/ 4009972 w 9279014"/>
              <a:gd name="connsiteY3" fmla="*/ 5841342 h 32572021"/>
              <a:gd name="connsiteX4" fmla="*/ 5279633 w 9279014"/>
              <a:gd name="connsiteY4" fmla="*/ 25288661 h 32572021"/>
              <a:gd name="connsiteX5" fmla="*/ 6752262 w 9279014"/>
              <a:gd name="connsiteY5" fmla="*/ 28823350 h 32572021"/>
              <a:gd name="connsiteX6" fmla="*/ 7966922 w 9279014"/>
              <a:gd name="connsiteY6" fmla="*/ 3855 h 32572021"/>
              <a:gd name="connsiteX7" fmla="*/ 9279014 w 9279014"/>
              <a:gd name="connsiteY7" fmla="*/ 32572021 h 32572021"/>
              <a:gd name="connsiteX0" fmla="*/ 0 w 9279014"/>
              <a:gd name="connsiteY0" fmla="*/ 5932649 h 32571549"/>
              <a:gd name="connsiteX1" fmla="*/ 1449596 w 9279014"/>
              <a:gd name="connsiteY1" fmla="*/ 7706081 h 32571549"/>
              <a:gd name="connsiteX2" fmla="*/ 2719602 w 9279014"/>
              <a:gd name="connsiteY2" fmla="*/ 2829503 h 32571549"/>
              <a:gd name="connsiteX3" fmla="*/ 4009972 w 9279014"/>
              <a:gd name="connsiteY3" fmla="*/ 5840870 h 32571549"/>
              <a:gd name="connsiteX4" fmla="*/ 5392715 w 9279014"/>
              <a:gd name="connsiteY4" fmla="*/ 4047774 h 32571549"/>
              <a:gd name="connsiteX5" fmla="*/ 6752262 w 9279014"/>
              <a:gd name="connsiteY5" fmla="*/ 28822878 h 32571549"/>
              <a:gd name="connsiteX6" fmla="*/ 7966922 w 9279014"/>
              <a:gd name="connsiteY6" fmla="*/ 3383 h 32571549"/>
              <a:gd name="connsiteX7" fmla="*/ 9279014 w 9279014"/>
              <a:gd name="connsiteY7" fmla="*/ 32571549 h 32571549"/>
              <a:gd name="connsiteX0" fmla="*/ 0 w 9279014"/>
              <a:gd name="connsiteY0" fmla="*/ 5944853 h 32583753"/>
              <a:gd name="connsiteX1" fmla="*/ 1449596 w 9279014"/>
              <a:gd name="connsiteY1" fmla="*/ 7718285 h 32583753"/>
              <a:gd name="connsiteX2" fmla="*/ 2719602 w 9279014"/>
              <a:gd name="connsiteY2" fmla="*/ 2841707 h 32583753"/>
              <a:gd name="connsiteX3" fmla="*/ 4009972 w 9279014"/>
              <a:gd name="connsiteY3" fmla="*/ 5853074 h 32583753"/>
              <a:gd name="connsiteX4" fmla="*/ 5392715 w 9279014"/>
              <a:gd name="connsiteY4" fmla="*/ 4059978 h 32583753"/>
              <a:gd name="connsiteX5" fmla="*/ 6695721 w 9279014"/>
              <a:gd name="connsiteY5" fmla="*/ 6326582 h 32583753"/>
              <a:gd name="connsiteX6" fmla="*/ 7966922 w 9279014"/>
              <a:gd name="connsiteY6" fmla="*/ 15587 h 32583753"/>
              <a:gd name="connsiteX7" fmla="*/ 9279014 w 9279014"/>
              <a:gd name="connsiteY7" fmla="*/ 32583753 h 32583753"/>
              <a:gd name="connsiteX0" fmla="*/ 0 w 9561719"/>
              <a:gd name="connsiteY0" fmla="*/ 5944853 h 7856105"/>
              <a:gd name="connsiteX1" fmla="*/ 1449596 w 9561719"/>
              <a:gd name="connsiteY1" fmla="*/ 7718285 h 7856105"/>
              <a:gd name="connsiteX2" fmla="*/ 2719602 w 9561719"/>
              <a:gd name="connsiteY2" fmla="*/ 2841707 h 7856105"/>
              <a:gd name="connsiteX3" fmla="*/ 4009972 w 9561719"/>
              <a:gd name="connsiteY3" fmla="*/ 5853074 h 7856105"/>
              <a:gd name="connsiteX4" fmla="*/ 5392715 w 9561719"/>
              <a:gd name="connsiteY4" fmla="*/ 4059978 h 7856105"/>
              <a:gd name="connsiteX5" fmla="*/ 6695721 w 9561719"/>
              <a:gd name="connsiteY5" fmla="*/ 6326582 h 7856105"/>
              <a:gd name="connsiteX6" fmla="*/ 7966922 w 9561719"/>
              <a:gd name="connsiteY6" fmla="*/ 15587 h 7856105"/>
              <a:gd name="connsiteX7" fmla="*/ 9561719 w 9561719"/>
              <a:gd name="connsiteY7" fmla="*/ 7856105 h 7856105"/>
              <a:gd name="connsiteX0" fmla="*/ 0 w 9188237"/>
              <a:gd name="connsiteY0" fmla="*/ 1636 h 26364452"/>
              <a:gd name="connsiteX1" fmla="*/ 1076114 w 9188237"/>
              <a:gd name="connsiteY1" fmla="*/ 25508023 h 26364452"/>
              <a:gd name="connsiteX2" fmla="*/ 2346120 w 9188237"/>
              <a:gd name="connsiteY2" fmla="*/ 20631445 h 26364452"/>
              <a:gd name="connsiteX3" fmla="*/ 3636490 w 9188237"/>
              <a:gd name="connsiteY3" fmla="*/ 23642812 h 26364452"/>
              <a:gd name="connsiteX4" fmla="*/ 5019233 w 9188237"/>
              <a:gd name="connsiteY4" fmla="*/ 21849716 h 26364452"/>
              <a:gd name="connsiteX5" fmla="*/ 6322239 w 9188237"/>
              <a:gd name="connsiteY5" fmla="*/ 24116320 h 26364452"/>
              <a:gd name="connsiteX6" fmla="*/ 7593440 w 9188237"/>
              <a:gd name="connsiteY6" fmla="*/ 17805325 h 26364452"/>
              <a:gd name="connsiteX7" fmla="*/ 9188237 w 9188237"/>
              <a:gd name="connsiteY7" fmla="*/ 25645843 h 26364452"/>
              <a:gd name="connsiteX0" fmla="*/ 0 w 9013945"/>
              <a:gd name="connsiteY0" fmla="*/ 860 h 51648813"/>
              <a:gd name="connsiteX1" fmla="*/ 901822 w 9013945"/>
              <a:gd name="connsiteY1" fmla="*/ 49240201 h 51648813"/>
              <a:gd name="connsiteX2" fmla="*/ 2171828 w 9013945"/>
              <a:gd name="connsiteY2" fmla="*/ 44363623 h 51648813"/>
              <a:gd name="connsiteX3" fmla="*/ 3462198 w 9013945"/>
              <a:gd name="connsiteY3" fmla="*/ 47374990 h 51648813"/>
              <a:gd name="connsiteX4" fmla="*/ 4844941 w 9013945"/>
              <a:gd name="connsiteY4" fmla="*/ 45581894 h 51648813"/>
              <a:gd name="connsiteX5" fmla="*/ 6147947 w 9013945"/>
              <a:gd name="connsiteY5" fmla="*/ 47848498 h 51648813"/>
              <a:gd name="connsiteX6" fmla="*/ 7419148 w 9013945"/>
              <a:gd name="connsiteY6" fmla="*/ 41537503 h 51648813"/>
              <a:gd name="connsiteX7" fmla="*/ 9013945 w 9013945"/>
              <a:gd name="connsiteY7" fmla="*/ 49378021 h 51648813"/>
              <a:gd name="connsiteX0" fmla="*/ 0 w 9013945"/>
              <a:gd name="connsiteY0" fmla="*/ 1816506 h 51193667"/>
              <a:gd name="connsiteX1" fmla="*/ 1424696 w 9013945"/>
              <a:gd name="connsiteY1" fmla="*/ 4055291 h 51193667"/>
              <a:gd name="connsiteX2" fmla="*/ 2171828 w 9013945"/>
              <a:gd name="connsiteY2" fmla="*/ 46179269 h 51193667"/>
              <a:gd name="connsiteX3" fmla="*/ 3462198 w 9013945"/>
              <a:gd name="connsiteY3" fmla="*/ 49190636 h 51193667"/>
              <a:gd name="connsiteX4" fmla="*/ 4844941 w 9013945"/>
              <a:gd name="connsiteY4" fmla="*/ 47397540 h 51193667"/>
              <a:gd name="connsiteX5" fmla="*/ 6147947 w 9013945"/>
              <a:gd name="connsiteY5" fmla="*/ 49664144 h 51193667"/>
              <a:gd name="connsiteX6" fmla="*/ 7419148 w 9013945"/>
              <a:gd name="connsiteY6" fmla="*/ 43353149 h 51193667"/>
              <a:gd name="connsiteX7" fmla="*/ 9013945 w 9013945"/>
              <a:gd name="connsiteY7" fmla="*/ 51193667 h 51193667"/>
              <a:gd name="connsiteX0" fmla="*/ 0 w 9013945"/>
              <a:gd name="connsiteY0" fmla="*/ 13840 h 49391001"/>
              <a:gd name="connsiteX1" fmla="*/ 1424696 w 9013945"/>
              <a:gd name="connsiteY1" fmla="*/ 2252625 h 49391001"/>
              <a:gd name="connsiteX2" fmla="*/ 2171828 w 9013945"/>
              <a:gd name="connsiteY2" fmla="*/ 44376603 h 49391001"/>
              <a:gd name="connsiteX3" fmla="*/ 3462198 w 9013945"/>
              <a:gd name="connsiteY3" fmla="*/ 47387970 h 49391001"/>
              <a:gd name="connsiteX4" fmla="*/ 4844941 w 9013945"/>
              <a:gd name="connsiteY4" fmla="*/ 45594874 h 49391001"/>
              <a:gd name="connsiteX5" fmla="*/ 6147947 w 9013945"/>
              <a:gd name="connsiteY5" fmla="*/ 47861478 h 49391001"/>
              <a:gd name="connsiteX6" fmla="*/ 7419148 w 9013945"/>
              <a:gd name="connsiteY6" fmla="*/ 41550483 h 49391001"/>
              <a:gd name="connsiteX7" fmla="*/ 9013945 w 9013945"/>
              <a:gd name="connsiteY7" fmla="*/ 49391001 h 49391001"/>
              <a:gd name="connsiteX0" fmla="*/ 0 w 9013945"/>
              <a:gd name="connsiteY0" fmla="*/ 320710 h 49697871"/>
              <a:gd name="connsiteX1" fmla="*/ 1424696 w 9013945"/>
              <a:gd name="connsiteY1" fmla="*/ 56 h 49697871"/>
              <a:gd name="connsiteX2" fmla="*/ 2171828 w 9013945"/>
              <a:gd name="connsiteY2" fmla="*/ 44683473 h 49697871"/>
              <a:gd name="connsiteX3" fmla="*/ 3462198 w 9013945"/>
              <a:gd name="connsiteY3" fmla="*/ 47694840 h 49697871"/>
              <a:gd name="connsiteX4" fmla="*/ 4844941 w 9013945"/>
              <a:gd name="connsiteY4" fmla="*/ 45901744 h 49697871"/>
              <a:gd name="connsiteX5" fmla="*/ 6147947 w 9013945"/>
              <a:gd name="connsiteY5" fmla="*/ 48168348 h 49697871"/>
              <a:gd name="connsiteX6" fmla="*/ 7419148 w 9013945"/>
              <a:gd name="connsiteY6" fmla="*/ 41857353 h 49697871"/>
              <a:gd name="connsiteX7" fmla="*/ 9013945 w 9013945"/>
              <a:gd name="connsiteY7" fmla="*/ 49697871 h 49697871"/>
              <a:gd name="connsiteX0" fmla="*/ 0 w 9013945"/>
              <a:gd name="connsiteY0" fmla="*/ 18134190 h 69659384"/>
              <a:gd name="connsiteX1" fmla="*/ 1424696 w 9013945"/>
              <a:gd name="connsiteY1" fmla="*/ 17813536 h 69659384"/>
              <a:gd name="connsiteX2" fmla="*/ 2761098 w 9013945"/>
              <a:gd name="connsiteY2" fmla="*/ 1768523 h 69659384"/>
              <a:gd name="connsiteX3" fmla="*/ 3462198 w 9013945"/>
              <a:gd name="connsiteY3" fmla="*/ 65508320 h 69659384"/>
              <a:gd name="connsiteX4" fmla="*/ 4844941 w 9013945"/>
              <a:gd name="connsiteY4" fmla="*/ 63715224 h 69659384"/>
              <a:gd name="connsiteX5" fmla="*/ 6147947 w 9013945"/>
              <a:gd name="connsiteY5" fmla="*/ 65981828 h 69659384"/>
              <a:gd name="connsiteX6" fmla="*/ 7419148 w 9013945"/>
              <a:gd name="connsiteY6" fmla="*/ 59670833 h 69659384"/>
              <a:gd name="connsiteX7" fmla="*/ 9013945 w 9013945"/>
              <a:gd name="connsiteY7" fmla="*/ 67511351 h 69659384"/>
              <a:gd name="connsiteX0" fmla="*/ 0 w 9013945"/>
              <a:gd name="connsiteY0" fmla="*/ 16368191 h 67893385"/>
              <a:gd name="connsiteX1" fmla="*/ 1424696 w 9013945"/>
              <a:gd name="connsiteY1" fmla="*/ 16047537 h 67893385"/>
              <a:gd name="connsiteX2" fmla="*/ 2761098 w 9013945"/>
              <a:gd name="connsiteY2" fmla="*/ 2524 h 67893385"/>
              <a:gd name="connsiteX3" fmla="*/ 3462198 w 9013945"/>
              <a:gd name="connsiteY3" fmla="*/ 63742321 h 67893385"/>
              <a:gd name="connsiteX4" fmla="*/ 4844941 w 9013945"/>
              <a:gd name="connsiteY4" fmla="*/ 61949225 h 67893385"/>
              <a:gd name="connsiteX5" fmla="*/ 6147947 w 9013945"/>
              <a:gd name="connsiteY5" fmla="*/ 64215829 h 67893385"/>
              <a:gd name="connsiteX6" fmla="*/ 7419148 w 9013945"/>
              <a:gd name="connsiteY6" fmla="*/ 57904834 h 67893385"/>
              <a:gd name="connsiteX7" fmla="*/ 9013945 w 9013945"/>
              <a:gd name="connsiteY7" fmla="*/ 65745352 h 67893385"/>
              <a:gd name="connsiteX0" fmla="*/ 0 w 9013945"/>
              <a:gd name="connsiteY0" fmla="*/ 6596258 h 57405090"/>
              <a:gd name="connsiteX1" fmla="*/ 1424696 w 9013945"/>
              <a:gd name="connsiteY1" fmla="*/ 6275604 h 57405090"/>
              <a:gd name="connsiteX2" fmla="*/ 2761098 w 9013945"/>
              <a:gd name="connsiteY2" fmla="*/ 2968 h 57405090"/>
              <a:gd name="connsiteX3" fmla="*/ 3462198 w 9013945"/>
              <a:gd name="connsiteY3" fmla="*/ 53970388 h 57405090"/>
              <a:gd name="connsiteX4" fmla="*/ 4844941 w 9013945"/>
              <a:gd name="connsiteY4" fmla="*/ 52177292 h 57405090"/>
              <a:gd name="connsiteX5" fmla="*/ 6147947 w 9013945"/>
              <a:gd name="connsiteY5" fmla="*/ 54443896 h 57405090"/>
              <a:gd name="connsiteX6" fmla="*/ 7419148 w 9013945"/>
              <a:gd name="connsiteY6" fmla="*/ 48132901 h 57405090"/>
              <a:gd name="connsiteX7" fmla="*/ 9013945 w 9013945"/>
              <a:gd name="connsiteY7" fmla="*/ 55973419 h 57405090"/>
              <a:gd name="connsiteX0" fmla="*/ 0 w 9013945"/>
              <a:gd name="connsiteY0" fmla="*/ 37408352 h 90022291"/>
              <a:gd name="connsiteX1" fmla="*/ 1424696 w 9013945"/>
              <a:gd name="connsiteY1" fmla="*/ 37087698 h 90022291"/>
              <a:gd name="connsiteX2" fmla="*/ 2761098 w 9013945"/>
              <a:gd name="connsiteY2" fmla="*/ 30815062 h 90022291"/>
              <a:gd name="connsiteX3" fmla="*/ 4009971 w 9013945"/>
              <a:gd name="connsiteY3" fmla="*/ 1484479 h 90022291"/>
              <a:gd name="connsiteX4" fmla="*/ 4844941 w 9013945"/>
              <a:gd name="connsiteY4" fmla="*/ 82989386 h 90022291"/>
              <a:gd name="connsiteX5" fmla="*/ 6147947 w 9013945"/>
              <a:gd name="connsiteY5" fmla="*/ 85255990 h 90022291"/>
              <a:gd name="connsiteX6" fmla="*/ 7419148 w 9013945"/>
              <a:gd name="connsiteY6" fmla="*/ 78944995 h 90022291"/>
              <a:gd name="connsiteX7" fmla="*/ 9013945 w 9013945"/>
              <a:gd name="connsiteY7" fmla="*/ 86785513 h 90022291"/>
              <a:gd name="connsiteX0" fmla="*/ 0 w 9013945"/>
              <a:gd name="connsiteY0" fmla="*/ 35942289 h 88556228"/>
              <a:gd name="connsiteX1" fmla="*/ 1424696 w 9013945"/>
              <a:gd name="connsiteY1" fmla="*/ 35621635 h 88556228"/>
              <a:gd name="connsiteX2" fmla="*/ 2761098 w 9013945"/>
              <a:gd name="connsiteY2" fmla="*/ 29348999 h 88556228"/>
              <a:gd name="connsiteX3" fmla="*/ 4009971 w 9013945"/>
              <a:gd name="connsiteY3" fmla="*/ 18416 h 88556228"/>
              <a:gd name="connsiteX4" fmla="*/ 4844941 w 9013945"/>
              <a:gd name="connsiteY4" fmla="*/ 81523323 h 88556228"/>
              <a:gd name="connsiteX5" fmla="*/ 6147947 w 9013945"/>
              <a:gd name="connsiteY5" fmla="*/ 83789927 h 88556228"/>
              <a:gd name="connsiteX6" fmla="*/ 7419148 w 9013945"/>
              <a:gd name="connsiteY6" fmla="*/ 77478932 h 88556228"/>
              <a:gd name="connsiteX7" fmla="*/ 9013945 w 9013945"/>
              <a:gd name="connsiteY7" fmla="*/ 85319450 h 88556228"/>
              <a:gd name="connsiteX0" fmla="*/ 0 w 9013945"/>
              <a:gd name="connsiteY0" fmla="*/ 35924122 h 86136716"/>
              <a:gd name="connsiteX1" fmla="*/ 1424696 w 9013945"/>
              <a:gd name="connsiteY1" fmla="*/ 35603468 h 86136716"/>
              <a:gd name="connsiteX2" fmla="*/ 2761098 w 9013945"/>
              <a:gd name="connsiteY2" fmla="*/ 29330832 h 86136716"/>
              <a:gd name="connsiteX3" fmla="*/ 4009971 w 9013945"/>
              <a:gd name="connsiteY3" fmla="*/ 249 h 86136716"/>
              <a:gd name="connsiteX4" fmla="*/ 5384415 w 9013945"/>
              <a:gd name="connsiteY4" fmla="*/ 29851074 h 86136716"/>
              <a:gd name="connsiteX5" fmla="*/ 6147947 w 9013945"/>
              <a:gd name="connsiteY5" fmla="*/ 83771760 h 86136716"/>
              <a:gd name="connsiteX6" fmla="*/ 7419148 w 9013945"/>
              <a:gd name="connsiteY6" fmla="*/ 77460765 h 86136716"/>
              <a:gd name="connsiteX7" fmla="*/ 9013945 w 9013945"/>
              <a:gd name="connsiteY7" fmla="*/ 85301283 h 86136716"/>
              <a:gd name="connsiteX0" fmla="*/ 0 w 9013945"/>
              <a:gd name="connsiteY0" fmla="*/ 35924122 h 86136716"/>
              <a:gd name="connsiteX1" fmla="*/ 1424696 w 9013945"/>
              <a:gd name="connsiteY1" fmla="*/ 35603468 h 86136716"/>
              <a:gd name="connsiteX2" fmla="*/ 2761098 w 9013945"/>
              <a:gd name="connsiteY2" fmla="*/ 29330832 h 86136716"/>
              <a:gd name="connsiteX3" fmla="*/ 4009971 w 9013945"/>
              <a:gd name="connsiteY3" fmla="*/ 249 h 86136716"/>
              <a:gd name="connsiteX4" fmla="*/ 5384415 w 9013945"/>
              <a:gd name="connsiteY4" fmla="*/ 29851074 h 86136716"/>
              <a:gd name="connsiteX5" fmla="*/ 6147947 w 9013945"/>
              <a:gd name="connsiteY5" fmla="*/ 83771760 h 86136716"/>
              <a:gd name="connsiteX6" fmla="*/ 7419148 w 9013945"/>
              <a:gd name="connsiteY6" fmla="*/ 77460765 h 86136716"/>
              <a:gd name="connsiteX7" fmla="*/ 9013945 w 9013945"/>
              <a:gd name="connsiteY7" fmla="*/ 85301283 h 86136716"/>
              <a:gd name="connsiteX0" fmla="*/ 0 w 9013945"/>
              <a:gd name="connsiteY0" fmla="*/ 35924122 h 86136716"/>
              <a:gd name="connsiteX1" fmla="*/ 1424696 w 9013945"/>
              <a:gd name="connsiteY1" fmla="*/ 35603468 h 86136716"/>
              <a:gd name="connsiteX2" fmla="*/ 2761098 w 9013945"/>
              <a:gd name="connsiteY2" fmla="*/ 29330832 h 86136716"/>
              <a:gd name="connsiteX3" fmla="*/ 4009971 w 9013945"/>
              <a:gd name="connsiteY3" fmla="*/ 249 h 86136716"/>
              <a:gd name="connsiteX4" fmla="*/ 5384415 w 9013945"/>
              <a:gd name="connsiteY4" fmla="*/ 29851074 h 86136716"/>
              <a:gd name="connsiteX5" fmla="*/ 6147947 w 9013945"/>
              <a:gd name="connsiteY5" fmla="*/ 83771760 h 86136716"/>
              <a:gd name="connsiteX6" fmla="*/ 7419148 w 9013945"/>
              <a:gd name="connsiteY6" fmla="*/ 77460765 h 86136716"/>
              <a:gd name="connsiteX7" fmla="*/ 9013945 w 9013945"/>
              <a:gd name="connsiteY7" fmla="*/ 85301283 h 86136716"/>
              <a:gd name="connsiteX0" fmla="*/ 0 w 9013945"/>
              <a:gd name="connsiteY0" fmla="*/ 35924122 h 86136716"/>
              <a:gd name="connsiteX1" fmla="*/ 1424696 w 9013945"/>
              <a:gd name="connsiteY1" fmla="*/ 35603468 h 86136716"/>
              <a:gd name="connsiteX2" fmla="*/ 2761098 w 9013945"/>
              <a:gd name="connsiteY2" fmla="*/ 29330832 h 86136716"/>
              <a:gd name="connsiteX3" fmla="*/ 4009971 w 9013945"/>
              <a:gd name="connsiteY3" fmla="*/ 249 h 86136716"/>
              <a:gd name="connsiteX4" fmla="*/ 5384415 w 9013945"/>
              <a:gd name="connsiteY4" fmla="*/ 29851074 h 86136716"/>
              <a:gd name="connsiteX5" fmla="*/ 6147947 w 9013945"/>
              <a:gd name="connsiteY5" fmla="*/ 83771760 h 86136716"/>
              <a:gd name="connsiteX6" fmla="*/ 7419148 w 9013945"/>
              <a:gd name="connsiteY6" fmla="*/ 77460765 h 86136716"/>
              <a:gd name="connsiteX7" fmla="*/ 9013945 w 9013945"/>
              <a:gd name="connsiteY7" fmla="*/ 85301283 h 86136716"/>
              <a:gd name="connsiteX0" fmla="*/ 0 w 9013945"/>
              <a:gd name="connsiteY0" fmla="*/ 35944369 h 85866985"/>
              <a:gd name="connsiteX1" fmla="*/ 1424696 w 9013945"/>
              <a:gd name="connsiteY1" fmla="*/ 35623715 h 85866985"/>
              <a:gd name="connsiteX2" fmla="*/ 2761098 w 9013945"/>
              <a:gd name="connsiteY2" fmla="*/ 29351079 h 85866985"/>
              <a:gd name="connsiteX3" fmla="*/ 4009971 w 9013945"/>
              <a:gd name="connsiteY3" fmla="*/ 20496 h 85866985"/>
              <a:gd name="connsiteX4" fmla="*/ 5334617 w 9013945"/>
              <a:gd name="connsiteY4" fmla="*/ 34292171 h 85866985"/>
              <a:gd name="connsiteX5" fmla="*/ 6147947 w 9013945"/>
              <a:gd name="connsiteY5" fmla="*/ 83792007 h 85866985"/>
              <a:gd name="connsiteX6" fmla="*/ 7419148 w 9013945"/>
              <a:gd name="connsiteY6" fmla="*/ 77481012 h 85866985"/>
              <a:gd name="connsiteX7" fmla="*/ 9013945 w 9013945"/>
              <a:gd name="connsiteY7" fmla="*/ 85321530 h 85866985"/>
              <a:gd name="connsiteX0" fmla="*/ 0 w 9013945"/>
              <a:gd name="connsiteY0" fmla="*/ 35944369 h 85321531"/>
              <a:gd name="connsiteX1" fmla="*/ 1424696 w 9013945"/>
              <a:gd name="connsiteY1" fmla="*/ 35623715 h 85321531"/>
              <a:gd name="connsiteX2" fmla="*/ 2761098 w 9013945"/>
              <a:gd name="connsiteY2" fmla="*/ 29351079 h 85321531"/>
              <a:gd name="connsiteX3" fmla="*/ 4009971 w 9013945"/>
              <a:gd name="connsiteY3" fmla="*/ 20496 h 85321531"/>
              <a:gd name="connsiteX4" fmla="*/ 5334617 w 9013945"/>
              <a:gd name="connsiteY4" fmla="*/ 34292171 h 85321531"/>
              <a:gd name="connsiteX5" fmla="*/ 6712319 w 9013945"/>
              <a:gd name="connsiteY5" fmla="*/ 25157664 h 85321531"/>
              <a:gd name="connsiteX6" fmla="*/ 7419148 w 9013945"/>
              <a:gd name="connsiteY6" fmla="*/ 77481012 h 85321531"/>
              <a:gd name="connsiteX7" fmla="*/ 9013945 w 9013945"/>
              <a:gd name="connsiteY7" fmla="*/ 85321530 h 85321531"/>
              <a:gd name="connsiteX0" fmla="*/ 0 w 9013945"/>
              <a:gd name="connsiteY0" fmla="*/ 35944369 h 85321531"/>
              <a:gd name="connsiteX1" fmla="*/ 1424696 w 9013945"/>
              <a:gd name="connsiteY1" fmla="*/ 35623715 h 85321531"/>
              <a:gd name="connsiteX2" fmla="*/ 2761098 w 9013945"/>
              <a:gd name="connsiteY2" fmla="*/ 29351079 h 85321531"/>
              <a:gd name="connsiteX3" fmla="*/ 4009971 w 9013945"/>
              <a:gd name="connsiteY3" fmla="*/ 20496 h 85321531"/>
              <a:gd name="connsiteX4" fmla="*/ 5334617 w 9013945"/>
              <a:gd name="connsiteY4" fmla="*/ 34292171 h 85321531"/>
              <a:gd name="connsiteX5" fmla="*/ 6712319 w 9013945"/>
              <a:gd name="connsiteY5" fmla="*/ 25157664 h 85321531"/>
              <a:gd name="connsiteX6" fmla="*/ 7419148 w 9013945"/>
              <a:gd name="connsiteY6" fmla="*/ 77481012 h 85321531"/>
              <a:gd name="connsiteX7" fmla="*/ 9013945 w 9013945"/>
              <a:gd name="connsiteY7" fmla="*/ 85321530 h 85321531"/>
              <a:gd name="connsiteX0" fmla="*/ 0 w 9013945"/>
              <a:gd name="connsiteY0" fmla="*/ 35944369 h 85321531"/>
              <a:gd name="connsiteX1" fmla="*/ 1424696 w 9013945"/>
              <a:gd name="connsiteY1" fmla="*/ 35623715 h 85321531"/>
              <a:gd name="connsiteX2" fmla="*/ 2761098 w 9013945"/>
              <a:gd name="connsiteY2" fmla="*/ 29351079 h 85321531"/>
              <a:gd name="connsiteX3" fmla="*/ 4009971 w 9013945"/>
              <a:gd name="connsiteY3" fmla="*/ 20496 h 85321531"/>
              <a:gd name="connsiteX4" fmla="*/ 5334617 w 9013945"/>
              <a:gd name="connsiteY4" fmla="*/ 34292171 h 85321531"/>
              <a:gd name="connsiteX5" fmla="*/ 6687420 w 9013945"/>
              <a:gd name="connsiteY5" fmla="*/ 43306415 h 85321531"/>
              <a:gd name="connsiteX6" fmla="*/ 7419148 w 9013945"/>
              <a:gd name="connsiteY6" fmla="*/ 77481012 h 85321531"/>
              <a:gd name="connsiteX7" fmla="*/ 9013945 w 9013945"/>
              <a:gd name="connsiteY7" fmla="*/ 85321530 h 85321531"/>
              <a:gd name="connsiteX0" fmla="*/ 0 w 9013945"/>
              <a:gd name="connsiteY0" fmla="*/ 35944369 h 85321531"/>
              <a:gd name="connsiteX1" fmla="*/ 1424696 w 9013945"/>
              <a:gd name="connsiteY1" fmla="*/ 35623715 h 85321531"/>
              <a:gd name="connsiteX2" fmla="*/ 2761098 w 9013945"/>
              <a:gd name="connsiteY2" fmla="*/ 29351079 h 85321531"/>
              <a:gd name="connsiteX3" fmla="*/ 4009971 w 9013945"/>
              <a:gd name="connsiteY3" fmla="*/ 20496 h 85321531"/>
              <a:gd name="connsiteX4" fmla="*/ 5334617 w 9013945"/>
              <a:gd name="connsiteY4" fmla="*/ 34292171 h 85321531"/>
              <a:gd name="connsiteX5" fmla="*/ 6629323 w 9013945"/>
              <a:gd name="connsiteY5" fmla="*/ 46331207 h 85321531"/>
              <a:gd name="connsiteX6" fmla="*/ 7419148 w 9013945"/>
              <a:gd name="connsiteY6" fmla="*/ 77481012 h 85321531"/>
              <a:gd name="connsiteX7" fmla="*/ 9013945 w 9013945"/>
              <a:gd name="connsiteY7" fmla="*/ 85321530 h 85321531"/>
              <a:gd name="connsiteX0" fmla="*/ 0 w 9013945"/>
              <a:gd name="connsiteY0" fmla="*/ 35944369 h 85321531"/>
              <a:gd name="connsiteX1" fmla="*/ 1424696 w 9013945"/>
              <a:gd name="connsiteY1" fmla="*/ 35623715 h 85321531"/>
              <a:gd name="connsiteX2" fmla="*/ 2761098 w 9013945"/>
              <a:gd name="connsiteY2" fmla="*/ 29351079 h 85321531"/>
              <a:gd name="connsiteX3" fmla="*/ 4009971 w 9013945"/>
              <a:gd name="connsiteY3" fmla="*/ 20496 h 85321531"/>
              <a:gd name="connsiteX4" fmla="*/ 5334617 w 9013945"/>
              <a:gd name="connsiteY4" fmla="*/ 34292171 h 85321531"/>
              <a:gd name="connsiteX5" fmla="*/ 6712319 w 9013945"/>
              <a:gd name="connsiteY5" fmla="*/ 45400502 h 85321531"/>
              <a:gd name="connsiteX6" fmla="*/ 7419148 w 9013945"/>
              <a:gd name="connsiteY6" fmla="*/ 77481012 h 85321531"/>
              <a:gd name="connsiteX7" fmla="*/ 9013945 w 9013945"/>
              <a:gd name="connsiteY7" fmla="*/ 85321530 h 85321531"/>
              <a:gd name="connsiteX0" fmla="*/ 0 w 9013945"/>
              <a:gd name="connsiteY0" fmla="*/ 35944369 h 85321531"/>
              <a:gd name="connsiteX1" fmla="*/ 1424696 w 9013945"/>
              <a:gd name="connsiteY1" fmla="*/ 35623715 h 85321531"/>
              <a:gd name="connsiteX2" fmla="*/ 2761098 w 9013945"/>
              <a:gd name="connsiteY2" fmla="*/ 29351079 h 85321531"/>
              <a:gd name="connsiteX3" fmla="*/ 4009971 w 9013945"/>
              <a:gd name="connsiteY3" fmla="*/ 20496 h 85321531"/>
              <a:gd name="connsiteX4" fmla="*/ 5334617 w 9013945"/>
              <a:gd name="connsiteY4" fmla="*/ 34292171 h 85321531"/>
              <a:gd name="connsiteX5" fmla="*/ 6712319 w 9013945"/>
              <a:gd name="connsiteY5" fmla="*/ 45400502 h 85321531"/>
              <a:gd name="connsiteX6" fmla="*/ 7991821 w 9013945"/>
              <a:gd name="connsiteY6" fmla="*/ 17915964 h 85321531"/>
              <a:gd name="connsiteX7" fmla="*/ 9013945 w 9013945"/>
              <a:gd name="connsiteY7" fmla="*/ 85321530 h 85321531"/>
              <a:gd name="connsiteX0" fmla="*/ 0 w 9453823"/>
              <a:gd name="connsiteY0" fmla="*/ 35944369 h 46050908"/>
              <a:gd name="connsiteX1" fmla="*/ 1424696 w 9453823"/>
              <a:gd name="connsiteY1" fmla="*/ 35623715 h 46050908"/>
              <a:gd name="connsiteX2" fmla="*/ 2761098 w 9453823"/>
              <a:gd name="connsiteY2" fmla="*/ 29351079 h 46050908"/>
              <a:gd name="connsiteX3" fmla="*/ 4009971 w 9453823"/>
              <a:gd name="connsiteY3" fmla="*/ 20496 h 46050908"/>
              <a:gd name="connsiteX4" fmla="*/ 5334617 w 9453823"/>
              <a:gd name="connsiteY4" fmla="*/ 34292171 h 46050908"/>
              <a:gd name="connsiteX5" fmla="*/ 6712319 w 9453823"/>
              <a:gd name="connsiteY5" fmla="*/ 45400502 h 46050908"/>
              <a:gd name="connsiteX6" fmla="*/ 7991821 w 9453823"/>
              <a:gd name="connsiteY6" fmla="*/ 17915964 h 46050908"/>
              <a:gd name="connsiteX7" fmla="*/ 9453823 w 9453823"/>
              <a:gd name="connsiteY7" fmla="*/ 32736743 h 46050908"/>
              <a:gd name="connsiteX0" fmla="*/ 0 w 9453823"/>
              <a:gd name="connsiteY0" fmla="*/ 28970376 h 39006688"/>
              <a:gd name="connsiteX1" fmla="*/ 1424696 w 9453823"/>
              <a:gd name="connsiteY1" fmla="*/ 28649722 h 39006688"/>
              <a:gd name="connsiteX2" fmla="*/ 2761098 w 9453823"/>
              <a:gd name="connsiteY2" fmla="*/ 22377086 h 39006688"/>
              <a:gd name="connsiteX3" fmla="*/ 4101267 w 9453823"/>
              <a:gd name="connsiteY3" fmla="*/ 26793 h 39006688"/>
              <a:gd name="connsiteX4" fmla="*/ 5334617 w 9453823"/>
              <a:gd name="connsiteY4" fmla="*/ 27318178 h 39006688"/>
              <a:gd name="connsiteX5" fmla="*/ 6712319 w 9453823"/>
              <a:gd name="connsiteY5" fmla="*/ 38426509 h 39006688"/>
              <a:gd name="connsiteX6" fmla="*/ 7991821 w 9453823"/>
              <a:gd name="connsiteY6" fmla="*/ 10941971 h 39006688"/>
              <a:gd name="connsiteX7" fmla="*/ 9453823 w 9453823"/>
              <a:gd name="connsiteY7" fmla="*/ 25762750 h 39006688"/>
              <a:gd name="connsiteX0" fmla="*/ 0 w 9215386"/>
              <a:gd name="connsiteY0" fmla="*/ 0 h 376638241"/>
              <a:gd name="connsiteX1" fmla="*/ 1186259 w 9215386"/>
              <a:gd name="connsiteY1" fmla="*/ 351606317 h 376638241"/>
              <a:gd name="connsiteX2" fmla="*/ 2522661 w 9215386"/>
              <a:gd name="connsiteY2" fmla="*/ 345333681 h 376638241"/>
              <a:gd name="connsiteX3" fmla="*/ 3862830 w 9215386"/>
              <a:gd name="connsiteY3" fmla="*/ 322983388 h 376638241"/>
              <a:gd name="connsiteX4" fmla="*/ 5096180 w 9215386"/>
              <a:gd name="connsiteY4" fmla="*/ 350274773 h 376638241"/>
              <a:gd name="connsiteX5" fmla="*/ 6473882 w 9215386"/>
              <a:gd name="connsiteY5" fmla="*/ 361383104 h 376638241"/>
              <a:gd name="connsiteX6" fmla="*/ 7753384 w 9215386"/>
              <a:gd name="connsiteY6" fmla="*/ 333898566 h 376638241"/>
              <a:gd name="connsiteX7" fmla="*/ 9215386 w 9215386"/>
              <a:gd name="connsiteY7" fmla="*/ 348719345 h 376638241"/>
              <a:gd name="connsiteX0" fmla="*/ 0 w 9215386"/>
              <a:gd name="connsiteY0" fmla="*/ 0 h 365838986"/>
              <a:gd name="connsiteX1" fmla="*/ 1186259 w 9215386"/>
              <a:gd name="connsiteY1" fmla="*/ 341551222 h 365838986"/>
              <a:gd name="connsiteX2" fmla="*/ 2522661 w 9215386"/>
              <a:gd name="connsiteY2" fmla="*/ 335278586 h 365838986"/>
              <a:gd name="connsiteX3" fmla="*/ 3862830 w 9215386"/>
              <a:gd name="connsiteY3" fmla="*/ 312928293 h 365838986"/>
              <a:gd name="connsiteX4" fmla="*/ 5096180 w 9215386"/>
              <a:gd name="connsiteY4" fmla="*/ 340219678 h 365838986"/>
              <a:gd name="connsiteX5" fmla="*/ 6473882 w 9215386"/>
              <a:gd name="connsiteY5" fmla="*/ 351328009 h 365838986"/>
              <a:gd name="connsiteX6" fmla="*/ 7753384 w 9215386"/>
              <a:gd name="connsiteY6" fmla="*/ 323843471 h 365838986"/>
              <a:gd name="connsiteX7" fmla="*/ 9215386 w 9215386"/>
              <a:gd name="connsiteY7" fmla="*/ 338664250 h 365838986"/>
              <a:gd name="connsiteX0" fmla="*/ 0 w 9215386"/>
              <a:gd name="connsiteY0" fmla="*/ 1702 h 351909890"/>
              <a:gd name="connsiteX1" fmla="*/ 1354567 w 9215386"/>
              <a:gd name="connsiteY1" fmla="*/ 78110403 h 351909890"/>
              <a:gd name="connsiteX2" fmla="*/ 2522661 w 9215386"/>
              <a:gd name="connsiteY2" fmla="*/ 335280288 h 351909890"/>
              <a:gd name="connsiteX3" fmla="*/ 3862830 w 9215386"/>
              <a:gd name="connsiteY3" fmla="*/ 312929995 h 351909890"/>
              <a:gd name="connsiteX4" fmla="*/ 5096180 w 9215386"/>
              <a:gd name="connsiteY4" fmla="*/ 340221380 h 351909890"/>
              <a:gd name="connsiteX5" fmla="*/ 6473882 w 9215386"/>
              <a:gd name="connsiteY5" fmla="*/ 351329711 h 351909890"/>
              <a:gd name="connsiteX6" fmla="*/ 7753384 w 9215386"/>
              <a:gd name="connsiteY6" fmla="*/ 323845173 h 351909890"/>
              <a:gd name="connsiteX7" fmla="*/ 9215386 w 9215386"/>
              <a:gd name="connsiteY7" fmla="*/ 338665952 h 351909890"/>
              <a:gd name="connsiteX0" fmla="*/ 0 w 9215386"/>
              <a:gd name="connsiteY0" fmla="*/ 851 h 351909039"/>
              <a:gd name="connsiteX1" fmla="*/ 1354567 w 9215386"/>
              <a:gd name="connsiteY1" fmla="*/ 78109552 h 351909039"/>
              <a:gd name="connsiteX2" fmla="*/ 2522661 w 9215386"/>
              <a:gd name="connsiteY2" fmla="*/ 335279437 h 351909039"/>
              <a:gd name="connsiteX3" fmla="*/ 3862830 w 9215386"/>
              <a:gd name="connsiteY3" fmla="*/ 312929144 h 351909039"/>
              <a:gd name="connsiteX4" fmla="*/ 5096180 w 9215386"/>
              <a:gd name="connsiteY4" fmla="*/ 340220529 h 351909039"/>
              <a:gd name="connsiteX5" fmla="*/ 6473882 w 9215386"/>
              <a:gd name="connsiteY5" fmla="*/ 351328860 h 351909039"/>
              <a:gd name="connsiteX6" fmla="*/ 7753384 w 9215386"/>
              <a:gd name="connsiteY6" fmla="*/ 323844322 h 351909039"/>
              <a:gd name="connsiteX7" fmla="*/ 9215386 w 9215386"/>
              <a:gd name="connsiteY7" fmla="*/ 338665101 h 351909039"/>
              <a:gd name="connsiteX0" fmla="*/ 0 w 9215386"/>
              <a:gd name="connsiteY0" fmla="*/ 33620820 h 385529008"/>
              <a:gd name="connsiteX1" fmla="*/ 1354567 w 9215386"/>
              <a:gd name="connsiteY1" fmla="*/ 111729521 h 385529008"/>
              <a:gd name="connsiteX2" fmla="*/ 2669930 w 9215386"/>
              <a:gd name="connsiteY2" fmla="*/ 6917311 h 385529008"/>
              <a:gd name="connsiteX3" fmla="*/ 3862830 w 9215386"/>
              <a:gd name="connsiteY3" fmla="*/ 346549113 h 385529008"/>
              <a:gd name="connsiteX4" fmla="*/ 5096180 w 9215386"/>
              <a:gd name="connsiteY4" fmla="*/ 373840498 h 385529008"/>
              <a:gd name="connsiteX5" fmla="*/ 6473882 w 9215386"/>
              <a:gd name="connsiteY5" fmla="*/ 384948829 h 385529008"/>
              <a:gd name="connsiteX6" fmla="*/ 7753384 w 9215386"/>
              <a:gd name="connsiteY6" fmla="*/ 357464291 h 385529008"/>
              <a:gd name="connsiteX7" fmla="*/ 9215386 w 9215386"/>
              <a:gd name="connsiteY7" fmla="*/ 372285070 h 385529008"/>
              <a:gd name="connsiteX0" fmla="*/ 0 w 9215386"/>
              <a:gd name="connsiteY0" fmla="*/ 26709751 h 378617939"/>
              <a:gd name="connsiteX1" fmla="*/ 1354567 w 9215386"/>
              <a:gd name="connsiteY1" fmla="*/ 104818452 h 378617939"/>
              <a:gd name="connsiteX2" fmla="*/ 2669930 w 9215386"/>
              <a:gd name="connsiteY2" fmla="*/ 6242 h 378617939"/>
              <a:gd name="connsiteX3" fmla="*/ 3862830 w 9215386"/>
              <a:gd name="connsiteY3" fmla="*/ 339638044 h 378617939"/>
              <a:gd name="connsiteX4" fmla="*/ 5096180 w 9215386"/>
              <a:gd name="connsiteY4" fmla="*/ 366929429 h 378617939"/>
              <a:gd name="connsiteX5" fmla="*/ 6473882 w 9215386"/>
              <a:gd name="connsiteY5" fmla="*/ 378037760 h 378617939"/>
              <a:gd name="connsiteX6" fmla="*/ 7753384 w 9215386"/>
              <a:gd name="connsiteY6" fmla="*/ 350553222 h 378617939"/>
              <a:gd name="connsiteX7" fmla="*/ 9215386 w 9215386"/>
              <a:gd name="connsiteY7" fmla="*/ 365374001 h 378617939"/>
              <a:gd name="connsiteX0" fmla="*/ 0 w 9215386"/>
              <a:gd name="connsiteY0" fmla="*/ 568 h 351908756"/>
              <a:gd name="connsiteX1" fmla="*/ 1354567 w 9215386"/>
              <a:gd name="connsiteY1" fmla="*/ 78109269 h 351908756"/>
              <a:gd name="connsiteX2" fmla="*/ 2641880 w 9215386"/>
              <a:gd name="connsiteY2" fmla="*/ 67814726 h 351908756"/>
              <a:gd name="connsiteX3" fmla="*/ 3862830 w 9215386"/>
              <a:gd name="connsiteY3" fmla="*/ 312928861 h 351908756"/>
              <a:gd name="connsiteX4" fmla="*/ 5096180 w 9215386"/>
              <a:gd name="connsiteY4" fmla="*/ 340220246 h 351908756"/>
              <a:gd name="connsiteX5" fmla="*/ 6473882 w 9215386"/>
              <a:gd name="connsiteY5" fmla="*/ 351328577 h 351908756"/>
              <a:gd name="connsiteX6" fmla="*/ 7753384 w 9215386"/>
              <a:gd name="connsiteY6" fmla="*/ 323844039 h 351908756"/>
              <a:gd name="connsiteX7" fmla="*/ 9215386 w 9215386"/>
              <a:gd name="connsiteY7" fmla="*/ 338664818 h 351908756"/>
              <a:gd name="connsiteX0" fmla="*/ 0 w 9215386"/>
              <a:gd name="connsiteY0" fmla="*/ 568 h 351908756"/>
              <a:gd name="connsiteX1" fmla="*/ 1354567 w 9215386"/>
              <a:gd name="connsiteY1" fmla="*/ 78109269 h 351908756"/>
              <a:gd name="connsiteX2" fmla="*/ 2641881 w 9215386"/>
              <a:gd name="connsiteY2" fmla="*/ 77869537 h 351908756"/>
              <a:gd name="connsiteX3" fmla="*/ 3862830 w 9215386"/>
              <a:gd name="connsiteY3" fmla="*/ 312928861 h 351908756"/>
              <a:gd name="connsiteX4" fmla="*/ 5096180 w 9215386"/>
              <a:gd name="connsiteY4" fmla="*/ 340220246 h 351908756"/>
              <a:gd name="connsiteX5" fmla="*/ 6473882 w 9215386"/>
              <a:gd name="connsiteY5" fmla="*/ 351328577 h 351908756"/>
              <a:gd name="connsiteX6" fmla="*/ 7753384 w 9215386"/>
              <a:gd name="connsiteY6" fmla="*/ 323844039 h 351908756"/>
              <a:gd name="connsiteX7" fmla="*/ 9215386 w 9215386"/>
              <a:gd name="connsiteY7" fmla="*/ 338664818 h 351908756"/>
              <a:gd name="connsiteX0" fmla="*/ 0 w 9215386"/>
              <a:gd name="connsiteY0" fmla="*/ 220461410 h 606480661"/>
              <a:gd name="connsiteX1" fmla="*/ 1354567 w 9215386"/>
              <a:gd name="connsiteY1" fmla="*/ 298570111 h 606480661"/>
              <a:gd name="connsiteX2" fmla="*/ 2641881 w 9215386"/>
              <a:gd name="connsiteY2" fmla="*/ 298330379 h 606480661"/>
              <a:gd name="connsiteX3" fmla="*/ 3925945 w 9215386"/>
              <a:gd name="connsiteY3" fmla="*/ 4493898 h 606480661"/>
              <a:gd name="connsiteX4" fmla="*/ 5096180 w 9215386"/>
              <a:gd name="connsiteY4" fmla="*/ 560681088 h 606480661"/>
              <a:gd name="connsiteX5" fmla="*/ 6473882 w 9215386"/>
              <a:gd name="connsiteY5" fmla="*/ 571789419 h 606480661"/>
              <a:gd name="connsiteX6" fmla="*/ 7753384 w 9215386"/>
              <a:gd name="connsiteY6" fmla="*/ 544304881 h 606480661"/>
              <a:gd name="connsiteX7" fmla="*/ 9215386 w 9215386"/>
              <a:gd name="connsiteY7" fmla="*/ 559125660 h 606480661"/>
              <a:gd name="connsiteX0" fmla="*/ 0 w 9215386"/>
              <a:gd name="connsiteY0" fmla="*/ 215977726 h 601996977"/>
              <a:gd name="connsiteX1" fmla="*/ 1354567 w 9215386"/>
              <a:gd name="connsiteY1" fmla="*/ 294086427 h 601996977"/>
              <a:gd name="connsiteX2" fmla="*/ 2641881 w 9215386"/>
              <a:gd name="connsiteY2" fmla="*/ 293846695 h 601996977"/>
              <a:gd name="connsiteX3" fmla="*/ 3925945 w 9215386"/>
              <a:gd name="connsiteY3" fmla="*/ 10214 h 601996977"/>
              <a:gd name="connsiteX4" fmla="*/ 5096180 w 9215386"/>
              <a:gd name="connsiteY4" fmla="*/ 556197404 h 601996977"/>
              <a:gd name="connsiteX5" fmla="*/ 6473882 w 9215386"/>
              <a:gd name="connsiteY5" fmla="*/ 567305735 h 601996977"/>
              <a:gd name="connsiteX6" fmla="*/ 7753384 w 9215386"/>
              <a:gd name="connsiteY6" fmla="*/ 539821197 h 601996977"/>
              <a:gd name="connsiteX7" fmla="*/ 9215386 w 9215386"/>
              <a:gd name="connsiteY7" fmla="*/ 554641976 h 601996977"/>
              <a:gd name="connsiteX0" fmla="*/ 0 w 9215386"/>
              <a:gd name="connsiteY0" fmla="*/ 215974322 h 601993573"/>
              <a:gd name="connsiteX1" fmla="*/ 1354567 w 9215386"/>
              <a:gd name="connsiteY1" fmla="*/ 294083023 h 601993573"/>
              <a:gd name="connsiteX2" fmla="*/ 2641881 w 9215386"/>
              <a:gd name="connsiteY2" fmla="*/ 293843291 h 601993573"/>
              <a:gd name="connsiteX3" fmla="*/ 3925945 w 9215386"/>
              <a:gd name="connsiteY3" fmla="*/ 6810 h 601993573"/>
              <a:gd name="connsiteX4" fmla="*/ 5096180 w 9215386"/>
              <a:gd name="connsiteY4" fmla="*/ 556194000 h 601993573"/>
              <a:gd name="connsiteX5" fmla="*/ 6473882 w 9215386"/>
              <a:gd name="connsiteY5" fmla="*/ 567302331 h 601993573"/>
              <a:gd name="connsiteX6" fmla="*/ 7753384 w 9215386"/>
              <a:gd name="connsiteY6" fmla="*/ 539817793 h 601993573"/>
              <a:gd name="connsiteX7" fmla="*/ 9215386 w 9215386"/>
              <a:gd name="connsiteY7" fmla="*/ 554638572 h 601993573"/>
              <a:gd name="connsiteX0" fmla="*/ 0 w 9215386"/>
              <a:gd name="connsiteY0" fmla="*/ 215973471 h 601992722"/>
              <a:gd name="connsiteX1" fmla="*/ 1354567 w 9215386"/>
              <a:gd name="connsiteY1" fmla="*/ 294082172 h 601992722"/>
              <a:gd name="connsiteX2" fmla="*/ 2641881 w 9215386"/>
              <a:gd name="connsiteY2" fmla="*/ 293842440 h 601992722"/>
              <a:gd name="connsiteX3" fmla="*/ 3925945 w 9215386"/>
              <a:gd name="connsiteY3" fmla="*/ 5959 h 601992722"/>
              <a:gd name="connsiteX4" fmla="*/ 5096180 w 9215386"/>
              <a:gd name="connsiteY4" fmla="*/ 556193149 h 601992722"/>
              <a:gd name="connsiteX5" fmla="*/ 6473882 w 9215386"/>
              <a:gd name="connsiteY5" fmla="*/ 567301480 h 601992722"/>
              <a:gd name="connsiteX6" fmla="*/ 7753384 w 9215386"/>
              <a:gd name="connsiteY6" fmla="*/ 539816942 h 601992722"/>
              <a:gd name="connsiteX7" fmla="*/ 9215386 w 9215386"/>
              <a:gd name="connsiteY7" fmla="*/ 554637721 h 601992722"/>
              <a:gd name="connsiteX0" fmla="*/ 0 w 9215386"/>
              <a:gd name="connsiteY0" fmla="*/ 215973471 h 601992722"/>
              <a:gd name="connsiteX1" fmla="*/ 1354567 w 9215386"/>
              <a:gd name="connsiteY1" fmla="*/ 294082172 h 601992722"/>
              <a:gd name="connsiteX2" fmla="*/ 2641881 w 9215386"/>
              <a:gd name="connsiteY2" fmla="*/ 293842440 h 601992722"/>
              <a:gd name="connsiteX3" fmla="*/ 3925945 w 9215386"/>
              <a:gd name="connsiteY3" fmla="*/ 5959 h 601992722"/>
              <a:gd name="connsiteX4" fmla="*/ 5096180 w 9215386"/>
              <a:gd name="connsiteY4" fmla="*/ 556193149 h 601992722"/>
              <a:gd name="connsiteX5" fmla="*/ 6473882 w 9215386"/>
              <a:gd name="connsiteY5" fmla="*/ 567301480 h 601992722"/>
              <a:gd name="connsiteX6" fmla="*/ 7753384 w 9215386"/>
              <a:gd name="connsiteY6" fmla="*/ 539816942 h 601992722"/>
              <a:gd name="connsiteX7" fmla="*/ 9215386 w 9215386"/>
              <a:gd name="connsiteY7" fmla="*/ 554637721 h 601992722"/>
              <a:gd name="connsiteX0" fmla="*/ 0 w 9215386"/>
              <a:gd name="connsiteY0" fmla="*/ 220279271 h 606298522"/>
              <a:gd name="connsiteX1" fmla="*/ 1354567 w 9215386"/>
              <a:gd name="connsiteY1" fmla="*/ 298387972 h 606298522"/>
              <a:gd name="connsiteX2" fmla="*/ 2641882 w 9215386"/>
              <a:gd name="connsiteY2" fmla="*/ 292115239 h 606298522"/>
              <a:gd name="connsiteX3" fmla="*/ 3925945 w 9215386"/>
              <a:gd name="connsiteY3" fmla="*/ 4311759 h 606298522"/>
              <a:gd name="connsiteX4" fmla="*/ 5096180 w 9215386"/>
              <a:gd name="connsiteY4" fmla="*/ 560498949 h 606298522"/>
              <a:gd name="connsiteX5" fmla="*/ 6473882 w 9215386"/>
              <a:gd name="connsiteY5" fmla="*/ 571607280 h 606298522"/>
              <a:gd name="connsiteX6" fmla="*/ 7753384 w 9215386"/>
              <a:gd name="connsiteY6" fmla="*/ 544122742 h 606298522"/>
              <a:gd name="connsiteX7" fmla="*/ 9215386 w 9215386"/>
              <a:gd name="connsiteY7" fmla="*/ 558943521 h 606298522"/>
              <a:gd name="connsiteX0" fmla="*/ 0 w 9215386"/>
              <a:gd name="connsiteY0" fmla="*/ 215987088 h 581663227"/>
              <a:gd name="connsiteX1" fmla="*/ 1354567 w 9215386"/>
              <a:gd name="connsiteY1" fmla="*/ 294095789 h 581663227"/>
              <a:gd name="connsiteX2" fmla="*/ 2641882 w 9215386"/>
              <a:gd name="connsiteY2" fmla="*/ 287823056 h 581663227"/>
              <a:gd name="connsiteX3" fmla="*/ 3925945 w 9215386"/>
              <a:gd name="connsiteY3" fmla="*/ 19576 h 581663227"/>
              <a:gd name="connsiteX4" fmla="*/ 5292541 w 9215386"/>
              <a:gd name="connsiteY4" fmla="*/ 274665356 h 581663227"/>
              <a:gd name="connsiteX5" fmla="*/ 6473882 w 9215386"/>
              <a:gd name="connsiteY5" fmla="*/ 567315097 h 581663227"/>
              <a:gd name="connsiteX6" fmla="*/ 7753384 w 9215386"/>
              <a:gd name="connsiteY6" fmla="*/ 539830559 h 581663227"/>
              <a:gd name="connsiteX7" fmla="*/ 9215386 w 9215386"/>
              <a:gd name="connsiteY7" fmla="*/ 554651338 h 581663227"/>
              <a:gd name="connsiteX0" fmla="*/ 0 w 9215386"/>
              <a:gd name="connsiteY0" fmla="*/ 215981130 h 581657269"/>
              <a:gd name="connsiteX1" fmla="*/ 1354567 w 9215386"/>
              <a:gd name="connsiteY1" fmla="*/ 294089831 h 581657269"/>
              <a:gd name="connsiteX2" fmla="*/ 2641882 w 9215386"/>
              <a:gd name="connsiteY2" fmla="*/ 287817098 h 581657269"/>
              <a:gd name="connsiteX3" fmla="*/ 3925945 w 9215386"/>
              <a:gd name="connsiteY3" fmla="*/ 13618 h 581657269"/>
              <a:gd name="connsiteX4" fmla="*/ 5292541 w 9215386"/>
              <a:gd name="connsiteY4" fmla="*/ 274659398 h 581657269"/>
              <a:gd name="connsiteX5" fmla="*/ 6473882 w 9215386"/>
              <a:gd name="connsiteY5" fmla="*/ 567309139 h 581657269"/>
              <a:gd name="connsiteX6" fmla="*/ 7753384 w 9215386"/>
              <a:gd name="connsiteY6" fmla="*/ 539824601 h 581657269"/>
              <a:gd name="connsiteX7" fmla="*/ 9215386 w 9215386"/>
              <a:gd name="connsiteY7" fmla="*/ 554645380 h 581657269"/>
              <a:gd name="connsiteX0" fmla="*/ 0 w 9215386"/>
              <a:gd name="connsiteY0" fmla="*/ 215980846 h 581656985"/>
              <a:gd name="connsiteX1" fmla="*/ 1354567 w 9215386"/>
              <a:gd name="connsiteY1" fmla="*/ 294089547 h 581656985"/>
              <a:gd name="connsiteX2" fmla="*/ 2641882 w 9215386"/>
              <a:gd name="connsiteY2" fmla="*/ 287816814 h 581656985"/>
              <a:gd name="connsiteX3" fmla="*/ 3925945 w 9215386"/>
              <a:gd name="connsiteY3" fmla="*/ 13334 h 581656985"/>
              <a:gd name="connsiteX4" fmla="*/ 5292541 w 9215386"/>
              <a:gd name="connsiteY4" fmla="*/ 274659114 h 581656985"/>
              <a:gd name="connsiteX5" fmla="*/ 6473882 w 9215386"/>
              <a:gd name="connsiteY5" fmla="*/ 567308855 h 581656985"/>
              <a:gd name="connsiteX6" fmla="*/ 7753384 w 9215386"/>
              <a:gd name="connsiteY6" fmla="*/ 539824317 h 581656985"/>
              <a:gd name="connsiteX7" fmla="*/ 9215386 w 9215386"/>
              <a:gd name="connsiteY7" fmla="*/ 554645096 h 581656985"/>
              <a:gd name="connsiteX0" fmla="*/ 0 w 9215386"/>
              <a:gd name="connsiteY0" fmla="*/ 215985385 h 581799689"/>
              <a:gd name="connsiteX1" fmla="*/ 1354567 w 9215386"/>
              <a:gd name="connsiteY1" fmla="*/ 294094086 h 581799689"/>
              <a:gd name="connsiteX2" fmla="*/ 2641882 w 9215386"/>
              <a:gd name="connsiteY2" fmla="*/ 287821353 h 581799689"/>
              <a:gd name="connsiteX3" fmla="*/ 3925945 w 9215386"/>
              <a:gd name="connsiteY3" fmla="*/ 17873 h 581799689"/>
              <a:gd name="connsiteX4" fmla="*/ 5222414 w 9215386"/>
              <a:gd name="connsiteY4" fmla="*/ 272652749 h 581799689"/>
              <a:gd name="connsiteX5" fmla="*/ 6473882 w 9215386"/>
              <a:gd name="connsiteY5" fmla="*/ 567313394 h 581799689"/>
              <a:gd name="connsiteX6" fmla="*/ 7753384 w 9215386"/>
              <a:gd name="connsiteY6" fmla="*/ 539828856 h 581799689"/>
              <a:gd name="connsiteX7" fmla="*/ 9215386 w 9215386"/>
              <a:gd name="connsiteY7" fmla="*/ 554649635 h 581799689"/>
              <a:gd name="connsiteX0" fmla="*/ 0 w 9215386"/>
              <a:gd name="connsiteY0" fmla="*/ 215985385 h 581799689"/>
              <a:gd name="connsiteX1" fmla="*/ 1354567 w 9215386"/>
              <a:gd name="connsiteY1" fmla="*/ 294094086 h 581799689"/>
              <a:gd name="connsiteX2" fmla="*/ 2641882 w 9215386"/>
              <a:gd name="connsiteY2" fmla="*/ 287821353 h 581799689"/>
              <a:gd name="connsiteX3" fmla="*/ 3925945 w 9215386"/>
              <a:gd name="connsiteY3" fmla="*/ 17873 h 581799689"/>
              <a:gd name="connsiteX4" fmla="*/ 5222414 w 9215386"/>
              <a:gd name="connsiteY4" fmla="*/ 272652749 h 581799689"/>
              <a:gd name="connsiteX5" fmla="*/ 6473882 w 9215386"/>
              <a:gd name="connsiteY5" fmla="*/ 567313394 h 581799689"/>
              <a:gd name="connsiteX6" fmla="*/ 7753384 w 9215386"/>
              <a:gd name="connsiteY6" fmla="*/ 539828856 h 581799689"/>
              <a:gd name="connsiteX7" fmla="*/ 9215386 w 9215386"/>
              <a:gd name="connsiteY7" fmla="*/ 554649635 h 581799689"/>
              <a:gd name="connsiteX0" fmla="*/ 0 w 9215386"/>
              <a:gd name="connsiteY0" fmla="*/ 215985385 h 581799689"/>
              <a:gd name="connsiteX1" fmla="*/ 1354567 w 9215386"/>
              <a:gd name="connsiteY1" fmla="*/ 294094086 h 581799689"/>
              <a:gd name="connsiteX2" fmla="*/ 2641882 w 9215386"/>
              <a:gd name="connsiteY2" fmla="*/ 287821353 h 581799689"/>
              <a:gd name="connsiteX3" fmla="*/ 3925945 w 9215386"/>
              <a:gd name="connsiteY3" fmla="*/ 17873 h 581799689"/>
              <a:gd name="connsiteX4" fmla="*/ 5222414 w 9215386"/>
              <a:gd name="connsiteY4" fmla="*/ 272652749 h 581799689"/>
              <a:gd name="connsiteX5" fmla="*/ 6473882 w 9215386"/>
              <a:gd name="connsiteY5" fmla="*/ 567313394 h 581799689"/>
              <a:gd name="connsiteX6" fmla="*/ 7753384 w 9215386"/>
              <a:gd name="connsiteY6" fmla="*/ 539828856 h 581799689"/>
              <a:gd name="connsiteX7" fmla="*/ 9215386 w 9215386"/>
              <a:gd name="connsiteY7" fmla="*/ 554649635 h 581799689"/>
              <a:gd name="connsiteX0" fmla="*/ 0 w 9215386"/>
              <a:gd name="connsiteY0" fmla="*/ 215988506 h 554652748"/>
              <a:gd name="connsiteX1" fmla="*/ 1354567 w 9215386"/>
              <a:gd name="connsiteY1" fmla="*/ 294097207 h 554652748"/>
              <a:gd name="connsiteX2" fmla="*/ 2641882 w 9215386"/>
              <a:gd name="connsiteY2" fmla="*/ 287824474 h 554652748"/>
              <a:gd name="connsiteX3" fmla="*/ 3925945 w 9215386"/>
              <a:gd name="connsiteY3" fmla="*/ 20994 h 554652748"/>
              <a:gd name="connsiteX4" fmla="*/ 5222414 w 9215386"/>
              <a:gd name="connsiteY4" fmla="*/ 272655870 h 554652748"/>
              <a:gd name="connsiteX5" fmla="*/ 6593101 w 9215386"/>
              <a:gd name="connsiteY5" fmla="*/ 293818892 h 554652748"/>
              <a:gd name="connsiteX6" fmla="*/ 7753384 w 9215386"/>
              <a:gd name="connsiteY6" fmla="*/ 539831977 h 554652748"/>
              <a:gd name="connsiteX7" fmla="*/ 9215386 w 9215386"/>
              <a:gd name="connsiteY7" fmla="*/ 554652756 h 554652748"/>
              <a:gd name="connsiteX0" fmla="*/ 0 w 9215386"/>
              <a:gd name="connsiteY0" fmla="*/ 215988506 h 554652748"/>
              <a:gd name="connsiteX1" fmla="*/ 1354567 w 9215386"/>
              <a:gd name="connsiteY1" fmla="*/ 294097207 h 554652748"/>
              <a:gd name="connsiteX2" fmla="*/ 2641882 w 9215386"/>
              <a:gd name="connsiteY2" fmla="*/ 287824474 h 554652748"/>
              <a:gd name="connsiteX3" fmla="*/ 3925945 w 9215386"/>
              <a:gd name="connsiteY3" fmla="*/ 20994 h 554652748"/>
              <a:gd name="connsiteX4" fmla="*/ 5222414 w 9215386"/>
              <a:gd name="connsiteY4" fmla="*/ 272655870 h 554652748"/>
              <a:gd name="connsiteX5" fmla="*/ 6593101 w 9215386"/>
              <a:gd name="connsiteY5" fmla="*/ 293818892 h 554652748"/>
              <a:gd name="connsiteX6" fmla="*/ 7753384 w 9215386"/>
              <a:gd name="connsiteY6" fmla="*/ 539831977 h 554652748"/>
              <a:gd name="connsiteX7" fmla="*/ 9215386 w 9215386"/>
              <a:gd name="connsiteY7" fmla="*/ 554652756 h 554652748"/>
              <a:gd name="connsiteX0" fmla="*/ 0 w 9215386"/>
              <a:gd name="connsiteY0" fmla="*/ 215988506 h 554652748"/>
              <a:gd name="connsiteX1" fmla="*/ 1354567 w 9215386"/>
              <a:gd name="connsiteY1" fmla="*/ 294097207 h 554652748"/>
              <a:gd name="connsiteX2" fmla="*/ 2641882 w 9215386"/>
              <a:gd name="connsiteY2" fmla="*/ 287824474 h 554652748"/>
              <a:gd name="connsiteX3" fmla="*/ 3925945 w 9215386"/>
              <a:gd name="connsiteY3" fmla="*/ 20994 h 554652748"/>
              <a:gd name="connsiteX4" fmla="*/ 5222414 w 9215386"/>
              <a:gd name="connsiteY4" fmla="*/ 272655870 h 554652748"/>
              <a:gd name="connsiteX5" fmla="*/ 6593101 w 9215386"/>
              <a:gd name="connsiteY5" fmla="*/ 295829798 h 554652748"/>
              <a:gd name="connsiteX6" fmla="*/ 7753384 w 9215386"/>
              <a:gd name="connsiteY6" fmla="*/ 539831977 h 554652748"/>
              <a:gd name="connsiteX7" fmla="*/ 9215386 w 9215386"/>
              <a:gd name="connsiteY7" fmla="*/ 554652756 h 554652748"/>
              <a:gd name="connsiteX0" fmla="*/ 0 w 9215386"/>
              <a:gd name="connsiteY0" fmla="*/ 215988506 h 554652748"/>
              <a:gd name="connsiteX1" fmla="*/ 1354567 w 9215386"/>
              <a:gd name="connsiteY1" fmla="*/ 294097207 h 554652748"/>
              <a:gd name="connsiteX2" fmla="*/ 2641882 w 9215386"/>
              <a:gd name="connsiteY2" fmla="*/ 287824474 h 554652748"/>
              <a:gd name="connsiteX3" fmla="*/ 3925945 w 9215386"/>
              <a:gd name="connsiteY3" fmla="*/ 20994 h 554652748"/>
              <a:gd name="connsiteX4" fmla="*/ 5222414 w 9215386"/>
              <a:gd name="connsiteY4" fmla="*/ 272655870 h 554652748"/>
              <a:gd name="connsiteX5" fmla="*/ 6579076 w 9215386"/>
              <a:gd name="connsiteY5" fmla="*/ 293818892 h 554652748"/>
              <a:gd name="connsiteX6" fmla="*/ 7753384 w 9215386"/>
              <a:gd name="connsiteY6" fmla="*/ 539831977 h 554652748"/>
              <a:gd name="connsiteX7" fmla="*/ 9215386 w 9215386"/>
              <a:gd name="connsiteY7" fmla="*/ 554652756 h 554652748"/>
              <a:gd name="connsiteX0" fmla="*/ 0 w 9215386"/>
              <a:gd name="connsiteY0" fmla="*/ 216009500 h 554673742"/>
              <a:gd name="connsiteX1" fmla="*/ 1354567 w 9215386"/>
              <a:gd name="connsiteY1" fmla="*/ 294118201 h 554673742"/>
              <a:gd name="connsiteX2" fmla="*/ 2641882 w 9215386"/>
              <a:gd name="connsiteY2" fmla="*/ 287845468 h 554673742"/>
              <a:gd name="connsiteX3" fmla="*/ 3925945 w 9215386"/>
              <a:gd name="connsiteY3" fmla="*/ 41988 h 554673742"/>
              <a:gd name="connsiteX4" fmla="*/ 5222414 w 9215386"/>
              <a:gd name="connsiteY4" fmla="*/ 266643580 h 554673742"/>
              <a:gd name="connsiteX5" fmla="*/ 6579076 w 9215386"/>
              <a:gd name="connsiteY5" fmla="*/ 293839886 h 554673742"/>
              <a:gd name="connsiteX6" fmla="*/ 7753384 w 9215386"/>
              <a:gd name="connsiteY6" fmla="*/ 539852971 h 554673742"/>
              <a:gd name="connsiteX7" fmla="*/ 9215386 w 9215386"/>
              <a:gd name="connsiteY7" fmla="*/ 554673750 h 554673742"/>
              <a:gd name="connsiteX0" fmla="*/ 0 w 9215386"/>
              <a:gd name="connsiteY0" fmla="*/ 215988506 h 554652748"/>
              <a:gd name="connsiteX1" fmla="*/ 1354567 w 9215386"/>
              <a:gd name="connsiteY1" fmla="*/ 294097207 h 554652748"/>
              <a:gd name="connsiteX2" fmla="*/ 2641882 w 9215386"/>
              <a:gd name="connsiteY2" fmla="*/ 287824474 h 554652748"/>
              <a:gd name="connsiteX3" fmla="*/ 3925945 w 9215386"/>
              <a:gd name="connsiteY3" fmla="*/ 20994 h 554652748"/>
              <a:gd name="connsiteX4" fmla="*/ 5222414 w 9215386"/>
              <a:gd name="connsiteY4" fmla="*/ 272655870 h 554652748"/>
              <a:gd name="connsiteX5" fmla="*/ 6579076 w 9215386"/>
              <a:gd name="connsiteY5" fmla="*/ 293818892 h 554652748"/>
              <a:gd name="connsiteX6" fmla="*/ 7753384 w 9215386"/>
              <a:gd name="connsiteY6" fmla="*/ 539831977 h 554652748"/>
              <a:gd name="connsiteX7" fmla="*/ 9215386 w 9215386"/>
              <a:gd name="connsiteY7" fmla="*/ 554652756 h 554652748"/>
              <a:gd name="connsiteX0" fmla="*/ 0 w 9215386"/>
              <a:gd name="connsiteY0" fmla="*/ 215988506 h 554652748"/>
              <a:gd name="connsiteX1" fmla="*/ 1354567 w 9215386"/>
              <a:gd name="connsiteY1" fmla="*/ 294097207 h 554652748"/>
              <a:gd name="connsiteX2" fmla="*/ 2641882 w 9215386"/>
              <a:gd name="connsiteY2" fmla="*/ 287824474 h 554652748"/>
              <a:gd name="connsiteX3" fmla="*/ 3925945 w 9215386"/>
              <a:gd name="connsiteY3" fmla="*/ 20994 h 554652748"/>
              <a:gd name="connsiteX4" fmla="*/ 5222414 w 9215386"/>
              <a:gd name="connsiteY4" fmla="*/ 272655870 h 554652748"/>
              <a:gd name="connsiteX5" fmla="*/ 6579076 w 9215386"/>
              <a:gd name="connsiteY5" fmla="*/ 293818892 h 554652748"/>
              <a:gd name="connsiteX6" fmla="*/ 7753384 w 9215386"/>
              <a:gd name="connsiteY6" fmla="*/ 539831977 h 554652748"/>
              <a:gd name="connsiteX7" fmla="*/ 9215386 w 9215386"/>
              <a:gd name="connsiteY7" fmla="*/ 554652756 h 554652748"/>
              <a:gd name="connsiteX0" fmla="*/ 0 w 9215386"/>
              <a:gd name="connsiteY0" fmla="*/ 215988506 h 554652748"/>
              <a:gd name="connsiteX1" fmla="*/ 1354567 w 9215386"/>
              <a:gd name="connsiteY1" fmla="*/ 294097207 h 554652748"/>
              <a:gd name="connsiteX2" fmla="*/ 2641882 w 9215386"/>
              <a:gd name="connsiteY2" fmla="*/ 287824474 h 554652748"/>
              <a:gd name="connsiteX3" fmla="*/ 3925945 w 9215386"/>
              <a:gd name="connsiteY3" fmla="*/ 20994 h 554652748"/>
              <a:gd name="connsiteX4" fmla="*/ 5222414 w 9215386"/>
              <a:gd name="connsiteY4" fmla="*/ 272655870 h 554652748"/>
              <a:gd name="connsiteX5" fmla="*/ 6579076 w 9215386"/>
              <a:gd name="connsiteY5" fmla="*/ 293818892 h 554652748"/>
              <a:gd name="connsiteX6" fmla="*/ 7753384 w 9215386"/>
              <a:gd name="connsiteY6" fmla="*/ 539831977 h 554652748"/>
              <a:gd name="connsiteX7" fmla="*/ 9215386 w 9215386"/>
              <a:gd name="connsiteY7" fmla="*/ 554652756 h 554652748"/>
              <a:gd name="connsiteX0" fmla="*/ 0 w 9215386"/>
              <a:gd name="connsiteY0" fmla="*/ 215988506 h 554652748"/>
              <a:gd name="connsiteX1" fmla="*/ 1354567 w 9215386"/>
              <a:gd name="connsiteY1" fmla="*/ 294097207 h 554652748"/>
              <a:gd name="connsiteX2" fmla="*/ 2641882 w 9215386"/>
              <a:gd name="connsiteY2" fmla="*/ 287824474 h 554652748"/>
              <a:gd name="connsiteX3" fmla="*/ 3925945 w 9215386"/>
              <a:gd name="connsiteY3" fmla="*/ 20994 h 554652748"/>
              <a:gd name="connsiteX4" fmla="*/ 5222414 w 9215386"/>
              <a:gd name="connsiteY4" fmla="*/ 272655870 h 554652748"/>
              <a:gd name="connsiteX5" fmla="*/ 6579076 w 9215386"/>
              <a:gd name="connsiteY5" fmla="*/ 293818892 h 554652748"/>
              <a:gd name="connsiteX6" fmla="*/ 7879615 w 9215386"/>
              <a:gd name="connsiteY6" fmla="*/ 133607765 h 554652748"/>
              <a:gd name="connsiteX7" fmla="*/ 9215386 w 9215386"/>
              <a:gd name="connsiteY7" fmla="*/ 554652756 h 554652748"/>
              <a:gd name="connsiteX0" fmla="*/ 0 w 9215386"/>
              <a:gd name="connsiteY0" fmla="*/ 215988506 h 554652748"/>
              <a:gd name="connsiteX1" fmla="*/ 1354567 w 9215386"/>
              <a:gd name="connsiteY1" fmla="*/ 294097207 h 554652748"/>
              <a:gd name="connsiteX2" fmla="*/ 2641882 w 9215386"/>
              <a:gd name="connsiteY2" fmla="*/ 287824474 h 554652748"/>
              <a:gd name="connsiteX3" fmla="*/ 3925945 w 9215386"/>
              <a:gd name="connsiteY3" fmla="*/ 20994 h 554652748"/>
              <a:gd name="connsiteX4" fmla="*/ 5222414 w 9215386"/>
              <a:gd name="connsiteY4" fmla="*/ 272655870 h 554652748"/>
              <a:gd name="connsiteX5" fmla="*/ 6579076 w 9215386"/>
              <a:gd name="connsiteY5" fmla="*/ 293818892 h 554652748"/>
              <a:gd name="connsiteX6" fmla="*/ 7837539 w 9215386"/>
              <a:gd name="connsiteY6" fmla="*/ 278400625 h 554652748"/>
              <a:gd name="connsiteX7" fmla="*/ 9215386 w 9215386"/>
              <a:gd name="connsiteY7" fmla="*/ 554652756 h 554652748"/>
              <a:gd name="connsiteX0" fmla="*/ 0 w 9215386"/>
              <a:gd name="connsiteY0" fmla="*/ 215988506 h 554652748"/>
              <a:gd name="connsiteX1" fmla="*/ 1354567 w 9215386"/>
              <a:gd name="connsiteY1" fmla="*/ 294097207 h 554652748"/>
              <a:gd name="connsiteX2" fmla="*/ 2641882 w 9215386"/>
              <a:gd name="connsiteY2" fmla="*/ 287824474 h 554652748"/>
              <a:gd name="connsiteX3" fmla="*/ 3925945 w 9215386"/>
              <a:gd name="connsiteY3" fmla="*/ 20994 h 554652748"/>
              <a:gd name="connsiteX4" fmla="*/ 5222414 w 9215386"/>
              <a:gd name="connsiteY4" fmla="*/ 272655870 h 554652748"/>
              <a:gd name="connsiteX5" fmla="*/ 6579076 w 9215386"/>
              <a:gd name="connsiteY5" fmla="*/ 293818892 h 554652748"/>
              <a:gd name="connsiteX6" fmla="*/ 7837539 w 9215386"/>
              <a:gd name="connsiteY6" fmla="*/ 278400625 h 554652748"/>
              <a:gd name="connsiteX7" fmla="*/ 9215386 w 9215386"/>
              <a:gd name="connsiteY7" fmla="*/ 554652756 h 554652748"/>
              <a:gd name="connsiteX0" fmla="*/ 0 w 9215386"/>
              <a:gd name="connsiteY0" fmla="*/ 215988506 h 554652748"/>
              <a:gd name="connsiteX1" fmla="*/ 1354567 w 9215386"/>
              <a:gd name="connsiteY1" fmla="*/ 294097207 h 554652748"/>
              <a:gd name="connsiteX2" fmla="*/ 2641882 w 9215386"/>
              <a:gd name="connsiteY2" fmla="*/ 287824474 h 554652748"/>
              <a:gd name="connsiteX3" fmla="*/ 3925945 w 9215386"/>
              <a:gd name="connsiteY3" fmla="*/ 20994 h 554652748"/>
              <a:gd name="connsiteX4" fmla="*/ 5222414 w 9215386"/>
              <a:gd name="connsiteY4" fmla="*/ 272655870 h 554652748"/>
              <a:gd name="connsiteX5" fmla="*/ 6579076 w 9215386"/>
              <a:gd name="connsiteY5" fmla="*/ 293818892 h 554652748"/>
              <a:gd name="connsiteX6" fmla="*/ 7879616 w 9215386"/>
              <a:gd name="connsiteY6" fmla="*/ 278400625 h 554652748"/>
              <a:gd name="connsiteX7" fmla="*/ 9215386 w 9215386"/>
              <a:gd name="connsiteY7" fmla="*/ 554652756 h 554652748"/>
              <a:gd name="connsiteX0" fmla="*/ 0 w 9215386"/>
              <a:gd name="connsiteY0" fmla="*/ 215988506 h 554652748"/>
              <a:gd name="connsiteX1" fmla="*/ 1354567 w 9215386"/>
              <a:gd name="connsiteY1" fmla="*/ 294097207 h 554652748"/>
              <a:gd name="connsiteX2" fmla="*/ 2641882 w 9215386"/>
              <a:gd name="connsiteY2" fmla="*/ 287824474 h 554652748"/>
              <a:gd name="connsiteX3" fmla="*/ 3925945 w 9215386"/>
              <a:gd name="connsiteY3" fmla="*/ 20994 h 554652748"/>
              <a:gd name="connsiteX4" fmla="*/ 5222414 w 9215386"/>
              <a:gd name="connsiteY4" fmla="*/ 272655870 h 554652748"/>
              <a:gd name="connsiteX5" fmla="*/ 6579076 w 9215386"/>
              <a:gd name="connsiteY5" fmla="*/ 293818892 h 554652748"/>
              <a:gd name="connsiteX6" fmla="*/ 7879616 w 9215386"/>
              <a:gd name="connsiteY6" fmla="*/ 288455721 h 554652748"/>
              <a:gd name="connsiteX7" fmla="*/ 9215386 w 9215386"/>
              <a:gd name="connsiteY7" fmla="*/ 554652756 h 554652748"/>
              <a:gd name="connsiteX0" fmla="*/ 0 w 9215386"/>
              <a:gd name="connsiteY0" fmla="*/ 215988506 h 554652748"/>
              <a:gd name="connsiteX1" fmla="*/ 1354567 w 9215386"/>
              <a:gd name="connsiteY1" fmla="*/ 294097207 h 554652748"/>
              <a:gd name="connsiteX2" fmla="*/ 2641882 w 9215386"/>
              <a:gd name="connsiteY2" fmla="*/ 287824474 h 554652748"/>
              <a:gd name="connsiteX3" fmla="*/ 3925945 w 9215386"/>
              <a:gd name="connsiteY3" fmla="*/ 20994 h 554652748"/>
              <a:gd name="connsiteX4" fmla="*/ 5222414 w 9215386"/>
              <a:gd name="connsiteY4" fmla="*/ 272655870 h 554652748"/>
              <a:gd name="connsiteX5" fmla="*/ 6579076 w 9215386"/>
              <a:gd name="connsiteY5" fmla="*/ 293818892 h 554652748"/>
              <a:gd name="connsiteX6" fmla="*/ 7879616 w 9215386"/>
              <a:gd name="connsiteY6" fmla="*/ 288455721 h 554652748"/>
              <a:gd name="connsiteX7" fmla="*/ 9215386 w 9215386"/>
              <a:gd name="connsiteY7" fmla="*/ 554652756 h 554652748"/>
              <a:gd name="connsiteX0" fmla="*/ 0 w 9215386"/>
              <a:gd name="connsiteY0" fmla="*/ 215988506 h 554652748"/>
              <a:gd name="connsiteX1" fmla="*/ 1354567 w 9215386"/>
              <a:gd name="connsiteY1" fmla="*/ 294097207 h 554652748"/>
              <a:gd name="connsiteX2" fmla="*/ 2641882 w 9215386"/>
              <a:gd name="connsiteY2" fmla="*/ 287824474 h 554652748"/>
              <a:gd name="connsiteX3" fmla="*/ 3925945 w 9215386"/>
              <a:gd name="connsiteY3" fmla="*/ 20994 h 554652748"/>
              <a:gd name="connsiteX4" fmla="*/ 5222414 w 9215386"/>
              <a:gd name="connsiteY4" fmla="*/ 272655870 h 554652748"/>
              <a:gd name="connsiteX5" fmla="*/ 6579076 w 9215386"/>
              <a:gd name="connsiteY5" fmla="*/ 293818892 h 554652748"/>
              <a:gd name="connsiteX6" fmla="*/ 7879616 w 9215386"/>
              <a:gd name="connsiteY6" fmla="*/ 288455721 h 554652748"/>
              <a:gd name="connsiteX7" fmla="*/ 9215386 w 9215386"/>
              <a:gd name="connsiteY7" fmla="*/ 554652756 h 554652748"/>
              <a:gd name="connsiteX0" fmla="*/ 0 w 9222399"/>
              <a:gd name="connsiteY0" fmla="*/ 215988506 h 304041657"/>
              <a:gd name="connsiteX1" fmla="*/ 1354567 w 9222399"/>
              <a:gd name="connsiteY1" fmla="*/ 294097207 h 304041657"/>
              <a:gd name="connsiteX2" fmla="*/ 2641882 w 9222399"/>
              <a:gd name="connsiteY2" fmla="*/ 287824474 h 304041657"/>
              <a:gd name="connsiteX3" fmla="*/ 3925945 w 9222399"/>
              <a:gd name="connsiteY3" fmla="*/ 20994 h 304041657"/>
              <a:gd name="connsiteX4" fmla="*/ 5222414 w 9222399"/>
              <a:gd name="connsiteY4" fmla="*/ 272655870 h 304041657"/>
              <a:gd name="connsiteX5" fmla="*/ 6579076 w 9222399"/>
              <a:gd name="connsiteY5" fmla="*/ 293818892 h 304041657"/>
              <a:gd name="connsiteX6" fmla="*/ 7879616 w 9222399"/>
              <a:gd name="connsiteY6" fmla="*/ 288455721 h 304041657"/>
              <a:gd name="connsiteX7" fmla="*/ 9222399 w 9222399"/>
              <a:gd name="connsiteY7" fmla="*/ 283166313 h 304041657"/>
              <a:gd name="connsiteX0" fmla="*/ 0 w 9229411"/>
              <a:gd name="connsiteY0" fmla="*/ 215988506 h 304041657"/>
              <a:gd name="connsiteX1" fmla="*/ 1354567 w 9229411"/>
              <a:gd name="connsiteY1" fmla="*/ 294097207 h 304041657"/>
              <a:gd name="connsiteX2" fmla="*/ 2641882 w 9229411"/>
              <a:gd name="connsiteY2" fmla="*/ 287824474 h 304041657"/>
              <a:gd name="connsiteX3" fmla="*/ 3925945 w 9229411"/>
              <a:gd name="connsiteY3" fmla="*/ 20994 h 304041657"/>
              <a:gd name="connsiteX4" fmla="*/ 5222414 w 9229411"/>
              <a:gd name="connsiteY4" fmla="*/ 272655870 h 304041657"/>
              <a:gd name="connsiteX5" fmla="*/ 6579076 w 9229411"/>
              <a:gd name="connsiteY5" fmla="*/ 293818892 h 304041657"/>
              <a:gd name="connsiteX6" fmla="*/ 7879616 w 9229411"/>
              <a:gd name="connsiteY6" fmla="*/ 288455721 h 304041657"/>
              <a:gd name="connsiteX7" fmla="*/ 9229411 w 9229411"/>
              <a:gd name="connsiteY7" fmla="*/ 293221408 h 304041657"/>
              <a:gd name="connsiteX0" fmla="*/ 0 w 9229411"/>
              <a:gd name="connsiteY0" fmla="*/ 215988506 h 304041657"/>
              <a:gd name="connsiteX1" fmla="*/ 1354567 w 9229411"/>
              <a:gd name="connsiteY1" fmla="*/ 294097207 h 304041657"/>
              <a:gd name="connsiteX2" fmla="*/ 2641882 w 9229411"/>
              <a:gd name="connsiteY2" fmla="*/ 287824474 h 304041657"/>
              <a:gd name="connsiteX3" fmla="*/ 3925945 w 9229411"/>
              <a:gd name="connsiteY3" fmla="*/ 20994 h 304041657"/>
              <a:gd name="connsiteX4" fmla="*/ 5222414 w 9229411"/>
              <a:gd name="connsiteY4" fmla="*/ 272655870 h 304041657"/>
              <a:gd name="connsiteX5" fmla="*/ 6579076 w 9229411"/>
              <a:gd name="connsiteY5" fmla="*/ 293818892 h 304041657"/>
              <a:gd name="connsiteX6" fmla="*/ 7879616 w 9229411"/>
              <a:gd name="connsiteY6" fmla="*/ 288455721 h 304041657"/>
              <a:gd name="connsiteX7" fmla="*/ 9229411 w 9229411"/>
              <a:gd name="connsiteY7" fmla="*/ 291210502 h 304041657"/>
              <a:gd name="connsiteX0" fmla="*/ 0 w 9229411"/>
              <a:gd name="connsiteY0" fmla="*/ 215988506 h 304041657"/>
              <a:gd name="connsiteX1" fmla="*/ 1354567 w 9229411"/>
              <a:gd name="connsiteY1" fmla="*/ 294097207 h 304041657"/>
              <a:gd name="connsiteX2" fmla="*/ 2641882 w 9229411"/>
              <a:gd name="connsiteY2" fmla="*/ 287824474 h 304041657"/>
              <a:gd name="connsiteX3" fmla="*/ 3925945 w 9229411"/>
              <a:gd name="connsiteY3" fmla="*/ 20994 h 304041657"/>
              <a:gd name="connsiteX4" fmla="*/ 5222414 w 9229411"/>
              <a:gd name="connsiteY4" fmla="*/ 272655870 h 304041657"/>
              <a:gd name="connsiteX5" fmla="*/ 6579076 w 9229411"/>
              <a:gd name="connsiteY5" fmla="*/ 293818892 h 304041657"/>
              <a:gd name="connsiteX6" fmla="*/ 7879617 w 9229411"/>
              <a:gd name="connsiteY6" fmla="*/ 290466626 h 304041657"/>
              <a:gd name="connsiteX7" fmla="*/ 9229411 w 9229411"/>
              <a:gd name="connsiteY7" fmla="*/ 291210502 h 304041657"/>
              <a:gd name="connsiteX0" fmla="*/ 0 w 9229411"/>
              <a:gd name="connsiteY0" fmla="*/ 216027657 h 304080808"/>
              <a:gd name="connsiteX1" fmla="*/ 1354567 w 9229411"/>
              <a:gd name="connsiteY1" fmla="*/ 294136358 h 304080808"/>
              <a:gd name="connsiteX2" fmla="*/ 2641882 w 9229411"/>
              <a:gd name="connsiteY2" fmla="*/ 287863625 h 304080808"/>
              <a:gd name="connsiteX3" fmla="*/ 3925945 w 9229411"/>
              <a:gd name="connsiteY3" fmla="*/ 60145 h 304080808"/>
              <a:gd name="connsiteX4" fmla="*/ 5222414 w 9229411"/>
              <a:gd name="connsiteY4" fmla="*/ 262639926 h 304080808"/>
              <a:gd name="connsiteX5" fmla="*/ 6579076 w 9229411"/>
              <a:gd name="connsiteY5" fmla="*/ 293858043 h 304080808"/>
              <a:gd name="connsiteX6" fmla="*/ 7879617 w 9229411"/>
              <a:gd name="connsiteY6" fmla="*/ 290505777 h 304080808"/>
              <a:gd name="connsiteX7" fmla="*/ 9229411 w 9229411"/>
              <a:gd name="connsiteY7" fmla="*/ 291249653 h 304080808"/>
              <a:gd name="connsiteX0" fmla="*/ 0 w 9229411"/>
              <a:gd name="connsiteY0" fmla="*/ 216024536 h 304077687"/>
              <a:gd name="connsiteX1" fmla="*/ 1354567 w 9229411"/>
              <a:gd name="connsiteY1" fmla="*/ 294133237 h 304077687"/>
              <a:gd name="connsiteX2" fmla="*/ 2641882 w 9229411"/>
              <a:gd name="connsiteY2" fmla="*/ 287860504 h 304077687"/>
              <a:gd name="connsiteX3" fmla="*/ 3925945 w 9229411"/>
              <a:gd name="connsiteY3" fmla="*/ 57024 h 304077687"/>
              <a:gd name="connsiteX4" fmla="*/ 5222414 w 9229411"/>
              <a:gd name="connsiteY4" fmla="*/ 262636805 h 304077687"/>
              <a:gd name="connsiteX5" fmla="*/ 6579076 w 9229411"/>
              <a:gd name="connsiteY5" fmla="*/ 293854922 h 304077687"/>
              <a:gd name="connsiteX6" fmla="*/ 7879617 w 9229411"/>
              <a:gd name="connsiteY6" fmla="*/ 290502656 h 304077687"/>
              <a:gd name="connsiteX7" fmla="*/ 9229411 w 9229411"/>
              <a:gd name="connsiteY7" fmla="*/ 291246532 h 304077687"/>
              <a:gd name="connsiteX0" fmla="*/ 0 w 9229411"/>
              <a:gd name="connsiteY0" fmla="*/ 215987371 h 304040522"/>
              <a:gd name="connsiteX1" fmla="*/ 1354567 w 9229411"/>
              <a:gd name="connsiteY1" fmla="*/ 294096072 h 304040522"/>
              <a:gd name="connsiteX2" fmla="*/ 2641882 w 9229411"/>
              <a:gd name="connsiteY2" fmla="*/ 287823339 h 304040522"/>
              <a:gd name="connsiteX3" fmla="*/ 3925945 w 9229411"/>
              <a:gd name="connsiteY3" fmla="*/ 19859 h 304040522"/>
              <a:gd name="connsiteX4" fmla="*/ 5222414 w 9229411"/>
              <a:gd name="connsiteY4" fmla="*/ 272654451 h 304040522"/>
              <a:gd name="connsiteX5" fmla="*/ 6579076 w 9229411"/>
              <a:gd name="connsiteY5" fmla="*/ 293817757 h 304040522"/>
              <a:gd name="connsiteX6" fmla="*/ 7879617 w 9229411"/>
              <a:gd name="connsiteY6" fmla="*/ 290465491 h 304040522"/>
              <a:gd name="connsiteX7" fmla="*/ 9229411 w 9229411"/>
              <a:gd name="connsiteY7" fmla="*/ 291209367 h 304040522"/>
              <a:gd name="connsiteX0" fmla="*/ 0 w 9229411"/>
              <a:gd name="connsiteY0" fmla="*/ 216015458 h 304068609"/>
              <a:gd name="connsiteX1" fmla="*/ 1354567 w 9229411"/>
              <a:gd name="connsiteY1" fmla="*/ 294124159 h 304068609"/>
              <a:gd name="connsiteX2" fmla="*/ 2641882 w 9229411"/>
              <a:gd name="connsiteY2" fmla="*/ 287851426 h 304068609"/>
              <a:gd name="connsiteX3" fmla="*/ 3925945 w 9229411"/>
              <a:gd name="connsiteY3" fmla="*/ 47946 h 304068609"/>
              <a:gd name="connsiteX4" fmla="*/ 5222414 w 9229411"/>
              <a:gd name="connsiteY4" fmla="*/ 264638348 h 304068609"/>
              <a:gd name="connsiteX5" fmla="*/ 6579076 w 9229411"/>
              <a:gd name="connsiteY5" fmla="*/ 293845844 h 304068609"/>
              <a:gd name="connsiteX6" fmla="*/ 7879617 w 9229411"/>
              <a:gd name="connsiteY6" fmla="*/ 290493578 h 304068609"/>
              <a:gd name="connsiteX7" fmla="*/ 9229411 w 9229411"/>
              <a:gd name="connsiteY7" fmla="*/ 291237454 h 304068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29411" h="304068609">
                <a:moveTo>
                  <a:pt x="0" y="216015458"/>
                </a:moveTo>
                <a:cubicBezTo>
                  <a:pt x="423333" y="215793913"/>
                  <a:pt x="1096587" y="284162403"/>
                  <a:pt x="1354567" y="294124159"/>
                </a:cubicBezTo>
                <a:cubicBezTo>
                  <a:pt x="1612547" y="304085915"/>
                  <a:pt x="2402666" y="312731841"/>
                  <a:pt x="2641882" y="287851426"/>
                </a:cubicBezTo>
                <a:cubicBezTo>
                  <a:pt x="2881098" y="262971011"/>
                  <a:pt x="3495856" y="3916792"/>
                  <a:pt x="3925945" y="47946"/>
                </a:cubicBezTo>
                <a:cubicBezTo>
                  <a:pt x="4356034" y="-3820900"/>
                  <a:pt x="4780226" y="227737891"/>
                  <a:pt x="5222414" y="264638348"/>
                </a:cubicBezTo>
                <a:cubicBezTo>
                  <a:pt x="5664602" y="301538805"/>
                  <a:pt x="6136209" y="289536639"/>
                  <a:pt x="6579076" y="293845844"/>
                </a:cubicBezTo>
                <a:cubicBezTo>
                  <a:pt x="7021943" y="298155049"/>
                  <a:pt x="7645075" y="290133555"/>
                  <a:pt x="7879617" y="290493578"/>
                </a:cubicBezTo>
                <a:cubicBezTo>
                  <a:pt x="8189547" y="290589186"/>
                  <a:pt x="8982467" y="291063887"/>
                  <a:pt x="9229411" y="291237454"/>
                </a:cubicBezTo>
              </a:path>
            </a:pathLst>
          </a:custGeom>
          <a:noFill/>
          <a:ln w="136525" cap="rnd">
            <a:solidFill>
              <a:srgbClr val="A1D794"/>
            </a:solidFill>
            <a:headEnd/>
            <a:tailEnd/>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14" name="Freeform: Shape 113">
            <a:extLst>
              <a:ext uri="{FF2B5EF4-FFF2-40B4-BE49-F238E27FC236}">
                <a16:creationId xmlns:a16="http://schemas.microsoft.com/office/drawing/2014/main" id="{1C9065E0-D010-4C37-A7E2-A0554BB15BD5}"/>
              </a:ext>
            </a:extLst>
          </p:cNvPr>
          <p:cNvSpPr/>
          <p:nvPr/>
        </p:nvSpPr>
        <p:spPr bwMode="auto">
          <a:xfrm flipV="1">
            <a:off x="1443822" y="3267472"/>
            <a:ext cx="9332602" cy="1373053"/>
          </a:xfrm>
          <a:custGeom>
            <a:avLst/>
            <a:gdLst>
              <a:gd name="connsiteX0" fmla="*/ 0 w 9431867"/>
              <a:gd name="connsiteY0" fmla="*/ 450771 h 1268056"/>
              <a:gd name="connsiteX1" fmla="*/ 1295400 w 9431867"/>
              <a:gd name="connsiteY1" fmla="*/ 10504 h 1268056"/>
              <a:gd name="connsiteX2" fmla="*/ 2692400 w 9431867"/>
              <a:gd name="connsiteY2" fmla="*/ 467704 h 1268056"/>
              <a:gd name="connsiteX3" fmla="*/ 4021667 w 9431867"/>
              <a:gd name="connsiteY3" fmla="*/ 831771 h 1268056"/>
              <a:gd name="connsiteX4" fmla="*/ 5376334 w 9431867"/>
              <a:gd name="connsiteY4" fmla="*/ 1255104 h 1268056"/>
              <a:gd name="connsiteX5" fmla="*/ 6688667 w 9431867"/>
              <a:gd name="connsiteY5" fmla="*/ 306838 h 1268056"/>
              <a:gd name="connsiteX6" fmla="*/ 8034867 w 9431867"/>
              <a:gd name="connsiteY6" fmla="*/ 27438 h 1268056"/>
              <a:gd name="connsiteX7" fmla="*/ 9431867 w 9431867"/>
              <a:gd name="connsiteY7" fmla="*/ 882571 h 1268056"/>
              <a:gd name="connsiteX0" fmla="*/ 0 w 9431867"/>
              <a:gd name="connsiteY0" fmla="*/ 450771 h 1268056"/>
              <a:gd name="connsiteX1" fmla="*/ 1397989 w 9431867"/>
              <a:gd name="connsiteY1" fmla="*/ 10512 h 1268056"/>
              <a:gd name="connsiteX2" fmla="*/ 2692400 w 9431867"/>
              <a:gd name="connsiteY2" fmla="*/ 467704 h 1268056"/>
              <a:gd name="connsiteX3" fmla="*/ 4021667 w 9431867"/>
              <a:gd name="connsiteY3" fmla="*/ 831771 h 1268056"/>
              <a:gd name="connsiteX4" fmla="*/ 5376334 w 9431867"/>
              <a:gd name="connsiteY4" fmla="*/ 1255104 h 1268056"/>
              <a:gd name="connsiteX5" fmla="*/ 6688667 w 9431867"/>
              <a:gd name="connsiteY5" fmla="*/ 306838 h 1268056"/>
              <a:gd name="connsiteX6" fmla="*/ 8034867 w 9431867"/>
              <a:gd name="connsiteY6" fmla="*/ 27438 h 1268056"/>
              <a:gd name="connsiteX7" fmla="*/ 9431867 w 9431867"/>
              <a:gd name="connsiteY7" fmla="*/ 882571 h 1268056"/>
              <a:gd name="connsiteX0" fmla="*/ 0 w 9431867"/>
              <a:gd name="connsiteY0" fmla="*/ 450771 h 1268056"/>
              <a:gd name="connsiteX1" fmla="*/ 1500579 w 9431867"/>
              <a:gd name="connsiteY1" fmla="*/ 271950 h 1268056"/>
              <a:gd name="connsiteX2" fmla="*/ 2692400 w 9431867"/>
              <a:gd name="connsiteY2" fmla="*/ 467704 h 1268056"/>
              <a:gd name="connsiteX3" fmla="*/ 4021667 w 9431867"/>
              <a:gd name="connsiteY3" fmla="*/ 831771 h 1268056"/>
              <a:gd name="connsiteX4" fmla="*/ 5376334 w 9431867"/>
              <a:gd name="connsiteY4" fmla="*/ 1255104 h 1268056"/>
              <a:gd name="connsiteX5" fmla="*/ 6688667 w 9431867"/>
              <a:gd name="connsiteY5" fmla="*/ 306838 h 1268056"/>
              <a:gd name="connsiteX6" fmla="*/ 8034867 w 9431867"/>
              <a:gd name="connsiteY6" fmla="*/ 27438 h 1268056"/>
              <a:gd name="connsiteX7" fmla="*/ 9431867 w 9431867"/>
              <a:gd name="connsiteY7" fmla="*/ 882571 h 1268056"/>
              <a:gd name="connsiteX0" fmla="*/ 0 w 9431867"/>
              <a:gd name="connsiteY0" fmla="*/ 963191 h 1780476"/>
              <a:gd name="connsiteX1" fmla="*/ 1500579 w 9431867"/>
              <a:gd name="connsiteY1" fmla="*/ 0 h 1780476"/>
              <a:gd name="connsiteX2" fmla="*/ 2692400 w 9431867"/>
              <a:gd name="connsiteY2" fmla="*/ 980124 h 1780476"/>
              <a:gd name="connsiteX3" fmla="*/ 4021667 w 9431867"/>
              <a:gd name="connsiteY3" fmla="*/ 1344191 h 1780476"/>
              <a:gd name="connsiteX4" fmla="*/ 5376334 w 9431867"/>
              <a:gd name="connsiteY4" fmla="*/ 1767524 h 1780476"/>
              <a:gd name="connsiteX5" fmla="*/ 6688667 w 9431867"/>
              <a:gd name="connsiteY5" fmla="*/ 819258 h 1780476"/>
              <a:gd name="connsiteX6" fmla="*/ 8034867 w 9431867"/>
              <a:gd name="connsiteY6" fmla="*/ 539858 h 1780476"/>
              <a:gd name="connsiteX7" fmla="*/ 9431867 w 9431867"/>
              <a:gd name="connsiteY7" fmla="*/ 1394991 h 1780476"/>
              <a:gd name="connsiteX0" fmla="*/ 0 w 9431867"/>
              <a:gd name="connsiteY0" fmla="*/ 1486123 h 2303408"/>
              <a:gd name="connsiteX1" fmla="*/ 1500579 w 9431867"/>
              <a:gd name="connsiteY1" fmla="*/ 0 h 2303408"/>
              <a:gd name="connsiteX2" fmla="*/ 2692400 w 9431867"/>
              <a:gd name="connsiteY2" fmla="*/ 1503056 h 2303408"/>
              <a:gd name="connsiteX3" fmla="*/ 4021667 w 9431867"/>
              <a:gd name="connsiteY3" fmla="*/ 1867123 h 2303408"/>
              <a:gd name="connsiteX4" fmla="*/ 5376334 w 9431867"/>
              <a:gd name="connsiteY4" fmla="*/ 2290456 h 2303408"/>
              <a:gd name="connsiteX5" fmla="*/ 6688667 w 9431867"/>
              <a:gd name="connsiteY5" fmla="*/ 1342190 h 2303408"/>
              <a:gd name="connsiteX6" fmla="*/ 8034867 w 9431867"/>
              <a:gd name="connsiteY6" fmla="*/ 1062790 h 2303408"/>
              <a:gd name="connsiteX7" fmla="*/ 9431867 w 9431867"/>
              <a:gd name="connsiteY7" fmla="*/ 1917923 h 2303408"/>
              <a:gd name="connsiteX0" fmla="*/ 0 w 9431867"/>
              <a:gd name="connsiteY0" fmla="*/ 56664 h 2965657"/>
              <a:gd name="connsiteX1" fmla="*/ 1500579 w 9431867"/>
              <a:gd name="connsiteY1" fmla="*/ 662249 h 2965657"/>
              <a:gd name="connsiteX2" fmla="*/ 2692400 w 9431867"/>
              <a:gd name="connsiteY2" fmla="*/ 2165305 h 2965657"/>
              <a:gd name="connsiteX3" fmla="*/ 4021667 w 9431867"/>
              <a:gd name="connsiteY3" fmla="*/ 2529372 h 2965657"/>
              <a:gd name="connsiteX4" fmla="*/ 5376334 w 9431867"/>
              <a:gd name="connsiteY4" fmla="*/ 2952705 h 2965657"/>
              <a:gd name="connsiteX5" fmla="*/ 6688667 w 9431867"/>
              <a:gd name="connsiteY5" fmla="*/ 2004439 h 2965657"/>
              <a:gd name="connsiteX6" fmla="*/ 8034867 w 9431867"/>
              <a:gd name="connsiteY6" fmla="*/ 1725039 h 2965657"/>
              <a:gd name="connsiteX7" fmla="*/ 9431867 w 9431867"/>
              <a:gd name="connsiteY7" fmla="*/ 2580172 h 2965657"/>
              <a:gd name="connsiteX0" fmla="*/ 0 w 9441194"/>
              <a:gd name="connsiteY0" fmla="*/ 143755 h 2529816"/>
              <a:gd name="connsiteX1" fmla="*/ 1509906 w 9441194"/>
              <a:gd name="connsiteY1" fmla="*/ 226408 h 2529816"/>
              <a:gd name="connsiteX2" fmla="*/ 2701727 w 9441194"/>
              <a:gd name="connsiteY2" fmla="*/ 1729464 h 2529816"/>
              <a:gd name="connsiteX3" fmla="*/ 4030994 w 9441194"/>
              <a:gd name="connsiteY3" fmla="*/ 2093531 h 2529816"/>
              <a:gd name="connsiteX4" fmla="*/ 5385661 w 9441194"/>
              <a:gd name="connsiteY4" fmla="*/ 2516864 h 2529816"/>
              <a:gd name="connsiteX5" fmla="*/ 6697994 w 9441194"/>
              <a:gd name="connsiteY5" fmla="*/ 1568598 h 2529816"/>
              <a:gd name="connsiteX6" fmla="*/ 8044194 w 9441194"/>
              <a:gd name="connsiteY6" fmla="*/ 1289198 h 2529816"/>
              <a:gd name="connsiteX7" fmla="*/ 9441194 w 9441194"/>
              <a:gd name="connsiteY7" fmla="*/ 2144331 h 2529816"/>
              <a:gd name="connsiteX0" fmla="*/ 0 w 9441194"/>
              <a:gd name="connsiteY0" fmla="*/ 97159 h 2490570"/>
              <a:gd name="connsiteX1" fmla="*/ 1509906 w 9441194"/>
              <a:gd name="connsiteY1" fmla="*/ 179812 h 2490570"/>
              <a:gd name="connsiteX2" fmla="*/ 2767011 w 9441194"/>
              <a:gd name="connsiteY2" fmla="*/ 637038 h 2490570"/>
              <a:gd name="connsiteX3" fmla="*/ 4030994 w 9441194"/>
              <a:gd name="connsiteY3" fmla="*/ 2046935 h 2490570"/>
              <a:gd name="connsiteX4" fmla="*/ 5385661 w 9441194"/>
              <a:gd name="connsiteY4" fmla="*/ 2470268 h 2490570"/>
              <a:gd name="connsiteX5" fmla="*/ 6697994 w 9441194"/>
              <a:gd name="connsiteY5" fmla="*/ 1522002 h 2490570"/>
              <a:gd name="connsiteX6" fmla="*/ 8044194 w 9441194"/>
              <a:gd name="connsiteY6" fmla="*/ 1242602 h 2490570"/>
              <a:gd name="connsiteX7" fmla="*/ 9441194 w 9441194"/>
              <a:gd name="connsiteY7" fmla="*/ 2097735 h 2490570"/>
              <a:gd name="connsiteX0" fmla="*/ 0 w 9441194"/>
              <a:gd name="connsiteY0" fmla="*/ 88672 h 2485162"/>
              <a:gd name="connsiteX1" fmla="*/ 1509906 w 9441194"/>
              <a:gd name="connsiteY1" fmla="*/ 171325 h 2485162"/>
              <a:gd name="connsiteX2" fmla="*/ 2794990 w 9441194"/>
              <a:gd name="connsiteY2" fmla="*/ 367084 h 2485162"/>
              <a:gd name="connsiteX3" fmla="*/ 4030994 w 9441194"/>
              <a:gd name="connsiteY3" fmla="*/ 2038448 h 2485162"/>
              <a:gd name="connsiteX4" fmla="*/ 5385661 w 9441194"/>
              <a:gd name="connsiteY4" fmla="*/ 2461781 h 2485162"/>
              <a:gd name="connsiteX5" fmla="*/ 6697994 w 9441194"/>
              <a:gd name="connsiteY5" fmla="*/ 1513515 h 2485162"/>
              <a:gd name="connsiteX6" fmla="*/ 8044194 w 9441194"/>
              <a:gd name="connsiteY6" fmla="*/ 1234115 h 2485162"/>
              <a:gd name="connsiteX7" fmla="*/ 9441194 w 9441194"/>
              <a:gd name="connsiteY7" fmla="*/ 2089248 h 2485162"/>
              <a:gd name="connsiteX0" fmla="*/ 0 w 9441194"/>
              <a:gd name="connsiteY0" fmla="*/ 88672 h 2493621"/>
              <a:gd name="connsiteX1" fmla="*/ 1509906 w 9441194"/>
              <a:gd name="connsiteY1" fmla="*/ 171325 h 2493621"/>
              <a:gd name="connsiteX2" fmla="*/ 2794990 w 9441194"/>
              <a:gd name="connsiteY2" fmla="*/ 367084 h 2493621"/>
              <a:gd name="connsiteX3" fmla="*/ 4058974 w 9441194"/>
              <a:gd name="connsiteY3" fmla="*/ 208241 h 2493621"/>
              <a:gd name="connsiteX4" fmla="*/ 5385661 w 9441194"/>
              <a:gd name="connsiteY4" fmla="*/ 2461781 h 2493621"/>
              <a:gd name="connsiteX5" fmla="*/ 6697994 w 9441194"/>
              <a:gd name="connsiteY5" fmla="*/ 1513515 h 2493621"/>
              <a:gd name="connsiteX6" fmla="*/ 8044194 w 9441194"/>
              <a:gd name="connsiteY6" fmla="*/ 1234115 h 2493621"/>
              <a:gd name="connsiteX7" fmla="*/ 9441194 w 9441194"/>
              <a:gd name="connsiteY7" fmla="*/ 2089248 h 2493621"/>
              <a:gd name="connsiteX0" fmla="*/ 0 w 9441194"/>
              <a:gd name="connsiteY0" fmla="*/ 88672 h 2493621"/>
              <a:gd name="connsiteX1" fmla="*/ 1509906 w 9441194"/>
              <a:gd name="connsiteY1" fmla="*/ 171325 h 2493621"/>
              <a:gd name="connsiteX2" fmla="*/ 2794990 w 9441194"/>
              <a:gd name="connsiteY2" fmla="*/ 367084 h 2493621"/>
              <a:gd name="connsiteX3" fmla="*/ 4058974 w 9441194"/>
              <a:gd name="connsiteY3" fmla="*/ 208241 h 2493621"/>
              <a:gd name="connsiteX4" fmla="*/ 5385661 w 9441194"/>
              <a:gd name="connsiteY4" fmla="*/ 2461781 h 2493621"/>
              <a:gd name="connsiteX5" fmla="*/ 6697994 w 9441194"/>
              <a:gd name="connsiteY5" fmla="*/ 1513515 h 2493621"/>
              <a:gd name="connsiteX6" fmla="*/ 8044194 w 9441194"/>
              <a:gd name="connsiteY6" fmla="*/ 1234115 h 2493621"/>
              <a:gd name="connsiteX7" fmla="*/ 9441194 w 9441194"/>
              <a:gd name="connsiteY7" fmla="*/ 2089248 h 2493621"/>
              <a:gd name="connsiteX0" fmla="*/ 0 w 9441194"/>
              <a:gd name="connsiteY0" fmla="*/ 88672 h 2089260"/>
              <a:gd name="connsiteX1" fmla="*/ 1509906 w 9441194"/>
              <a:gd name="connsiteY1" fmla="*/ 171325 h 2089260"/>
              <a:gd name="connsiteX2" fmla="*/ 2794990 w 9441194"/>
              <a:gd name="connsiteY2" fmla="*/ 367084 h 2089260"/>
              <a:gd name="connsiteX3" fmla="*/ 4058974 w 9441194"/>
              <a:gd name="connsiteY3" fmla="*/ 208241 h 2089260"/>
              <a:gd name="connsiteX4" fmla="*/ 5422966 w 9441194"/>
              <a:gd name="connsiteY4" fmla="*/ 631546 h 2089260"/>
              <a:gd name="connsiteX5" fmla="*/ 6697994 w 9441194"/>
              <a:gd name="connsiteY5" fmla="*/ 1513515 h 2089260"/>
              <a:gd name="connsiteX6" fmla="*/ 8044194 w 9441194"/>
              <a:gd name="connsiteY6" fmla="*/ 1234115 h 2089260"/>
              <a:gd name="connsiteX7" fmla="*/ 9441194 w 9441194"/>
              <a:gd name="connsiteY7" fmla="*/ 2089248 h 2089260"/>
              <a:gd name="connsiteX0" fmla="*/ 0 w 9441194"/>
              <a:gd name="connsiteY0" fmla="*/ 88672 h 2089260"/>
              <a:gd name="connsiteX1" fmla="*/ 1509906 w 9441194"/>
              <a:gd name="connsiteY1" fmla="*/ 171325 h 2089260"/>
              <a:gd name="connsiteX2" fmla="*/ 2794990 w 9441194"/>
              <a:gd name="connsiteY2" fmla="*/ 367084 h 2089260"/>
              <a:gd name="connsiteX3" fmla="*/ 4058974 w 9441194"/>
              <a:gd name="connsiteY3" fmla="*/ 208241 h 2089260"/>
              <a:gd name="connsiteX4" fmla="*/ 5432293 w 9441194"/>
              <a:gd name="connsiteY4" fmla="*/ 370107 h 2089260"/>
              <a:gd name="connsiteX5" fmla="*/ 6697994 w 9441194"/>
              <a:gd name="connsiteY5" fmla="*/ 1513515 h 2089260"/>
              <a:gd name="connsiteX6" fmla="*/ 8044194 w 9441194"/>
              <a:gd name="connsiteY6" fmla="*/ 1234115 h 2089260"/>
              <a:gd name="connsiteX7" fmla="*/ 9441194 w 9441194"/>
              <a:gd name="connsiteY7" fmla="*/ 2089248 h 2089260"/>
              <a:gd name="connsiteX0" fmla="*/ 0 w 9441194"/>
              <a:gd name="connsiteY0" fmla="*/ 88672 h 2089260"/>
              <a:gd name="connsiteX1" fmla="*/ 1509906 w 9441194"/>
              <a:gd name="connsiteY1" fmla="*/ 171325 h 2089260"/>
              <a:gd name="connsiteX2" fmla="*/ 2794990 w 9441194"/>
              <a:gd name="connsiteY2" fmla="*/ 367084 h 2089260"/>
              <a:gd name="connsiteX3" fmla="*/ 4058974 w 9441194"/>
              <a:gd name="connsiteY3" fmla="*/ 208241 h 2089260"/>
              <a:gd name="connsiteX4" fmla="*/ 5432293 w 9441194"/>
              <a:gd name="connsiteY4" fmla="*/ 370107 h 2089260"/>
              <a:gd name="connsiteX5" fmla="*/ 6735299 w 9441194"/>
              <a:gd name="connsiteY5" fmla="*/ 206216 h 2089260"/>
              <a:gd name="connsiteX6" fmla="*/ 8044194 w 9441194"/>
              <a:gd name="connsiteY6" fmla="*/ 1234115 h 2089260"/>
              <a:gd name="connsiteX7" fmla="*/ 9441194 w 9441194"/>
              <a:gd name="connsiteY7" fmla="*/ 2089248 h 2089260"/>
              <a:gd name="connsiteX0" fmla="*/ 0 w 9441194"/>
              <a:gd name="connsiteY0" fmla="*/ 88672 h 2089260"/>
              <a:gd name="connsiteX1" fmla="*/ 1509906 w 9441194"/>
              <a:gd name="connsiteY1" fmla="*/ 171325 h 2089260"/>
              <a:gd name="connsiteX2" fmla="*/ 2794990 w 9441194"/>
              <a:gd name="connsiteY2" fmla="*/ 367084 h 2089260"/>
              <a:gd name="connsiteX3" fmla="*/ 4058974 w 9441194"/>
              <a:gd name="connsiteY3" fmla="*/ 208241 h 2089260"/>
              <a:gd name="connsiteX4" fmla="*/ 5432293 w 9441194"/>
              <a:gd name="connsiteY4" fmla="*/ 370107 h 2089260"/>
              <a:gd name="connsiteX5" fmla="*/ 6735299 w 9441194"/>
              <a:gd name="connsiteY5" fmla="*/ 206216 h 2089260"/>
              <a:gd name="connsiteX6" fmla="*/ 8044194 w 9441194"/>
              <a:gd name="connsiteY6" fmla="*/ 711175 h 2089260"/>
              <a:gd name="connsiteX7" fmla="*/ 9441194 w 9441194"/>
              <a:gd name="connsiteY7" fmla="*/ 2089248 h 2089260"/>
              <a:gd name="connsiteX0" fmla="*/ 0 w 9450521"/>
              <a:gd name="connsiteY0" fmla="*/ 88672 h 724489"/>
              <a:gd name="connsiteX1" fmla="*/ 1509906 w 9450521"/>
              <a:gd name="connsiteY1" fmla="*/ 171325 h 724489"/>
              <a:gd name="connsiteX2" fmla="*/ 2794990 w 9450521"/>
              <a:gd name="connsiteY2" fmla="*/ 367084 h 724489"/>
              <a:gd name="connsiteX3" fmla="*/ 4058974 w 9450521"/>
              <a:gd name="connsiteY3" fmla="*/ 208241 h 724489"/>
              <a:gd name="connsiteX4" fmla="*/ 5432293 w 9450521"/>
              <a:gd name="connsiteY4" fmla="*/ 370107 h 724489"/>
              <a:gd name="connsiteX5" fmla="*/ 6735299 w 9450521"/>
              <a:gd name="connsiteY5" fmla="*/ 206216 h 724489"/>
              <a:gd name="connsiteX6" fmla="*/ 8044194 w 9450521"/>
              <a:gd name="connsiteY6" fmla="*/ 711175 h 724489"/>
              <a:gd name="connsiteX7" fmla="*/ 9450521 w 9450521"/>
              <a:gd name="connsiteY7" fmla="*/ 520491 h 724489"/>
              <a:gd name="connsiteX0" fmla="*/ 0 w 9290322"/>
              <a:gd name="connsiteY0" fmla="*/ 62557425 h 62557424"/>
              <a:gd name="connsiteX1" fmla="*/ 1349707 w 9290322"/>
              <a:gd name="connsiteY1" fmla="*/ 4255351 h 62557424"/>
              <a:gd name="connsiteX2" fmla="*/ 2634791 w 9290322"/>
              <a:gd name="connsiteY2" fmla="*/ 4451110 h 62557424"/>
              <a:gd name="connsiteX3" fmla="*/ 3898775 w 9290322"/>
              <a:gd name="connsiteY3" fmla="*/ 4292267 h 62557424"/>
              <a:gd name="connsiteX4" fmla="*/ 5272094 w 9290322"/>
              <a:gd name="connsiteY4" fmla="*/ 4454133 h 62557424"/>
              <a:gd name="connsiteX5" fmla="*/ 6575100 w 9290322"/>
              <a:gd name="connsiteY5" fmla="*/ 4290242 h 62557424"/>
              <a:gd name="connsiteX6" fmla="*/ 7883995 w 9290322"/>
              <a:gd name="connsiteY6" fmla="*/ 4795201 h 62557424"/>
              <a:gd name="connsiteX7" fmla="*/ 9290322 w 9290322"/>
              <a:gd name="connsiteY7" fmla="*/ 4604517 h 62557424"/>
              <a:gd name="connsiteX0" fmla="*/ 0 w 9290322"/>
              <a:gd name="connsiteY0" fmla="*/ 61726513 h 61726512"/>
              <a:gd name="connsiteX1" fmla="*/ 1528754 w 9290322"/>
              <a:gd name="connsiteY1" fmla="*/ 51770162 h 61726512"/>
              <a:gd name="connsiteX2" fmla="*/ 2634791 w 9290322"/>
              <a:gd name="connsiteY2" fmla="*/ 3620198 h 61726512"/>
              <a:gd name="connsiteX3" fmla="*/ 3898775 w 9290322"/>
              <a:gd name="connsiteY3" fmla="*/ 3461355 h 61726512"/>
              <a:gd name="connsiteX4" fmla="*/ 5272094 w 9290322"/>
              <a:gd name="connsiteY4" fmla="*/ 3623221 h 61726512"/>
              <a:gd name="connsiteX5" fmla="*/ 6575100 w 9290322"/>
              <a:gd name="connsiteY5" fmla="*/ 3459330 h 61726512"/>
              <a:gd name="connsiteX6" fmla="*/ 7883995 w 9290322"/>
              <a:gd name="connsiteY6" fmla="*/ 3964289 h 61726512"/>
              <a:gd name="connsiteX7" fmla="*/ 9290322 w 9290322"/>
              <a:gd name="connsiteY7" fmla="*/ 3773605 h 61726512"/>
              <a:gd name="connsiteX0" fmla="*/ 0 w 9290322"/>
              <a:gd name="connsiteY0" fmla="*/ 60395856 h 60395855"/>
              <a:gd name="connsiteX1" fmla="*/ 1528754 w 9290322"/>
              <a:gd name="connsiteY1" fmla="*/ 50439505 h 60395855"/>
              <a:gd name="connsiteX2" fmla="*/ 2776143 w 9290322"/>
              <a:gd name="connsiteY2" fmla="*/ 31613997 h 60395855"/>
              <a:gd name="connsiteX3" fmla="*/ 3898775 w 9290322"/>
              <a:gd name="connsiteY3" fmla="*/ 2130698 h 60395855"/>
              <a:gd name="connsiteX4" fmla="*/ 5272094 w 9290322"/>
              <a:gd name="connsiteY4" fmla="*/ 2292564 h 60395855"/>
              <a:gd name="connsiteX5" fmla="*/ 6575100 w 9290322"/>
              <a:gd name="connsiteY5" fmla="*/ 2128673 h 60395855"/>
              <a:gd name="connsiteX6" fmla="*/ 7883995 w 9290322"/>
              <a:gd name="connsiteY6" fmla="*/ 2633632 h 60395855"/>
              <a:gd name="connsiteX7" fmla="*/ 9290322 w 9290322"/>
              <a:gd name="connsiteY7" fmla="*/ 2442948 h 60395855"/>
              <a:gd name="connsiteX0" fmla="*/ 0 w 9290322"/>
              <a:gd name="connsiteY0" fmla="*/ 59393786 h 59393785"/>
              <a:gd name="connsiteX1" fmla="*/ 1528754 w 9290322"/>
              <a:gd name="connsiteY1" fmla="*/ 49437435 h 59393785"/>
              <a:gd name="connsiteX2" fmla="*/ 2776143 w 9290322"/>
              <a:gd name="connsiteY2" fmla="*/ 30611927 h 59393785"/>
              <a:gd name="connsiteX3" fmla="*/ 4021280 w 9290322"/>
              <a:gd name="connsiteY3" fmla="*/ 17772238 h 59393785"/>
              <a:gd name="connsiteX4" fmla="*/ 5272094 w 9290322"/>
              <a:gd name="connsiteY4" fmla="*/ 1290494 h 59393785"/>
              <a:gd name="connsiteX5" fmla="*/ 6575100 w 9290322"/>
              <a:gd name="connsiteY5" fmla="*/ 1126603 h 59393785"/>
              <a:gd name="connsiteX6" fmla="*/ 7883995 w 9290322"/>
              <a:gd name="connsiteY6" fmla="*/ 1631562 h 59393785"/>
              <a:gd name="connsiteX7" fmla="*/ 9290322 w 9290322"/>
              <a:gd name="connsiteY7" fmla="*/ 1440878 h 59393785"/>
              <a:gd name="connsiteX0" fmla="*/ 0 w 9290322"/>
              <a:gd name="connsiteY0" fmla="*/ 59393786 h 59393785"/>
              <a:gd name="connsiteX1" fmla="*/ 1528754 w 9290322"/>
              <a:gd name="connsiteY1" fmla="*/ 49437435 h 59393785"/>
              <a:gd name="connsiteX2" fmla="*/ 2776143 w 9290322"/>
              <a:gd name="connsiteY2" fmla="*/ 30611927 h 59393785"/>
              <a:gd name="connsiteX3" fmla="*/ 4021280 w 9290322"/>
              <a:gd name="connsiteY3" fmla="*/ 17772238 h 59393785"/>
              <a:gd name="connsiteX4" fmla="*/ 5272094 w 9290322"/>
              <a:gd name="connsiteY4" fmla="*/ 1290494 h 59393785"/>
              <a:gd name="connsiteX5" fmla="*/ 6575100 w 9290322"/>
              <a:gd name="connsiteY5" fmla="*/ 1126603 h 59393785"/>
              <a:gd name="connsiteX6" fmla="*/ 7883995 w 9290322"/>
              <a:gd name="connsiteY6" fmla="*/ 1631562 h 59393785"/>
              <a:gd name="connsiteX7" fmla="*/ 9290322 w 9290322"/>
              <a:gd name="connsiteY7" fmla="*/ 1440878 h 59393785"/>
              <a:gd name="connsiteX0" fmla="*/ 0 w 9290322"/>
              <a:gd name="connsiteY0" fmla="*/ 61208600 h 61208599"/>
              <a:gd name="connsiteX1" fmla="*/ 1528754 w 9290322"/>
              <a:gd name="connsiteY1" fmla="*/ 51252249 h 61208599"/>
              <a:gd name="connsiteX2" fmla="*/ 2776143 w 9290322"/>
              <a:gd name="connsiteY2" fmla="*/ 32426741 h 61208599"/>
              <a:gd name="connsiteX3" fmla="*/ 4021280 w 9290322"/>
              <a:gd name="connsiteY3" fmla="*/ 19587052 h 61208599"/>
              <a:gd name="connsiteX4" fmla="*/ 5319211 w 9290322"/>
              <a:gd name="connsiteY4" fmla="*/ 44582241 h 61208599"/>
              <a:gd name="connsiteX5" fmla="*/ 6575100 w 9290322"/>
              <a:gd name="connsiteY5" fmla="*/ 2941417 h 61208599"/>
              <a:gd name="connsiteX6" fmla="*/ 7883995 w 9290322"/>
              <a:gd name="connsiteY6" fmla="*/ 3446376 h 61208599"/>
              <a:gd name="connsiteX7" fmla="*/ 9290322 w 9290322"/>
              <a:gd name="connsiteY7" fmla="*/ 3255692 h 61208599"/>
              <a:gd name="connsiteX0" fmla="*/ 0 w 9290322"/>
              <a:gd name="connsiteY0" fmla="*/ 60798220 h 60798219"/>
              <a:gd name="connsiteX1" fmla="*/ 1528754 w 9290322"/>
              <a:gd name="connsiteY1" fmla="*/ 50841869 h 60798219"/>
              <a:gd name="connsiteX2" fmla="*/ 2776143 w 9290322"/>
              <a:gd name="connsiteY2" fmla="*/ 32016361 h 60798219"/>
              <a:gd name="connsiteX3" fmla="*/ 4021280 w 9290322"/>
              <a:gd name="connsiteY3" fmla="*/ 19176672 h 60798219"/>
              <a:gd name="connsiteX4" fmla="*/ 5290941 w 9290322"/>
              <a:gd name="connsiteY4" fmla="*/ 38623991 h 60798219"/>
              <a:gd name="connsiteX5" fmla="*/ 6575100 w 9290322"/>
              <a:gd name="connsiteY5" fmla="*/ 2531037 h 60798219"/>
              <a:gd name="connsiteX6" fmla="*/ 7883995 w 9290322"/>
              <a:gd name="connsiteY6" fmla="*/ 3035996 h 60798219"/>
              <a:gd name="connsiteX7" fmla="*/ 9290322 w 9290322"/>
              <a:gd name="connsiteY7" fmla="*/ 2845312 h 60798219"/>
              <a:gd name="connsiteX0" fmla="*/ 0 w 9290322"/>
              <a:gd name="connsiteY0" fmla="*/ 57992430 h 57992429"/>
              <a:gd name="connsiteX1" fmla="*/ 1528754 w 9290322"/>
              <a:gd name="connsiteY1" fmla="*/ 48036079 h 57992429"/>
              <a:gd name="connsiteX2" fmla="*/ 2776143 w 9290322"/>
              <a:gd name="connsiteY2" fmla="*/ 29210571 h 57992429"/>
              <a:gd name="connsiteX3" fmla="*/ 4021280 w 9290322"/>
              <a:gd name="connsiteY3" fmla="*/ 16370882 h 57992429"/>
              <a:gd name="connsiteX4" fmla="*/ 5290941 w 9290322"/>
              <a:gd name="connsiteY4" fmla="*/ 35818201 h 57992429"/>
              <a:gd name="connsiteX5" fmla="*/ 6763570 w 9290322"/>
              <a:gd name="connsiteY5" fmla="*/ 39352890 h 57992429"/>
              <a:gd name="connsiteX6" fmla="*/ 7883995 w 9290322"/>
              <a:gd name="connsiteY6" fmla="*/ 230206 h 57992429"/>
              <a:gd name="connsiteX7" fmla="*/ 9290322 w 9290322"/>
              <a:gd name="connsiteY7" fmla="*/ 39522 h 57992429"/>
              <a:gd name="connsiteX0" fmla="*/ 0 w 9290322"/>
              <a:gd name="connsiteY0" fmla="*/ 57992430 h 57992429"/>
              <a:gd name="connsiteX1" fmla="*/ 1528754 w 9290322"/>
              <a:gd name="connsiteY1" fmla="*/ 48036079 h 57992429"/>
              <a:gd name="connsiteX2" fmla="*/ 2776143 w 9290322"/>
              <a:gd name="connsiteY2" fmla="*/ 29210571 h 57992429"/>
              <a:gd name="connsiteX3" fmla="*/ 4021280 w 9290322"/>
              <a:gd name="connsiteY3" fmla="*/ 16370882 h 57992429"/>
              <a:gd name="connsiteX4" fmla="*/ 5290941 w 9290322"/>
              <a:gd name="connsiteY4" fmla="*/ 35818201 h 57992429"/>
              <a:gd name="connsiteX5" fmla="*/ 6763570 w 9290322"/>
              <a:gd name="connsiteY5" fmla="*/ 39352890 h 57992429"/>
              <a:gd name="connsiteX6" fmla="*/ 7883995 w 9290322"/>
              <a:gd name="connsiteY6" fmla="*/ 230206 h 57992429"/>
              <a:gd name="connsiteX7" fmla="*/ 9290322 w 9290322"/>
              <a:gd name="connsiteY7" fmla="*/ 39522 h 57992429"/>
              <a:gd name="connsiteX0" fmla="*/ 0 w 9290322"/>
              <a:gd name="connsiteY0" fmla="*/ 57954265 h 57954264"/>
              <a:gd name="connsiteX1" fmla="*/ 1528754 w 9290322"/>
              <a:gd name="connsiteY1" fmla="*/ 47997914 h 57954264"/>
              <a:gd name="connsiteX2" fmla="*/ 2776143 w 9290322"/>
              <a:gd name="connsiteY2" fmla="*/ 29172406 h 57954264"/>
              <a:gd name="connsiteX3" fmla="*/ 4021280 w 9290322"/>
              <a:gd name="connsiteY3" fmla="*/ 16332717 h 57954264"/>
              <a:gd name="connsiteX4" fmla="*/ 5290941 w 9290322"/>
              <a:gd name="connsiteY4" fmla="*/ 35780036 h 57954264"/>
              <a:gd name="connsiteX5" fmla="*/ 6763570 w 9290322"/>
              <a:gd name="connsiteY5" fmla="*/ 39314725 h 57954264"/>
              <a:gd name="connsiteX6" fmla="*/ 7997077 w 9290322"/>
              <a:gd name="connsiteY6" fmla="*/ 16307284 h 57954264"/>
              <a:gd name="connsiteX7" fmla="*/ 9290322 w 9290322"/>
              <a:gd name="connsiteY7" fmla="*/ 1357 h 57954264"/>
              <a:gd name="connsiteX0" fmla="*/ 0 w 9290322"/>
              <a:gd name="connsiteY0" fmla="*/ 57954265 h 57954264"/>
              <a:gd name="connsiteX1" fmla="*/ 1528754 w 9290322"/>
              <a:gd name="connsiteY1" fmla="*/ 47997914 h 57954264"/>
              <a:gd name="connsiteX2" fmla="*/ 2776143 w 9290322"/>
              <a:gd name="connsiteY2" fmla="*/ 29172406 h 57954264"/>
              <a:gd name="connsiteX3" fmla="*/ 4021280 w 9290322"/>
              <a:gd name="connsiteY3" fmla="*/ 16332717 h 57954264"/>
              <a:gd name="connsiteX4" fmla="*/ 5290941 w 9290322"/>
              <a:gd name="connsiteY4" fmla="*/ 35780036 h 57954264"/>
              <a:gd name="connsiteX5" fmla="*/ 6763570 w 9290322"/>
              <a:gd name="connsiteY5" fmla="*/ 39314725 h 57954264"/>
              <a:gd name="connsiteX6" fmla="*/ 7997077 w 9290322"/>
              <a:gd name="connsiteY6" fmla="*/ 16307284 h 57954264"/>
              <a:gd name="connsiteX7" fmla="*/ 9290322 w 9290322"/>
              <a:gd name="connsiteY7" fmla="*/ 1357 h 57954264"/>
              <a:gd name="connsiteX0" fmla="*/ 0 w 9290322"/>
              <a:gd name="connsiteY0" fmla="*/ 57954986 h 57954985"/>
              <a:gd name="connsiteX1" fmla="*/ 1528754 w 9290322"/>
              <a:gd name="connsiteY1" fmla="*/ 47998635 h 57954985"/>
              <a:gd name="connsiteX2" fmla="*/ 2776143 w 9290322"/>
              <a:gd name="connsiteY2" fmla="*/ 29173127 h 57954985"/>
              <a:gd name="connsiteX3" fmla="*/ 4021280 w 9290322"/>
              <a:gd name="connsiteY3" fmla="*/ 16333438 h 57954985"/>
              <a:gd name="connsiteX4" fmla="*/ 5290941 w 9290322"/>
              <a:gd name="connsiteY4" fmla="*/ 35780757 h 57954985"/>
              <a:gd name="connsiteX5" fmla="*/ 6763570 w 9290322"/>
              <a:gd name="connsiteY5" fmla="*/ 39315446 h 57954985"/>
              <a:gd name="connsiteX6" fmla="*/ 7978230 w 9290322"/>
              <a:gd name="connsiteY6" fmla="*/ 10495951 h 57954985"/>
              <a:gd name="connsiteX7" fmla="*/ 9290322 w 9290322"/>
              <a:gd name="connsiteY7" fmla="*/ 2078 h 57954985"/>
              <a:gd name="connsiteX0" fmla="*/ 0 w 9252628"/>
              <a:gd name="connsiteY0" fmla="*/ 47462890 h 47462889"/>
              <a:gd name="connsiteX1" fmla="*/ 1528754 w 9252628"/>
              <a:gd name="connsiteY1" fmla="*/ 37506539 h 47462889"/>
              <a:gd name="connsiteX2" fmla="*/ 2776143 w 9252628"/>
              <a:gd name="connsiteY2" fmla="*/ 18681031 h 47462889"/>
              <a:gd name="connsiteX3" fmla="*/ 4021280 w 9252628"/>
              <a:gd name="connsiteY3" fmla="*/ 5841342 h 47462889"/>
              <a:gd name="connsiteX4" fmla="*/ 5290941 w 9252628"/>
              <a:gd name="connsiteY4" fmla="*/ 25288661 h 47462889"/>
              <a:gd name="connsiteX5" fmla="*/ 6763570 w 9252628"/>
              <a:gd name="connsiteY5" fmla="*/ 28823350 h 47462889"/>
              <a:gd name="connsiteX6" fmla="*/ 7978230 w 9252628"/>
              <a:gd name="connsiteY6" fmla="*/ 3855 h 47462889"/>
              <a:gd name="connsiteX7" fmla="*/ 9252628 w 9252628"/>
              <a:gd name="connsiteY7" fmla="*/ 30458547 h 47462889"/>
              <a:gd name="connsiteX0" fmla="*/ 0 w 9290322"/>
              <a:gd name="connsiteY0" fmla="*/ 47462890 h 47462889"/>
              <a:gd name="connsiteX1" fmla="*/ 1528754 w 9290322"/>
              <a:gd name="connsiteY1" fmla="*/ 37506539 h 47462889"/>
              <a:gd name="connsiteX2" fmla="*/ 2776143 w 9290322"/>
              <a:gd name="connsiteY2" fmla="*/ 18681031 h 47462889"/>
              <a:gd name="connsiteX3" fmla="*/ 4021280 w 9290322"/>
              <a:gd name="connsiteY3" fmla="*/ 5841342 h 47462889"/>
              <a:gd name="connsiteX4" fmla="*/ 5290941 w 9290322"/>
              <a:gd name="connsiteY4" fmla="*/ 25288661 h 47462889"/>
              <a:gd name="connsiteX5" fmla="*/ 6763570 w 9290322"/>
              <a:gd name="connsiteY5" fmla="*/ 28823350 h 47462889"/>
              <a:gd name="connsiteX6" fmla="*/ 7978230 w 9290322"/>
              <a:gd name="connsiteY6" fmla="*/ 3855 h 47462889"/>
              <a:gd name="connsiteX7" fmla="*/ 9290322 w 9290322"/>
              <a:gd name="connsiteY7" fmla="*/ 32572021 h 47462889"/>
              <a:gd name="connsiteX0" fmla="*/ 0 w 9279014"/>
              <a:gd name="connsiteY0" fmla="*/ 5933121 h 37703242"/>
              <a:gd name="connsiteX1" fmla="*/ 1517446 w 9279014"/>
              <a:gd name="connsiteY1" fmla="*/ 37506539 h 37703242"/>
              <a:gd name="connsiteX2" fmla="*/ 2764835 w 9279014"/>
              <a:gd name="connsiteY2" fmla="*/ 18681031 h 37703242"/>
              <a:gd name="connsiteX3" fmla="*/ 4009972 w 9279014"/>
              <a:gd name="connsiteY3" fmla="*/ 5841342 h 37703242"/>
              <a:gd name="connsiteX4" fmla="*/ 5279633 w 9279014"/>
              <a:gd name="connsiteY4" fmla="*/ 25288661 h 37703242"/>
              <a:gd name="connsiteX5" fmla="*/ 6752262 w 9279014"/>
              <a:gd name="connsiteY5" fmla="*/ 28823350 h 37703242"/>
              <a:gd name="connsiteX6" fmla="*/ 7966922 w 9279014"/>
              <a:gd name="connsiteY6" fmla="*/ 3855 h 37703242"/>
              <a:gd name="connsiteX7" fmla="*/ 9279014 w 9279014"/>
              <a:gd name="connsiteY7" fmla="*/ 32572021 h 37703242"/>
              <a:gd name="connsiteX0" fmla="*/ 0 w 9279014"/>
              <a:gd name="connsiteY0" fmla="*/ 5933121 h 32572021"/>
              <a:gd name="connsiteX1" fmla="*/ 1449596 w 9279014"/>
              <a:gd name="connsiteY1" fmla="*/ 7706553 h 32572021"/>
              <a:gd name="connsiteX2" fmla="*/ 2764835 w 9279014"/>
              <a:gd name="connsiteY2" fmla="*/ 18681031 h 32572021"/>
              <a:gd name="connsiteX3" fmla="*/ 4009972 w 9279014"/>
              <a:gd name="connsiteY3" fmla="*/ 5841342 h 32572021"/>
              <a:gd name="connsiteX4" fmla="*/ 5279633 w 9279014"/>
              <a:gd name="connsiteY4" fmla="*/ 25288661 h 32572021"/>
              <a:gd name="connsiteX5" fmla="*/ 6752262 w 9279014"/>
              <a:gd name="connsiteY5" fmla="*/ 28823350 h 32572021"/>
              <a:gd name="connsiteX6" fmla="*/ 7966922 w 9279014"/>
              <a:gd name="connsiteY6" fmla="*/ 3855 h 32572021"/>
              <a:gd name="connsiteX7" fmla="*/ 9279014 w 9279014"/>
              <a:gd name="connsiteY7" fmla="*/ 32572021 h 32572021"/>
              <a:gd name="connsiteX0" fmla="*/ 0 w 9279014"/>
              <a:gd name="connsiteY0" fmla="*/ 5933121 h 32572021"/>
              <a:gd name="connsiteX1" fmla="*/ 1449596 w 9279014"/>
              <a:gd name="connsiteY1" fmla="*/ 7706553 h 32572021"/>
              <a:gd name="connsiteX2" fmla="*/ 2719602 w 9279014"/>
              <a:gd name="connsiteY2" fmla="*/ 2829975 h 32572021"/>
              <a:gd name="connsiteX3" fmla="*/ 4009972 w 9279014"/>
              <a:gd name="connsiteY3" fmla="*/ 5841342 h 32572021"/>
              <a:gd name="connsiteX4" fmla="*/ 5279633 w 9279014"/>
              <a:gd name="connsiteY4" fmla="*/ 25288661 h 32572021"/>
              <a:gd name="connsiteX5" fmla="*/ 6752262 w 9279014"/>
              <a:gd name="connsiteY5" fmla="*/ 28823350 h 32572021"/>
              <a:gd name="connsiteX6" fmla="*/ 7966922 w 9279014"/>
              <a:gd name="connsiteY6" fmla="*/ 3855 h 32572021"/>
              <a:gd name="connsiteX7" fmla="*/ 9279014 w 9279014"/>
              <a:gd name="connsiteY7" fmla="*/ 32572021 h 32572021"/>
              <a:gd name="connsiteX0" fmla="*/ 0 w 9279014"/>
              <a:gd name="connsiteY0" fmla="*/ 5932649 h 32571549"/>
              <a:gd name="connsiteX1" fmla="*/ 1449596 w 9279014"/>
              <a:gd name="connsiteY1" fmla="*/ 7706081 h 32571549"/>
              <a:gd name="connsiteX2" fmla="*/ 2719602 w 9279014"/>
              <a:gd name="connsiteY2" fmla="*/ 2829503 h 32571549"/>
              <a:gd name="connsiteX3" fmla="*/ 4009972 w 9279014"/>
              <a:gd name="connsiteY3" fmla="*/ 5840870 h 32571549"/>
              <a:gd name="connsiteX4" fmla="*/ 5392715 w 9279014"/>
              <a:gd name="connsiteY4" fmla="*/ 4047774 h 32571549"/>
              <a:gd name="connsiteX5" fmla="*/ 6752262 w 9279014"/>
              <a:gd name="connsiteY5" fmla="*/ 28822878 h 32571549"/>
              <a:gd name="connsiteX6" fmla="*/ 7966922 w 9279014"/>
              <a:gd name="connsiteY6" fmla="*/ 3383 h 32571549"/>
              <a:gd name="connsiteX7" fmla="*/ 9279014 w 9279014"/>
              <a:gd name="connsiteY7" fmla="*/ 32571549 h 32571549"/>
              <a:gd name="connsiteX0" fmla="*/ 0 w 9279014"/>
              <a:gd name="connsiteY0" fmla="*/ 5944853 h 32583753"/>
              <a:gd name="connsiteX1" fmla="*/ 1449596 w 9279014"/>
              <a:gd name="connsiteY1" fmla="*/ 7718285 h 32583753"/>
              <a:gd name="connsiteX2" fmla="*/ 2719602 w 9279014"/>
              <a:gd name="connsiteY2" fmla="*/ 2841707 h 32583753"/>
              <a:gd name="connsiteX3" fmla="*/ 4009972 w 9279014"/>
              <a:gd name="connsiteY3" fmla="*/ 5853074 h 32583753"/>
              <a:gd name="connsiteX4" fmla="*/ 5392715 w 9279014"/>
              <a:gd name="connsiteY4" fmla="*/ 4059978 h 32583753"/>
              <a:gd name="connsiteX5" fmla="*/ 6695721 w 9279014"/>
              <a:gd name="connsiteY5" fmla="*/ 6326582 h 32583753"/>
              <a:gd name="connsiteX6" fmla="*/ 7966922 w 9279014"/>
              <a:gd name="connsiteY6" fmla="*/ 15587 h 32583753"/>
              <a:gd name="connsiteX7" fmla="*/ 9279014 w 9279014"/>
              <a:gd name="connsiteY7" fmla="*/ 32583753 h 32583753"/>
              <a:gd name="connsiteX0" fmla="*/ 0 w 9561719"/>
              <a:gd name="connsiteY0" fmla="*/ 5944853 h 7856105"/>
              <a:gd name="connsiteX1" fmla="*/ 1449596 w 9561719"/>
              <a:gd name="connsiteY1" fmla="*/ 7718285 h 7856105"/>
              <a:gd name="connsiteX2" fmla="*/ 2719602 w 9561719"/>
              <a:gd name="connsiteY2" fmla="*/ 2841707 h 7856105"/>
              <a:gd name="connsiteX3" fmla="*/ 4009972 w 9561719"/>
              <a:gd name="connsiteY3" fmla="*/ 5853074 h 7856105"/>
              <a:gd name="connsiteX4" fmla="*/ 5392715 w 9561719"/>
              <a:gd name="connsiteY4" fmla="*/ 4059978 h 7856105"/>
              <a:gd name="connsiteX5" fmla="*/ 6695721 w 9561719"/>
              <a:gd name="connsiteY5" fmla="*/ 6326582 h 7856105"/>
              <a:gd name="connsiteX6" fmla="*/ 7966922 w 9561719"/>
              <a:gd name="connsiteY6" fmla="*/ 15587 h 7856105"/>
              <a:gd name="connsiteX7" fmla="*/ 9561719 w 9561719"/>
              <a:gd name="connsiteY7" fmla="*/ 7856105 h 7856105"/>
              <a:gd name="connsiteX0" fmla="*/ 0 w 9213137"/>
              <a:gd name="connsiteY0" fmla="*/ 45267093 h 45267093"/>
              <a:gd name="connsiteX1" fmla="*/ 1101014 w 9213137"/>
              <a:gd name="connsiteY1" fmla="*/ 7718285 h 45267093"/>
              <a:gd name="connsiteX2" fmla="*/ 2371020 w 9213137"/>
              <a:gd name="connsiteY2" fmla="*/ 2841707 h 45267093"/>
              <a:gd name="connsiteX3" fmla="*/ 3661390 w 9213137"/>
              <a:gd name="connsiteY3" fmla="*/ 5853074 h 45267093"/>
              <a:gd name="connsiteX4" fmla="*/ 5044133 w 9213137"/>
              <a:gd name="connsiteY4" fmla="*/ 4059978 h 45267093"/>
              <a:gd name="connsiteX5" fmla="*/ 6347139 w 9213137"/>
              <a:gd name="connsiteY5" fmla="*/ 6326582 h 45267093"/>
              <a:gd name="connsiteX6" fmla="*/ 7618340 w 9213137"/>
              <a:gd name="connsiteY6" fmla="*/ 15587 h 45267093"/>
              <a:gd name="connsiteX7" fmla="*/ 9213137 w 9213137"/>
              <a:gd name="connsiteY7" fmla="*/ 7856105 h 45267093"/>
              <a:gd name="connsiteX0" fmla="*/ 0 w 9262935"/>
              <a:gd name="connsiteY0" fmla="*/ 47826532 h 47826532"/>
              <a:gd name="connsiteX1" fmla="*/ 1150812 w 9262935"/>
              <a:gd name="connsiteY1" fmla="*/ 7718285 h 47826532"/>
              <a:gd name="connsiteX2" fmla="*/ 2420818 w 9262935"/>
              <a:gd name="connsiteY2" fmla="*/ 2841707 h 47826532"/>
              <a:gd name="connsiteX3" fmla="*/ 3711188 w 9262935"/>
              <a:gd name="connsiteY3" fmla="*/ 5853074 h 47826532"/>
              <a:gd name="connsiteX4" fmla="*/ 5093931 w 9262935"/>
              <a:gd name="connsiteY4" fmla="*/ 4059978 h 47826532"/>
              <a:gd name="connsiteX5" fmla="*/ 6396937 w 9262935"/>
              <a:gd name="connsiteY5" fmla="*/ 6326582 h 47826532"/>
              <a:gd name="connsiteX6" fmla="*/ 7668138 w 9262935"/>
              <a:gd name="connsiteY6" fmla="*/ 15587 h 47826532"/>
              <a:gd name="connsiteX7" fmla="*/ 9262935 w 9262935"/>
              <a:gd name="connsiteY7" fmla="*/ 7856105 h 47826532"/>
              <a:gd name="connsiteX0" fmla="*/ 0 w 9262935"/>
              <a:gd name="connsiteY0" fmla="*/ 48160306 h 59295596"/>
              <a:gd name="connsiteX1" fmla="*/ 1424699 w 9262935"/>
              <a:gd name="connsiteY1" fmla="*/ 57379408 h 59295596"/>
              <a:gd name="connsiteX2" fmla="*/ 2420818 w 9262935"/>
              <a:gd name="connsiteY2" fmla="*/ 3175481 h 59295596"/>
              <a:gd name="connsiteX3" fmla="*/ 3711188 w 9262935"/>
              <a:gd name="connsiteY3" fmla="*/ 6186848 h 59295596"/>
              <a:gd name="connsiteX4" fmla="*/ 5093931 w 9262935"/>
              <a:gd name="connsiteY4" fmla="*/ 4393752 h 59295596"/>
              <a:gd name="connsiteX5" fmla="*/ 6396937 w 9262935"/>
              <a:gd name="connsiteY5" fmla="*/ 6660356 h 59295596"/>
              <a:gd name="connsiteX6" fmla="*/ 7668138 w 9262935"/>
              <a:gd name="connsiteY6" fmla="*/ 349361 h 59295596"/>
              <a:gd name="connsiteX7" fmla="*/ 9262935 w 9262935"/>
              <a:gd name="connsiteY7" fmla="*/ 8189879 h 59295596"/>
              <a:gd name="connsiteX0" fmla="*/ 0 w 9262935"/>
              <a:gd name="connsiteY0" fmla="*/ 47826532 h 57050238"/>
              <a:gd name="connsiteX1" fmla="*/ 1424699 w 9262935"/>
              <a:gd name="connsiteY1" fmla="*/ 57045634 h 57050238"/>
              <a:gd name="connsiteX2" fmla="*/ 2777700 w 9262935"/>
              <a:gd name="connsiteY2" fmla="*/ 46352120 h 57050238"/>
              <a:gd name="connsiteX3" fmla="*/ 3711188 w 9262935"/>
              <a:gd name="connsiteY3" fmla="*/ 5853074 h 57050238"/>
              <a:gd name="connsiteX4" fmla="*/ 5093931 w 9262935"/>
              <a:gd name="connsiteY4" fmla="*/ 4059978 h 57050238"/>
              <a:gd name="connsiteX5" fmla="*/ 6396937 w 9262935"/>
              <a:gd name="connsiteY5" fmla="*/ 6326582 h 57050238"/>
              <a:gd name="connsiteX6" fmla="*/ 7668138 w 9262935"/>
              <a:gd name="connsiteY6" fmla="*/ 15587 h 57050238"/>
              <a:gd name="connsiteX7" fmla="*/ 9262935 w 9262935"/>
              <a:gd name="connsiteY7" fmla="*/ 7856105 h 57050238"/>
              <a:gd name="connsiteX0" fmla="*/ 0 w 9262935"/>
              <a:gd name="connsiteY0" fmla="*/ 47826532 h 57050238"/>
              <a:gd name="connsiteX1" fmla="*/ 1424699 w 9262935"/>
              <a:gd name="connsiteY1" fmla="*/ 57045634 h 57050238"/>
              <a:gd name="connsiteX2" fmla="*/ 2777700 w 9262935"/>
              <a:gd name="connsiteY2" fmla="*/ 46352120 h 57050238"/>
              <a:gd name="connsiteX3" fmla="*/ 3711188 w 9262935"/>
              <a:gd name="connsiteY3" fmla="*/ 5853074 h 57050238"/>
              <a:gd name="connsiteX4" fmla="*/ 5093931 w 9262935"/>
              <a:gd name="connsiteY4" fmla="*/ 4059978 h 57050238"/>
              <a:gd name="connsiteX5" fmla="*/ 6396937 w 9262935"/>
              <a:gd name="connsiteY5" fmla="*/ 6326582 h 57050238"/>
              <a:gd name="connsiteX6" fmla="*/ 7668138 w 9262935"/>
              <a:gd name="connsiteY6" fmla="*/ 15587 h 57050238"/>
              <a:gd name="connsiteX7" fmla="*/ 9262935 w 9262935"/>
              <a:gd name="connsiteY7" fmla="*/ 7856105 h 57050238"/>
              <a:gd name="connsiteX0" fmla="*/ 0 w 9262935"/>
              <a:gd name="connsiteY0" fmla="*/ 47826532 h 57050238"/>
              <a:gd name="connsiteX1" fmla="*/ 1424699 w 9262935"/>
              <a:gd name="connsiteY1" fmla="*/ 57045634 h 57050238"/>
              <a:gd name="connsiteX2" fmla="*/ 2777700 w 9262935"/>
              <a:gd name="connsiteY2" fmla="*/ 46352120 h 57050238"/>
              <a:gd name="connsiteX3" fmla="*/ 4076370 w 9262935"/>
              <a:gd name="connsiteY3" fmla="*/ 35868263 h 57050238"/>
              <a:gd name="connsiteX4" fmla="*/ 5093931 w 9262935"/>
              <a:gd name="connsiteY4" fmla="*/ 4059978 h 57050238"/>
              <a:gd name="connsiteX5" fmla="*/ 6396937 w 9262935"/>
              <a:gd name="connsiteY5" fmla="*/ 6326582 h 57050238"/>
              <a:gd name="connsiteX6" fmla="*/ 7668138 w 9262935"/>
              <a:gd name="connsiteY6" fmla="*/ 15587 h 57050238"/>
              <a:gd name="connsiteX7" fmla="*/ 9262935 w 9262935"/>
              <a:gd name="connsiteY7" fmla="*/ 7856105 h 57050238"/>
              <a:gd name="connsiteX0" fmla="*/ 0 w 9262935"/>
              <a:gd name="connsiteY0" fmla="*/ 47826532 h 57050238"/>
              <a:gd name="connsiteX1" fmla="*/ 1424699 w 9262935"/>
              <a:gd name="connsiteY1" fmla="*/ 57045634 h 57050238"/>
              <a:gd name="connsiteX2" fmla="*/ 2777700 w 9262935"/>
              <a:gd name="connsiteY2" fmla="*/ 46352120 h 57050238"/>
              <a:gd name="connsiteX3" fmla="*/ 4076370 w 9262935"/>
              <a:gd name="connsiteY3" fmla="*/ 35868263 h 57050238"/>
              <a:gd name="connsiteX4" fmla="*/ 5093931 w 9262935"/>
              <a:gd name="connsiteY4" fmla="*/ 4059978 h 57050238"/>
              <a:gd name="connsiteX5" fmla="*/ 6396937 w 9262935"/>
              <a:gd name="connsiteY5" fmla="*/ 6326582 h 57050238"/>
              <a:gd name="connsiteX6" fmla="*/ 7668138 w 9262935"/>
              <a:gd name="connsiteY6" fmla="*/ 15587 h 57050238"/>
              <a:gd name="connsiteX7" fmla="*/ 9262935 w 9262935"/>
              <a:gd name="connsiteY7" fmla="*/ 7856105 h 57050238"/>
              <a:gd name="connsiteX0" fmla="*/ 0 w 9262935"/>
              <a:gd name="connsiteY0" fmla="*/ 49132337 h 70995478"/>
              <a:gd name="connsiteX1" fmla="*/ 1424699 w 9262935"/>
              <a:gd name="connsiteY1" fmla="*/ 58351439 h 70995478"/>
              <a:gd name="connsiteX2" fmla="*/ 2777700 w 9262935"/>
              <a:gd name="connsiteY2" fmla="*/ 47657925 h 70995478"/>
              <a:gd name="connsiteX3" fmla="*/ 4076370 w 9262935"/>
              <a:gd name="connsiteY3" fmla="*/ 37174068 h 70995478"/>
              <a:gd name="connsiteX4" fmla="*/ 5309721 w 9262935"/>
              <a:gd name="connsiteY4" fmla="*/ 70515065 h 70995478"/>
              <a:gd name="connsiteX5" fmla="*/ 6396937 w 9262935"/>
              <a:gd name="connsiteY5" fmla="*/ 7632387 h 70995478"/>
              <a:gd name="connsiteX6" fmla="*/ 7668138 w 9262935"/>
              <a:gd name="connsiteY6" fmla="*/ 1321392 h 70995478"/>
              <a:gd name="connsiteX7" fmla="*/ 9262935 w 9262935"/>
              <a:gd name="connsiteY7" fmla="*/ 9161910 h 70995478"/>
              <a:gd name="connsiteX0" fmla="*/ 0 w 9262935"/>
              <a:gd name="connsiteY0" fmla="*/ 49132337 h 70563298"/>
              <a:gd name="connsiteX1" fmla="*/ 1424699 w 9262935"/>
              <a:gd name="connsiteY1" fmla="*/ 58351439 h 70563298"/>
              <a:gd name="connsiteX2" fmla="*/ 2777700 w 9262935"/>
              <a:gd name="connsiteY2" fmla="*/ 47657925 h 70563298"/>
              <a:gd name="connsiteX3" fmla="*/ 4076370 w 9262935"/>
              <a:gd name="connsiteY3" fmla="*/ 37174068 h 70563298"/>
              <a:gd name="connsiteX4" fmla="*/ 5309721 w 9262935"/>
              <a:gd name="connsiteY4" fmla="*/ 70515065 h 70563298"/>
              <a:gd name="connsiteX5" fmla="*/ 6396937 w 9262935"/>
              <a:gd name="connsiteY5" fmla="*/ 7632387 h 70563298"/>
              <a:gd name="connsiteX6" fmla="*/ 7668138 w 9262935"/>
              <a:gd name="connsiteY6" fmla="*/ 1321392 h 70563298"/>
              <a:gd name="connsiteX7" fmla="*/ 9262935 w 9262935"/>
              <a:gd name="connsiteY7" fmla="*/ 9161910 h 70563298"/>
              <a:gd name="connsiteX0" fmla="*/ 0 w 9262935"/>
              <a:gd name="connsiteY0" fmla="*/ 48881521 h 65897929"/>
              <a:gd name="connsiteX1" fmla="*/ 1424699 w 9262935"/>
              <a:gd name="connsiteY1" fmla="*/ 58100623 h 65897929"/>
              <a:gd name="connsiteX2" fmla="*/ 2777700 w 9262935"/>
              <a:gd name="connsiteY2" fmla="*/ 47407109 h 65897929"/>
              <a:gd name="connsiteX3" fmla="*/ 4076370 w 9262935"/>
              <a:gd name="connsiteY3" fmla="*/ 36923252 h 65897929"/>
              <a:gd name="connsiteX4" fmla="*/ 5268223 w 9262935"/>
              <a:gd name="connsiteY4" fmla="*/ 65843400 h 65897929"/>
              <a:gd name="connsiteX5" fmla="*/ 6396937 w 9262935"/>
              <a:gd name="connsiteY5" fmla="*/ 7381571 h 65897929"/>
              <a:gd name="connsiteX6" fmla="*/ 7668138 w 9262935"/>
              <a:gd name="connsiteY6" fmla="*/ 1070576 h 65897929"/>
              <a:gd name="connsiteX7" fmla="*/ 9262935 w 9262935"/>
              <a:gd name="connsiteY7" fmla="*/ 8911094 h 65897929"/>
              <a:gd name="connsiteX0" fmla="*/ 0 w 9262935"/>
              <a:gd name="connsiteY0" fmla="*/ 47813939 h 64846739"/>
              <a:gd name="connsiteX1" fmla="*/ 1424699 w 9262935"/>
              <a:gd name="connsiteY1" fmla="*/ 57033041 h 64846739"/>
              <a:gd name="connsiteX2" fmla="*/ 2777700 w 9262935"/>
              <a:gd name="connsiteY2" fmla="*/ 46339527 h 64846739"/>
              <a:gd name="connsiteX3" fmla="*/ 4076370 w 9262935"/>
              <a:gd name="connsiteY3" fmla="*/ 35855670 h 64846739"/>
              <a:gd name="connsiteX4" fmla="*/ 5268223 w 9262935"/>
              <a:gd name="connsiteY4" fmla="*/ 64775818 h 64846739"/>
              <a:gd name="connsiteX5" fmla="*/ 6529731 w 9262935"/>
              <a:gd name="connsiteY5" fmla="*/ 42611438 h 64846739"/>
              <a:gd name="connsiteX6" fmla="*/ 7668138 w 9262935"/>
              <a:gd name="connsiteY6" fmla="*/ 2994 h 64846739"/>
              <a:gd name="connsiteX7" fmla="*/ 9262935 w 9262935"/>
              <a:gd name="connsiteY7" fmla="*/ 7843512 h 64846739"/>
              <a:gd name="connsiteX0" fmla="*/ 0 w 9262935"/>
              <a:gd name="connsiteY0" fmla="*/ 47813717 h 64835367"/>
              <a:gd name="connsiteX1" fmla="*/ 1424699 w 9262935"/>
              <a:gd name="connsiteY1" fmla="*/ 57032819 h 64835367"/>
              <a:gd name="connsiteX2" fmla="*/ 2777700 w 9262935"/>
              <a:gd name="connsiteY2" fmla="*/ 46339305 h 64835367"/>
              <a:gd name="connsiteX3" fmla="*/ 4076370 w 9262935"/>
              <a:gd name="connsiteY3" fmla="*/ 35855448 h 64835367"/>
              <a:gd name="connsiteX4" fmla="*/ 5268223 w 9262935"/>
              <a:gd name="connsiteY4" fmla="*/ 64775596 h 64835367"/>
              <a:gd name="connsiteX5" fmla="*/ 6529731 w 9262935"/>
              <a:gd name="connsiteY5" fmla="*/ 42611216 h 64835367"/>
              <a:gd name="connsiteX6" fmla="*/ 7668138 w 9262935"/>
              <a:gd name="connsiteY6" fmla="*/ 2772 h 64835367"/>
              <a:gd name="connsiteX7" fmla="*/ 9262935 w 9262935"/>
              <a:gd name="connsiteY7" fmla="*/ 7843290 h 64835367"/>
              <a:gd name="connsiteX0" fmla="*/ 0 w 9262935"/>
              <a:gd name="connsiteY0" fmla="*/ 47814688 h 64780783"/>
              <a:gd name="connsiteX1" fmla="*/ 1424699 w 9262935"/>
              <a:gd name="connsiteY1" fmla="*/ 57033790 h 64780783"/>
              <a:gd name="connsiteX2" fmla="*/ 2777700 w 9262935"/>
              <a:gd name="connsiteY2" fmla="*/ 46340276 h 64780783"/>
              <a:gd name="connsiteX3" fmla="*/ 4076370 w 9262935"/>
              <a:gd name="connsiteY3" fmla="*/ 35856419 h 64780783"/>
              <a:gd name="connsiteX4" fmla="*/ 5268223 w 9262935"/>
              <a:gd name="connsiteY4" fmla="*/ 64776567 h 64780783"/>
              <a:gd name="connsiteX5" fmla="*/ 6695723 w 9262935"/>
              <a:gd name="connsiteY5" fmla="*/ 33537839 h 64780783"/>
              <a:gd name="connsiteX6" fmla="*/ 7668138 w 9262935"/>
              <a:gd name="connsiteY6" fmla="*/ 3743 h 64780783"/>
              <a:gd name="connsiteX7" fmla="*/ 9262935 w 9262935"/>
              <a:gd name="connsiteY7" fmla="*/ 7844261 h 64780783"/>
              <a:gd name="connsiteX0" fmla="*/ 0 w 9262935"/>
              <a:gd name="connsiteY0" fmla="*/ 39970870 h 56936965"/>
              <a:gd name="connsiteX1" fmla="*/ 1424699 w 9262935"/>
              <a:gd name="connsiteY1" fmla="*/ 49189972 h 56936965"/>
              <a:gd name="connsiteX2" fmla="*/ 2777700 w 9262935"/>
              <a:gd name="connsiteY2" fmla="*/ 38496458 h 56936965"/>
              <a:gd name="connsiteX3" fmla="*/ 4076370 w 9262935"/>
              <a:gd name="connsiteY3" fmla="*/ 28012601 h 56936965"/>
              <a:gd name="connsiteX4" fmla="*/ 5268223 w 9262935"/>
              <a:gd name="connsiteY4" fmla="*/ 56932749 h 56936965"/>
              <a:gd name="connsiteX5" fmla="*/ 6695723 w 9262935"/>
              <a:gd name="connsiteY5" fmla="*/ 25694021 h 56936965"/>
              <a:gd name="connsiteX6" fmla="*/ 7908827 w 9262935"/>
              <a:gd name="connsiteY6" fmla="*/ 50096271 h 56936965"/>
              <a:gd name="connsiteX7" fmla="*/ 9262935 w 9262935"/>
              <a:gd name="connsiteY7" fmla="*/ 443 h 56936965"/>
              <a:gd name="connsiteX0" fmla="*/ 0 w 9262935"/>
              <a:gd name="connsiteY0" fmla="*/ 39971036 h 56937131"/>
              <a:gd name="connsiteX1" fmla="*/ 1424699 w 9262935"/>
              <a:gd name="connsiteY1" fmla="*/ 49190138 h 56937131"/>
              <a:gd name="connsiteX2" fmla="*/ 2777700 w 9262935"/>
              <a:gd name="connsiteY2" fmla="*/ 38496624 h 56937131"/>
              <a:gd name="connsiteX3" fmla="*/ 4076370 w 9262935"/>
              <a:gd name="connsiteY3" fmla="*/ 28012767 h 56937131"/>
              <a:gd name="connsiteX4" fmla="*/ 5268223 w 9262935"/>
              <a:gd name="connsiteY4" fmla="*/ 56932915 h 56937131"/>
              <a:gd name="connsiteX5" fmla="*/ 6695723 w 9262935"/>
              <a:gd name="connsiteY5" fmla="*/ 25694187 h 56937131"/>
              <a:gd name="connsiteX6" fmla="*/ 7908827 w 9262935"/>
              <a:gd name="connsiteY6" fmla="*/ 37299240 h 56937131"/>
              <a:gd name="connsiteX7" fmla="*/ 9262935 w 9262935"/>
              <a:gd name="connsiteY7" fmla="*/ 609 h 56937131"/>
              <a:gd name="connsiteX0" fmla="*/ 0 w 9511923"/>
              <a:gd name="connsiteY0" fmla="*/ 21822839 h 38788934"/>
              <a:gd name="connsiteX1" fmla="*/ 1424699 w 9511923"/>
              <a:gd name="connsiteY1" fmla="*/ 31041941 h 38788934"/>
              <a:gd name="connsiteX2" fmla="*/ 2777700 w 9511923"/>
              <a:gd name="connsiteY2" fmla="*/ 20348427 h 38788934"/>
              <a:gd name="connsiteX3" fmla="*/ 4076370 w 9511923"/>
              <a:gd name="connsiteY3" fmla="*/ 9864570 h 38788934"/>
              <a:gd name="connsiteX4" fmla="*/ 5268223 w 9511923"/>
              <a:gd name="connsiteY4" fmla="*/ 38784718 h 38788934"/>
              <a:gd name="connsiteX5" fmla="*/ 6695723 w 9511923"/>
              <a:gd name="connsiteY5" fmla="*/ 7545990 h 38788934"/>
              <a:gd name="connsiteX6" fmla="*/ 7908827 w 9511923"/>
              <a:gd name="connsiteY6" fmla="*/ 19151043 h 38788934"/>
              <a:gd name="connsiteX7" fmla="*/ 9511923 w 9511923"/>
              <a:gd name="connsiteY7" fmla="*/ 1165 h 38788934"/>
              <a:gd name="connsiteX0" fmla="*/ 0 w 9387429"/>
              <a:gd name="connsiteY0" fmla="*/ 14756846 h 31722941"/>
              <a:gd name="connsiteX1" fmla="*/ 1424699 w 9387429"/>
              <a:gd name="connsiteY1" fmla="*/ 23975948 h 31722941"/>
              <a:gd name="connsiteX2" fmla="*/ 2777700 w 9387429"/>
              <a:gd name="connsiteY2" fmla="*/ 13282434 h 31722941"/>
              <a:gd name="connsiteX3" fmla="*/ 4076370 w 9387429"/>
              <a:gd name="connsiteY3" fmla="*/ 2798577 h 31722941"/>
              <a:gd name="connsiteX4" fmla="*/ 5268223 w 9387429"/>
              <a:gd name="connsiteY4" fmla="*/ 31718725 h 31722941"/>
              <a:gd name="connsiteX5" fmla="*/ 6695723 w 9387429"/>
              <a:gd name="connsiteY5" fmla="*/ 479997 h 31722941"/>
              <a:gd name="connsiteX6" fmla="*/ 7908827 w 9387429"/>
              <a:gd name="connsiteY6" fmla="*/ 12085050 h 31722941"/>
              <a:gd name="connsiteX7" fmla="*/ 9387429 w 9387429"/>
              <a:gd name="connsiteY7" fmla="*/ 14574040 h 31722941"/>
              <a:gd name="connsiteX0" fmla="*/ 0 w 9170031"/>
              <a:gd name="connsiteY0" fmla="*/ 1287780388 h 1287780388"/>
              <a:gd name="connsiteX1" fmla="*/ 1207301 w 9170031"/>
              <a:gd name="connsiteY1" fmla="*/ 91446618 h 1287780388"/>
              <a:gd name="connsiteX2" fmla="*/ 2560302 w 9170031"/>
              <a:gd name="connsiteY2" fmla="*/ 80753104 h 1287780388"/>
              <a:gd name="connsiteX3" fmla="*/ 3858972 w 9170031"/>
              <a:gd name="connsiteY3" fmla="*/ 70269247 h 1287780388"/>
              <a:gd name="connsiteX4" fmla="*/ 5050825 w 9170031"/>
              <a:gd name="connsiteY4" fmla="*/ 99189395 h 1287780388"/>
              <a:gd name="connsiteX5" fmla="*/ 6478325 w 9170031"/>
              <a:gd name="connsiteY5" fmla="*/ 67950667 h 1287780388"/>
              <a:gd name="connsiteX6" fmla="*/ 7691429 w 9170031"/>
              <a:gd name="connsiteY6" fmla="*/ 79555720 h 1287780388"/>
              <a:gd name="connsiteX7" fmla="*/ 9170031 w 9170031"/>
              <a:gd name="connsiteY7" fmla="*/ 82044710 h 1287780388"/>
              <a:gd name="connsiteX0" fmla="*/ 0 w 9170031"/>
              <a:gd name="connsiteY0" fmla="*/ 1287780388 h 1287780388"/>
              <a:gd name="connsiteX1" fmla="*/ 1207301 w 9170031"/>
              <a:gd name="connsiteY1" fmla="*/ 91446618 h 1287780388"/>
              <a:gd name="connsiteX2" fmla="*/ 2560302 w 9170031"/>
              <a:gd name="connsiteY2" fmla="*/ 80753104 h 1287780388"/>
              <a:gd name="connsiteX3" fmla="*/ 3858972 w 9170031"/>
              <a:gd name="connsiteY3" fmla="*/ 70269247 h 1287780388"/>
              <a:gd name="connsiteX4" fmla="*/ 5050825 w 9170031"/>
              <a:gd name="connsiteY4" fmla="*/ 99189395 h 1287780388"/>
              <a:gd name="connsiteX5" fmla="*/ 6478325 w 9170031"/>
              <a:gd name="connsiteY5" fmla="*/ 67950667 h 1287780388"/>
              <a:gd name="connsiteX6" fmla="*/ 7691429 w 9170031"/>
              <a:gd name="connsiteY6" fmla="*/ 79555720 h 1287780388"/>
              <a:gd name="connsiteX7" fmla="*/ 9170031 w 9170031"/>
              <a:gd name="connsiteY7" fmla="*/ 82044710 h 1287780388"/>
              <a:gd name="connsiteX0" fmla="*/ 0 w 9170031"/>
              <a:gd name="connsiteY0" fmla="*/ 1317726260 h 1596786379"/>
              <a:gd name="connsiteX1" fmla="*/ 1291455 w 9170031"/>
              <a:gd name="connsiteY1" fmla="*/ 1547351168 h 1596786379"/>
              <a:gd name="connsiteX2" fmla="*/ 2560302 w 9170031"/>
              <a:gd name="connsiteY2" fmla="*/ 110698976 h 1596786379"/>
              <a:gd name="connsiteX3" fmla="*/ 3858972 w 9170031"/>
              <a:gd name="connsiteY3" fmla="*/ 100215119 h 1596786379"/>
              <a:gd name="connsiteX4" fmla="*/ 5050825 w 9170031"/>
              <a:gd name="connsiteY4" fmla="*/ 129135267 h 1596786379"/>
              <a:gd name="connsiteX5" fmla="*/ 6478325 w 9170031"/>
              <a:gd name="connsiteY5" fmla="*/ 97896539 h 1596786379"/>
              <a:gd name="connsiteX6" fmla="*/ 7691429 w 9170031"/>
              <a:gd name="connsiteY6" fmla="*/ 109501592 h 1596786379"/>
              <a:gd name="connsiteX7" fmla="*/ 9170031 w 9170031"/>
              <a:gd name="connsiteY7" fmla="*/ 111990582 h 1596786379"/>
              <a:gd name="connsiteX0" fmla="*/ 0 w 9170031"/>
              <a:gd name="connsiteY0" fmla="*/ 1317726260 h 1555376245"/>
              <a:gd name="connsiteX1" fmla="*/ 1291455 w 9170031"/>
              <a:gd name="connsiteY1" fmla="*/ 1547351168 h 1555376245"/>
              <a:gd name="connsiteX2" fmla="*/ 2560302 w 9170031"/>
              <a:gd name="connsiteY2" fmla="*/ 110698976 h 1555376245"/>
              <a:gd name="connsiteX3" fmla="*/ 3858972 w 9170031"/>
              <a:gd name="connsiteY3" fmla="*/ 100215119 h 1555376245"/>
              <a:gd name="connsiteX4" fmla="*/ 5050825 w 9170031"/>
              <a:gd name="connsiteY4" fmla="*/ 129135267 h 1555376245"/>
              <a:gd name="connsiteX5" fmla="*/ 6478325 w 9170031"/>
              <a:gd name="connsiteY5" fmla="*/ 97896539 h 1555376245"/>
              <a:gd name="connsiteX6" fmla="*/ 7691429 w 9170031"/>
              <a:gd name="connsiteY6" fmla="*/ 109501592 h 1555376245"/>
              <a:gd name="connsiteX7" fmla="*/ 9170031 w 9170031"/>
              <a:gd name="connsiteY7" fmla="*/ 111990582 h 1555376245"/>
              <a:gd name="connsiteX0" fmla="*/ 0 w 9170031"/>
              <a:gd name="connsiteY0" fmla="*/ 1317726260 h 1547494860"/>
              <a:gd name="connsiteX1" fmla="*/ 1291455 w 9170031"/>
              <a:gd name="connsiteY1" fmla="*/ 1547351168 h 1547494860"/>
              <a:gd name="connsiteX2" fmla="*/ 2560302 w 9170031"/>
              <a:gd name="connsiteY2" fmla="*/ 110698976 h 1547494860"/>
              <a:gd name="connsiteX3" fmla="*/ 3858972 w 9170031"/>
              <a:gd name="connsiteY3" fmla="*/ 100215119 h 1547494860"/>
              <a:gd name="connsiteX4" fmla="*/ 5050825 w 9170031"/>
              <a:gd name="connsiteY4" fmla="*/ 129135267 h 1547494860"/>
              <a:gd name="connsiteX5" fmla="*/ 6478325 w 9170031"/>
              <a:gd name="connsiteY5" fmla="*/ 97896539 h 1547494860"/>
              <a:gd name="connsiteX6" fmla="*/ 7691429 w 9170031"/>
              <a:gd name="connsiteY6" fmla="*/ 109501592 h 1547494860"/>
              <a:gd name="connsiteX7" fmla="*/ 9170031 w 9170031"/>
              <a:gd name="connsiteY7" fmla="*/ 111990582 h 1547494860"/>
              <a:gd name="connsiteX0" fmla="*/ 0 w 9170031"/>
              <a:gd name="connsiteY0" fmla="*/ 1319703555 h 1576175772"/>
              <a:gd name="connsiteX1" fmla="*/ 1305481 w 9170031"/>
              <a:gd name="connsiteY1" fmla="*/ 1576044329 h 1576175772"/>
              <a:gd name="connsiteX2" fmla="*/ 2560302 w 9170031"/>
              <a:gd name="connsiteY2" fmla="*/ 112676271 h 1576175772"/>
              <a:gd name="connsiteX3" fmla="*/ 3858972 w 9170031"/>
              <a:gd name="connsiteY3" fmla="*/ 102192414 h 1576175772"/>
              <a:gd name="connsiteX4" fmla="*/ 5050825 w 9170031"/>
              <a:gd name="connsiteY4" fmla="*/ 131112562 h 1576175772"/>
              <a:gd name="connsiteX5" fmla="*/ 6478325 w 9170031"/>
              <a:gd name="connsiteY5" fmla="*/ 99873834 h 1576175772"/>
              <a:gd name="connsiteX6" fmla="*/ 7691429 w 9170031"/>
              <a:gd name="connsiteY6" fmla="*/ 111478887 h 1576175772"/>
              <a:gd name="connsiteX7" fmla="*/ 9170031 w 9170031"/>
              <a:gd name="connsiteY7" fmla="*/ 113967877 h 1576175772"/>
              <a:gd name="connsiteX0" fmla="*/ 0 w 9205095"/>
              <a:gd name="connsiteY0" fmla="*/ 1319703556 h 1623413203"/>
              <a:gd name="connsiteX1" fmla="*/ 1340545 w 9205095"/>
              <a:gd name="connsiteY1" fmla="*/ 1576044329 h 1623413203"/>
              <a:gd name="connsiteX2" fmla="*/ 2595366 w 9205095"/>
              <a:gd name="connsiteY2" fmla="*/ 112676271 h 1623413203"/>
              <a:gd name="connsiteX3" fmla="*/ 3894036 w 9205095"/>
              <a:gd name="connsiteY3" fmla="*/ 102192414 h 1623413203"/>
              <a:gd name="connsiteX4" fmla="*/ 5085889 w 9205095"/>
              <a:gd name="connsiteY4" fmla="*/ 131112562 h 1623413203"/>
              <a:gd name="connsiteX5" fmla="*/ 6513389 w 9205095"/>
              <a:gd name="connsiteY5" fmla="*/ 99873834 h 1623413203"/>
              <a:gd name="connsiteX6" fmla="*/ 7726493 w 9205095"/>
              <a:gd name="connsiteY6" fmla="*/ 111478887 h 1623413203"/>
              <a:gd name="connsiteX7" fmla="*/ 9205095 w 9205095"/>
              <a:gd name="connsiteY7" fmla="*/ 113967877 h 1623413203"/>
              <a:gd name="connsiteX0" fmla="*/ 0 w 9205095"/>
              <a:gd name="connsiteY0" fmla="*/ 1319703556 h 1627682974"/>
              <a:gd name="connsiteX1" fmla="*/ 1340545 w 9205095"/>
              <a:gd name="connsiteY1" fmla="*/ 1576044329 h 1627682974"/>
              <a:gd name="connsiteX2" fmla="*/ 2595366 w 9205095"/>
              <a:gd name="connsiteY2" fmla="*/ 112676271 h 1627682974"/>
              <a:gd name="connsiteX3" fmla="*/ 3894036 w 9205095"/>
              <a:gd name="connsiteY3" fmla="*/ 102192414 h 1627682974"/>
              <a:gd name="connsiteX4" fmla="*/ 5085889 w 9205095"/>
              <a:gd name="connsiteY4" fmla="*/ 131112562 h 1627682974"/>
              <a:gd name="connsiteX5" fmla="*/ 6513389 w 9205095"/>
              <a:gd name="connsiteY5" fmla="*/ 99873834 h 1627682974"/>
              <a:gd name="connsiteX6" fmla="*/ 7726493 w 9205095"/>
              <a:gd name="connsiteY6" fmla="*/ 111478887 h 1627682974"/>
              <a:gd name="connsiteX7" fmla="*/ 9205095 w 9205095"/>
              <a:gd name="connsiteY7" fmla="*/ 113967877 h 1627682974"/>
              <a:gd name="connsiteX0" fmla="*/ 0 w 9205095"/>
              <a:gd name="connsiteY0" fmla="*/ 1319703556 h 1576094268"/>
              <a:gd name="connsiteX1" fmla="*/ 1340545 w 9205095"/>
              <a:gd name="connsiteY1" fmla="*/ 1576044329 h 1576094268"/>
              <a:gd name="connsiteX2" fmla="*/ 2595366 w 9205095"/>
              <a:gd name="connsiteY2" fmla="*/ 112676271 h 1576094268"/>
              <a:gd name="connsiteX3" fmla="*/ 3894036 w 9205095"/>
              <a:gd name="connsiteY3" fmla="*/ 102192414 h 1576094268"/>
              <a:gd name="connsiteX4" fmla="*/ 5085889 w 9205095"/>
              <a:gd name="connsiteY4" fmla="*/ 131112562 h 1576094268"/>
              <a:gd name="connsiteX5" fmla="*/ 6513389 w 9205095"/>
              <a:gd name="connsiteY5" fmla="*/ 99873834 h 1576094268"/>
              <a:gd name="connsiteX6" fmla="*/ 7726493 w 9205095"/>
              <a:gd name="connsiteY6" fmla="*/ 111478887 h 1576094268"/>
              <a:gd name="connsiteX7" fmla="*/ 9205095 w 9205095"/>
              <a:gd name="connsiteY7" fmla="*/ 113967877 h 1576094268"/>
              <a:gd name="connsiteX0" fmla="*/ 0 w 9205095"/>
              <a:gd name="connsiteY0" fmla="*/ 1328489023 h 1824456605"/>
              <a:gd name="connsiteX1" fmla="*/ 1340545 w 9205095"/>
              <a:gd name="connsiteY1" fmla="*/ 1584829796 h 1824456605"/>
              <a:gd name="connsiteX2" fmla="*/ 2686533 w 9205095"/>
              <a:gd name="connsiteY2" fmla="*/ 1734431483 h 1824456605"/>
              <a:gd name="connsiteX3" fmla="*/ 3894036 w 9205095"/>
              <a:gd name="connsiteY3" fmla="*/ 110977881 h 1824456605"/>
              <a:gd name="connsiteX4" fmla="*/ 5085889 w 9205095"/>
              <a:gd name="connsiteY4" fmla="*/ 139898029 h 1824456605"/>
              <a:gd name="connsiteX5" fmla="*/ 6513389 w 9205095"/>
              <a:gd name="connsiteY5" fmla="*/ 108659301 h 1824456605"/>
              <a:gd name="connsiteX6" fmla="*/ 7726493 w 9205095"/>
              <a:gd name="connsiteY6" fmla="*/ 120264354 h 1824456605"/>
              <a:gd name="connsiteX7" fmla="*/ 9205095 w 9205095"/>
              <a:gd name="connsiteY7" fmla="*/ 122753344 h 1824456605"/>
              <a:gd name="connsiteX0" fmla="*/ 0 w 9205095"/>
              <a:gd name="connsiteY0" fmla="*/ 1328489023 h 1734462105"/>
              <a:gd name="connsiteX1" fmla="*/ 1340545 w 9205095"/>
              <a:gd name="connsiteY1" fmla="*/ 1584829796 h 1734462105"/>
              <a:gd name="connsiteX2" fmla="*/ 2686533 w 9205095"/>
              <a:gd name="connsiteY2" fmla="*/ 1734431483 h 1734462105"/>
              <a:gd name="connsiteX3" fmla="*/ 3894036 w 9205095"/>
              <a:gd name="connsiteY3" fmla="*/ 110977881 h 1734462105"/>
              <a:gd name="connsiteX4" fmla="*/ 5085889 w 9205095"/>
              <a:gd name="connsiteY4" fmla="*/ 139898029 h 1734462105"/>
              <a:gd name="connsiteX5" fmla="*/ 6513389 w 9205095"/>
              <a:gd name="connsiteY5" fmla="*/ 108659301 h 1734462105"/>
              <a:gd name="connsiteX6" fmla="*/ 7726493 w 9205095"/>
              <a:gd name="connsiteY6" fmla="*/ 120264354 h 1734462105"/>
              <a:gd name="connsiteX7" fmla="*/ 9205095 w 9205095"/>
              <a:gd name="connsiteY7" fmla="*/ 122753344 h 1734462105"/>
              <a:gd name="connsiteX0" fmla="*/ 0 w 9205095"/>
              <a:gd name="connsiteY0" fmla="*/ 1328982287 h 1741632569"/>
              <a:gd name="connsiteX1" fmla="*/ 1340545 w 9205095"/>
              <a:gd name="connsiteY1" fmla="*/ 1585323060 h 1741632569"/>
              <a:gd name="connsiteX2" fmla="*/ 2658481 w 9205095"/>
              <a:gd name="connsiteY2" fmla="*/ 1741603830 h 1741632569"/>
              <a:gd name="connsiteX3" fmla="*/ 3894036 w 9205095"/>
              <a:gd name="connsiteY3" fmla="*/ 111471145 h 1741632569"/>
              <a:gd name="connsiteX4" fmla="*/ 5085889 w 9205095"/>
              <a:gd name="connsiteY4" fmla="*/ 140391293 h 1741632569"/>
              <a:gd name="connsiteX5" fmla="*/ 6513389 w 9205095"/>
              <a:gd name="connsiteY5" fmla="*/ 109152565 h 1741632569"/>
              <a:gd name="connsiteX6" fmla="*/ 7726493 w 9205095"/>
              <a:gd name="connsiteY6" fmla="*/ 120757618 h 1741632569"/>
              <a:gd name="connsiteX7" fmla="*/ 9205095 w 9205095"/>
              <a:gd name="connsiteY7" fmla="*/ 123246608 h 1741632569"/>
              <a:gd name="connsiteX0" fmla="*/ 0 w 9205095"/>
              <a:gd name="connsiteY0" fmla="*/ 1285118555 h 1707472990"/>
              <a:gd name="connsiteX1" fmla="*/ 1340545 w 9205095"/>
              <a:gd name="connsiteY1" fmla="*/ 1541459328 h 1707472990"/>
              <a:gd name="connsiteX2" fmla="*/ 2658481 w 9205095"/>
              <a:gd name="connsiteY2" fmla="*/ 1697740098 h 1707472990"/>
              <a:gd name="connsiteX3" fmla="*/ 3915076 w 9205095"/>
              <a:gd name="connsiteY3" fmla="*/ 1259802389 h 1707472990"/>
              <a:gd name="connsiteX4" fmla="*/ 5085889 w 9205095"/>
              <a:gd name="connsiteY4" fmla="*/ 96527561 h 1707472990"/>
              <a:gd name="connsiteX5" fmla="*/ 6513389 w 9205095"/>
              <a:gd name="connsiteY5" fmla="*/ 65288833 h 1707472990"/>
              <a:gd name="connsiteX6" fmla="*/ 7726493 w 9205095"/>
              <a:gd name="connsiteY6" fmla="*/ 76893886 h 1707472990"/>
              <a:gd name="connsiteX7" fmla="*/ 9205095 w 9205095"/>
              <a:gd name="connsiteY7" fmla="*/ 79382876 h 1707472990"/>
              <a:gd name="connsiteX0" fmla="*/ 0 w 9205095"/>
              <a:gd name="connsiteY0" fmla="*/ 1285118555 h 1707472990"/>
              <a:gd name="connsiteX1" fmla="*/ 1340545 w 9205095"/>
              <a:gd name="connsiteY1" fmla="*/ 1541459328 h 1707472990"/>
              <a:gd name="connsiteX2" fmla="*/ 2658481 w 9205095"/>
              <a:gd name="connsiteY2" fmla="*/ 1697740098 h 1707472990"/>
              <a:gd name="connsiteX3" fmla="*/ 3915076 w 9205095"/>
              <a:gd name="connsiteY3" fmla="*/ 1259802389 h 1707472990"/>
              <a:gd name="connsiteX4" fmla="*/ 5085889 w 9205095"/>
              <a:gd name="connsiteY4" fmla="*/ 96527561 h 1707472990"/>
              <a:gd name="connsiteX5" fmla="*/ 6513389 w 9205095"/>
              <a:gd name="connsiteY5" fmla="*/ 65288833 h 1707472990"/>
              <a:gd name="connsiteX6" fmla="*/ 7726493 w 9205095"/>
              <a:gd name="connsiteY6" fmla="*/ 76893886 h 1707472990"/>
              <a:gd name="connsiteX7" fmla="*/ 9205095 w 9205095"/>
              <a:gd name="connsiteY7" fmla="*/ 79382876 h 1707472990"/>
              <a:gd name="connsiteX0" fmla="*/ 0 w 9205095"/>
              <a:gd name="connsiteY0" fmla="*/ 1291191777 h 1713546212"/>
              <a:gd name="connsiteX1" fmla="*/ 1340545 w 9205095"/>
              <a:gd name="connsiteY1" fmla="*/ 1547532550 h 1713546212"/>
              <a:gd name="connsiteX2" fmla="*/ 2658481 w 9205095"/>
              <a:gd name="connsiteY2" fmla="*/ 1703813320 h 1713546212"/>
              <a:gd name="connsiteX3" fmla="*/ 3915076 w 9205095"/>
              <a:gd name="connsiteY3" fmla="*/ 1265875611 h 1713546212"/>
              <a:gd name="connsiteX4" fmla="*/ 5310300 w 9205095"/>
              <a:gd name="connsiteY4" fmla="*/ 1084408234 h 1713546212"/>
              <a:gd name="connsiteX5" fmla="*/ 6513389 w 9205095"/>
              <a:gd name="connsiteY5" fmla="*/ 71362055 h 1713546212"/>
              <a:gd name="connsiteX6" fmla="*/ 7726493 w 9205095"/>
              <a:gd name="connsiteY6" fmla="*/ 82967108 h 1713546212"/>
              <a:gd name="connsiteX7" fmla="*/ 9205095 w 9205095"/>
              <a:gd name="connsiteY7" fmla="*/ 85456098 h 1713546212"/>
              <a:gd name="connsiteX0" fmla="*/ 0 w 9205095"/>
              <a:gd name="connsiteY0" fmla="*/ 1291191777 h 1713546212"/>
              <a:gd name="connsiteX1" fmla="*/ 1340545 w 9205095"/>
              <a:gd name="connsiteY1" fmla="*/ 1547532550 h 1713546212"/>
              <a:gd name="connsiteX2" fmla="*/ 2658481 w 9205095"/>
              <a:gd name="connsiteY2" fmla="*/ 1703813320 h 1713546212"/>
              <a:gd name="connsiteX3" fmla="*/ 3915076 w 9205095"/>
              <a:gd name="connsiteY3" fmla="*/ 1265875611 h 1713546212"/>
              <a:gd name="connsiteX4" fmla="*/ 5310300 w 9205095"/>
              <a:gd name="connsiteY4" fmla="*/ 1084408234 h 1713546212"/>
              <a:gd name="connsiteX5" fmla="*/ 6513389 w 9205095"/>
              <a:gd name="connsiteY5" fmla="*/ 71362055 h 1713546212"/>
              <a:gd name="connsiteX6" fmla="*/ 7726493 w 9205095"/>
              <a:gd name="connsiteY6" fmla="*/ 82967108 h 1713546212"/>
              <a:gd name="connsiteX7" fmla="*/ 9205095 w 9205095"/>
              <a:gd name="connsiteY7" fmla="*/ 85456098 h 1713546212"/>
              <a:gd name="connsiteX0" fmla="*/ 0 w 9205095"/>
              <a:gd name="connsiteY0" fmla="*/ 1291191777 h 1713546212"/>
              <a:gd name="connsiteX1" fmla="*/ 1340545 w 9205095"/>
              <a:gd name="connsiteY1" fmla="*/ 1547532550 h 1713546212"/>
              <a:gd name="connsiteX2" fmla="*/ 2658481 w 9205095"/>
              <a:gd name="connsiteY2" fmla="*/ 1703813320 h 1713546212"/>
              <a:gd name="connsiteX3" fmla="*/ 3915076 w 9205095"/>
              <a:gd name="connsiteY3" fmla="*/ 1265875611 h 1713546212"/>
              <a:gd name="connsiteX4" fmla="*/ 5261210 w 9205095"/>
              <a:gd name="connsiteY4" fmla="*/ 1084408234 h 1713546212"/>
              <a:gd name="connsiteX5" fmla="*/ 6513389 w 9205095"/>
              <a:gd name="connsiteY5" fmla="*/ 71362055 h 1713546212"/>
              <a:gd name="connsiteX6" fmla="*/ 7726493 w 9205095"/>
              <a:gd name="connsiteY6" fmla="*/ 82967108 h 1713546212"/>
              <a:gd name="connsiteX7" fmla="*/ 9205095 w 9205095"/>
              <a:gd name="connsiteY7" fmla="*/ 85456098 h 1713546212"/>
              <a:gd name="connsiteX0" fmla="*/ 0 w 9205095"/>
              <a:gd name="connsiteY0" fmla="*/ 1208224991 h 1630579426"/>
              <a:gd name="connsiteX1" fmla="*/ 1340545 w 9205095"/>
              <a:gd name="connsiteY1" fmla="*/ 1464565764 h 1630579426"/>
              <a:gd name="connsiteX2" fmla="*/ 2658481 w 9205095"/>
              <a:gd name="connsiteY2" fmla="*/ 1620846534 h 1630579426"/>
              <a:gd name="connsiteX3" fmla="*/ 3915076 w 9205095"/>
              <a:gd name="connsiteY3" fmla="*/ 1182908825 h 1630579426"/>
              <a:gd name="connsiteX4" fmla="*/ 5261210 w 9205095"/>
              <a:gd name="connsiteY4" fmla="*/ 1001441448 h 1630579426"/>
              <a:gd name="connsiteX5" fmla="*/ 6590530 w 9205095"/>
              <a:gd name="connsiteY5" fmla="*/ 986900765 h 1630579426"/>
              <a:gd name="connsiteX6" fmla="*/ 7726493 w 9205095"/>
              <a:gd name="connsiteY6" fmla="*/ 322 h 1630579426"/>
              <a:gd name="connsiteX7" fmla="*/ 9205095 w 9205095"/>
              <a:gd name="connsiteY7" fmla="*/ 2489312 h 1630579426"/>
              <a:gd name="connsiteX0" fmla="*/ 0 w 9205095"/>
              <a:gd name="connsiteY0" fmla="*/ 1208224991 h 1630579426"/>
              <a:gd name="connsiteX1" fmla="*/ 1340545 w 9205095"/>
              <a:gd name="connsiteY1" fmla="*/ 1464565764 h 1630579426"/>
              <a:gd name="connsiteX2" fmla="*/ 2658481 w 9205095"/>
              <a:gd name="connsiteY2" fmla="*/ 1620846534 h 1630579426"/>
              <a:gd name="connsiteX3" fmla="*/ 3915076 w 9205095"/>
              <a:gd name="connsiteY3" fmla="*/ 1182908825 h 1630579426"/>
              <a:gd name="connsiteX4" fmla="*/ 5261210 w 9205095"/>
              <a:gd name="connsiteY4" fmla="*/ 1001441448 h 1630579426"/>
              <a:gd name="connsiteX5" fmla="*/ 6590530 w 9205095"/>
              <a:gd name="connsiteY5" fmla="*/ 986900765 h 1630579426"/>
              <a:gd name="connsiteX6" fmla="*/ 7726493 w 9205095"/>
              <a:gd name="connsiteY6" fmla="*/ 322 h 1630579426"/>
              <a:gd name="connsiteX7" fmla="*/ 9205095 w 9205095"/>
              <a:gd name="connsiteY7" fmla="*/ 2489312 h 1630579426"/>
              <a:gd name="connsiteX0" fmla="*/ 0 w 9205095"/>
              <a:gd name="connsiteY0" fmla="*/ 1208224991 h 1630579426"/>
              <a:gd name="connsiteX1" fmla="*/ 1340545 w 9205095"/>
              <a:gd name="connsiteY1" fmla="*/ 1464565764 h 1630579426"/>
              <a:gd name="connsiteX2" fmla="*/ 2658481 w 9205095"/>
              <a:gd name="connsiteY2" fmla="*/ 1620846534 h 1630579426"/>
              <a:gd name="connsiteX3" fmla="*/ 3915076 w 9205095"/>
              <a:gd name="connsiteY3" fmla="*/ 1182908825 h 1630579426"/>
              <a:gd name="connsiteX4" fmla="*/ 5261210 w 9205095"/>
              <a:gd name="connsiteY4" fmla="*/ 1001441448 h 1630579426"/>
              <a:gd name="connsiteX5" fmla="*/ 6590530 w 9205095"/>
              <a:gd name="connsiteY5" fmla="*/ 986900765 h 1630579426"/>
              <a:gd name="connsiteX6" fmla="*/ 7726493 w 9205095"/>
              <a:gd name="connsiteY6" fmla="*/ 322 h 1630579426"/>
              <a:gd name="connsiteX7" fmla="*/ 9205095 w 9205095"/>
              <a:gd name="connsiteY7" fmla="*/ 2489312 h 1630579426"/>
              <a:gd name="connsiteX0" fmla="*/ 0 w 9205095"/>
              <a:gd name="connsiteY0" fmla="*/ 1208224991 h 1630579426"/>
              <a:gd name="connsiteX1" fmla="*/ 1340545 w 9205095"/>
              <a:gd name="connsiteY1" fmla="*/ 1464565764 h 1630579426"/>
              <a:gd name="connsiteX2" fmla="*/ 2658481 w 9205095"/>
              <a:gd name="connsiteY2" fmla="*/ 1620846534 h 1630579426"/>
              <a:gd name="connsiteX3" fmla="*/ 3915076 w 9205095"/>
              <a:gd name="connsiteY3" fmla="*/ 1182908825 h 1630579426"/>
              <a:gd name="connsiteX4" fmla="*/ 5261210 w 9205095"/>
              <a:gd name="connsiteY4" fmla="*/ 1001441448 h 1630579426"/>
              <a:gd name="connsiteX5" fmla="*/ 6590530 w 9205095"/>
              <a:gd name="connsiteY5" fmla="*/ 990240072 h 1630579426"/>
              <a:gd name="connsiteX6" fmla="*/ 7726493 w 9205095"/>
              <a:gd name="connsiteY6" fmla="*/ 322 h 1630579426"/>
              <a:gd name="connsiteX7" fmla="*/ 9205095 w 9205095"/>
              <a:gd name="connsiteY7" fmla="*/ 2489312 h 1630579426"/>
              <a:gd name="connsiteX0" fmla="*/ 0 w 9205095"/>
              <a:gd name="connsiteY0" fmla="*/ 1208224991 h 1630579426"/>
              <a:gd name="connsiteX1" fmla="*/ 1340545 w 9205095"/>
              <a:gd name="connsiteY1" fmla="*/ 1464565764 h 1630579426"/>
              <a:gd name="connsiteX2" fmla="*/ 2658481 w 9205095"/>
              <a:gd name="connsiteY2" fmla="*/ 1620846534 h 1630579426"/>
              <a:gd name="connsiteX3" fmla="*/ 3915076 w 9205095"/>
              <a:gd name="connsiteY3" fmla="*/ 1182908825 h 1630579426"/>
              <a:gd name="connsiteX4" fmla="*/ 5261210 w 9205095"/>
              <a:gd name="connsiteY4" fmla="*/ 1001441448 h 1630579426"/>
              <a:gd name="connsiteX5" fmla="*/ 6590530 w 9205095"/>
              <a:gd name="connsiteY5" fmla="*/ 990240072 h 1630579426"/>
              <a:gd name="connsiteX6" fmla="*/ 7726493 w 9205095"/>
              <a:gd name="connsiteY6" fmla="*/ 322 h 1630579426"/>
              <a:gd name="connsiteX7" fmla="*/ 9205095 w 9205095"/>
              <a:gd name="connsiteY7" fmla="*/ 2489312 h 1630579426"/>
              <a:gd name="connsiteX0" fmla="*/ 0 w 9205095"/>
              <a:gd name="connsiteY0" fmla="*/ 1205735587 h 1628090022"/>
              <a:gd name="connsiteX1" fmla="*/ 1340545 w 9205095"/>
              <a:gd name="connsiteY1" fmla="*/ 1462076360 h 1628090022"/>
              <a:gd name="connsiteX2" fmla="*/ 2658481 w 9205095"/>
              <a:gd name="connsiteY2" fmla="*/ 1618357130 h 1628090022"/>
              <a:gd name="connsiteX3" fmla="*/ 3915076 w 9205095"/>
              <a:gd name="connsiteY3" fmla="*/ 1180419421 h 1628090022"/>
              <a:gd name="connsiteX4" fmla="*/ 5261210 w 9205095"/>
              <a:gd name="connsiteY4" fmla="*/ 998952044 h 1628090022"/>
              <a:gd name="connsiteX5" fmla="*/ 6590530 w 9205095"/>
              <a:gd name="connsiteY5" fmla="*/ 987750668 h 1628090022"/>
              <a:gd name="connsiteX6" fmla="*/ 7852723 w 9205095"/>
              <a:gd name="connsiteY6" fmla="*/ 996016017 h 1628090022"/>
              <a:gd name="connsiteX7" fmla="*/ 9205095 w 9205095"/>
              <a:gd name="connsiteY7" fmla="*/ -92 h 1628090022"/>
              <a:gd name="connsiteX0" fmla="*/ 0 w 9233147"/>
              <a:gd name="connsiteY0" fmla="*/ 224519840 h 646874275"/>
              <a:gd name="connsiteX1" fmla="*/ 1340545 w 9233147"/>
              <a:gd name="connsiteY1" fmla="*/ 480860613 h 646874275"/>
              <a:gd name="connsiteX2" fmla="*/ 2658481 w 9233147"/>
              <a:gd name="connsiteY2" fmla="*/ 637141383 h 646874275"/>
              <a:gd name="connsiteX3" fmla="*/ 3915076 w 9233147"/>
              <a:gd name="connsiteY3" fmla="*/ 199203674 h 646874275"/>
              <a:gd name="connsiteX4" fmla="*/ 5261210 w 9233147"/>
              <a:gd name="connsiteY4" fmla="*/ 17736297 h 646874275"/>
              <a:gd name="connsiteX5" fmla="*/ 6590530 w 9233147"/>
              <a:gd name="connsiteY5" fmla="*/ 6534921 h 646874275"/>
              <a:gd name="connsiteX6" fmla="*/ 7852723 w 9233147"/>
              <a:gd name="connsiteY6" fmla="*/ 14800270 h 646874275"/>
              <a:gd name="connsiteX7" fmla="*/ 9233147 w 9233147"/>
              <a:gd name="connsiteY7" fmla="*/ 428045579 h 646874275"/>
              <a:gd name="connsiteX0" fmla="*/ 0 w 9233147"/>
              <a:gd name="connsiteY0" fmla="*/ 224519840 h 646874275"/>
              <a:gd name="connsiteX1" fmla="*/ 1340545 w 9233147"/>
              <a:gd name="connsiteY1" fmla="*/ 480860613 h 646874275"/>
              <a:gd name="connsiteX2" fmla="*/ 2658481 w 9233147"/>
              <a:gd name="connsiteY2" fmla="*/ 637141383 h 646874275"/>
              <a:gd name="connsiteX3" fmla="*/ 3915076 w 9233147"/>
              <a:gd name="connsiteY3" fmla="*/ 199203674 h 646874275"/>
              <a:gd name="connsiteX4" fmla="*/ 5261210 w 9233147"/>
              <a:gd name="connsiteY4" fmla="*/ 17736297 h 646874275"/>
              <a:gd name="connsiteX5" fmla="*/ 6590530 w 9233147"/>
              <a:gd name="connsiteY5" fmla="*/ 6534921 h 646874275"/>
              <a:gd name="connsiteX6" fmla="*/ 7852723 w 9233147"/>
              <a:gd name="connsiteY6" fmla="*/ 14800270 h 646874275"/>
              <a:gd name="connsiteX7" fmla="*/ 9233147 w 9233147"/>
              <a:gd name="connsiteY7" fmla="*/ 428045579 h 64687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33147" h="646874275">
                <a:moveTo>
                  <a:pt x="0" y="224519840"/>
                </a:moveTo>
                <a:cubicBezTo>
                  <a:pt x="255025" y="230977026"/>
                  <a:pt x="897465" y="412090356"/>
                  <a:pt x="1340545" y="480860613"/>
                </a:cubicBezTo>
                <a:cubicBezTo>
                  <a:pt x="1783625" y="549630870"/>
                  <a:pt x="2229393" y="684084206"/>
                  <a:pt x="2658481" y="637141383"/>
                </a:cubicBezTo>
                <a:cubicBezTo>
                  <a:pt x="3087569" y="590198560"/>
                  <a:pt x="3481288" y="302437855"/>
                  <a:pt x="3915076" y="199203674"/>
                </a:cubicBezTo>
                <a:cubicBezTo>
                  <a:pt x="4348864" y="95969493"/>
                  <a:pt x="4815301" y="49847756"/>
                  <a:pt x="5261210" y="17736297"/>
                </a:cubicBezTo>
                <a:cubicBezTo>
                  <a:pt x="5707119" y="-14375162"/>
                  <a:pt x="6158611" y="7024259"/>
                  <a:pt x="6590530" y="6534921"/>
                </a:cubicBezTo>
                <a:cubicBezTo>
                  <a:pt x="7022449" y="6045583"/>
                  <a:pt x="7470911" y="14440120"/>
                  <a:pt x="7852723" y="14800270"/>
                </a:cubicBezTo>
                <a:cubicBezTo>
                  <a:pt x="8309923" y="14896225"/>
                  <a:pt x="9007241" y="354403694"/>
                  <a:pt x="9233147" y="428045579"/>
                </a:cubicBezTo>
              </a:path>
            </a:pathLst>
          </a:custGeom>
          <a:noFill/>
          <a:ln w="136525" cap="rnd">
            <a:solidFill>
              <a:srgbClr val="FFCD00"/>
            </a:solidFill>
            <a:headEnd/>
            <a:tailEnd/>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15" name="Freeform: Shape 114">
            <a:extLst>
              <a:ext uri="{FF2B5EF4-FFF2-40B4-BE49-F238E27FC236}">
                <a16:creationId xmlns:a16="http://schemas.microsoft.com/office/drawing/2014/main" id="{B8E9269E-00FC-4DEF-8798-B2F34632097D}"/>
              </a:ext>
            </a:extLst>
          </p:cNvPr>
          <p:cNvSpPr/>
          <p:nvPr/>
        </p:nvSpPr>
        <p:spPr bwMode="auto">
          <a:xfrm flipV="1">
            <a:off x="1424794" y="3284670"/>
            <a:ext cx="9372791" cy="1604279"/>
          </a:xfrm>
          <a:custGeom>
            <a:avLst/>
            <a:gdLst>
              <a:gd name="connsiteX0" fmla="*/ 0 w 9431867"/>
              <a:gd name="connsiteY0" fmla="*/ 450771 h 1268056"/>
              <a:gd name="connsiteX1" fmla="*/ 1295400 w 9431867"/>
              <a:gd name="connsiteY1" fmla="*/ 10504 h 1268056"/>
              <a:gd name="connsiteX2" fmla="*/ 2692400 w 9431867"/>
              <a:gd name="connsiteY2" fmla="*/ 467704 h 1268056"/>
              <a:gd name="connsiteX3" fmla="*/ 4021667 w 9431867"/>
              <a:gd name="connsiteY3" fmla="*/ 831771 h 1268056"/>
              <a:gd name="connsiteX4" fmla="*/ 5376334 w 9431867"/>
              <a:gd name="connsiteY4" fmla="*/ 1255104 h 1268056"/>
              <a:gd name="connsiteX5" fmla="*/ 6688667 w 9431867"/>
              <a:gd name="connsiteY5" fmla="*/ 306838 h 1268056"/>
              <a:gd name="connsiteX6" fmla="*/ 8034867 w 9431867"/>
              <a:gd name="connsiteY6" fmla="*/ 27438 h 1268056"/>
              <a:gd name="connsiteX7" fmla="*/ 9431867 w 9431867"/>
              <a:gd name="connsiteY7" fmla="*/ 882571 h 1268056"/>
              <a:gd name="connsiteX0" fmla="*/ 0 w 9431867"/>
              <a:gd name="connsiteY0" fmla="*/ 450771 h 1268056"/>
              <a:gd name="connsiteX1" fmla="*/ 1397989 w 9431867"/>
              <a:gd name="connsiteY1" fmla="*/ 10512 h 1268056"/>
              <a:gd name="connsiteX2" fmla="*/ 2692400 w 9431867"/>
              <a:gd name="connsiteY2" fmla="*/ 467704 h 1268056"/>
              <a:gd name="connsiteX3" fmla="*/ 4021667 w 9431867"/>
              <a:gd name="connsiteY3" fmla="*/ 831771 h 1268056"/>
              <a:gd name="connsiteX4" fmla="*/ 5376334 w 9431867"/>
              <a:gd name="connsiteY4" fmla="*/ 1255104 h 1268056"/>
              <a:gd name="connsiteX5" fmla="*/ 6688667 w 9431867"/>
              <a:gd name="connsiteY5" fmla="*/ 306838 h 1268056"/>
              <a:gd name="connsiteX6" fmla="*/ 8034867 w 9431867"/>
              <a:gd name="connsiteY6" fmla="*/ 27438 h 1268056"/>
              <a:gd name="connsiteX7" fmla="*/ 9431867 w 9431867"/>
              <a:gd name="connsiteY7" fmla="*/ 882571 h 1268056"/>
              <a:gd name="connsiteX0" fmla="*/ 0 w 9431867"/>
              <a:gd name="connsiteY0" fmla="*/ 450771 h 1268056"/>
              <a:gd name="connsiteX1" fmla="*/ 1500579 w 9431867"/>
              <a:gd name="connsiteY1" fmla="*/ 271950 h 1268056"/>
              <a:gd name="connsiteX2" fmla="*/ 2692400 w 9431867"/>
              <a:gd name="connsiteY2" fmla="*/ 467704 h 1268056"/>
              <a:gd name="connsiteX3" fmla="*/ 4021667 w 9431867"/>
              <a:gd name="connsiteY3" fmla="*/ 831771 h 1268056"/>
              <a:gd name="connsiteX4" fmla="*/ 5376334 w 9431867"/>
              <a:gd name="connsiteY4" fmla="*/ 1255104 h 1268056"/>
              <a:gd name="connsiteX5" fmla="*/ 6688667 w 9431867"/>
              <a:gd name="connsiteY5" fmla="*/ 306838 h 1268056"/>
              <a:gd name="connsiteX6" fmla="*/ 8034867 w 9431867"/>
              <a:gd name="connsiteY6" fmla="*/ 27438 h 1268056"/>
              <a:gd name="connsiteX7" fmla="*/ 9431867 w 9431867"/>
              <a:gd name="connsiteY7" fmla="*/ 882571 h 1268056"/>
              <a:gd name="connsiteX0" fmla="*/ 0 w 9431867"/>
              <a:gd name="connsiteY0" fmla="*/ 963191 h 1780476"/>
              <a:gd name="connsiteX1" fmla="*/ 1500579 w 9431867"/>
              <a:gd name="connsiteY1" fmla="*/ 0 h 1780476"/>
              <a:gd name="connsiteX2" fmla="*/ 2692400 w 9431867"/>
              <a:gd name="connsiteY2" fmla="*/ 980124 h 1780476"/>
              <a:gd name="connsiteX3" fmla="*/ 4021667 w 9431867"/>
              <a:gd name="connsiteY3" fmla="*/ 1344191 h 1780476"/>
              <a:gd name="connsiteX4" fmla="*/ 5376334 w 9431867"/>
              <a:gd name="connsiteY4" fmla="*/ 1767524 h 1780476"/>
              <a:gd name="connsiteX5" fmla="*/ 6688667 w 9431867"/>
              <a:gd name="connsiteY5" fmla="*/ 819258 h 1780476"/>
              <a:gd name="connsiteX6" fmla="*/ 8034867 w 9431867"/>
              <a:gd name="connsiteY6" fmla="*/ 539858 h 1780476"/>
              <a:gd name="connsiteX7" fmla="*/ 9431867 w 9431867"/>
              <a:gd name="connsiteY7" fmla="*/ 1394991 h 1780476"/>
              <a:gd name="connsiteX0" fmla="*/ 0 w 9431867"/>
              <a:gd name="connsiteY0" fmla="*/ 1486123 h 2303408"/>
              <a:gd name="connsiteX1" fmla="*/ 1500579 w 9431867"/>
              <a:gd name="connsiteY1" fmla="*/ 0 h 2303408"/>
              <a:gd name="connsiteX2" fmla="*/ 2692400 w 9431867"/>
              <a:gd name="connsiteY2" fmla="*/ 1503056 h 2303408"/>
              <a:gd name="connsiteX3" fmla="*/ 4021667 w 9431867"/>
              <a:gd name="connsiteY3" fmla="*/ 1867123 h 2303408"/>
              <a:gd name="connsiteX4" fmla="*/ 5376334 w 9431867"/>
              <a:gd name="connsiteY4" fmla="*/ 2290456 h 2303408"/>
              <a:gd name="connsiteX5" fmla="*/ 6688667 w 9431867"/>
              <a:gd name="connsiteY5" fmla="*/ 1342190 h 2303408"/>
              <a:gd name="connsiteX6" fmla="*/ 8034867 w 9431867"/>
              <a:gd name="connsiteY6" fmla="*/ 1062790 h 2303408"/>
              <a:gd name="connsiteX7" fmla="*/ 9431867 w 9431867"/>
              <a:gd name="connsiteY7" fmla="*/ 1917923 h 2303408"/>
              <a:gd name="connsiteX0" fmla="*/ 0 w 9431867"/>
              <a:gd name="connsiteY0" fmla="*/ 56664 h 2965657"/>
              <a:gd name="connsiteX1" fmla="*/ 1500579 w 9431867"/>
              <a:gd name="connsiteY1" fmla="*/ 662249 h 2965657"/>
              <a:gd name="connsiteX2" fmla="*/ 2692400 w 9431867"/>
              <a:gd name="connsiteY2" fmla="*/ 2165305 h 2965657"/>
              <a:gd name="connsiteX3" fmla="*/ 4021667 w 9431867"/>
              <a:gd name="connsiteY3" fmla="*/ 2529372 h 2965657"/>
              <a:gd name="connsiteX4" fmla="*/ 5376334 w 9431867"/>
              <a:gd name="connsiteY4" fmla="*/ 2952705 h 2965657"/>
              <a:gd name="connsiteX5" fmla="*/ 6688667 w 9431867"/>
              <a:gd name="connsiteY5" fmla="*/ 2004439 h 2965657"/>
              <a:gd name="connsiteX6" fmla="*/ 8034867 w 9431867"/>
              <a:gd name="connsiteY6" fmla="*/ 1725039 h 2965657"/>
              <a:gd name="connsiteX7" fmla="*/ 9431867 w 9431867"/>
              <a:gd name="connsiteY7" fmla="*/ 2580172 h 2965657"/>
              <a:gd name="connsiteX0" fmla="*/ 0 w 9441194"/>
              <a:gd name="connsiteY0" fmla="*/ 143755 h 2529816"/>
              <a:gd name="connsiteX1" fmla="*/ 1509906 w 9441194"/>
              <a:gd name="connsiteY1" fmla="*/ 226408 h 2529816"/>
              <a:gd name="connsiteX2" fmla="*/ 2701727 w 9441194"/>
              <a:gd name="connsiteY2" fmla="*/ 1729464 h 2529816"/>
              <a:gd name="connsiteX3" fmla="*/ 4030994 w 9441194"/>
              <a:gd name="connsiteY3" fmla="*/ 2093531 h 2529816"/>
              <a:gd name="connsiteX4" fmla="*/ 5385661 w 9441194"/>
              <a:gd name="connsiteY4" fmla="*/ 2516864 h 2529816"/>
              <a:gd name="connsiteX5" fmla="*/ 6697994 w 9441194"/>
              <a:gd name="connsiteY5" fmla="*/ 1568598 h 2529816"/>
              <a:gd name="connsiteX6" fmla="*/ 8044194 w 9441194"/>
              <a:gd name="connsiteY6" fmla="*/ 1289198 h 2529816"/>
              <a:gd name="connsiteX7" fmla="*/ 9441194 w 9441194"/>
              <a:gd name="connsiteY7" fmla="*/ 2144331 h 2529816"/>
              <a:gd name="connsiteX0" fmla="*/ 0 w 9441194"/>
              <a:gd name="connsiteY0" fmla="*/ 97159 h 2490570"/>
              <a:gd name="connsiteX1" fmla="*/ 1509906 w 9441194"/>
              <a:gd name="connsiteY1" fmla="*/ 179812 h 2490570"/>
              <a:gd name="connsiteX2" fmla="*/ 2767011 w 9441194"/>
              <a:gd name="connsiteY2" fmla="*/ 637038 h 2490570"/>
              <a:gd name="connsiteX3" fmla="*/ 4030994 w 9441194"/>
              <a:gd name="connsiteY3" fmla="*/ 2046935 h 2490570"/>
              <a:gd name="connsiteX4" fmla="*/ 5385661 w 9441194"/>
              <a:gd name="connsiteY4" fmla="*/ 2470268 h 2490570"/>
              <a:gd name="connsiteX5" fmla="*/ 6697994 w 9441194"/>
              <a:gd name="connsiteY5" fmla="*/ 1522002 h 2490570"/>
              <a:gd name="connsiteX6" fmla="*/ 8044194 w 9441194"/>
              <a:gd name="connsiteY6" fmla="*/ 1242602 h 2490570"/>
              <a:gd name="connsiteX7" fmla="*/ 9441194 w 9441194"/>
              <a:gd name="connsiteY7" fmla="*/ 2097735 h 2490570"/>
              <a:gd name="connsiteX0" fmla="*/ 0 w 9441194"/>
              <a:gd name="connsiteY0" fmla="*/ 88672 h 2485162"/>
              <a:gd name="connsiteX1" fmla="*/ 1509906 w 9441194"/>
              <a:gd name="connsiteY1" fmla="*/ 171325 h 2485162"/>
              <a:gd name="connsiteX2" fmla="*/ 2794990 w 9441194"/>
              <a:gd name="connsiteY2" fmla="*/ 367084 h 2485162"/>
              <a:gd name="connsiteX3" fmla="*/ 4030994 w 9441194"/>
              <a:gd name="connsiteY3" fmla="*/ 2038448 h 2485162"/>
              <a:gd name="connsiteX4" fmla="*/ 5385661 w 9441194"/>
              <a:gd name="connsiteY4" fmla="*/ 2461781 h 2485162"/>
              <a:gd name="connsiteX5" fmla="*/ 6697994 w 9441194"/>
              <a:gd name="connsiteY5" fmla="*/ 1513515 h 2485162"/>
              <a:gd name="connsiteX6" fmla="*/ 8044194 w 9441194"/>
              <a:gd name="connsiteY6" fmla="*/ 1234115 h 2485162"/>
              <a:gd name="connsiteX7" fmla="*/ 9441194 w 9441194"/>
              <a:gd name="connsiteY7" fmla="*/ 2089248 h 2485162"/>
              <a:gd name="connsiteX0" fmla="*/ 0 w 9441194"/>
              <a:gd name="connsiteY0" fmla="*/ 88672 h 2493621"/>
              <a:gd name="connsiteX1" fmla="*/ 1509906 w 9441194"/>
              <a:gd name="connsiteY1" fmla="*/ 171325 h 2493621"/>
              <a:gd name="connsiteX2" fmla="*/ 2794990 w 9441194"/>
              <a:gd name="connsiteY2" fmla="*/ 367084 h 2493621"/>
              <a:gd name="connsiteX3" fmla="*/ 4058974 w 9441194"/>
              <a:gd name="connsiteY3" fmla="*/ 208241 h 2493621"/>
              <a:gd name="connsiteX4" fmla="*/ 5385661 w 9441194"/>
              <a:gd name="connsiteY4" fmla="*/ 2461781 h 2493621"/>
              <a:gd name="connsiteX5" fmla="*/ 6697994 w 9441194"/>
              <a:gd name="connsiteY5" fmla="*/ 1513515 h 2493621"/>
              <a:gd name="connsiteX6" fmla="*/ 8044194 w 9441194"/>
              <a:gd name="connsiteY6" fmla="*/ 1234115 h 2493621"/>
              <a:gd name="connsiteX7" fmla="*/ 9441194 w 9441194"/>
              <a:gd name="connsiteY7" fmla="*/ 2089248 h 2493621"/>
              <a:gd name="connsiteX0" fmla="*/ 0 w 9441194"/>
              <a:gd name="connsiteY0" fmla="*/ 88672 h 2493621"/>
              <a:gd name="connsiteX1" fmla="*/ 1509906 w 9441194"/>
              <a:gd name="connsiteY1" fmla="*/ 171325 h 2493621"/>
              <a:gd name="connsiteX2" fmla="*/ 2794990 w 9441194"/>
              <a:gd name="connsiteY2" fmla="*/ 367084 h 2493621"/>
              <a:gd name="connsiteX3" fmla="*/ 4058974 w 9441194"/>
              <a:gd name="connsiteY3" fmla="*/ 208241 h 2493621"/>
              <a:gd name="connsiteX4" fmla="*/ 5385661 w 9441194"/>
              <a:gd name="connsiteY4" fmla="*/ 2461781 h 2493621"/>
              <a:gd name="connsiteX5" fmla="*/ 6697994 w 9441194"/>
              <a:gd name="connsiteY5" fmla="*/ 1513515 h 2493621"/>
              <a:gd name="connsiteX6" fmla="*/ 8044194 w 9441194"/>
              <a:gd name="connsiteY6" fmla="*/ 1234115 h 2493621"/>
              <a:gd name="connsiteX7" fmla="*/ 9441194 w 9441194"/>
              <a:gd name="connsiteY7" fmla="*/ 2089248 h 2493621"/>
              <a:gd name="connsiteX0" fmla="*/ 0 w 9441194"/>
              <a:gd name="connsiteY0" fmla="*/ 88672 h 2089260"/>
              <a:gd name="connsiteX1" fmla="*/ 1509906 w 9441194"/>
              <a:gd name="connsiteY1" fmla="*/ 171325 h 2089260"/>
              <a:gd name="connsiteX2" fmla="*/ 2794990 w 9441194"/>
              <a:gd name="connsiteY2" fmla="*/ 367084 h 2089260"/>
              <a:gd name="connsiteX3" fmla="*/ 4058974 w 9441194"/>
              <a:gd name="connsiteY3" fmla="*/ 208241 h 2089260"/>
              <a:gd name="connsiteX4" fmla="*/ 5422966 w 9441194"/>
              <a:gd name="connsiteY4" fmla="*/ 631546 h 2089260"/>
              <a:gd name="connsiteX5" fmla="*/ 6697994 w 9441194"/>
              <a:gd name="connsiteY5" fmla="*/ 1513515 h 2089260"/>
              <a:gd name="connsiteX6" fmla="*/ 8044194 w 9441194"/>
              <a:gd name="connsiteY6" fmla="*/ 1234115 h 2089260"/>
              <a:gd name="connsiteX7" fmla="*/ 9441194 w 9441194"/>
              <a:gd name="connsiteY7" fmla="*/ 2089248 h 2089260"/>
              <a:gd name="connsiteX0" fmla="*/ 0 w 9441194"/>
              <a:gd name="connsiteY0" fmla="*/ 88672 h 2089260"/>
              <a:gd name="connsiteX1" fmla="*/ 1509906 w 9441194"/>
              <a:gd name="connsiteY1" fmla="*/ 171325 h 2089260"/>
              <a:gd name="connsiteX2" fmla="*/ 2794990 w 9441194"/>
              <a:gd name="connsiteY2" fmla="*/ 367084 h 2089260"/>
              <a:gd name="connsiteX3" fmla="*/ 4058974 w 9441194"/>
              <a:gd name="connsiteY3" fmla="*/ 208241 h 2089260"/>
              <a:gd name="connsiteX4" fmla="*/ 5432293 w 9441194"/>
              <a:gd name="connsiteY4" fmla="*/ 370107 h 2089260"/>
              <a:gd name="connsiteX5" fmla="*/ 6697994 w 9441194"/>
              <a:gd name="connsiteY5" fmla="*/ 1513515 h 2089260"/>
              <a:gd name="connsiteX6" fmla="*/ 8044194 w 9441194"/>
              <a:gd name="connsiteY6" fmla="*/ 1234115 h 2089260"/>
              <a:gd name="connsiteX7" fmla="*/ 9441194 w 9441194"/>
              <a:gd name="connsiteY7" fmla="*/ 2089248 h 2089260"/>
              <a:gd name="connsiteX0" fmla="*/ 0 w 9441194"/>
              <a:gd name="connsiteY0" fmla="*/ 88672 h 2089260"/>
              <a:gd name="connsiteX1" fmla="*/ 1509906 w 9441194"/>
              <a:gd name="connsiteY1" fmla="*/ 171325 h 2089260"/>
              <a:gd name="connsiteX2" fmla="*/ 2794990 w 9441194"/>
              <a:gd name="connsiteY2" fmla="*/ 367084 h 2089260"/>
              <a:gd name="connsiteX3" fmla="*/ 4058974 w 9441194"/>
              <a:gd name="connsiteY3" fmla="*/ 208241 h 2089260"/>
              <a:gd name="connsiteX4" fmla="*/ 5432293 w 9441194"/>
              <a:gd name="connsiteY4" fmla="*/ 370107 h 2089260"/>
              <a:gd name="connsiteX5" fmla="*/ 6735299 w 9441194"/>
              <a:gd name="connsiteY5" fmla="*/ 206216 h 2089260"/>
              <a:gd name="connsiteX6" fmla="*/ 8044194 w 9441194"/>
              <a:gd name="connsiteY6" fmla="*/ 1234115 h 2089260"/>
              <a:gd name="connsiteX7" fmla="*/ 9441194 w 9441194"/>
              <a:gd name="connsiteY7" fmla="*/ 2089248 h 2089260"/>
              <a:gd name="connsiteX0" fmla="*/ 0 w 9441194"/>
              <a:gd name="connsiteY0" fmla="*/ 88672 h 2089260"/>
              <a:gd name="connsiteX1" fmla="*/ 1509906 w 9441194"/>
              <a:gd name="connsiteY1" fmla="*/ 171325 h 2089260"/>
              <a:gd name="connsiteX2" fmla="*/ 2794990 w 9441194"/>
              <a:gd name="connsiteY2" fmla="*/ 367084 h 2089260"/>
              <a:gd name="connsiteX3" fmla="*/ 4058974 w 9441194"/>
              <a:gd name="connsiteY3" fmla="*/ 208241 h 2089260"/>
              <a:gd name="connsiteX4" fmla="*/ 5432293 w 9441194"/>
              <a:gd name="connsiteY4" fmla="*/ 370107 h 2089260"/>
              <a:gd name="connsiteX5" fmla="*/ 6735299 w 9441194"/>
              <a:gd name="connsiteY5" fmla="*/ 206216 h 2089260"/>
              <a:gd name="connsiteX6" fmla="*/ 8044194 w 9441194"/>
              <a:gd name="connsiteY6" fmla="*/ 711175 h 2089260"/>
              <a:gd name="connsiteX7" fmla="*/ 9441194 w 9441194"/>
              <a:gd name="connsiteY7" fmla="*/ 2089248 h 2089260"/>
              <a:gd name="connsiteX0" fmla="*/ 0 w 9450521"/>
              <a:gd name="connsiteY0" fmla="*/ 88672 h 724489"/>
              <a:gd name="connsiteX1" fmla="*/ 1509906 w 9450521"/>
              <a:gd name="connsiteY1" fmla="*/ 171325 h 724489"/>
              <a:gd name="connsiteX2" fmla="*/ 2794990 w 9450521"/>
              <a:gd name="connsiteY2" fmla="*/ 367084 h 724489"/>
              <a:gd name="connsiteX3" fmla="*/ 4058974 w 9450521"/>
              <a:gd name="connsiteY3" fmla="*/ 208241 h 724489"/>
              <a:gd name="connsiteX4" fmla="*/ 5432293 w 9450521"/>
              <a:gd name="connsiteY4" fmla="*/ 370107 h 724489"/>
              <a:gd name="connsiteX5" fmla="*/ 6735299 w 9450521"/>
              <a:gd name="connsiteY5" fmla="*/ 206216 h 724489"/>
              <a:gd name="connsiteX6" fmla="*/ 8044194 w 9450521"/>
              <a:gd name="connsiteY6" fmla="*/ 711175 h 724489"/>
              <a:gd name="connsiteX7" fmla="*/ 9450521 w 9450521"/>
              <a:gd name="connsiteY7" fmla="*/ 520491 h 724489"/>
              <a:gd name="connsiteX0" fmla="*/ 0 w 9290322"/>
              <a:gd name="connsiteY0" fmla="*/ 62557425 h 62557424"/>
              <a:gd name="connsiteX1" fmla="*/ 1349707 w 9290322"/>
              <a:gd name="connsiteY1" fmla="*/ 4255351 h 62557424"/>
              <a:gd name="connsiteX2" fmla="*/ 2634791 w 9290322"/>
              <a:gd name="connsiteY2" fmla="*/ 4451110 h 62557424"/>
              <a:gd name="connsiteX3" fmla="*/ 3898775 w 9290322"/>
              <a:gd name="connsiteY3" fmla="*/ 4292267 h 62557424"/>
              <a:gd name="connsiteX4" fmla="*/ 5272094 w 9290322"/>
              <a:gd name="connsiteY4" fmla="*/ 4454133 h 62557424"/>
              <a:gd name="connsiteX5" fmla="*/ 6575100 w 9290322"/>
              <a:gd name="connsiteY5" fmla="*/ 4290242 h 62557424"/>
              <a:gd name="connsiteX6" fmla="*/ 7883995 w 9290322"/>
              <a:gd name="connsiteY6" fmla="*/ 4795201 h 62557424"/>
              <a:gd name="connsiteX7" fmla="*/ 9290322 w 9290322"/>
              <a:gd name="connsiteY7" fmla="*/ 4604517 h 62557424"/>
              <a:gd name="connsiteX0" fmla="*/ 0 w 9290322"/>
              <a:gd name="connsiteY0" fmla="*/ 61726513 h 61726512"/>
              <a:gd name="connsiteX1" fmla="*/ 1528754 w 9290322"/>
              <a:gd name="connsiteY1" fmla="*/ 51770162 h 61726512"/>
              <a:gd name="connsiteX2" fmla="*/ 2634791 w 9290322"/>
              <a:gd name="connsiteY2" fmla="*/ 3620198 h 61726512"/>
              <a:gd name="connsiteX3" fmla="*/ 3898775 w 9290322"/>
              <a:gd name="connsiteY3" fmla="*/ 3461355 h 61726512"/>
              <a:gd name="connsiteX4" fmla="*/ 5272094 w 9290322"/>
              <a:gd name="connsiteY4" fmla="*/ 3623221 h 61726512"/>
              <a:gd name="connsiteX5" fmla="*/ 6575100 w 9290322"/>
              <a:gd name="connsiteY5" fmla="*/ 3459330 h 61726512"/>
              <a:gd name="connsiteX6" fmla="*/ 7883995 w 9290322"/>
              <a:gd name="connsiteY6" fmla="*/ 3964289 h 61726512"/>
              <a:gd name="connsiteX7" fmla="*/ 9290322 w 9290322"/>
              <a:gd name="connsiteY7" fmla="*/ 3773605 h 61726512"/>
              <a:gd name="connsiteX0" fmla="*/ 0 w 9290322"/>
              <a:gd name="connsiteY0" fmla="*/ 60395856 h 60395855"/>
              <a:gd name="connsiteX1" fmla="*/ 1528754 w 9290322"/>
              <a:gd name="connsiteY1" fmla="*/ 50439505 h 60395855"/>
              <a:gd name="connsiteX2" fmla="*/ 2776143 w 9290322"/>
              <a:gd name="connsiteY2" fmla="*/ 31613997 h 60395855"/>
              <a:gd name="connsiteX3" fmla="*/ 3898775 w 9290322"/>
              <a:gd name="connsiteY3" fmla="*/ 2130698 h 60395855"/>
              <a:gd name="connsiteX4" fmla="*/ 5272094 w 9290322"/>
              <a:gd name="connsiteY4" fmla="*/ 2292564 h 60395855"/>
              <a:gd name="connsiteX5" fmla="*/ 6575100 w 9290322"/>
              <a:gd name="connsiteY5" fmla="*/ 2128673 h 60395855"/>
              <a:gd name="connsiteX6" fmla="*/ 7883995 w 9290322"/>
              <a:gd name="connsiteY6" fmla="*/ 2633632 h 60395855"/>
              <a:gd name="connsiteX7" fmla="*/ 9290322 w 9290322"/>
              <a:gd name="connsiteY7" fmla="*/ 2442948 h 60395855"/>
              <a:gd name="connsiteX0" fmla="*/ 0 w 9290322"/>
              <a:gd name="connsiteY0" fmla="*/ 59393786 h 59393785"/>
              <a:gd name="connsiteX1" fmla="*/ 1528754 w 9290322"/>
              <a:gd name="connsiteY1" fmla="*/ 49437435 h 59393785"/>
              <a:gd name="connsiteX2" fmla="*/ 2776143 w 9290322"/>
              <a:gd name="connsiteY2" fmla="*/ 30611927 h 59393785"/>
              <a:gd name="connsiteX3" fmla="*/ 4021280 w 9290322"/>
              <a:gd name="connsiteY3" fmla="*/ 17772238 h 59393785"/>
              <a:gd name="connsiteX4" fmla="*/ 5272094 w 9290322"/>
              <a:gd name="connsiteY4" fmla="*/ 1290494 h 59393785"/>
              <a:gd name="connsiteX5" fmla="*/ 6575100 w 9290322"/>
              <a:gd name="connsiteY5" fmla="*/ 1126603 h 59393785"/>
              <a:gd name="connsiteX6" fmla="*/ 7883995 w 9290322"/>
              <a:gd name="connsiteY6" fmla="*/ 1631562 h 59393785"/>
              <a:gd name="connsiteX7" fmla="*/ 9290322 w 9290322"/>
              <a:gd name="connsiteY7" fmla="*/ 1440878 h 59393785"/>
              <a:gd name="connsiteX0" fmla="*/ 0 w 9290322"/>
              <a:gd name="connsiteY0" fmla="*/ 59393786 h 59393785"/>
              <a:gd name="connsiteX1" fmla="*/ 1528754 w 9290322"/>
              <a:gd name="connsiteY1" fmla="*/ 49437435 h 59393785"/>
              <a:gd name="connsiteX2" fmla="*/ 2776143 w 9290322"/>
              <a:gd name="connsiteY2" fmla="*/ 30611927 h 59393785"/>
              <a:gd name="connsiteX3" fmla="*/ 4021280 w 9290322"/>
              <a:gd name="connsiteY3" fmla="*/ 17772238 h 59393785"/>
              <a:gd name="connsiteX4" fmla="*/ 5272094 w 9290322"/>
              <a:gd name="connsiteY4" fmla="*/ 1290494 h 59393785"/>
              <a:gd name="connsiteX5" fmla="*/ 6575100 w 9290322"/>
              <a:gd name="connsiteY5" fmla="*/ 1126603 h 59393785"/>
              <a:gd name="connsiteX6" fmla="*/ 7883995 w 9290322"/>
              <a:gd name="connsiteY6" fmla="*/ 1631562 h 59393785"/>
              <a:gd name="connsiteX7" fmla="*/ 9290322 w 9290322"/>
              <a:gd name="connsiteY7" fmla="*/ 1440878 h 59393785"/>
              <a:gd name="connsiteX0" fmla="*/ 0 w 9290322"/>
              <a:gd name="connsiteY0" fmla="*/ 61208600 h 61208599"/>
              <a:gd name="connsiteX1" fmla="*/ 1528754 w 9290322"/>
              <a:gd name="connsiteY1" fmla="*/ 51252249 h 61208599"/>
              <a:gd name="connsiteX2" fmla="*/ 2776143 w 9290322"/>
              <a:gd name="connsiteY2" fmla="*/ 32426741 h 61208599"/>
              <a:gd name="connsiteX3" fmla="*/ 4021280 w 9290322"/>
              <a:gd name="connsiteY3" fmla="*/ 19587052 h 61208599"/>
              <a:gd name="connsiteX4" fmla="*/ 5319211 w 9290322"/>
              <a:gd name="connsiteY4" fmla="*/ 44582241 h 61208599"/>
              <a:gd name="connsiteX5" fmla="*/ 6575100 w 9290322"/>
              <a:gd name="connsiteY5" fmla="*/ 2941417 h 61208599"/>
              <a:gd name="connsiteX6" fmla="*/ 7883995 w 9290322"/>
              <a:gd name="connsiteY6" fmla="*/ 3446376 h 61208599"/>
              <a:gd name="connsiteX7" fmla="*/ 9290322 w 9290322"/>
              <a:gd name="connsiteY7" fmla="*/ 3255692 h 61208599"/>
              <a:gd name="connsiteX0" fmla="*/ 0 w 9290322"/>
              <a:gd name="connsiteY0" fmla="*/ 60798220 h 60798219"/>
              <a:gd name="connsiteX1" fmla="*/ 1528754 w 9290322"/>
              <a:gd name="connsiteY1" fmla="*/ 50841869 h 60798219"/>
              <a:gd name="connsiteX2" fmla="*/ 2776143 w 9290322"/>
              <a:gd name="connsiteY2" fmla="*/ 32016361 h 60798219"/>
              <a:gd name="connsiteX3" fmla="*/ 4021280 w 9290322"/>
              <a:gd name="connsiteY3" fmla="*/ 19176672 h 60798219"/>
              <a:gd name="connsiteX4" fmla="*/ 5290941 w 9290322"/>
              <a:gd name="connsiteY4" fmla="*/ 38623991 h 60798219"/>
              <a:gd name="connsiteX5" fmla="*/ 6575100 w 9290322"/>
              <a:gd name="connsiteY5" fmla="*/ 2531037 h 60798219"/>
              <a:gd name="connsiteX6" fmla="*/ 7883995 w 9290322"/>
              <a:gd name="connsiteY6" fmla="*/ 3035996 h 60798219"/>
              <a:gd name="connsiteX7" fmla="*/ 9290322 w 9290322"/>
              <a:gd name="connsiteY7" fmla="*/ 2845312 h 60798219"/>
              <a:gd name="connsiteX0" fmla="*/ 0 w 9290322"/>
              <a:gd name="connsiteY0" fmla="*/ 57992430 h 57992429"/>
              <a:gd name="connsiteX1" fmla="*/ 1528754 w 9290322"/>
              <a:gd name="connsiteY1" fmla="*/ 48036079 h 57992429"/>
              <a:gd name="connsiteX2" fmla="*/ 2776143 w 9290322"/>
              <a:gd name="connsiteY2" fmla="*/ 29210571 h 57992429"/>
              <a:gd name="connsiteX3" fmla="*/ 4021280 w 9290322"/>
              <a:gd name="connsiteY3" fmla="*/ 16370882 h 57992429"/>
              <a:gd name="connsiteX4" fmla="*/ 5290941 w 9290322"/>
              <a:gd name="connsiteY4" fmla="*/ 35818201 h 57992429"/>
              <a:gd name="connsiteX5" fmla="*/ 6763570 w 9290322"/>
              <a:gd name="connsiteY5" fmla="*/ 39352890 h 57992429"/>
              <a:gd name="connsiteX6" fmla="*/ 7883995 w 9290322"/>
              <a:gd name="connsiteY6" fmla="*/ 230206 h 57992429"/>
              <a:gd name="connsiteX7" fmla="*/ 9290322 w 9290322"/>
              <a:gd name="connsiteY7" fmla="*/ 39522 h 57992429"/>
              <a:gd name="connsiteX0" fmla="*/ 0 w 9290322"/>
              <a:gd name="connsiteY0" fmla="*/ 57992430 h 57992429"/>
              <a:gd name="connsiteX1" fmla="*/ 1528754 w 9290322"/>
              <a:gd name="connsiteY1" fmla="*/ 48036079 h 57992429"/>
              <a:gd name="connsiteX2" fmla="*/ 2776143 w 9290322"/>
              <a:gd name="connsiteY2" fmla="*/ 29210571 h 57992429"/>
              <a:gd name="connsiteX3" fmla="*/ 4021280 w 9290322"/>
              <a:gd name="connsiteY3" fmla="*/ 16370882 h 57992429"/>
              <a:gd name="connsiteX4" fmla="*/ 5290941 w 9290322"/>
              <a:gd name="connsiteY4" fmla="*/ 35818201 h 57992429"/>
              <a:gd name="connsiteX5" fmla="*/ 6763570 w 9290322"/>
              <a:gd name="connsiteY5" fmla="*/ 39352890 h 57992429"/>
              <a:gd name="connsiteX6" fmla="*/ 7883995 w 9290322"/>
              <a:gd name="connsiteY6" fmla="*/ 230206 h 57992429"/>
              <a:gd name="connsiteX7" fmla="*/ 9290322 w 9290322"/>
              <a:gd name="connsiteY7" fmla="*/ 39522 h 57992429"/>
              <a:gd name="connsiteX0" fmla="*/ 0 w 9290322"/>
              <a:gd name="connsiteY0" fmla="*/ 57954265 h 57954264"/>
              <a:gd name="connsiteX1" fmla="*/ 1528754 w 9290322"/>
              <a:gd name="connsiteY1" fmla="*/ 47997914 h 57954264"/>
              <a:gd name="connsiteX2" fmla="*/ 2776143 w 9290322"/>
              <a:gd name="connsiteY2" fmla="*/ 29172406 h 57954264"/>
              <a:gd name="connsiteX3" fmla="*/ 4021280 w 9290322"/>
              <a:gd name="connsiteY3" fmla="*/ 16332717 h 57954264"/>
              <a:gd name="connsiteX4" fmla="*/ 5290941 w 9290322"/>
              <a:gd name="connsiteY4" fmla="*/ 35780036 h 57954264"/>
              <a:gd name="connsiteX5" fmla="*/ 6763570 w 9290322"/>
              <a:gd name="connsiteY5" fmla="*/ 39314725 h 57954264"/>
              <a:gd name="connsiteX6" fmla="*/ 7997077 w 9290322"/>
              <a:gd name="connsiteY6" fmla="*/ 16307284 h 57954264"/>
              <a:gd name="connsiteX7" fmla="*/ 9290322 w 9290322"/>
              <a:gd name="connsiteY7" fmla="*/ 1357 h 57954264"/>
              <a:gd name="connsiteX0" fmla="*/ 0 w 9290322"/>
              <a:gd name="connsiteY0" fmla="*/ 57954265 h 57954264"/>
              <a:gd name="connsiteX1" fmla="*/ 1528754 w 9290322"/>
              <a:gd name="connsiteY1" fmla="*/ 47997914 h 57954264"/>
              <a:gd name="connsiteX2" fmla="*/ 2776143 w 9290322"/>
              <a:gd name="connsiteY2" fmla="*/ 29172406 h 57954264"/>
              <a:gd name="connsiteX3" fmla="*/ 4021280 w 9290322"/>
              <a:gd name="connsiteY3" fmla="*/ 16332717 h 57954264"/>
              <a:gd name="connsiteX4" fmla="*/ 5290941 w 9290322"/>
              <a:gd name="connsiteY4" fmla="*/ 35780036 h 57954264"/>
              <a:gd name="connsiteX5" fmla="*/ 6763570 w 9290322"/>
              <a:gd name="connsiteY5" fmla="*/ 39314725 h 57954264"/>
              <a:gd name="connsiteX6" fmla="*/ 7997077 w 9290322"/>
              <a:gd name="connsiteY6" fmla="*/ 16307284 h 57954264"/>
              <a:gd name="connsiteX7" fmla="*/ 9290322 w 9290322"/>
              <a:gd name="connsiteY7" fmla="*/ 1357 h 57954264"/>
              <a:gd name="connsiteX0" fmla="*/ 0 w 9290322"/>
              <a:gd name="connsiteY0" fmla="*/ 57954986 h 57954985"/>
              <a:gd name="connsiteX1" fmla="*/ 1528754 w 9290322"/>
              <a:gd name="connsiteY1" fmla="*/ 47998635 h 57954985"/>
              <a:gd name="connsiteX2" fmla="*/ 2776143 w 9290322"/>
              <a:gd name="connsiteY2" fmla="*/ 29173127 h 57954985"/>
              <a:gd name="connsiteX3" fmla="*/ 4021280 w 9290322"/>
              <a:gd name="connsiteY3" fmla="*/ 16333438 h 57954985"/>
              <a:gd name="connsiteX4" fmla="*/ 5290941 w 9290322"/>
              <a:gd name="connsiteY4" fmla="*/ 35780757 h 57954985"/>
              <a:gd name="connsiteX5" fmla="*/ 6763570 w 9290322"/>
              <a:gd name="connsiteY5" fmla="*/ 39315446 h 57954985"/>
              <a:gd name="connsiteX6" fmla="*/ 7978230 w 9290322"/>
              <a:gd name="connsiteY6" fmla="*/ 10495951 h 57954985"/>
              <a:gd name="connsiteX7" fmla="*/ 9290322 w 9290322"/>
              <a:gd name="connsiteY7" fmla="*/ 2078 h 57954985"/>
              <a:gd name="connsiteX0" fmla="*/ 0 w 9252628"/>
              <a:gd name="connsiteY0" fmla="*/ 47462890 h 47462889"/>
              <a:gd name="connsiteX1" fmla="*/ 1528754 w 9252628"/>
              <a:gd name="connsiteY1" fmla="*/ 37506539 h 47462889"/>
              <a:gd name="connsiteX2" fmla="*/ 2776143 w 9252628"/>
              <a:gd name="connsiteY2" fmla="*/ 18681031 h 47462889"/>
              <a:gd name="connsiteX3" fmla="*/ 4021280 w 9252628"/>
              <a:gd name="connsiteY3" fmla="*/ 5841342 h 47462889"/>
              <a:gd name="connsiteX4" fmla="*/ 5290941 w 9252628"/>
              <a:gd name="connsiteY4" fmla="*/ 25288661 h 47462889"/>
              <a:gd name="connsiteX5" fmla="*/ 6763570 w 9252628"/>
              <a:gd name="connsiteY5" fmla="*/ 28823350 h 47462889"/>
              <a:gd name="connsiteX6" fmla="*/ 7978230 w 9252628"/>
              <a:gd name="connsiteY6" fmla="*/ 3855 h 47462889"/>
              <a:gd name="connsiteX7" fmla="*/ 9252628 w 9252628"/>
              <a:gd name="connsiteY7" fmla="*/ 30458547 h 47462889"/>
              <a:gd name="connsiteX0" fmla="*/ 0 w 9290322"/>
              <a:gd name="connsiteY0" fmla="*/ 47462890 h 47462889"/>
              <a:gd name="connsiteX1" fmla="*/ 1528754 w 9290322"/>
              <a:gd name="connsiteY1" fmla="*/ 37506539 h 47462889"/>
              <a:gd name="connsiteX2" fmla="*/ 2776143 w 9290322"/>
              <a:gd name="connsiteY2" fmla="*/ 18681031 h 47462889"/>
              <a:gd name="connsiteX3" fmla="*/ 4021280 w 9290322"/>
              <a:gd name="connsiteY3" fmla="*/ 5841342 h 47462889"/>
              <a:gd name="connsiteX4" fmla="*/ 5290941 w 9290322"/>
              <a:gd name="connsiteY4" fmla="*/ 25288661 h 47462889"/>
              <a:gd name="connsiteX5" fmla="*/ 6763570 w 9290322"/>
              <a:gd name="connsiteY5" fmla="*/ 28823350 h 47462889"/>
              <a:gd name="connsiteX6" fmla="*/ 7978230 w 9290322"/>
              <a:gd name="connsiteY6" fmla="*/ 3855 h 47462889"/>
              <a:gd name="connsiteX7" fmla="*/ 9290322 w 9290322"/>
              <a:gd name="connsiteY7" fmla="*/ 32572021 h 47462889"/>
              <a:gd name="connsiteX0" fmla="*/ 0 w 9279014"/>
              <a:gd name="connsiteY0" fmla="*/ 5933121 h 37703242"/>
              <a:gd name="connsiteX1" fmla="*/ 1517446 w 9279014"/>
              <a:gd name="connsiteY1" fmla="*/ 37506539 h 37703242"/>
              <a:gd name="connsiteX2" fmla="*/ 2764835 w 9279014"/>
              <a:gd name="connsiteY2" fmla="*/ 18681031 h 37703242"/>
              <a:gd name="connsiteX3" fmla="*/ 4009972 w 9279014"/>
              <a:gd name="connsiteY3" fmla="*/ 5841342 h 37703242"/>
              <a:gd name="connsiteX4" fmla="*/ 5279633 w 9279014"/>
              <a:gd name="connsiteY4" fmla="*/ 25288661 h 37703242"/>
              <a:gd name="connsiteX5" fmla="*/ 6752262 w 9279014"/>
              <a:gd name="connsiteY5" fmla="*/ 28823350 h 37703242"/>
              <a:gd name="connsiteX6" fmla="*/ 7966922 w 9279014"/>
              <a:gd name="connsiteY6" fmla="*/ 3855 h 37703242"/>
              <a:gd name="connsiteX7" fmla="*/ 9279014 w 9279014"/>
              <a:gd name="connsiteY7" fmla="*/ 32572021 h 37703242"/>
              <a:gd name="connsiteX0" fmla="*/ 0 w 9279014"/>
              <a:gd name="connsiteY0" fmla="*/ 5933121 h 32572021"/>
              <a:gd name="connsiteX1" fmla="*/ 1449596 w 9279014"/>
              <a:gd name="connsiteY1" fmla="*/ 7706553 h 32572021"/>
              <a:gd name="connsiteX2" fmla="*/ 2764835 w 9279014"/>
              <a:gd name="connsiteY2" fmla="*/ 18681031 h 32572021"/>
              <a:gd name="connsiteX3" fmla="*/ 4009972 w 9279014"/>
              <a:gd name="connsiteY3" fmla="*/ 5841342 h 32572021"/>
              <a:gd name="connsiteX4" fmla="*/ 5279633 w 9279014"/>
              <a:gd name="connsiteY4" fmla="*/ 25288661 h 32572021"/>
              <a:gd name="connsiteX5" fmla="*/ 6752262 w 9279014"/>
              <a:gd name="connsiteY5" fmla="*/ 28823350 h 32572021"/>
              <a:gd name="connsiteX6" fmla="*/ 7966922 w 9279014"/>
              <a:gd name="connsiteY6" fmla="*/ 3855 h 32572021"/>
              <a:gd name="connsiteX7" fmla="*/ 9279014 w 9279014"/>
              <a:gd name="connsiteY7" fmla="*/ 32572021 h 32572021"/>
              <a:gd name="connsiteX0" fmla="*/ 0 w 9279014"/>
              <a:gd name="connsiteY0" fmla="*/ 5933121 h 32572021"/>
              <a:gd name="connsiteX1" fmla="*/ 1449596 w 9279014"/>
              <a:gd name="connsiteY1" fmla="*/ 7706553 h 32572021"/>
              <a:gd name="connsiteX2" fmla="*/ 2719602 w 9279014"/>
              <a:gd name="connsiteY2" fmla="*/ 2829975 h 32572021"/>
              <a:gd name="connsiteX3" fmla="*/ 4009972 w 9279014"/>
              <a:gd name="connsiteY3" fmla="*/ 5841342 h 32572021"/>
              <a:gd name="connsiteX4" fmla="*/ 5279633 w 9279014"/>
              <a:gd name="connsiteY4" fmla="*/ 25288661 h 32572021"/>
              <a:gd name="connsiteX5" fmla="*/ 6752262 w 9279014"/>
              <a:gd name="connsiteY5" fmla="*/ 28823350 h 32572021"/>
              <a:gd name="connsiteX6" fmla="*/ 7966922 w 9279014"/>
              <a:gd name="connsiteY6" fmla="*/ 3855 h 32572021"/>
              <a:gd name="connsiteX7" fmla="*/ 9279014 w 9279014"/>
              <a:gd name="connsiteY7" fmla="*/ 32572021 h 32572021"/>
              <a:gd name="connsiteX0" fmla="*/ 0 w 9279014"/>
              <a:gd name="connsiteY0" fmla="*/ 5932649 h 32571549"/>
              <a:gd name="connsiteX1" fmla="*/ 1449596 w 9279014"/>
              <a:gd name="connsiteY1" fmla="*/ 7706081 h 32571549"/>
              <a:gd name="connsiteX2" fmla="*/ 2719602 w 9279014"/>
              <a:gd name="connsiteY2" fmla="*/ 2829503 h 32571549"/>
              <a:gd name="connsiteX3" fmla="*/ 4009972 w 9279014"/>
              <a:gd name="connsiteY3" fmla="*/ 5840870 h 32571549"/>
              <a:gd name="connsiteX4" fmla="*/ 5392715 w 9279014"/>
              <a:gd name="connsiteY4" fmla="*/ 4047774 h 32571549"/>
              <a:gd name="connsiteX5" fmla="*/ 6752262 w 9279014"/>
              <a:gd name="connsiteY5" fmla="*/ 28822878 h 32571549"/>
              <a:gd name="connsiteX6" fmla="*/ 7966922 w 9279014"/>
              <a:gd name="connsiteY6" fmla="*/ 3383 h 32571549"/>
              <a:gd name="connsiteX7" fmla="*/ 9279014 w 9279014"/>
              <a:gd name="connsiteY7" fmla="*/ 32571549 h 32571549"/>
              <a:gd name="connsiteX0" fmla="*/ 0 w 9279014"/>
              <a:gd name="connsiteY0" fmla="*/ 5944853 h 32583753"/>
              <a:gd name="connsiteX1" fmla="*/ 1449596 w 9279014"/>
              <a:gd name="connsiteY1" fmla="*/ 7718285 h 32583753"/>
              <a:gd name="connsiteX2" fmla="*/ 2719602 w 9279014"/>
              <a:gd name="connsiteY2" fmla="*/ 2841707 h 32583753"/>
              <a:gd name="connsiteX3" fmla="*/ 4009972 w 9279014"/>
              <a:gd name="connsiteY3" fmla="*/ 5853074 h 32583753"/>
              <a:gd name="connsiteX4" fmla="*/ 5392715 w 9279014"/>
              <a:gd name="connsiteY4" fmla="*/ 4059978 h 32583753"/>
              <a:gd name="connsiteX5" fmla="*/ 6695721 w 9279014"/>
              <a:gd name="connsiteY5" fmla="*/ 6326582 h 32583753"/>
              <a:gd name="connsiteX6" fmla="*/ 7966922 w 9279014"/>
              <a:gd name="connsiteY6" fmla="*/ 15587 h 32583753"/>
              <a:gd name="connsiteX7" fmla="*/ 9279014 w 9279014"/>
              <a:gd name="connsiteY7" fmla="*/ 32583753 h 32583753"/>
              <a:gd name="connsiteX0" fmla="*/ 0 w 9561719"/>
              <a:gd name="connsiteY0" fmla="*/ 5944853 h 7856105"/>
              <a:gd name="connsiteX1" fmla="*/ 1449596 w 9561719"/>
              <a:gd name="connsiteY1" fmla="*/ 7718285 h 7856105"/>
              <a:gd name="connsiteX2" fmla="*/ 2719602 w 9561719"/>
              <a:gd name="connsiteY2" fmla="*/ 2841707 h 7856105"/>
              <a:gd name="connsiteX3" fmla="*/ 4009972 w 9561719"/>
              <a:gd name="connsiteY3" fmla="*/ 5853074 h 7856105"/>
              <a:gd name="connsiteX4" fmla="*/ 5392715 w 9561719"/>
              <a:gd name="connsiteY4" fmla="*/ 4059978 h 7856105"/>
              <a:gd name="connsiteX5" fmla="*/ 6695721 w 9561719"/>
              <a:gd name="connsiteY5" fmla="*/ 6326582 h 7856105"/>
              <a:gd name="connsiteX6" fmla="*/ 7966922 w 9561719"/>
              <a:gd name="connsiteY6" fmla="*/ 15587 h 7856105"/>
              <a:gd name="connsiteX7" fmla="*/ 9561719 w 9561719"/>
              <a:gd name="connsiteY7" fmla="*/ 7856105 h 7856105"/>
              <a:gd name="connsiteX0" fmla="*/ 0 w 9561719"/>
              <a:gd name="connsiteY0" fmla="*/ 41544300 h 41544300"/>
              <a:gd name="connsiteX1" fmla="*/ 1449596 w 9561719"/>
              <a:gd name="connsiteY1" fmla="*/ 7718285 h 41544300"/>
              <a:gd name="connsiteX2" fmla="*/ 2719602 w 9561719"/>
              <a:gd name="connsiteY2" fmla="*/ 2841707 h 41544300"/>
              <a:gd name="connsiteX3" fmla="*/ 4009972 w 9561719"/>
              <a:gd name="connsiteY3" fmla="*/ 5853074 h 41544300"/>
              <a:gd name="connsiteX4" fmla="*/ 5392715 w 9561719"/>
              <a:gd name="connsiteY4" fmla="*/ 4059978 h 41544300"/>
              <a:gd name="connsiteX5" fmla="*/ 6695721 w 9561719"/>
              <a:gd name="connsiteY5" fmla="*/ 6326582 h 41544300"/>
              <a:gd name="connsiteX6" fmla="*/ 7966922 w 9561719"/>
              <a:gd name="connsiteY6" fmla="*/ 15587 h 41544300"/>
              <a:gd name="connsiteX7" fmla="*/ 9561719 w 9561719"/>
              <a:gd name="connsiteY7" fmla="*/ 7856105 h 41544300"/>
              <a:gd name="connsiteX0" fmla="*/ 0 w 9545120"/>
              <a:gd name="connsiteY0" fmla="*/ 54574145 h 54574145"/>
              <a:gd name="connsiteX1" fmla="*/ 1432997 w 9545120"/>
              <a:gd name="connsiteY1" fmla="*/ 7718285 h 54574145"/>
              <a:gd name="connsiteX2" fmla="*/ 2703003 w 9545120"/>
              <a:gd name="connsiteY2" fmla="*/ 2841707 h 54574145"/>
              <a:gd name="connsiteX3" fmla="*/ 3993373 w 9545120"/>
              <a:gd name="connsiteY3" fmla="*/ 5853074 h 54574145"/>
              <a:gd name="connsiteX4" fmla="*/ 5376116 w 9545120"/>
              <a:gd name="connsiteY4" fmla="*/ 4059978 h 54574145"/>
              <a:gd name="connsiteX5" fmla="*/ 6679122 w 9545120"/>
              <a:gd name="connsiteY5" fmla="*/ 6326582 h 54574145"/>
              <a:gd name="connsiteX6" fmla="*/ 7950323 w 9545120"/>
              <a:gd name="connsiteY6" fmla="*/ 15587 h 54574145"/>
              <a:gd name="connsiteX7" fmla="*/ 9545120 w 9545120"/>
              <a:gd name="connsiteY7" fmla="*/ 7856105 h 54574145"/>
              <a:gd name="connsiteX0" fmla="*/ 0 w 9545120"/>
              <a:gd name="connsiteY0" fmla="*/ 55143202 h 63602646"/>
              <a:gd name="connsiteX1" fmla="*/ 1457896 w 9545120"/>
              <a:gd name="connsiteY1" fmla="*/ 60872131 h 63602646"/>
              <a:gd name="connsiteX2" fmla="*/ 2703003 w 9545120"/>
              <a:gd name="connsiteY2" fmla="*/ 3410764 h 63602646"/>
              <a:gd name="connsiteX3" fmla="*/ 3993373 w 9545120"/>
              <a:gd name="connsiteY3" fmla="*/ 6422131 h 63602646"/>
              <a:gd name="connsiteX4" fmla="*/ 5376116 w 9545120"/>
              <a:gd name="connsiteY4" fmla="*/ 4629035 h 63602646"/>
              <a:gd name="connsiteX5" fmla="*/ 6679122 w 9545120"/>
              <a:gd name="connsiteY5" fmla="*/ 6895639 h 63602646"/>
              <a:gd name="connsiteX6" fmla="*/ 7950323 w 9545120"/>
              <a:gd name="connsiteY6" fmla="*/ 584644 h 63602646"/>
              <a:gd name="connsiteX7" fmla="*/ 9545120 w 9545120"/>
              <a:gd name="connsiteY7" fmla="*/ 8425162 h 63602646"/>
              <a:gd name="connsiteX0" fmla="*/ 0 w 9545120"/>
              <a:gd name="connsiteY0" fmla="*/ 54574145 h 69319316"/>
              <a:gd name="connsiteX1" fmla="*/ 1457896 w 9545120"/>
              <a:gd name="connsiteY1" fmla="*/ 60303074 h 69319316"/>
              <a:gd name="connsiteX2" fmla="*/ 2802599 w 9545120"/>
              <a:gd name="connsiteY2" fmla="*/ 66129607 h 69319316"/>
              <a:gd name="connsiteX3" fmla="*/ 3993373 w 9545120"/>
              <a:gd name="connsiteY3" fmla="*/ 5853074 h 69319316"/>
              <a:gd name="connsiteX4" fmla="*/ 5376116 w 9545120"/>
              <a:gd name="connsiteY4" fmla="*/ 4059978 h 69319316"/>
              <a:gd name="connsiteX5" fmla="*/ 6679122 w 9545120"/>
              <a:gd name="connsiteY5" fmla="*/ 6326582 h 69319316"/>
              <a:gd name="connsiteX6" fmla="*/ 7950323 w 9545120"/>
              <a:gd name="connsiteY6" fmla="*/ 15587 h 69319316"/>
              <a:gd name="connsiteX7" fmla="*/ 9545120 w 9545120"/>
              <a:gd name="connsiteY7" fmla="*/ 7856105 h 69319316"/>
              <a:gd name="connsiteX0" fmla="*/ 0 w 9545120"/>
              <a:gd name="connsiteY0" fmla="*/ 54574145 h 67140025"/>
              <a:gd name="connsiteX1" fmla="*/ 1457896 w 9545120"/>
              <a:gd name="connsiteY1" fmla="*/ 60303074 h 67140025"/>
              <a:gd name="connsiteX2" fmla="*/ 2802599 w 9545120"/>
              <a:gd name="connsiteY2" fmla="*/ 66129607 h 67140025"/>
              <a:gd name="connsiteX3" fmla="*/ 3993373 w 9545120"/>
              <a:gd name="connsiteY3" fmla="*/ 5853074 h 67140025"/>
              <a:gd name="connsiteX4" fmla="*/ 5376116 w 9545120"/>
              <a:gd name="connsiteY4" fmla="*/ 4059978 h 67140025"/>
              <a:gd name="connsiteX5" fmla="*/ 6679122 w 9545120"/>
              <a:gd name="connsiteY5" fmla="*/ 6326582 h 67140025"/>
              <a:gd name="connsiteX6" fmla="*/ 7950323 w 9545120"/>
              <a:gd name="connsiteY6" fmla="*/ 15587 h 67140025"/>
              <a:gd name="connsiteX7" fmla="*/ 9545120 w 9545120"/>
              <a:gd name="connsiteY7" fmla="*/ 7856105 h 67140025"/>
              <a:gd name="connsiteX0" fmla="*/ 0 w 9545120"/>
              <a:gd name="connsiteY0" fmla="*/ 54574145 h 67589568"/>
              <a:gd name="connsiteX1" fmla="*/ 1457896 w 9545120"/>
              <a:gd name="connsiteY1" fmla="*/ 60303074 h 67589568"/>
              <a:gd name="connsiteX2" fmla="*/ 2802599 w 9545120"/>
              <a:gd name="connsiteY2" fmla="*/ 66129607 h 67589568"/>
              <a:gd name="connsiteX3" fmla="*/ 3993373 w 9545120"/>
              <a:gd name="connsiteY3" fmla="*/ 30982088 h 67589568"/>
              <a:gd name="connsiteX4" fmla="*/ 5376116 w 9545120"/>
              <a:gd name="connsiteY4" fmla="*/ 4059978 h 67589568"/>
              <a:gd name="connsiteX5" fmla="*/ 6679122 w 9545120"/>
              <a:gd name="connsiteY5" fmla="*/ 6326582 h 67589568"/>
              <a:gd name="connsiteX6" fmla="*/ 7950323 w 9545120"/>
              <a:gd name="connsiteY6" fmla="*/ 15587 h 67589568"/>
              <a:gd name="connsiteX7" fmla="*/ 9545120 w 9545120"/>
              <a:gd name="connsiteY7" fmla="*/ 7856105 h 67589568"/>
              <a:gd name="connsiteX0" fmla="*/ 0 w 9545120"/>
              <a:gd name="connsiteY0" fmla="*/ 54574145 h 67169231"/>
              <a:gd name="connsiteX1" fmla="*/ 1457896 w 9545120"/>
              <a:gd name="connsiteY1" fmla="*/ 60303074 h 67169231"/>
              <a:gd name="connsiteX2" fmla="*/ 2802599 w 9545120"/>
              <a:gd name="connsiteY2" fmla="*/ 66129607 h 67169231"/>
              <a:gd name="connsiteX3" fmla="*/ 3976774 w 9545120"/>
              <a:gd name="connsiteY3" fmla="*/ 37497025 h 67169231"/>
              <a:gd name="connsiteX4" fmla="*/ 5376116 w 9545120"/>
              <a:gd name="connsiteY4" fmla="*/ 4059978 h 67169231"/>
              <a:gd name="connsiteX5" fmla="*/ 6679122 w 9545120"/>
              <a:gd name="connsiteY5" fmla="*/ 6326582 h 67169231"/>
              <a:gd name="connsiteX6" fmla="*/ 7950323 w 9545120"/>
              <a:gd name="connsiteY6" fmla="*/ 15587 h 67169231"/>
              <a:gd name="connsiteX7" fmla="*/ 9545120 w 9545120"/>
              <a:gd name="connsiteY7" fmla="*/ 7856105 h 67169231"/>
              <a:gd name="connsiteX0" fmla="*/ 0 w 9545120"/>
              <a:gd name="connsiteY0" fmla="*/ 55907104 h 71510118"/>
              <a:gd name="connsiteX1" fmla="*/ 1457896 w 9545120"/>
              <a:gd name="connsiteY1" fmla="*/ 61636033 h 71510118"/>
              <a:gd name="connsiteX2" fmla="*/ 2802599 w 9545120"/>
              <a:gd name="connsiteY2" fmla="*/ 67462566 h 71510118"/>
              <a:gd name="connsiteX3" fmla="*/ 3976774 w 9545120"/>
              <a:gd name="connsiteY3" fmla="*/ 38829984 h 71510118"/>
              <a:gd name="connsiteX4" fmla="*/ 5334619 w 9545120"/>
              <a:gd name="connsiteY4" fmla="*/ 71007572 h 71510118"/>
              <a:gd name="connsiteX5" fmla="*/ 6679122 w 9545120"/>
              <a:gd name="connsiteY5" fmla="*/ 7659541 h 71510118"/>
              <a:gd name="connsiteX6" fmla="*/ 7950323 w 9545120"/>
              <a:gd name="connsiteY6" fmla="*/ 1348546 h 71510118"/>
              <a:gd name="connsiteX7" fmla="*/ 9545120 w 9545120"/>
              <a:gd name="connsiteY7" fmla="*/ 9189064 h 71510118"/>
              <a:gd name="connsiteX0" fmla="*/ 0 w 9545120"/>
              <a:gd name="connsiteY0" fmla="*/ 55907104 h 71088422"/>
              <a:gd name="connsiteX1" fmla="*/ 1457896 w 9545120"/>
              <a:gd name="connsiteY1" fmla="*/ 61636033 h 71088422"/>
              <a:gd name="connsiteX2" fmla="*/ 2802599 w 9545120"/>
              <a:gd name="connsiteY2" fmla="*/ 67462566 h 71088422"/>
              <a:gd name="connsiteX3" fmla="*/ 3976774 w 9545120"/>
              <a:gd name="connsiteY3" fmla="*/ 38829984 h 71088422"/>
              <a:gd name="connsiteX4" fmla="*/ 5334619 w 9545120"/>
              <a:gd name="connsiteY4" fmla="*/ 71007572 h 71088422"/>
              <a:gd name="connsiteX5" fmla="*/ 6679122 w 9545120"/>
              <a:gd name="connsiteY5" fmla="*/ 7659541 h 71088422"/>
              <a:gd name="connsiteX6" fmla="*/ 7950323 w 9545120"/>
              <a:gd name="connsiteY6" fmla="*/ 1348546 h 71088422"/>
              <a:gd name="connsiteX7" fmla="*/ 9545120 w 9545120"/>
              <a:gd name="connsiteY7" fmla="*/ 9189064 h 71088422"/>
              <a:gd name="connsiteX0" fmla="*/ 0 w 9545120"/>
              <a:gd name="connsiteY0" fmla="*/ 54561165 h 69843802"/>
              <a:gd name="connsiteX1" fmla="*/ 1457896 w 9545120"/>
              <a:gd name="connsiteY1" fmla="*/ 60290094 h 69843802"/>
              <a:gd name="connsiteX2" fmla="*/ 2802599 w 9545120"/>
              <a:gd name="connsiteY2" fmla="*/ 66116627 h 69843802"/>
              <a:gd name="connsiteX3" fmla="*/ 3976774 w 9545120"/>
              <a:gd name="connsiteY3" fmla="*/ 37484045 h 69843802"/>
              <a:gd name="connsiteX4" fmla="*/ 5334619 w 9545120"/>
              <a:gd name="connsiteY4" fmla="*/ 69661633 h 69843802"/>
              <a:gd name="connsiteX5" fmla="*/ 6604426 w 9545120"/>
              <a:gd name="connsiteY5" fmla="*/ 48195281 h 69843802"/>
              <a:gd name="connsiteX6" fmla="*/ 7950323 w 9545120"/>
              <a:gd name="connsiteY6" fmla="*/ 2607 h 69843802"/>
              <a:gd name="connsiteX7" fmla="*/ 9545120 w 9545120"/>
              <a:gd name="connsiteY7" fmla="*/ 7843125 h 69843802"/>
              <a:gd name="connsiteX0" fmla="*/ 0 w 9545120"/>
              <a:gd name="connsiteY0" fmla="*/ 54561165 h 69843830"/>
              <a:gd name="connsiteX1" fmla="*/ 1457896 w 9545120"/>
              <a:gd name="connsiteY1" fmla="*/ 60290094 h 69843830"/>
              <a:gd name="connsiteX2" fmla="*/ 2802599 w 9545120"/>
              <a:gd name="connsiteY2" fmla="*/ 66116627 h 69843830"/>
              <a:gd name="connsiteX3" fmla="*/ 3976774 w 9545120"/>
              <a:gd name="connsiteY3" fmla="*/ 37484045 h 69843830"/>
              <a:gd name="connsiteX4" fmla="*/ 5334619 w 9545120"/>
              <a:gd name="connsiteY4" fmla="*/ 69661633 h 69843830"/>
              <a:gd name="connsiteX5" fmla="*/ 6604426 w 9545120"/>
              <a:gd name="connsiteY5" fmla="*/ 48195281 h 69843830"/>
              <a:gd name="connsiteX6" fmla="*/ 7950323 w 9545120"/>
              <a:gd name="connsiteY6" fmla="*/ 2607 h 69843830"/>
              <a:gd name="connsiteX7" fmla="*/ 9545120 w 9545120"/>
              <a:gd name="connsiteY7" fmla="*/ 7843125 h 69843830"/>
              <a:gd name="connsiteX0" fmla="*/ 0 w 9545120"/>
              <a:gd name="connsiteY0" fmla="*/ 54561803 h 69676361"/>
              <a:gd name="connsiteX1" fmla="*/ 1457896 w 9545120"/>
              <a:gd name="connsiteY1" fmla="*/ 60290732 h 69676361"/>
              <a:gd name="connsiteX2" fmla="*/ 2802599 w 9545120"/>
              <a:gd name="connsiteY2" fmla="*/ 66117265 h 69676361"/>
              <a:gd name="connsiteX3" fmla="*/ 3976774 w 9545120"/>
              <a:gd name="connsiteY3" fmla="*/ 37484683 h 69676361"/>
              <a:gd name="connsiteX4" fmla="*/ 5334619 w 9545120"/>
              <a:gd name="connsiteY4" fmla="*/ 69662271 h 69676361"/>
              <a:gd name="connsiteX5" fmla="*/ 6604426 w 9545120"/>
              <a:gd name="connsiteY5" fmla="*/ 40982982 h 69676361"/>
              <a:gd name="connsiteX6" fmla="*/ 7950323 w 9545120"/>
              <a:gd name="connsiteY6" fmla="*/ 3245 h 69676361"/>
              <a:gd name="connsiteX7" fmla="*/ 9545120 w 9545120"/>
              <a:gd name="connsiteY7" fmla="*/ 7843763 h 69676361"/>
              <a:gd name="connsiteX0" fmla="*/ 0 w 9545120"/>
              <a:gd name="connsiteY0" fmla="*/ 46718401 h 61827550"/>
              <a:gd name="connsiteX1" fmla="*/ 1457896 w 9545120"/>
              <a:gd name="connsiteY1" fmla="*/ 52447330 h 61827550"/>
              <a:gd name="connsiteX2" fmla="*/ 2802599 w 9545120"/>
              <a:gd name="connsiteY2" fmla="*/ 58273863 h 61827550"/>
              <a:gd name="connsiteX3" fmla="*/ 3976774 w 9545120"/>
              <a:gd name="connsiteY3" fmla="*/ 29641281 h 61827550"/>
              <a:gd name="connsiteX4" fmla="*/ 5334619 w 9545120"/>
              <a:gd name="connsiteY4" fmla="*/ 61818869 h 61827550"/>
              <a:gd name="connsiteX5" fmla="*/ 6604426 w 9545120"/>
              <a:gd name="connsiteY5" fmla="*/ 33139580 h 61827550"/>
              <a:gd name="connsiteX6" fmla="*/ 7991821 w 9545120"/>
              <a:gd name="connsiteY6" fmla="*/ 60101242 h 61827550"/>
              <a:gd name="connsiteX7" fmla="*/ 9545120 w 9545120"/>
              <a:gd name="connsiteY7" fmla="*/ 361 h 61827550"/>
              <a:gd name="connsiteX0" fmla="*/ 0 w 9545120"/>
              <a:gd name="connsiteY0" fmla="*/ 46718484 h 61828132"/>
              <a:gd name="connsiteX1" fmla="*/ 1457896 w 9545120"/>
              <a:gd name="connsiteY1" fmla="*/ 52447413 h 61828132"/>
              <a:gd name="connsiteX2" fmla="*/ 2802599 w 9545120"/>
              <a:gd name="connsiteY2" fmla="*/ 58273946 h 61828132"/>
              <a:gd name="connsiteX3" fmla="*/ 3976774 w 9545120"/>
              <a:gd name="connsiteY3" fmla="*/ 29641364 h 61828132"/>
              <a:gd name="connsiteX4" fmla="*/ 5334619 w 9545120"/>
              <a:gd name="connsiteY4" fmla="*/ 61818952 h 61828132"/>
              <a:gd name="connsiteX5" fmla="*/ 6604426 w 9545120"/>
              <a:gd name="connsiteY5" fmla="*/ 33139663 h 61828132"/>
              <a:gd name="connsiteX6" fmla="*/ 7966923 w 9545120"/>
              <a:gd name="connsiteY6" fmla="*/ 50561596 h 61828132"/>
              <a:gd name="connsiteX7" fmla="*/ 9545120 w 9545120"/>
              <a:gd name="connsiteY7" fmla="*/ 444 h 61828132"/>
              <a:gd name="connsiteX0" fmla="*/ 0 w 9578318"/>
              <a:gd name="connsiteY0" fmla="*/ 22985917 h 38095565"/>
              <a:gd name="connsiteX1" fmla="*/ 1457896 w 9578318"/>
              <a:gd name="connsiteY1" fmla="*/ 28714846 h 38095565"/>
              <a:gd name="connsiteX2" fmla="*/ 2802599 w 9578318"/>
              <a:gd name="connsiteY2" fmla="*/ 34541379 h 38095565"/>
              <a:gd name="connsiteX3" fmla="*/ 3976774 w 9578318"/>
              <a:gd name="connsiteY3" fmla="*/ 5908797 h 38095565"/>
              <a:gd name="connsiteX4" fmla="*/ 5334619 w 9578318"/>
              <a:gd name="connsiteY4" fmla="*/ 38086385 h 38095565"/>
              <a:gd name="connsiteX5" fmla="*/ 6604426 w 9578318"/>
              <a:gd name="connsiteY5" fmla="*/ 9407096 h 38095565"/>
              <a:gd name="connsiteX6" fmla="*/ 7966923 w 9578318"/>
              <a:gd name="connsiteY6" fmla="*/ 26829029 h 38095565"/>
              <a:gd name="connsiteX7" fmla="*/ 9578318 w 9578318"/>
              <a:gd name="connsiteY7" fmla="*/ 832 h 38095565"/>
              <a:gd name="connsiteX0" fmla="*/ 0 w 9553419"/>
              <a:gd name="connsiteY0" fmla="*/ 17087244 h 32196892"/>
              <a:gd name="connsiteX1" fmla="*/ 1457896 w 9553419"/>
              <a:gd name="connsiteY1" fmla="*/ 22816173 h 32196892"/>
              <a:gd name="connsiteX2" fmla="*/ 2802599 w 9553419"/>
              <a:gd name="connsiteY2" fmla="*/ 28642706 h 32196892"/>
              <a:gd name="connsiteX3" fmla="*/ 3976774 w 9553419"/>
              <a:gd name="connsiteY3" fmla="*/ 10124 h 32196892"/>
              <a:gd name="connsiteX4" fmla="*/ 5334619 w 9553419"/>
              <a:gd name="connsiteY4" fmla="*/ 32187712 h 32196892"/>
              <a:gd name="connsiteX5" fmla="*/ 6604426 w 9553419"/>
              <a:gd name="connsiteY5" fmla="*/ 3508423 h 32196892"/>
              <a:gd name="connsiteX6" fmla="*/ 7966923 w 9553419"/>
              <a:gd name="connsiteY6" fmla="*/ 20930356 h 32196892"/>
              <a:gd name="connsiteX7" fmla="*/ 9553419 w 9553419"/>
              <a:gd name="connsiteY7" fmla="*/ 17835114 h 32196892"/>
              <a:gd name="connsiteX0" fmla="*/ 0 w 9307970"/>
              <a:gd name="connsiteY0" fmla="*/ 2028520394 h 2028520395"/>
              <a:gd name="connsiteX1" fmla="*/ 1212447 w 9307970"/>
              <a:gd name="connsiteY1" fmla="*/ 137335952 h 2028520395"/>
              <a:gd name="connsiteX2" fmla="*/ 2557150 w 9307970"/>
              <a:gd name="connsiteY2" fmla="*/ 143162485 h 2028520395"/>
              <a:gd name="connsiteX3" fmla="*/ 3731325 w 9307970"/>
              <a:gd name="connsiteY3" fmla="*/ 114529903 h 2028520395"/>
              <a:gd name="connsiteX4" fmla="*/ 5089170 w 9307970"/>
              <a:gd name="connsiteY4" fmla="*/ 146707491 h 2028520395"/>
              <a:gd name="connsiteX5" fmla="*/ 6358977 w 9307970"/>
              <a:gd name="connsiteY5" fmla="*/ 118028202 h 2028520395"/>
              <a:gd name="connsiteX6" fmla="*/ 7721474 w 9307970"/>
              <a:gd name="connsiteY6" fmla="*/ 135450135 h 2028520395"/>
              <a:gd name="connsiteX7" fmla="*/ 9307970 w 9307970"/>
              <a:gd name="connsiteY7" fmla="*/ 132354893 h 2028520395"/>
              <a:gd name="connsiteX0" fmla="*/ 0 w 9307970"/>
              <a:gd name="connsiteY0" fmla="*/ 2043889605 h 2147483647"/>
              <a:gd name="connsiteX1" fmla="*/ 1261537 w 9307970"/>
              <a:gd name="connsiteY1" fmla="*/ 2147483647 h 2147483647"/>
              <a:gd name="connsiteX2" fmla="*/ 2557150 w 9307970"/>
              <a:gd name="connsiteY2" fmla="*/ 158531696 h 2147483647"/>
              <a:gd name="connsiteX3" fmla="*/ 3731325 w 9307970"/>
              <a:gd name="connsiteY3" fmla="*/ 129899114 h 2147483647"/>
              <a:gd name="connsiteX4" fmla="*/ 5089170 w 9307970"/>
              <a:gd name="connsiteY4" fmla="*/ 162076702 h 2147483647"/>
              <a:gd name="connsiteX5" fmla="*/ 6358977 w 9307970"/>
              <a:gd name="connsiteY5" fmla="*/ 133397413 h 2147483647"/>
              <a:gd name="connsiteX6" fmla="*/ 7721474 w 9307970"/>
              <a:gd name="connsiteY6" fmla="*/ 150819346 h 2147483647"/>
              <a:gd name="connsiteX7" fmla="*/ 9307970 w 9307970"/>
              <a:gd name="connsiteY7" fmla="*/ 147724104 h 2147483647"/>
              <a:gd name="connsiteX0" fmla="*/ 0 w 9307970"/>
              <a:gd name="connsiteY0" fmla="*/ 2042754055 h 2146348097"/>
              <a:gd name="connsiteX1" fmla="*/ 1359717 w 9307970"/>
              <a:gd name="connsiteY1" fmla="*/ 2146348097 h 2146348097"/>
              <a:gd name="connsiteX2" fmla="*/ 2557150 w 9307970"/>
              <a:gd name="connsiteY2" fmla="*/ 157396146 h 2146348097"/>
              <a:gd name="connsiteX3" fmla="*/ 3731325 w 9307970"/>
              <a:gd name="connsiteY3" fmla="*/ 128763564 h 2146348097"/>
              <a:gd name="connsiteX4" fmla="*/ 5089170 w 9307970"/>
              <a:gd name="connsiteY4" fmla="*/ 160941152 h 2146348097"/>
              <a:gd name="connsiteX5" fmla="*/ 6358977 w 9307970"/>
              <a:gd name="connsiteY5" fmla="*/ 132261863 h 2146348097"/>
              <a:gd name="connsiteX6" fmla="*/ 7721474 w 9307970"/>
              <a:gd name="connsiteY6" fmla="*/ 149683796 h 2146348097"/>
              <a:gd name="connsiteX7" fmla="*/ 9307970 w 9307970"/>
              <a:gd name="connsiteY7" fmla="*/ 146588554 h 2146348097"/>
              <a:gd name="connsiteX0" fmla="*/ 0 w 9307970"/>
              <a:gd name="connsiteY0" fmla="*/ 2042754055 h 2146348097"/>
              <a:gd name="connsiteX1" fmla="*/ 1359717 w 9307970"/>
              <a:gd name="connsiteY1" fmla="*/ 2146348097 h 2146348097"/>
              <a:gd name="connsiteX2" fmla="*/ 2557150 w 9307970"/>
              <a:gd name="connsiteY2" fmla="*/ 157396146 h 2146348097"/>
              <a:gd name="connsiteX3" fmla="*/ 3731325 w 9307970"/>
              <a:gd name="connsiteY3" fmla="*/ 128763564 h 2146348097"/>
              <a:gd name="connsiteX4" fmla="*/ 5089170 w 9307970"/>
              <a:gd name="connsiteY4" fmla="*/ 160941152 h 2146348097"/>
              <a:gd name="connsiteX5" fmla="*/ 6358977 w 9307970"/>
              <a:gd name="connsiteY5" fmla="*/ 132261863 h 2146348097"/>
              <a:gd name="connsiteX6" fmla="*/ 7721474 w 9307970"/>
              <a:gd name="connsiteY6" fmla="*/ 149683796 h 2146348097"/>
              <a:gd name="connsiteX7" fmla="*/ 9307970 w 9307970"/>
              <a:gd name="connsiteY7" fmla="*/ 146588554 h 2146348097"/>
              <a:gd name="connsiteX0" fmla="*/ 0 w 9307970"/>
              <a:gd name="connsiteY0" fmla="*/ 2042837963 h 2147483647"/>
              <a:gd name="connsiteX1" fmla="*/ 1359717 w 9307970"/>
              <a:gd name="connsiteY1" fmla="*/ 2147483647 h 2147483647"/>
              <a:gd name="connsiteX2" fmla="*/ 2557150 w 9307970"/>
              <a:gd name="connsiteY2" fmla="*/ 157480054 h 2147483647"/>
              <a:gd name="connsiteX3" fmla="*/ 3731325 w 9307970"/>
              <a:gd name="connsiteY3" fmla="*/ 128847472 h 2147483647"/>
              <a:gd name="connsiteX4" fmla="*/ 5089170 w 9307970"/>
              <a:gd name="connsiteY4" fmla="*/ 161025060 h 2147483647"/>
              <a:gd name="connsiteX5" fmla="*/ 6358977 w 9307970"/>
              <a:gd name="connsiteY5" fmla="*/ 132345771 h 2147483647"/>
              <a:gd name="connsiteX6" fmla="*/ 7721474 w 9307970"/>
              <a:gd name="connsiteY6" fmla="*/ 149767704 h 2147483647"/>
              <a:gd name="connsiteX7" fmla="*/ 9307970 w 9307970"/>
              <a:gd name="connsiteY7" fmla="*/ 146672462 h 2147483647"/>
              <a:gd name="connsiteX0" fmla="*/ 0 w 9307970"/>
              <a:gd name="connsiteY0" fmla="*/ 1954079773 h 2058725457"/>
              <a:gd name="connsiteX1" fmla="*/ 1359717 w 9307970"/>
              <a:gd name="connsiteY1" fmla="*/ 2058725457 h 2058725457"/>
              <a:gd name="connsiteX2" fmla="*/ 2578190 w 9307970"/>
              <a:gd name="connsiteY2" fmla="*/ 708072792 h 2058725457"/>
              <a:gd name="connsiteX3" fmla="*/ 3731325 w 9307970"/>
              <a:gd name="connsiteY3" fmla="*/ 40089282 h 2058725457"/>
              <a:gd name="connsiteX4" fmla="*/ 5089170 w 9307970"/>
              <a:gd name="connsiteY4" fmla="*/ 72266870 h 2058725457"/>
              <a:gd name="connsiteX5" fmla="*/ 6358977 w 9307970"/>
              <a:gd name="connsiteY5" fmla="*/ 43587581 h 2058725457"/>
              <a:gd name="connsiteX6" fmla="*/ 7721474 w 9307970"/>
              <a:gd name="connsiteY6" fmla="*/ 61009514 h 2058725457"/>
              <a:gd name="connsiteX7" fmla="*/ 9307970 w 9307970"/>
              <a:gd name="connsiteY7" fmla="*/ 57914272 h 2058725457"/>
              <a:gd name="connsiteX0" fmla="*/ 0 w 9307970"/>
              <a:gd name="connsiteY0" fmla="*/ 1954079773 h 2147483647"/>
              <a:gd name="connsiteX1" fmla="*/ 1331666 w 9307970"/>
              <a:gd name="connsiteY1" fmla="*/ 2147483647 h 2147483647"/>
              <a:gd name="connsiteX2" fmla="*/ 2578190 w 9307970"/>
              <a:gd name="connsiteY2" fmla="*/ 708072792 h 2147483647"/>
              <a:gd name="connsiteX3" fmla="*/ 3731325 w 9307970"/>
              <a:gd name="connsiteY3" fmla="*/ 40089282 h 2147483647"/>
              <a:gd name="connsiteX4" fmla="*/ 5089170 w 9307970"/>
              <a:gd name="connsiteY4" fmla="*/ 72266870 h 2147483647"/>
              <a:gd name="connsiteX5" fmla="*/ 6358977 w 9307970"/>
              <a:gd name="connsiteY5" fmla="*/ 43587581 h 2147483647"/>
              <a:gd name="connsiteX6" fmla="*/ 7721474 w 9307970"/>
              <a:gd name="connsiteY6" fmla="*/ 61009514 h 2147483647"/>
              <a:gd name="connsiteX7" fmla="*/ 9307970 w 9307970"/>
              <a:gd name="connsiteY7" fmla="*/ 57914272 h 2147483647"/>
              <a:gd name="connsiteX0" fmla="*/ 0 w 9307970"/>
              <a:gd name="connsiteY0" fmla="*/ 1954079773 h 2147483647"/>
              <a:gd name="connsiteX1" fmla="*/ 1324653 w 9307970"/>
              <a:gd name="connsiteY1" fmla="*/ 2147483647 h 2147483647"/>
              <a:gd name="connsiteX2" fmla="*/ 2578190 w 9307970"/>
              <a:gd name="connsiteY2" fmla="*/ 708072792 h 2147483647"/>
              <a:gd name="connsiteX3" fmla="*/ 3731325 w 9307970"/>
              <a:gd name="connsiteY3" fmla="*/ 40089282 h 2147483647"/>
              <a:gd name="connsiteX4" fmla="*/ 5089170 w 9307970"/>
              <a:gd name="connsiteY4" fmla="*/ 72266870 h 2147483647"/>
              <a:gd name="connsiteX5" fmla="*/ 6358977 w 9307970"/>
              <a:gd name="connsiteY5" fmla="*/ 43587581 h 2147483647"/>
              <a:gd name="connsiteX6" fmla="*/ 7721474 w 9307970"/>
              <a:gd name="connsiteY6" fmla="*/ 61009514 h 2147483647"/>
              <a:gd name="connsiteX7" fmla="*/ 9307970 w 9307970"/>
              <a:gd name="connsiteY7" fmla="*/ 57914272 h 2147483647"/>
              <a:gd name="connsiteX0" fmla="*/ 0 w 9307970"/>
              <a:gd name="connsiteY0" fmla="*/ 1954079773 h 2147483647"/>
              <a:gd name="connsiteX1" fmla="*/ 1324653 w 9307970"/>
              <a:gd name="connsiteY1" fmla="*/ 2147483647 h 2147483647"/>
              <a:gd name="connsiteX2" fmla="*/ 2578190 w 9307970"/>
              <a:gd name="connsiteY2" fmla="*/ 708072792 h 2147483647"/>
              <a:gd name="connsiteX3" fmla="*/ 3731325 w 9307970"/>
              <a:gd name="connsiteY3" fmla="*/ 40089282 h 2147483647"/>
              <a:gd name="connsiteX4" fmla="*/ 5089170 w 9307970"/>
              <a:gd name="connsiteY4" fmla="*/ 72266870 h 2147483647"/>
              <a:gd name="connsiteX5" fmla="*/ 6358977 w 9307970"/>
              <a:gd name="connsiteY5" fmla="*/ 43587581 h 2147483647"/>
              <a:gd name="connsiteX6" fmla="*/ 7721474 w 9307970"/>
              <a:gd name="connsiteY6" fmla="*/ 61009514 h 2147483647"/>
              <a:gd name="connsiteX7" fmla="*/ 9307970 w 9307970"/>
              <a:gd name="connsiteY7" fmla="*/ 57914272 h 2147483647"/>
              <a:gd name="connsiteX0" fmla="*/ 0 w 9307970"/>
              <a:gd name="connsiteY0" fmla="*/ 1954079773 h 2147483647"/>
              <a:gd name="connsiteX1" fmla="*/ 1359718 w 9307970"/>
              <a:gd name="connsiteY1" fmla="*/ 2147483647 h 2147483647"/>
              <a:gd name="connsiteX2" fmla="*/ 2578190 w 9307970"/>
              <a:gd name="connsiteY2" fmla="*/ 708072792 h 2147483647"/>
              <a:gd name="connsiteX3" fmla="*/ 3731325 w 9307970"/>
              <a:gd name="connsiteY3" fmla="*/ 40089282 h 2147483647"/>
              <a:gd name="connsiteX4" fmla="*/ 5089170 w 9307970"/>
              <a:gd name="connsiteY4" fmla="*/ 72266870 h 2147483647"/>
              <a:gd name="connsiteX5" fmla="*/ 6358977 w 9307970"/>
              <a:gd name="connsiteY5" fmla="*/ 43587581 h 2147483647"/>
              <a:gd name="connsiteX6" fmla="*/ 7721474 w 9307970"/>
              <a:gd name="connsiteY6" fmla="*/ 61009514 h 2147483647"/>
              <a:gd name="connsiteX7" fmla="*/ 9307970 w 9307970"/>
              <a:gd name="connsiteY7" fmla="*/ 57914272 h 2147483647"/>
              <a:gd name="connsiteX0" fmla="*/ 0 w 9307970"/>
              <a:gd name="connsiteY0" fmla="*/ 1993953905 h 2147483647"/>
              <a:gd name="connsiteX1" fmla="*/ 1359718 w 9307970"/>
              <a:gd name="connsiteY1" fmla="*/ 2147483647 h 2147483647"/>
              <a:gd name="connsiteX2" fmla="*/ 2641305 w 9307970"/>
              <a:gd name="connsiteY2" fmla="*/ 1293129958 h 2147483647"/>
              <a:gd name="connsiteX3" fmla="*/ 3731325 w 9307970"/>
              <a:gd name="connsiteY3" fmla="*/ 79963414 h 2147483647"/>
              <a:gd name="connsiteX4" fmla="*/ 5089170 w 9307970"/>
              <a:gd name="connsiteY4" fmla="*/ 112141002 h 2147483647"/>
              <a:gd name="connsiteX5" fmla="*/ 6358977 w 9307970"/>
              <a:gd name="connsiteY5" fmla="*/ 83461713 h 2147483647"/>
              <a:gd name="connsiteX6" fmla="*/ 7721474 w 9307970"/>
              <a:gd name="connsiteY6" fmla="*/ 100883646 h 2147483647"/>
              <a:gd name="connsiteX7" fmla="*/ 9307970 w 9307970"/>
              <a:gd name="connsiteY7" fmla="*/ 97788404 h 2147483647"/>
              <a:gd name="connsiteX0" fmla="*/ 0 w 9307970"/>
              <a:gd name="connsiteY0" fmla="*/ 1993953905 h 2147483647"/>
              <a:gd name="connsiteX1" fmla="*/ 1324653 w 9307970"/>
              <a:gd name="connsiteY1" fmla="*/ 2147483647 h 2147483647"/>
              <a:gd name="connsiteX2" fmla="*/ 2641305 w 9307970"/>
              <a:gd name="connsiteY2" fmla="*/ 1293129958 h 2147483647"/>
              <a:gd name="connsiteX3" fmla="*/ 3731325 w 9307970"/>
              <a:gd name="connsiteY3" fmla="*/ 79963414 h 2147483647"/>
              <a:gd name="connsiteX4" fmla="*/ 5089170 w 9307970"/>
              <a:gd name="connsiteY4" fmla="*/ 112141002 h 2147483647"/>
              <a:gd name="connsiteX5" fmla="*/ 6358977 w 9307970"/>
              <a:gd name="connsiteY5" fmla="*/ 83461713 h 2147483647"/>
              <a:gd name="connsiteX6" fmla="*/ 7721474 w 9307970"/>
              <a:gd name="connsiteY6" fmla="*/ 100883646 h 2147483647"/>
              <a:gd name="connsiteX7" fmla="*/ 9307970 w 9307970"/>
              <a:gd name="connsiteY7" fmla="*/ 97788404 h 2147483647"/>
              <a:gd name="connsiteX0" fmla="*/ 0 w 9307970"/>
              <a:gd name="connsiteY0" fmla="*/ 1993953905 h 2147483647"/>
              <a:gd name="connsiteX1" fmla="*/ 1324653 w 9307970"/>
              <a:gd name="connsiteY1" fmla="*/ 2147483647 h 2147483647"/>
              <a:gd name="connsiteX2" fmla="*/ 2641305 w 9307970"/>
              <a:gd name="connsiteY2" fmla="*/ 1293129958 h 2147483647"/>
              <a:gd name="connsiteX3" fmla="*/ 3731325 w 9307970"/>
              <a:gd name="connsiteY3" fmla="*/ 79963414 h 2147483647"/>
              <a:gd name="connsiteX4" fmla="*/ 5089170 w 9307970"/>
              <a:gd name="connsiteY4" fmla="*/ 112141002 h 2147483647"/>
              <a:gd name="connsiteX5" fmla="*/ 6358977 w 9307970"/>
              <a:gd name="connsiteY5" fmla="*/ 83461713 h 2147483647"/>
              <a:gd name="connsiteX6" fmla="*/ 7721474 w 9307970"/>
              <a:gd name="connsiteY6" fmla="*/ 100883646 h 2147483647"/>
              <a:gd name="connsiteX7" fmla="*/ 9307970 w 9307970"/>
              <a:gd name="connsiteY7" fmla="*/ 97788404 h 2147483647"/>
              <a:gd name="connsiteX0" fmla="*/ 0 w 9307970"/>
              <a:gd name="connsiteY0" fmla="*/ 1993953905 h 2147483647"/>
              <a:gd name="connsiteX1" fmla="*/ 1352705 w 9307970"/>
              <a:gd name="connsiteY1" fmla="*/ 2147483647 h 2147483647"/>
              <a:gd name="connsiteX2" fmla="*/ 2641305 w 9307970"/>
              <a:gd name="connsiteY2" fmla="*/ 1293129958 h 2147483647"/>
              <a:gd name="connsiteX3" fmla="*/ 3731325 w 9307970"/>
              <a:gd name="connsiteY3" fmla="*/ 79963414 h 2147483647"/>
              <a:gd name="connsiteX4" fmla="*/ 5089170 w 9307970"/>
              <a:gd name="connsiteY4" fmla="*/ 112141002 h 2147483647"/>
              <a:gd name="connsiteX5" fmla="*/ 6358977 w 9307970"/>
              <a:gd name="connsiteY5" fmla="*/ 83461713 h 2147483647"/>
              <a:gd name="connsiteX6" fmla="*/ 7721474 w 9307970"/>
              <a:gd name="connsiteY6" fmla="*/ 100883646 h 2147483647"/>
              <a:gd name="connsiteX7" fmla="*/ 9307970 w 9307970"/>
              <a:gd name="connsiteY7" fmla="*/ 97788404 h 2147483647"/>
              <a:gd name="connsiteX0" fmla="*/ 0 w 9307970"/>
              <a:gd name="connsiteY0" fmla="*/ 2008279570 h 2147483647"/>
              <a:gd name="connsiteX1" fmla="*/ 1352705 w 9307970"/>
              <a:gd name="connsiteY1" fmla="*/ 2147483647 h 2147483647"/>
              <a:gd name="connsiteX2" fmla="*/ 2648317 w 9307970"/>
              <a:gd name="connsiteY2" fmla="*/ 1502090111 h 2147483647"/>
              <a:gd name="connsiteX3" fmla="*/ 3731325 w 9307970"/>
              <a:gd name="connsiteY3" fmla="*/ 94289079 h 2147483647"/>
              <a:gd name="connsiteX4" fmla="*/ 5089170 w 9307970"/>
              <a:gd name="connsiteY4" fmla="*/ 126466667 h 2147483647"/>
              <a:gd name="connsiteX5" fmla="*/ 6358977 w 9307970"/>
              <a:gd name="connsiteY5" fmla="*/ 97787378 h 2147483647"/>
              <a:gd name="connsiteX6" fmla="*/ 7721474 w 9307970"/>
              <a:gd name="connsiteY6" fmla="*/ 115209311 h 2147483647"/>
              <a:gd name="connsiteX7" fmla="*/ 9307970 w 9307970"/>
              <a:gd name="connsiteY7" fmla="*/ 112114069 h 2147483647"/>
              <a:gd name="connsiteX0" fmla="*/ 0 w 9307970"/>
              <a:gd name="connsiteY0" fmla="*/ 2008279570 h 2147483647"/>
              <a:gd name="connsiteX1" fmla="*/ 1352705 w 9307970"/>
              <a:gd name="connsiteY1" fmla="*/ 2147483647 h 2147483647"/>
              <a:gd name="connsiteX2" fmla="*/ 2648317 w 9307970"/>
              <a:gd name="connsiteY2" fmla="*/ 1502090111 h 2147483647"/>
              <a:gd name="connsiteX3" fmla="*/ 3731325 w 9307970"/>
              <a:gd name="connsiteY3" fmla="*/ 94289079 h 2147483647"/>
              <a:gd name="connsiteX4" fmla="*/ 5089170 w 9307970"/>
              <a:gd name="connsiteY4" fmla="*/ 126466667 h 2147483647"/>
              <a:gd name="connsiteX5" fmla="*/ 6358977 w 9307970"/>
              <a:gd name="connsiteY5" fmla="*/ 97787378 h 2147483647"/>
              <a:gd name="connsiteX6" fmla="*/ 7721474 w 9307970"/>
              <a:gd name="connsiteY6" fmla="*/ 115209311 h 2147483647"/>
              <a:gd name="connsiteX7" fmla="*/ 9307970 w 9307970"/>
              <a:gd name="connsiteY7" fmla="*/ 112114069 h 2147483647"/>
              <a:gd name="connsiteX0" fmla="*/ 0 w 9307970"/>
              <a:gd name="connsiteY0" fmla="*/ 2008279570 h 2147483647"/>
              <a:gd name="connsiteX1" fmla="*/ 1352705 w 9307970"/>
              <a:gd name="connsiteY1" fmla="*/ 2147483647 h 2147483647"/>
              <a:gd name="connsiteX2" fmla="*/ 2648317 w 9307970"/>
              <a:gd name="connsiteY2" fmla="*/ 1502090111 h 2147483647"/>
              <a:gd name="connsiteX3" fmla="*/ 3731325 w 9307970"/>
              <a:gd name="connsiteY3" fmla="*/ 94289079 h 2147483647"/>
              <a:gd name="connsiteX4" fmla="*/ 5089170 w 9307970"/>
              <a:gd name="connsiteY4" fmla="*/ 126466667 h 2147483647"/>
              <a:gd name="connsiteX5" fmla="*/ 6358977 w 9307970"/>
              <a:gd name="connsiteY5" fmla="*/ 97787378 h 2147483647"/>
              <a:gd name="connsiteX6" fmla="*/ 7721474 w 9307970"/>
              <a:gd name="connsiteY6" fmla="*/ 115209311 h 2147483647"/>
              <a:gd name="connsiteX7" fmla="*/ 9307970 w 9307970"/>
              <a:gd name="connsiteY7" fmla="*/ 112114069 h 2147483647"/>
              <a:gd name="connsiteX0" fmla="*/ 0 w 9307970"/>
              <a:gd name="connsiteY0" fmla="*/ 2008279570 h 2147483647"/>
              <a:gd name="connsiteX1" fmla="*/ 1352705 w 9307970"/>
              <a:gd name="connsiteY1" fmla="*/ 2147483647 h 2147483647"/>
              <a:gd name="connsiteX2" fmla="*/ 2648317 w 9307970"/>
              <a:gd name="connsiteY2" fmla="*/ 1502090111 h 2147483647"/>
              <a:gd name="connsiteX3" fmla="*/ 3731325 w 9307970"/>
              <a:gd name="connsiteY3" fmla="*/ 94289079 h 2147483647"/>
              <a:gd name="connsiteX4" fmla="*/ 5089170 w 9307970"/>
              <a:gd name="connsiteY4" fmla="*/ 126466667 h 2147483647"/>
              <a:gd name="connsiteX5" fmla="*/ 6358977 w 9307970"/>
              <a:gd name="connsiteY5" fmla="*/ 97787378 h 2147483647"/>
              <a:gd name="connsiteX6" fmla="*/ 7721474 w 9307970"/>
              <a:gd name="connsiteY6" fmla="*/ 115209311 h 2147483647"/>
              <a:gd name="connsiteX7" fmla="*/ 9307970 w 9307970"/>
              <a:gd name="connsiteY7" fmla="*/ 112114069 h 2147483647"/>
              <a:gd name="connsiteX0" fmla="*/ 0 w 9307970"/>
              <a:gd name="connsiteY0" fmla="*/ 2008279570 h 2147483647"/>
              <a:gd name="connsiteX1" fmla="*/ 1359719 w 9307970"/>
              <a:gd name="connsiteY1" fmla="*/ 2147483647 h 2147483647"/>
              <a:gd name="connsiteX2" fmla="*/ 2648317 w 9307970"/>
              <a:gd name="connsiteY2" fmla="*/ 1502090111 h 2147483647"/>
              <a:gd name="connsiteX3" fmla="*/ 3731325 w 9307970"/>
              <a:gd name="connsiteY3" fmla="*/ 94289079 h 2147483647"/>
              <a:gd name="connsiteX4" fmla="*/ 5089170 w 9307970"/>
              <a:gd name="connsiteY4" fmla="*/ 126466667 h 2147483647"/>
              <a:gd name="connsiteX5" fmla="*/ 6358977 w 9307970"/>
              <a:gd name="connsiteY5" fmla="*/ 97787378 h 2147483647"/>
              <a:gd name="connsiteX6" fmla="*/ 7721474 w 9307970"/>
              <a:gd name="connsiteY6" fmla="*/ 115209311 h 2147483647"/>
              <a:gd name="connsiteX7" fmla="*/ 9307970 w 9307970"/>
              <a:gd name="connsiteY7" fmla="*/ 112114069 h 2147483647"/>
              <a:gd name="connsiteX0" fmla="*/ 0 w 9307970"/>
              <a:gd name="connsiteY0" fmla="*/ 2008279570 h 2147483647"/>
              <a:gd name="connsiteX1" fmla="*/ 1345693 w 9307970"/>
              <a:gd name="connsiteY1" fmla="*/ 2147483647 h 2147483647"/>
              <a:gd name="connsiteX2" fmla="*/ 2648317 w 9307970"/>
              <a:gd name="connsiteY2" fmla="*/ 1502090111 h 2147483647"/>
              <a:gd name="connsiteX3" fmla="*/ 3731325 w 9307970"/>
              <a:gd name="connsiteY3" fmla="*/ 94289079 h 2147483647"/>
              <a:gd name="connsiteX4" fmla="*/ 5089170 w 9307970"/>
              <a:gd name="connsiteY4" fmla="*/ 126466667 h 2147483647"/>
              <a:gd name="connsiteX5" fmla="*/ 6358977 w 9307970"/>
              <a:gd name="connsiteY5" fmla="*/ 97787378 h 2147483647"/>
              <a:gd name="connsiteX6" fmla="*/ 7721474 w 9307970"/>
              <a:gd name="connsiteY6" fmla="*/ 115209311 h 2147483647"/>
              <a:gd name="connsiteX7" fmla="*/ 9307970 w 9307970"/>
              <a:gd name="connsiteY7" fmla="*/ 112114069 h 2147483647"/>
              <a:gd name="connsiteX0" fmla="*/ 0 w 9307970"/>
              <a:gd name="connsiteY0" fmla="*/ 2008279570 h 2008279682"/>
              <a:gd name="connsiteX1" fmla="*/ 1366732 w 9307970"/>
              <a:gd name="connsiteY1" fmla="*/ 1954138934 h 2008279682"/>
              <a:gd name="connsiteX2" fmla="*/ 2648317 w 9307970"/>
              <a:gd name="connsiteY2" fmla="*/ 1502090111 h 2008279682"/>
              <a:gd name="connsiteX3" fmla="*/ 3731325 w 9307970"/>
              <a:gd name="connsiteY3" fmla="*/ 94289079 h 2008279682"/>
              <a:gd name="connsiteX4" fmla="*/ 5089170 w 9307970"/>
              <a:gd name="connsiteY4" fmla="*/ 126466667 h 2008279682"/>
              <a:gd name="connsiteX5" fmla="*/ 6358977 w 9307970"/>
              <a:gd name="connsiteY5" fmla="*/ 97787378 h 2008279682"/>
              <a:gd name="connsiteX6" fmla="*/ 7721474 w 9307970"/>
              <a:gd name="connsiteY6" fmla="*/ 115209311 h 2008279682"/>
              <a:gd name="connsiteX7" fmla="*/ 9307970 w 9307970"/>
              <a:gd name="connsiteY7" fmla="*/ 112114069 h 2008279682"/>
              <a:gd name="connsiteX0" fmla="*/ 0 w 9314982"/>
              <a:gd name="connsiteY0" fmla="*/ 1955109971 h 1987899505"/>
              <a:gd name="connsiteX1" fmla="*/ 1373744 w 9314982"/>
              <a:gd name="connsiteY1" fmla="*/ 1954138934 h 1987899505"/>
              <a:gd name="connsiteX2" fmla="*/ 2655329 w 9314982"/>
              <a:gd name="connsiteY2" fmla="*/ 1502090111 h 1987899505"/>
              <a:gd name="connsiteX3" fmla="*/ 3738337 w 9314982"/>
              <a:gd name="connsiteY3" fmla="*/ 94289079 h 1987899505"/>
              <a:gd name="connsiteX4" fmla="*/ 5096182 w 9314982"/>
              <a:gd name="connsiteY4" fmla="*/ 126466667 h 1987899505"/>
              <a:gd name="connsiteX5" fmla="*/ 6365989 w 9314982"/>
              <a:gd name="connsiteY5" fmla="*/ 97787378 h 1987899505"/>
              <a:gd name="connsiteX6" fmla="*/ 7728486 w 9314982"/>
              <a:gd name="connsiteY6" fmla="*/ 115209311 h 1987899505"/>
              <a:gd name="connsiteX7" fmla="*/ 9314982 w 9314982"/>
              <a:gd name="connsiteY7" fmla="*/ 112114069 h 1987899505"/>
              <a:gd name="connsiteX0" fmla="*/ 0 w 9314982"/>
              <a:gd name="connsiteY0" fmla="*/ 1955109971 h 1990177759"/>
              <a:gd name="connsiteX1" fmla="*/ 1373744 w 9314982"/>
              <a:gd name="connsiteY1" fmla="*/ 1954138934 h 1990177759"/>
              <a:gd name="connsiteX2" fmla="*/ 2655329 w 9314982"/>
              <a:gd name="connsiteY2" fmla="*/ 1502090111 h 1990177759"/>
              <a:gd name="connsiteX3" fmla="*/ 3738337 w 9314982"/>
              <a:gd name="connsiteY3" fmla="*/ 94289079 h 1990177759"/>
              <a:gd name="connsiteX4" fmla="*/ 5096182 w 9314982"/>
              <a:gd name="connsiteY4" fmla="*/ 126466667 h 1990177759"/>
              <a:gd name="connsiteX5" fmla="*/ 6365989 w 9314982"/>
              <a:gd name="connsiteY5" fmla="*/ 97787378 h 1990177759"/>
              <a:gd name="connsiteX6" fmla="*/ 7728486 w 9314982"/>
              <a:gd name="connsiteY6" fmla="*/ 115209311 h 1990177759"/>
              <a:gd name="connsiteX7" fmla="*/ 9314982 w 9314982"/>
              <a:gd name="connsiteY7" fmla="*/ 112114069 h 1990177759"/>
              <a:gd name="connsiteX0" fmla="*/ 0 w 9314982"/>
              <a:gd name="connsiteY0" fmla="*/ 1983628717 h 2048920702"/>
              <a:gd name="connsiteX1" fmla="*/ 1373744 w 9314982"/>
              <a:gd name="connsiteY1" fmla="*/ 1982657680 h 2048920702"/>
              <a:gd name="connsiteX2" fmla="*/ 2648316 w 9314982"/>
              <a:gd name="connsiteY2" fmla="*/ 1917297505 h 2048920702"/>
              <a:gd name="connsiteX3" fmla="*/ 3738337 w 9314982"/>
              <a:gd name="connsiteY3" fmla="*/ 122807825 h 2048920702"/>
              <a:gd name="connsiteX4" fmla="*/ 5096182 w 9314982"/>
              <a:gd name="connsiteY4" fmla="*/ 154985413 h 2048920702"/>
              <a:gd name="connsiteX5" fmla="*/ 6365989 w 9314982"/>
              <a:gd name="connsiteY5" fmla="*/ 126306124 h 2048920702"/>
              <a:gd name="connsiteX6" fmla="*/ 7728486 w 9314982"/>
              <a:gd name="connsiteY6" fmla="*/ 143728057 h 2048920702"/>
              <a:gd name="connsiteX7" fmla="*/ 9314982 w 9314982"/>
              <a:gd name="connsiteY7" fmla="*/ 140632815 h 2048920702"/>
              <a:gd name="connsiteX0" fmla="*/ 0 w 9314982"/>
              <a:gd name="connsiteY0" fmla="*/ 1983628717 h 1990831709"/>
              <a:gd name="connsiteX1" fmla="*/ 1373744 w 9314982"/>
              <a:gd name="connsiteY1" fmla="*/ 1982657680 h 1990831709"/>
              <a:gd name="connsiteX2" fmla="*/ 2648316 w 9314982"/>
              <a:gd name="connsiteY2" fmla="*/ 1917297505 h 1990831709"/>
              <a:gd name="connsiteX3" fmla="*/ 3738337 w 9314982"/>
              <a:gd name="connsiteY3" fmla="*/ 122807825 h 1990831709"/>
              <a:gd name="connsiteX4" fmla="*/ 5096182 w 9314982"/>
              <a:gd name="connsiteY4" fmla="*/ 154985413 h 1990831709"/>
              <a:gd name="connsiteX5" fmla="*/ 6365989 w 9314982"/>
              <a:gd name="connsiteY5" fmla="*/ 126306124 h 1990831709"/>
              <a:gd name="connsiteX6" fmla="*/ 7728486 w 9314982"/>
              <a:gd name="connsiteY6" fmla="*/ 143728057 h 1990831709"/>
              <a:gd name="connsiteX7" fmla="*/ 9314982 w 9314982"/>
              <a:gd name="connsiteY7" fmla="*/ 140632815 h 1990831709"/>
              <a:gd name="connsiteX0" fmla="*/ 0 w 9314982"/>
              <a:gd name="connsiteY0" fmla="*/ 1985769907 h 1991313136"/>
              <a:gd name="connsiteX1" fmla="*/ 1373744 w 9314982"/>
              <a:gd name="connsiteY1" fmla="*/ 1984798870 h 1991313136"/>
              <a:gd name="connsiteX2" fmla="*/ 2648316 w 9314982"/>
              <a:gd name="connsiteY2" fmla="*/ 1948440232 h 1991313136"/>
              <a:gd name="connsiteX3" fmla="*/ 3738337 w 9314982"/>
              <a:gd name="connsiteY3" fmla="*/ 124949015 h 1991313136"/>
              <a:gd name="connsiteX4" fmla="*/ 5096182 w 9314982"/>
              <a:gd name="connsiteY4" fmla="*/ 157126603 h 1991313136"/>
              <a:gd name="connsiteX5" fmla="*/ 6365989 w 9314982"/>
              <a:gd name="connsiteY5" fmla="*/ 128447314 h 1991313136"/>
              <a:gd name="connsiteX6" fmla="*/ 7728486 w 9314982"/>
              <a:gd name="connsiteY6" fmla="*/ 145869247 h 1991313136"/>
              <a:gd name="connsiteX7" fmla="*/ 9314982 w 9314982"/>
              <a:gd name="connsiteY7" fmla="*/ 142774005 h 1991313136"/>
              <a:gd name="connsiteX0" fmla="*/ 0 w 9314982"/>
              <a:gd name="connsiteY0" fmla="*/ 1987910415 h 1996689297"/>
              <a:gd name="connsiteX1" fmla="*/ 1373744 w 9314982"/>
              <a:gd name="connsiteY1" fmla="*/ 1986939378 h 1996689297"/>
              <a:gd name="connsiteX2" fmla="*/ 2655330 w 9314982"/>
              <a:gd name="connsiteY2" fmla="*/ 1979582277 h 1996689297"/>
              <a:gd name="connsiteX3" fmla="*/ 3738337 w 9314982"/>
              <a:gd name="connsiteY3" fmla="*/ 127089523 h 1996689297"/>
              <a:gd name="connsiteX4" fmla="*/ 5096182 w 9314982"/>
              <a:gd name="connsiteY4" fmla="*/ 159267111 h 1996689297"/>
              <a:gd name="connsiteX5" fmla="*/ 6365989 w 9314982"/>
              <a:gd name="connsiteY5" fmla="*/ 130587822 h 1996689297"/>
              <a:gd name="connsiteX6" fmla="*/ 7728486 w 9314982"/>
              <a:gd name="connsiteY6" fmla="*/ 148009755 h 1996689297"/>
              <a:gd name="connsiteX7" fmla="*/ 9314982 w 9314982"/>
              <a:gd name="connsiteY7" fmla="*/ 144914513 h 1996689297"/>
              <a:gd name="connsiteX0" fmla="*/ 0 w 9314982"/>
              <a:gd name="connsiteY0" fmla="*/ 1987910415 h 1992165521"/>
              <a:gd name="connsiteX1" fmla="*/ 1373744 w 9314982"/>
              <a:gd name="connsiteY1" fmla="*/ 1986939378 h 1992165521"/>
              <a:gd name="connsiteX2" fmla="*/ 2655330 w 9314982"/>
              <a:gd name="connsiteY2" fmla="*/ 1979582277 h 1992165521"/>
              <a:gd name="connsiteX3" fmla="*/ 3738337 w 9314982"/>
              <a:gd name="connsiteY3" fmla="*/ 127089523 h 1992165521"/>
              <a:gd name="connsiteX4" fmla="*/ 5096182 w 9314982"/>
              <a:gd name="connsiteY4" fmla="*/ 159267111 h 1992165521"/>
              <a:gd name="connsiteX5" fmla="*/ 6365989 w 9314982"/>
              <a:gd name="connsiteY5" fmla="*/ 130587822 h 1992165521"/>
              <a:gd name="connsiteX6" fmla="*/ 7728486 w 9314982"/>
              <a:gd name="connsiteY6" fmla="*/ 148009755 h 1992165521"/>
              <a:gd name="connsiteX7" fmla="*/ 9314982 w 9314982"/>
              <a:gd name="connsiteY7" fmla="*/ 144914513 h 1992165521"/>
              <a:gd name="connsiteX0" fmla="*/ 0 w 9314982"/>
              <a:gd name="connsiteY0" fmla="*/ 1944374015 h 1967018809"/>
              <a:gd name="connsiteX1" fmla="*/ 1373744 w 9314982"/>
              <a:gd name="connsiteY1" fmla="*/ 1943402978 h 1967018809"/>
              <a:gd name="connsiteX2" fmla="*/ 2655330 w 9314982"/>
              <a:gd name="connsiteY2" fmla="*/ 1936045877 h 1967018809"/>
              <a:gd name="connsiteX3" fmla="*/ 3997812 w 9314982"/>
              <a:gd name="connsiteY3" fmla="*/ 1548138565 h 1967018809"/>
              <a:gd name="connsiteX4" fmla="*/ 5096182 w 9314982"/>
              <a:gd name="connsiteY4" fmla="*/ 115730711 h 1967018809"/>
              <a:gd name="connsiteX5" fmla="*/ 6365989 w 9314982"/>
              <a:gd name="connsiteY5" fmla="*/ 87051422 h 1967018809"/>
              <a:gd name="connsiteX6" fmla="*/ 7728486 w 9314982"/>
              <a:gd name="connsiteY6" fmla="*/ 104473355 h 1967018809"/>
              <a:gd name="connsiteX7" fmla="*/ 9314982 w 9314982"/>
              <a:gd name="connsiteY7" fmla="*/ 101378113 h 1967018809"/>
              <a:gd name="connsiteX0" fmla="*/ 0 w 9314982"/>
              <a:gd name="connsiteY0" fmla="*/ 1944374015 h 1959974020"/>
              <a:gd name="connsiteX1" fmla="*/ 1373744 w 9314982"/>
              <a:gd name="connsiteY1" fmla="*/ 1943402978 h 1959974020"/>
              <a:gd name="connsiteX2" fmla="*/ 2655330 w 9314982"/>
              <a:gd name="connsiteY2" fmla="*/ 1926379153 h 1959974020"/>
              <a:gd name="connsiteX3" fmla="*/ 3997812 w 9314982"/>
              <a:gd name="connsiteY3" fmla="*/ 1548138565 h 1959974020"/>
              <a:gd name="connsiteX4" fmla="*/ 5096182 w 9314982"/>
              <a:gd name="connsiteY4" fmla="*/ 115730711 h 1959974020"/>
              <a:gd name="connsiteX5" fmla="*/ 6365989 w 9314982"/>
              <a:gd name="connsiteY5" fmla="*/ 87051422 h 1959974020"/>
              <a:gd name="connsiteX6" fmla="*/ 7728486 w 9314982"/>
              <a:gd name="connsiteY6" fmla="*/ 104473355 h 1959974020"/>
              <a:gd name="connsiteX7" fmla="*/ 9314982 w 9314982"/>
              <a:gd name="connsiteY7" fmla="*/ 101378113 h 1959974020"/>
              <a:gd name="connsiteX0" fmla="*/ 0 w 9314982"/>
              <a:gd name="connsiteY0" fmla="*/ 1944374015 h 1949012353"/>
              <a:gd name="connsiteX1" fmla="*/ 1373744 w 9314982"/>
              <a:gd name="connsiteY1" fmla="*/ 1943402978 h 1949012353"/>
              <a:gd name="connsiteX2" fmla="*/ 2655330 w 9314982"/>
              <a:gd name="connsiteY2" fmla="*/ 1926379153 h 1949012353"/>
              <a:gd name="connsiteX3" fmla="*/ 3997812 w 9314982"/>
              <a:gd name="connsiteY3" fmla="*/ 1548138565 h 1949012353"/>
              <a:gd name="connsiteX4" fmla="*/ 5096182 w 9314982"/>
              <a:gd name="connsiteY4" fmla="*/ 115730711 h 1949012353"/>
              <a:gd name="connsiteX5" fmla="*/ 6365989 w 9314982"/>
              <a:gd name="connsiteY5" fmla="*/ 87051422 h 1949012353"/>
              <a:gd name="connsiteX6" fmla="*/ 7728486 w 9314982"/>
              <a:gd name="connsiteY6" fmla="*/ 104473355 h 1949012353"/>
              <a:gd name="connsiteX7" fmla="*/ 9314982 w 9314982"/>
              <a:gd name="connsiteY7" fmla="*/ 101378113 h 1949012353"/>
              <a:gd name="connsiteX0" fmla="*/ 0 w 9314982"/>
              <a:gd name="connsiteY0" fmla="*/ 1913438588 h 1959874461"/>
              <a:gd name="connsiteX1" fmla="*/ 1373744 w 9314982"/>
              <a:gd name="connsiteY1" fmla="*/ 1912467551 h 1959874461"/>
              <a:gd name="connsiteX2" fmla="*/ 2655330 w 9314982"/>
              <a:gd name="connsiteY2" fmla="*/ 1895443726 h 1959874461"/>
              <a:gd name="connsiteX3" fmla="*/ 3976773 w 9314982"/>
              <a:gd name="connsiteY3" fmla="*/ 1096678814 h 1959874461"/>
              <a:gd name="connsiteX4" fmla="*/ 5096182 w 9314982"/>
              <a:gd name="connsiteY4" fmla="*/ 84795284 h 1959874461"/>
              <a:gd name="connsiteX5" fmla="*/ 6365989 w 9314982"/>
              <a:gd name="connsiteY5" fmla="*/ 56115995 h 1959874461"/>
              <a:gd name="connsiteX6" fmla="*/ 7728486 w 9314982"/>
              <a:gd name="connsiteY6" fmla="*/ 73537928 h 1959874461"/>
              <a:gd name="connsiteX7" fmla="*/ 9314982 w 9314982"/>
              <a:gd name="connsiteY7" fmla="*/ 70442686 h 1959874461"/>
              <a:gd name="connsiteX0" fmla="*/ 0 w 9314982"/>
              <a:gd name="connsiteY0" fmla="*/ 1942363751 h 1988799624"/>
              <a:gd name="connsiteX1" fmla="*/ 1373744 w 9314982"/>
              <a:gd name="connsiteY1" fmla="*/ 1941392714 h 1988799624"/>
              <a:gd name="connsiteX2" fmla="*/ 2655330 w 9314982"/>
              <a:gd name="connsiteY2" fmla="*/ 1924368889 h 1988799624"/>
              <a:gd name="connsiteX3" fmla="*/ 3976773 w 9314982"/>
              <a:gd name="connsiteY3" fmla="*/ 1125603977 h 1988799624"/>
              <a:gd name="connsiteX4" fmla="*/ 5285529 w 9314982"/>
              <a:gd name="connsiteY4" fmla="*/ 1307623565 h 1988799624"/>
              <a:gd name="connsiteX5" fmla="*/ 6365989 w 9314982"/>
              <a:gd name="connsiteY5" fmla="*/ 85041158 h 1988799624"/>
              <a:gd name="connsiteX6" fmla="*/ 7728486 w 9314982"/>
              <a:gd name="connsiteY6" fmla="*/ 102463091 h 1988799624"/>
              <a:gd name="connsiteX7" fmla="*/ 9314982 w 9314982"/>
              <a:gd name="connsiteY7" fmla="*/ 99367849 h 1988799624"/>
              <a:gd name="connsiteX0" fmla="*/ 0 w 9314982"/>
              <a:gd name="connsiteY0" fmla="*/ 1942363751 h 1988799624"/>
              <a:gd name="connsiteX1" fmla="*/ 1373744 w 9314982"/>
              <a:gd name="connsiteY1" fmla="*/ 1941392714 h 1988799624"/>
              <a:gd name="connsiteX2" fmla="*/ 2655330 w 9314982"/>
              <a:gd name="connsiteY2" fmla="*/ 1924368889 h 1988799624"/>
              <a:gd name="connsiteX3" fmla="*/ 3976773 w 9314982"/>
              <a:gd name="connsiteY3" fmla="*/ 1125603977 h 1988799624"/>
              <a:gd name="connsiteX4" fmla="*/ 5285529 w 9314982"/>
              <a:gd name="connsiteY4" fmla="*/ 1307623565 h 1988799624"/>
              <a:gd name="connsiteX5" fmla="*/ 6365989 w 9314982"/>
              <a:gd name="connsiteY5" fmla="*/ 85041158 h 1988799624"/>
              <a:gd name="connsiteX6" fmla="*/ 7728486 w 9314982"/>
              <a:gd name="connsiteY6" fmla="*/ 102463091 h 1988799624"/>
              <a:gd name="connsiteX7" fmla="*/ 9314982 w 9314982"/>
              <a:gd name="connsiteY7" fmla="*/ 99367849 h 1988799624"/>
              <a:gd name="connsiteX0" fmla="*/ 0 w 9314982"/>
              <a:gd name="connsiteY0" fmla="*/ 1942363751 h 1988799624"/>
              <a:gd name="connsiteX1" fmla="*/ 1373744 w 9314982"/>
              <a:gd name="connsiteY1" fmla="*/ 1941392714 h 1988799624"/>
              <a:gd name="connsiteX2" fmla="*/ 2655330 w 9314982"/>
              <a:gd name="connsiteY2" fmla="*/ 1924368889 h 1988799624"/>
              <a:gd name="connsiteX3" fmla="*/ 3976773 w 9314982"/>
              <a:gd name="connsiteY3" fmla="*/ 1125603977 h 1988799624"/>
              <a:gd name="connsiteX4" fmla="*/ 5285529 w 9314982"/>
              <a:gd name="connsiteY4" fmla="*/ 1307623565 h 1988799624"/>
              <a:gd name="connsiteX5" fmla="*/ 6365989 w 9314982"/>
              <a:gd name="connsiteY5" fmla="*/ 85041158 h 1988799624"/>
              <a:gd name="connsiteX6" fmla="*/ 7728486 w 9314982"/>
              <a:gd name="connsiteY6" fmla="*/ 102463091 h 1988799624"/>
              <a:gd name="connsiteX7" fmla="*/ 9314982 w 9314982"/>
              <a:gd name="connsiteY7" fmla="*/ 99367849 h 1988799624"/>
              <a:gd name="connsiteX0" fmla="*/ 0 w 9314982"/>
              <a:gd name="connsiteY0" fmla="*/ 1843002291 h 1889438164"/>
              <a:gd name="connsiteX1" fmla="*/ 1373744 w 9314982"/>
              <a:gd name="connsiteY1" fmla="*/ 1842031254 h 1889438164"/>
              <a:gd name="connsiteX2" fmla="*/ 2655330 w 9314982"/>
              <a:gd name="connsiteY2" fmla="*/ 1825007429 h 1889438164"/>
              <a:gd name="connsiteX3" fmla="*/ 3976773 w 9314982"/>
              <a:gd name="connsiteY3" fmla="*/ 1026242517 h 1889438164"/>
              <a:gd name="connsiteX4" fmla="*/ 5285529 w 9314982"/>
              <a:gd name="connsiteY4" fmla="*/ 1208262105 h 1889438164"/>
              <a:gd name="connsiteX5" fmla="*/ 6604425 w 9314982"/>
              <a:gd name="connsiteY5" fmla="*/ 1121579357 h 1889438164"/>
              <a:gd name="connsiteX6" fmla="*/ 7728486 w 9314982"/>
              <a:gd name="connsiteY6" fmla="*/ 3101631 h 1889438164"/>
              <a:gd name="connsiteX7" fmla="*/ 9314982 w 9314982"/>
              <a:gd name="connsiteY7" fmla="*/ 6389 h 1889438164"/>
              <a:gd name="connsiteX0" fmla="*/ 0 w 9314982"/>
              <a:gd name="connsiteY0" fmla="*/ 1843002291 h 1889438164"/>
              <a:gd name="connsiteX1" fmla="*/ 1373744 w 9314982"/>
              <a:gd name="connsiteY1" fmla="*/ 1842031254 h 1889438164"/>
              <a:gd name="connsiteX2" fmla="*/ 2655330 w 9314982"/>
              <a:gd name="connsiteY2" fmla="*/ 1825007429 h 1889438164"/>
              <a:gd name="connsiteX3" fmla="*/ 3976773 w 9314982"/>
              <a:gd name="connsiteY3" fmla="*/ 1026242517 h 1889438164"/>
              <a:gd name="connsiteX4" fmla="*/ 5285529 w 9314982"/>
              <a:gd name="connsiteY4" fmla="*/ 1208262105 h 1889438164"/>
              <a:gd name="connsiteX5" fmla="*/ 6604425 w 9314982"/>
              <a:gd name="connsiteY5" fmla="*/ 1121579357 h 1889438164"/>
              <a:gd name="connsiteX6" fmla="*/ 7728486 w 9314982"/>
              <a:gd name="connsiteY6" fmla="*/ 3101631 h 1889438164"/>
              <a:gd name="connsiteX7" fmla="*/ 9314982 w 9314982"/>
              <a:gd name="connsiteY7" fmla="*/ 6389 h 1889438164"/>
              <a:gd name="connsiteX0" fmla="*/ 0 w 9314982"/>
              <a:gd name="connsiteY0" fmla="*/ 1843002291 h 1889438164"/>
              <a:gd name="connsiteX1" fmla="*/ 1373744 w 9314982"/>
              <a:gd name="connsiteY1" fmla="*/ 1842031254 h 1889438164"/>
              <a:gd name="connsiteX2" fmla="*/ 2655330 w 9314982"/>
              <a:gd name="connsiteY2" fmla="*/ 1825007429 h 1889438164"/>
              <a:gd name="connsiteX3" fmla="*/ 3976773 w 9314982"/>
              <a:gd name="connsiteY3" fmla="*/ 1026242517 h 1889438164"/>
              <a:gd name="connsiteX4" fmla="*/ 5285529 w 9314982"/>
              <a:gd name="connsiteY4" fmla="*/ 1208262105 h 1889438164"/>
              <a:gd name="connsiteX5" fmla="*/ 6597412 w 9314982"/>
              <a:gd name="connsiteY5" fmla="*/ 1174749067 h 1889438164"/>
              <a:gd name="connsiteX6" fmla="*/ 7728486 w 9314982"/>
              <a:gd name="connsiteY6" fmla="*/ 3101631 h 1889438164"/>
              <a:gd name="connsiteX7" fmla="*/ 9314982 w 9314982"/>
              <a:gd name="connsiteY7" fmla="*/ 6389 h 1889438164"/>
              <a:gd name="connsiteX0" fmla="*/ 0 w 9314982"/>
              <a:gd name="connsiteY0" fmla="*/ 1843002291 h 1889438164"/>
              <a:gd name="connsiteX1" fmla="*/ 1373744 w 9314982"/>
              <a:gd name="connsiteY1" fmla="*/ 1842031254 h 1889438164"/>
              <a:gd name="connsiteX2" fmla="*/ 2655330 w 9314982"/>
              <a:gd name="connsiteY2" fmla="*/ 1825007429 h 1889438164"/>
              <a:gd name="connsiteX3" fmla="*/ 3976773 w 9314982"/>
              <a:gd name="connsiteY3" fmla="*/ 1026242517 h 1889438164"/>
              <a:gd name="connsiteX4" fmla="*/ 5285529 w 9314982"/>
              <a:gd name="connsiteY4" fmla="*/ 1208262105 h 1889438164"/>
              <a:gd name="connsiteX5" fmla="*/ 6597412 w 9314982"/>
              <a:gd name="connsiteY5" fmla="*/ 1174749067 h 1889438164"/>
              <a:gd name="connsiteX6" fmla="*/ 7728486 w 9314982"/>
              <a:gd name="connsiteY6" fmla="*/ 3101631 h 1889438164"/>
              <a:gd name="connsiteX7" fmla="*/ 9314982 w 9314982"/>
              <a:gd name="connsiteY7" fmla="*/ 6389 h 1889438164"/>
              <a:gd name="connsiteX0" fmla="*/ 0 w 9314982"/>
              <a:gd name="connsiteY0" fmla="*/ 1843002291 h 1889438164"/>
              <a:gd name="connsiteX1" fmla="*/ 1373744 w 9314982"/>
              <a:gd name="connsiteY1" fmla="*/ 1842031254 h 1889438164"/>
              <a:gd name="connsiteX2" fmla="*/ 2655330 w 9314982"/>
              <a:gd name="connsiteY2" fmla="*/ 1825007429 h 1889438164"/>
              <a:gd name="connsiteX3" fmla="*/ 3976773 w 9314982"/>
              <a:gd name="connsiteY3" fmla="*/ 1026242517 h 1889438164"/>
              <a:gd name="connsiteX4" fmla="*/ 5285529 w 9314982"/>
              <a:gd name="connsiteY4" fmla="*/ 1208262105 h 1889438164"/>
              <a:gd name="connsiteX5" fmla="*/ 6597412 w 9314982"/>
              <a:gd name="connsiteY5" fmla="*/ 1174749067 h 1889438164"/>
              <a:gd name="connsiteX6" fmla="*/ 7728486 w 9314982"/>
              <a:gd name="connsiteY6" fmla="*/ 3101631 h 1889438164"/>
              <a:gd name="connsiteX7" fmla="*/ 9314982 w 9314982"/>
              <a:gd name="connsiteY7" fmla="*/ 6389 h 1889438164"/>
              <a:gd name="connsiteX0" fmla="*/ 0 w 9314982"/>
              <a:gd name="connsiteY0" fmla="*/ 1843002291 h 1889438164"/>
              <a:gd name="connsiteX1" fmla="*/ 1373744 w 9314982"/>
              <a:gd name="connsiteY1" fmla="*/ 1842031254 h 1889438164"/>
              <a:gd name="connsiteX2" fmla="*/ 2655330 w 9314982"/>
              <a:gd name="connsiteY2" fmla="*/ 1825007429 h 1889438164"/>
              <a:gd name="connsiteX3" fmla="*/ 3976773 w 9314982"/>
              <a:gd name="connsiteY3" fmla="*/ 1026242517 h 1889438164"/>
              <a:gd name="connsiteX4" fmla="*/ 5285529 w 9314982"/>
              <a:gd name="connsiteY4" fmla="*/ 1208262105 h 1889438164"/>
              <a:gd name="connsiteX5" fmla="*/ 6597412 w 9314982"/>
              <a:gd name="connsiteY5" fmla="*/ 1174749067 h 1889438164"/>
              <a:gd name="connsiteX6" fmla="*/ 7728486 w 9314982"/>
              <a:gd name="connsiteY6" fmla="*/ 3101631 h 1889438164"/>
              <a:gd name="connsiteX7" fmla="*/ 9314982 w 9314982"/>
              <a:gd name="connsiteY7" fmla="*/ 6389 h 1889438164"/>
              <a:gd name="connsiteX0" fmla="*/ 0 w 9314982"/>
              <a:gd name="connsiteY0" fmla="*/ 1843002291 h 1889438164"/>
              <a:gd name="connsiteX1" fmla="*/ 1373744 w 9314982"/>
              <a:gd name="connsiteY1" fmla="*/ 1842031254 h 1889438164"/>
              <a:gd name="connsiteX2" fmla="*/ 2655330 w 9314982"/>
              <a:gd name="connsiteY2" fmla="*/ 1825007429 h 1889438164"/>
              <a:gd name="connsiteX3" fmla="*/ 3976773 w 9314982"/>
              <a:gd name="connsiteY3" fmla="*/ 1026242517 h 1889438164"/>
              <a:gd name="connsiteX4" fmla="*/ 5285529 w 9314982"/>
              <a:gd name="connsiteY4" fmla="*/ 1208262105 h 1889438164"/>
              <a:gd name="connsiteX5" fmla="*/ 6597412 w 9314982"/>
              <a:gd name="connsiteY5" fmla="*/ 1189249836 h 1889438164"/>
              <a:gd name="connsiteX6" fmla="*/ 7728486 w 9314982"/>
              <a:gd name="connsiteY6" fmla="*/ 3101631 h 1889438164"/>
              <a:gd name="connsiteX7" fmla="*/ 9314982 w 9314982"/>
              <a:gd name="connsiteY7" fmla="*/ 6389 h 1889438164"/>
              <a:gd name="connsiteX0" fmla="*/ 0 w 9314982"/>
              <a:gd name="connsiteY0" fmla="*/ 1842996154 h 2091217394"/>
              <a:gd name="connsiteX1" fmla="*/ 1373744 w 9314982"/>
              <a:gd name="connsiteY1" fmla="*/ 1842025117 h 2091217394"/>
              <a:gd name="connsiteX2" fmla="*/ 2655330 w 9314982"/>
              <a:gd name="connsiteY2" fmla="*/ 1825001292 h 2091217394"/>
              <a:gd name="connsiteX3" fmla="*/ 3976773 w 9314982"/>
              <a:gd name="connsiteY3" fmla="*/ 1026236380 h 2091217394"/>
              <a:gd name="connsiteX4" fmla="*/ 5285529 w 9314982"/>
              <a:gd name="connsiteY4" fmla="*/ 1208255968 h 2091217394"/>
              <a:gd name="connsiteX5" fmla="*/ 6597412 w 9314982"/>
              <a:gd name="connsiteY5" fmla="*/ 1189243699 h 2091217394"/>
              <a:gd name="connsiteX6" fmla="*/ 7945883 w 9314982"/>
              <a:gd name="connsiteY6" fmla="*/ 2091217394 h 2091217394"/>
              <a:gd name="connsiteX7" fmla="*/ 9314982 w 9314982"/>
              <a:gd name="connsiteY7" fmla="*/ 252 h 2091217394"/>
              <a:gd name="connsiteX0" fmla="*/ 0 w 9314982"/>
              <a:gd name="connsiteY0" fmla="*/ 1842996154 h 2091217394"/>
              <a:gd name="connsiteX1" fmla="*/ 1373744 w 9314982"/>
              <a:gd name="connsiteY1" fmla="*/ 1842025117 h 2091217394"/>
              <a:gd name="connsiteX2" fmla="*/ 2655330 w 9314982"/>
              <a:gd name="connsiteY2" fmla="*/ 1825001292 h 2091217394"/>
              <a:gd name="connsiteX3" fmla="*/ 3976773 w 9314982"/>
              <a:gd name="connsiteY3" fmla="*/ 1026236380 h 2091217394"/>
              <a:gd name="connsiteX4" fmla="*/ 5285529 w 9314982"/>
              <a:gd name="connsiteY4" fmla="*/ 1208255968 h 2091217394"/>
              <a:gd name="connsiteX5" fmla="*/ 6597412 w 9314982"/>
              <a:gd name="connsiteY5" fmla="*/ 1189243699 h 2091217394"/>
              <a:gd name="connsiteX6" fmla="*/ 7945883 w 9314982"/>
              <a:gd name="connsiteY6" fmla="*/ 2091217394 h 2091217394"/>
              <a:gd name="connsiteX7" fmla="*/ 9314982 w 9314982"/>
              <a:gd name="connsiteY7" fmla="*/ 252 h 2091217394"/>
              <a:gd name="connsiteX0" fmla="*/ 0 w 9314982"/>
              <a:gd name="connsiteY0" fmla="*/ 1842996154 h 2091217394"/>
              <a:gd name="connsiteX1" fmla="*/ 1373744 w 9314982"/>
              <a:gd name="connsiteY1" fmla="*/ 1842025117 h 2091217394"/>
              <a:gd name="connsiteX2" fmla="*/ 2655330 w 9314982"/>
              <a:gd name="connsiteY2" fmla="*/ 1825001292 h 2091217394"/>
              <a:gd name="connsiteX3" fmla="*/ 3976773 w 9314982"/>
              <a:gd name="connsiteY3" fmla="*/ 1026236380 h 2091217394"/>
              <a:gd name="connsiteX4" fmla="*/ 5285529 w 9314982"/>
              <a:gd name="connsiteY4" fmla="*/ 1208255968 h 2091217394"/>
              <a:gd name="connsiteX5" fmla="*/ 6597412 w 9314982"/>
              <a:gd name="connsiteY5" fmla="*/ 1189243699 h 2091217394"/>
              <a:gd name="connsiteX6" fmla="*/ 7945883 w 9314982"/>
              <a:gd name="connsiteY6" fmla="*/ 2091217394 h 2091217394"/>
              <a:gd name="connsiteX7" fmla="*/ 9314982 w 9314982"/>
              <a:gd name="connsiteY7" fmla="*/ 252 h 2091217394"/>
              <a:gd name="connsiteX0" fmla="*/ 0 w 9314982"/>
              <a:gd name="connsiteY0" fmla="*/ 1842996154 h 2091217394"/>
              <a:gd name="connsiteX1" fmla="*/ 1373744 w 9314982"/>
              <a:gd name="connsiteY1" fmla="*/ 1842025117 h 2091217394"/>
              <a:gd name="connsiteX2" fmla="*/ 2655330 w 9314982"/>
              <a:gd name="connsiteY2" fmla="*/ 1825001292 h 2091217394"/>
              <a:gd name="connsiteX3" fmla="*/ 3976773 w 9314982"/>
              <a:gd name="connsiteY3" fmla="*/ 1026236380 h 2091217394"/>
              <a:gd name="connsiteX4" fmla="*/ 5285529 w 9314982"/>
              <a:gd name="connsiteY4" fmla="*/ 1174420388 h 2091217394"/>
              <a:gd name="connsiteX5" fmla="*/ 6597412 w 9314982"/>
              <a:gd name="connsiteY5" fmla="*/ 1189243699 h 2091217394"/>
              <a:gd name="connsiteX6" fmla="*/ 7945883 w 9314982"/>
              <a:gd name="connsiteY6" fmla="*/ 2091217394 h 2091217394"/>
              <a:gd name="connsiteX7" fmla="*/ 9314982 w 9314982"/>
              <a:gd name="connsiteY7" fmla="*/ 252 h 2091217394"/>
              <a:gd name="connsiteX0" fmla="*/ 0 w 9314982"/>
              <a:gd name="connsiteY0" fmla="*/ 1842996154 h 2091217394"/>
              <a:gd name="connsiteX1" fmla="*/ 1373744 w 9314982"/>
              <a:gd name="connsiteY1" fmla="*/ 1842025117 h 2091217394"/>
              <a:gd name="connsiteX2" fmla="*/ 2655330 w 9314982"/>
              <a:gd name="connsiteY2" fmla="*/ 1825001292 h 2091217394"/>
              <a:gd name="connsiteX3" fmla="*/ 3976773 w 9314982"/>
              <a:gd name="connsiteY3" fmla="*/ 1026236380 h 2091217394"/>
              <a:gd name="connsiteX4" fmla="*/ 5285529 w 9314982"/>
              <a:gd name="connsiteY4" fmla="*/ 1174420388 h 2091217394"/>
              <a:gd name="connsiteX5" fmla="*/ 6597412 w 9314982"/>
              <a:gd name="connsiteY5" fmla="*/ 1189243699 h 2091217394"/>
              <a:gd name="connsiteX6" fmla="*/ 7945883 w 9314982"/>
              <a:gd name="connsiteY6" fmla="*/ 2091217394 h 2091217394"/>
              <a:gd name="connsiteX7" fmla="*/ 9314982 w 9314982"/>
              <a:gd name="connsiteY7" fmla="*/ 252 h 2091217394"/>
              <a:gd name="connsiteX0" fmla="*/ 0 w 9314982"/>
              <a:gd name="connsiteY0" fmla="*/ 1842996154 h 2091217394"/>
              <a:gd name="connsiteX1" fmla="*/ 1373744 w 9314982"/>
              <a:gd name="connsiteY1" fmla="*/ 1842025117 h 2091217394"/>
              <a:gd name="connsiteX2" fmla="*/ 2655330 w 9314982"/>
              <a:gd name="connsiteY2" fmla="*/ 1825001292 h 2091217394"/>
              <a:gd name="connsiteX3" fmla="*/ 3976773 w 9314982"/>
              <a:gd name="connsiteY3" fmla="*/ 1026236380 h 2091217394"/>
              <a:gd name="connsiteX4" fmla="*/ 5285529 w 9314982"/>
              <a:gd name="connsiteY4" fmla="*/ 1174420388 h 2091217394"/>
              <a:gd name="connsiteX5" fmla="*/ 6597412 w 9314982"/>
              <a:gd name="connsiteY5" fmla="*/ 1194077061 h 2091217394"/>
              <a:gd name="connsiteX6" fmla="*/ 7945883 w 9314982"/>
              <a:gd name="connsiteY6" fmla="*/ 2091217394 h 2091217394"/>
              <a:gd name="connsiteX7" fmla="*/ 9314982 w 9314982"/>
              <a:gd name="connsiteY7" fmla="*/ 252 h 2091217394"/>
              <a:gd name="connsiteX0" fmla="*/ 0 w 9434201"/>
              <a:gd name="connsiteY0" fmla="*/ 845749036 h 1093970276"/>
              <a:gd name="connsiteX1" fmla="*/ 1373744 w 9434201"/>
              <a:gd name="connsiteY1" fmla="*/ 844777999 h 1093970276"/>
              <a:gd name="connsiteX2" fmla="*/ 2655330 w 9434201"/>
              <a:gd name="connsiteY2" fmla="*/ 827754174 h 1093970276"/>
              <a:gd name="connsiteX3" fmla="*/ 3976773 w 9434201"/>
              <a:gd name="connsiteY3" fmla="*/ 28989262 h 1093970276"/>
              <a:gd name="connsiteX4" fmla="*/ 5285529 w 9434201"/>
              <a:gd name="connsiteY4" fmla="*/ 177173270 h 1093970276"/>
              <a:gd name="connsiteX5" fmla="*/ 6597412 w 9434201"/>
              <a:gd name="connsiteY5" fmla="*/ 196829943 h 1093970276"/>
              <a:gd name="connsiteX6" fmla="*/ 7945883 w 9434201"/>
              <a:gd name="connsiteY6" fmla="*/ 1093970276 h 1093970276"/>
              <a:gd name="connsiteX7" fmla="*/ 9434201 w 9434201"/>
              <a:gd name="connsiteY7" fmla="*/ 907197790 h 1093970276"/>
              <a:gd name="connsiteX0" fmla="*/ 0 w 9272906"/>
              <a:gd name="connsiteY0" fmla="*/ 845749036 h 1093970276"/>
              <a:gd name="connsiteX1" fmla="*/ 1373744 w 9272906"/>
              <a:gd name="connsiteY1" fmla="*/ 844777999 h 1093970276"/>
              <a:gd name="connsiteX2" fmla="*/ 2655330 w 9272906"/>
              <a:gd name="connsiteY2" fmla="*/ 827754174 h 1093970276"/>
              <a:gd name="connsiteX3" fmla="*/ 3976773 w 9272906"/>
              <a:gd name="connsiteY3" fmla="*/ 28989262 h 1093970276"/>
              <a:gd name="connsiteX4" fmla="*/ 5285529 w 9272906"/>
              <a:gd name="connsiteY4" fmla="*/ 177173270 h 1093970276"/>
              <a:gd name="connsiteX5" fmla="*/ 6597412 w 9272906"/>
              <a:gd name="connsiteY5" fmla="*/ 196829943 h 1093970276"/>
              <a:gd name="connsiteX6" fmla="*/ 7945883 w 9272906"/>
              <a:gd name="connsiteY6" fmla="*/ 1093970276 h 1093970276"/>
              <a:gd name="connsiteX7" fmla="*/ 9272906 w 9272906"/>
              <a:gd name="connsiteY7" fmla="*/ 796024325 h 1093970276"/>
              <a:gd name="connsiteX0" fmla="*/ 0 w 9272906"/>
              <a:gd name="connsiteY0" fmla="*/ 845749036 h 1093970276"/>
              <a:gd name="connsiteX1" fmla="*/ 1373744 w 9272906"/>
              <a:gd name="connsiteY1" fmla="*/ 844777999 h 1093970276"/>
              <a:gd name="connsiteX2" fmla="*/ 2655330 w 9272906"/>
              <a:gd name="connsiteY2" fmla="*/ 827754174 h 1093970276"/>
              <a:gd name="connsiteX3" fmla="*/ 3976773 w 9272906"/>
              <a:gd name="connsiteY3" fmla="*/ 28989262 h 1093970276"/>
              <a:gd name="connsiteX4" fmla="*/ 5285529 w 9272906"/>
              <a:gd name="connsiteY4" fmla="*/ 177173270 h 1093970276"/>
              <a:gd name="connsiteX5" fmla="*/ 6597412 w 9272906"/>
              <a:gd name="connsiteY5" fmla="*/ 196829943 h 1093970276"/>
              <a:gd name="connsiteX6" fmla="*/ 7945883 w 9272906"/>
              <a:gd name="connsiteY6" fmla="*/ 1093970276 h 1093970276"/>
              <a:gd name="connsiteX7" fmla="*/ 9272906 w 9272906"/>
              <a:gd name="connsiteY7" fmla="*/ 796024325 h 109397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72906" h="1093970276">
                <a:moveTo>
                  <a:pt x="0" y="845749036"/>
                </a:moveTo>
                <a:cubicBezTo>
                  <a:pt x="423333" y="855194822"/>
                  <a:pt x="931189" y="847777143"/>
                  <a:pt x="1373744" y="844777999"/>
                </a:cubicBezTo>
                <a:cubicBezTo>
                  <a:pt x="1816299" y="841778855"/>
                  <a:pt x="2221492" y="963718963"/>
                  <a:pt x="2655330" y="827754174"/>
                </a:cubicBezTo>
                <a:cubicBezTo>
                  <a:pt x="3089168" y="691789385"/>
                  <a:pt x="3538407" y="137419413"/>
                  <a:pt x="3976773" y="28989262"/>
                </a:cubicBezTo>
                <a:cubicBezTo>
                  <a:pt x="4415140" y="-79440889"/>
                  <a:pt x="4848756" y="149199823"/>
                  <a:pt x="5285529" y="177173270"/>
                </a:cubicBezTo>
                <a:cubicBezTo>
                  <a:pt x="5722302" y="205146717"/>
                  <a:pt x="6231161" y="111701262"/>
                  <a:pt x="6597412" y="196829943"/>
                </a:cubicBezTo>
                <a:cubicBezTo>
                  <a:pt x="6963663" y="281958624"/>
                  <a:pt x="7564071" y="1093610126"/>
                  <a:pt x="7945883" y="1093970276"/>
                </a:cubicBezTo>
                <a:cubicBezTo>
                  <a:pt x="8403083" y="1094066231"/>
                  <a:pt x="9025962" y="829686701"/>
                  <a:pt x="9272906" y="796024325"/>
                </a:cubicBezTo>
              </a:path>
            </a:pathLst>
          </a:custGeom>
          <a:noFill/>
          <a:ln w="136525" cap="rnd">
            <a:solidFill>
              <a:srgbClr val="32E9FF"/>
            </a:solidFill>
            <a:headEnd/>
            <a:tailEnd/>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grpSp>
        <p:nvGrpSpPr>
          <p:cNvPr id="73" name="Group 90"/>
          <p:cNvGrpSpPr/>
          <p:nvPr/>
        </p:nvGrpSpPr>
        <p:grpSpPr>
          <a:xfrm>
            <a:off x="8960144" y="237259"/>
            <a:ext cx="2430508" cy="289004"/>
            <a:chOff x="9447824" y="732559"/>
            <a:chExt cx="2430508" cy="289004"/>
          </a:xfrm>
        </p:grpSpPr>
        <p:grpSp>
          <p:nvGrpSpPr>
            <p:cNvPr id="75"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103"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104"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77"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101"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102"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79"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99"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100"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cxnSp>
        <p:nvCxnSpPr>
          <p:cNvPr id="81" name="Straight Connector 80">
            <a:extLst>
              <a:ext uri="{FF2B5EF4-FFF2-40B4-BE49-F238E27FC236}">
                <a16:creationId xmlns:a16="http://schemas.microsoft.com/office/drawing/2014/main" id="{5E96CE9A-0D7A-4B2C-B11E-6E5E23B88557}"/>
              </a:ext>
            </a:extLst>
          </p:cNvPr>
          <p:cNvCxnSpPr>
            <a:cxnSpLocks/>
          </p:cNvCxnSpPr>
          <p:nvPr/>
        </p:nvCxnSpPr>
        <p:spPr>
          <a:xfrm>
            <a:off x="9250512" y="2905495"/>
            <a:ext cx="318112" cy="0"/>
          </a:xfrm>
          <a:prstGeom prst="line">
            <a:avLst/>
          </a:prstGeom>
          <a:noFill/>
          <a:ln w="136525" cap="rnd" algn="ctr">
            <a:solidFill>
              <a:srgbClr val="A1D794"/>
            </a:solidFill>
            <a:round/>
            <a:headEnd/>
            <a:tailEnd/>
          </a:ln>
        </p:spPr>
      </p:cxnSp>
    </p:spTree>
    <p:extLst>
      <p:ext uri="{BB962C8B-B14F-4D97-AF65-F5344CB8AC3E}">
        <p14:creationId xmlns:p14="http://schemas.microsoft.com/office/powerpoint/2010/main" val="29361339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Group 29"/>
          <p:cNvGraphicFramePr>
            <a:graphicFrameLocks noGrp="1"/>
          </p:cNvGraphicFramePr>
          <p:nvPr/>
        </p:nvGraphicFramePr>
        <p:xfrm>
          <a:off x="373085" y="1129608"/>
          <a:ext cx="11445832" cy="5376564"/>
        </p:xfrm>
        <a:graphic>
          <a:graphicData uri="http://schemas.openxmlformats.org/drawingml/2006/table">
            <a:tbl>
              <a:tblPr/>
              <a:tblGrid>
                <a:gridCol w="1923228">
                  <a:extLst>
                    <a:ext uri="{9D8B030D-6E8A-4147-A177-3AD203B41FA5}">
                      <a16:colId xmlns:a16="http://schemas.microsoft.com/office/drawing/2014/main" val="20000"/>
                    </a:ext>
                  </a:extLst>
                </a:gridCol>
                <a:gridCol w="4761302">
                  <a:extLst>
                    <a:ext uri="{9D8B030D-6E8A-4147-A177-3AD203B41FA5}">
                      <a16:colId xmlns:a16="http://schemas.microsoft.com/office/drawing/2014/main" val="20001"/>
                    </a:ext>
                  </a:extLst>
                </a:gridCol>
                <a:gridCol w="4761302">
                  <a:extLst>
                    <a:ext uri="{9D8B030D-6E8A-4147-A177-3AD203B41FA5}">
                      <a16:colId xmlns:a16="http://schemas.microsoft.com/office/drawing/2014/main" val="20002"/>
                    </a:ext>
                  </a:extLst>
                </a:gridCol>
              </a:tblGrid>
              <a:tr h="43200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50" b="1" i="0" u="none" strike="noStrike" cap="none" normalizeH="0" baseline="0" dirty="0">
                        <a:ln>
                          <a:noFill/>
                        </a:ln>
                        <a:solidFill>
                          <a:srgbClr val="002776"/>
                        </a:solidFill>
                        <a:effectLst/>
                        <a:latin typeface="+mj-lt"/>
                        <a:cs typeface="Arial" pitchFamily="34" charset="0"/>
                      </a:endParaRPr>
                    </a:p>
                  </a:txBody>
                  <a:tcPr marL="54864" marR="54864" marT="36576" marB="3657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Key</a:t>
                      </a:r>
                      <a:r>
                        <a:rPr lang="en-US" altLang="en-US" sz="1050" b="1" kern="1200" baseline="0" dirty="0">
                          <a:solidFill>
                            <a:schemeClr val="bg1"/>
                          </a:solidFill>
                          <a:latin typeface="+mn-lt"/>
                          <a:ea typeface="+mn-ea"/>
                          <a:cs typeface="+mn-cs"/>
                        </a:rPr>
                        <a:t> Observations</a:t>
                      </a:r>
                      <a:endParaRPr lang="en-US" altLang="en-US" sz="1050" b="1" kern="1200" dirty="0">
                        <a:solidFill>
                          <a:schemeClr val="bg1"/>
                        </a:solidFill>
                        <a:latin typeface="+mn-lt"/>
                        <a:ea typeface="+mn-ea"/>
                        <a:cs typeface="+mn-cs"/>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Business Implica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432000">
                <a:tc>
                  <a:txBody>
                    <a:bodyPr/>
                    <a:lstStyle/>
                    <a:p>
                      <a:pPr algn="l"/>
                      <a:r>
                        <a:rPr lang="en-US" sz="1050" b="1" dirty="0">
                          <a:solidFill>
                            <a:schemeClr val="bg1"/>
                          </a:solidFill>
                        </a:rPr>
                        <a:t>Proces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System exists, but process is not end-to-end. Tracking is done manually </a:t>
                      </a:r>
                      <a:r>
                        <a:rPr lang="ja-JP" altLang="en-US" sz="1050" dirty="0">
                          <a:solidFill>
                            <a:schemeClr val="tx1"/>
                          </a:solidFill>
                        </a:rPr>
                        <a:t>（</a:t>
                      </a:r>
                      <a:r>
                        <a:rPr lang="en-US" altLang="ja-JP" sz="1050" dirty="0">
                          <a:solidFill>
                            <a:schemeClr val="tx1"/>
                          </a:solidFill>
                        </a:rPr>
                        <a:t>MSBU</a:t>
                      </a:r>
                      <a:r>
                        <a:rPr lang="ja-JP" altLang="en-US" sz="1050" dirty="0">
                          <a:solidFill>
                            <a:schemeClr val="tx1"/>
                          </a:solidFill>
                        </a:rPr>
                        <a:t>）</a:t>
                      </a:r>
                      <a:endParaRPr lang="en-US" altLang="ja-JP" sz="1050" dirty="0">
                        <a:solidFill>
                          <a:schemeClr val="tx1"/>
                        </a:solidFill>
                      </a:endParaRPr>
                    </a:p>
                    <a:p>
                      <a:pPr marL="171450" indent="-171450">
                        <a:lnSpc>
                          <a:spcPct val="100000"/>
                        </a:lnSpc>
                        <a:spcBef>
                          <a:spcPts val="0"/>
                        </a:spcBef>
                        <a:buFont typeface="Arial" panose="020B0604020202020204" pitchFamily="34" charset="0"/>
                        <a:buChar char="•"/>
                      </a:pPr>
                      <a:r>
                        <a:rPr lang="en-US" altLang="ja-JP" sz="1050" dirty="0">
                          <a:solidFill>
                            <a:schemeClr val="tx1"/>
                          </a:solidFill>
                        </a:rPr>
                        <a:t>Process is different by product type, but no relation in function between products</a:t>
                      </a:r>
                      <a:r>
                        <a:rPr lang="ja-JP" altLang="en-US" sz="1050" dirty="0">
                          <a:solidFill>
                            <a:schemeClr val="tx1"/>
                          </a:solidFill>
                        </a:rPr>
                        <a:t>（</a:t>
                      </a:r>
                      <a:r>
                        <a:rPr lang="en-US" altLang="ja-JP" sz="1050" dirty="0">
                          <a:solidFill>
                            <a:schemeClr val="tx1"/>
                          </a:solidFill>
                        </a:rPr>
                        <a:t>PSBU</a:t>
                      </a:r>
                      <a:r>
                        <a:rPr lang="ja-JP" altLang="en-US" sz="1050" dirty="0">
                          <a:solidFill>
                            <a:schemeClr val="tx1"/>
                          </a:solidFill>
                        </a:rPr>
                        <a:t>）</a:t>
                      </a:r>
                      <a:endParaRPr lang="en-US"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System should be one, and should have standardized process. On the other hand, there might need to have different process for certain products.</a:t>
                      </a:r>
                      <a:endParaRPr lang="ja-JP" altLang="en-US"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432000">
                <a:tc>
                  <a:txBody>
                    <a:bodyPr/>
                    <a:lstStyle/>
                    <a:p>
                      <a:pPr algn="l"/>
                      <a:r>
                        <a:rPr lang="en-US" sz="1050" b="1" dirty="0">
                          <a:solidFill>
                            <a:schemeClr val="bg1"/>
                          </a:solidFill>
                        </a:rPr>
                        <a:t>Approval</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Should be across all business units, but there are some left out</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Mainly done manually(e.g., raising hands)</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dirty="0">
                          <a:solidFill>
                            <a:schemeClr val="tx1"/>
                          </a:solidFill>
                        </a:rPr>
                        <a:t>Approval process need to be in advanced level. Must have process that has continuous reliability from customer</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32000">
                <a:tc>
                  <a:txBody>
                    <a:bodyPr/>
                    <a:lstStyle/>
                    <a:p>
                      <a:pPr algn="l"/>
                      <a:r>
                        <a:rPr lang="en-US" sz="1050" b="1" dirty="0">
                          <a:solidFill>
                            <a:schemeClr val="bg1"/>
                          </a:solidFill>
                        </a:rPr>
                        <a:t>Workflow</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Workflow exists, but base is for automotive, not enough flexibility.</a:t>
                      </a:r>
                      <a:r>
                        <a:rPr lang="ja-JP" altLang="en-US" sz="1050" b="0" baseline="0" dirty="0">
                          <a:solidFill>
                            <a:schemeClr val="tx1"/>
                          </a:solidFill>
                        </a:rPr>
                        <a:t> （</a:t>
                      </a:r>
                      <a:r>
                        <a:rPr lang="en-US" altLang="ja-JP" sz="1050" b="0" baseline="0" dirty="0">
                          <a:solidFill>
                            <a:schemeClr val="tx1"/>
                          </a:solidFill>
                        </a:rPr>
                        <a:t>MSBU</a:t>
                      </a:r>
                      <a:r>
                        <a:rPr lang="ja-JP" altLang="en-US" sz="1050" b="0" baseline="0" dirty="0">
                          <a:solidFill>
                            <a:schemeClr val="tx1"/>
                          </a:solidFill>
                        </a:rPr>
                        <a:t>）</a:t>
                      </a:r>
                      <a:endParaRPr lang="en-US" altLang="ja-JP" sz="1050" b="0" baseline="0" dirty="0">
                        <a:solidFill>
                          <a:schemeClr val="tx1"/>
                        </a:solidFill>
                      </a:endParaRP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Workflow exists, but not thorough. Some rework related to </a:t>
                      </a:r>
                      <a:br>
                        <a:rPr lang="en-US" altLang="ja-JP" sz="1050" b="0" baseline="0" dirty="0">
                          <a:solidFill>
                            <a:schemeClr val="tx1"/>
                          </a:solidFill>
                        </a:rPr>
                      </a:br>
                      <a:r>
                        <a:rPr lang="en-US" altLang="ja-JP" sz="1050" b="0" baseline="0" dirty="0">
                          <a:solidFill>
                            <a:schemeClr val="tx1"/>
                          </a:solidFill>
                        </a:rPr>
                        <a:t>quality</a:t>
                      </a:r>
                      <a:r>
                        <a:rPr lang="ja-JP" altLang="en-US" sz="1050" b="0" baseline="0" dirty="0">
                          <a:solidFill>
                            <a:schemeClr val="tx1"/>
                          </a:solidFill>
                        </a:rPr>
                        <a:t>（</a:t>
                      </a:r>
                      <a:r>
                        <a:rPr lang="en-US" altLang="ja-JP" sz="1050" b="0" baseline="0" dirty="0">
                          <a:solidFill>
                            <a:schemeClr val="tx1"/>
                          </a:solidFill>
                        </a:rPr>
                        <a:t>PSBU</a:t>
                      </a:r>
                      <a:r>
                        <a:rPr lang="ja-JP" altLang="en-US" sz="1050" b="0" baseline="0" dirty="0">
                          <a:solidFill>
                            <a:schemeClr val="tx1"/>
                          </a:solidFill>
                        </a:rPr>
                        <a:t>）</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Need flexibility in process</a:t>
                      </a:r>
                      <a:r>
                        <a:rPr lang="ja-JP" altLang="en-US" sz="1050" baseline="0" dirty="0">
                          <a:solidFill>
                            <a:schemeClr val="tx1"/>
                          </a:solidFill>
                        </a:rPr>
                        <a:t>（</a:t>
                      </a:r>
                      <a:r>
                        <a:rPr lang="en-US" altLang="ja-JP" sz="1050" baseline="0" dirty="0">
                          <a:solidFill>
                            <a:schemeClr val="tx1"/>
                          </a:solidFill>
                        </a:rPr>
                        <a:t>MSBU</a:t>
                      </a:r>
                      <a:r>
                        <a:rPr lang="ja-JP" altLang="en-US" sz="1050" baseline="0" dirty="0">
                          <a:solidFill>
                            <a:schemeClr val="tx1"/>
                          </a:solidFill>
                        </a:rPr>
                        <a:t>）</a:t>
                      </a:r>
                      <a:endParaRPr lang="en-US" altLang="ja-JP" sz="1050" baseline="0" dirty="0">
                        <a:solidFill>
                          <a:schemeClr val="tx1"/>
                        </a:solidFill>
                      </a:endParaRPr>
                    </a:p>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Need to standardize for better quality</a:t>
                      </a:r>
                      <a:r>
                        <a:rPr lang="ja-JP" altLang="en-US" sz="1050" baseline="0" dirty="0">
                          <a:solidFill>
                            <a:schemeClr val="tx1"/>
                          </a:solidFill>
                        </a:rPr>
                        <a:t>（</a:t>
                      </a:r>
                      <a:r>
                        <a:rPr lang="en-US" altLang="ja-JP" sz="1050" baseline="0" dirty="0">
                          <a:solidFill>
                            <a:schemeClr val="tx1"/>
                          </a:solidFill>
                        </a:rPr>
                        <a:t>PSBU</a:t>
                      </a:r>
                      <a:r>
                        <a:rPr lang="ja-JP" altLang="en-US" sz="1050" baseline="0" dirty="0">
                          <a:solidFill>
                            <a:schemeClr val="tx1"/>
                          </a:solidFill>
                        </a:rPr>
                        <a:t>）</a:t>
                      </a:r>
                      <a:endParaRPr lang="en-US" altLang="ja-JP" sz="1050" baseline="0" dirty="0">
                        <a:solidFill>
                          <a:schemeClr val="tx1"/>
                        </a:solidFill>
                      </a:endParaRPr>
                    </a:p>
                    <a:p>
                      <a:pPr marL="171450" indent="-171450">
                        <a:lnSpc>
                          <a:spcPct val="100000"/>
                        </a:lnSpc>
                        <a:spcBef>
                          <a:spcPts val="0"/>
                        </a:spcBef>
                        <a:buFont typeface="Arial" panose="020B0604020202020204" pitchFamily="34" charset="0"/>
                        <a:buChar char="•"/>
                      </a:pP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chemeClr val="bg1"/>
                          </a:solidFill>
                          <a:effectLst/>
                          <a:uLnTx/>
                          <a:uFillTx/>
                          <a:latin typeface="+mn-lt"/>
                          <a:ea typeface="+mn-ea"/>
                          <a:cs typeface="Tahoma" pitchFamily="34" charset="0"/>
                        </a:rPr>
                        <a:t>Change Request Consolid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t>Does not have function across oversea / Business units</a:t>
                      </a:r>
                      <a:r>
                        <a:rPr lang="ja-JP" altLang="en-US" sz="1050" dirty="0"/>
                        <a:t>（</a:t>
                      </a:r>
                      <a:r>
                        <a:rPr lang="en-US" altLang="ja-JP" sz="1050" dirty="0"/>
                        <a:t>MSBU</a:t>
                      </a:r>
                      <a:r>
                        <a:rPr lang="ja-JP" altLang="en-US" sz="1050" dirty="0"/>
                        <a:t>）</a:t>
                      </a:r>
                      <a:endParaRPr lang="en-US" altLang="ja-JP" sz="1050" dirty="0"/>
                    </a:p>
                    <a:p>
                      <a:pPr marL="171450" indent="-171450">
                        <a:lnSpc>
                          <a:spcPct val="100000"/>
                        </a:lnSpc>
                        <a:spcBef>
                          <a:spcPts val="0"/>
                        </a:spcBef>
                        <a:buFont typeface="Arial" panose="020B0604020202020204" pitchFamily="34" charset="0"/>
                        <a:buChar char="•"/>
                      </a:pPr>
                      <a:r>
                        <a:rPr lang="en-US" altLang="ja-JP" sz="1050" dirty="0"/>
                        <a:t>For some materials, making decision carefully as a whole solution</a:t>
                      </a:r>
                      <a:r>
                        <a:rPr lang="ja-JP" altLang="en-US" sz="1050" dirty="0"/>
                        <a:t>（</a:t>
                      </a:r>
                      <a:r>
                        <a:rPr lang="en-US" altLang="ja-JP" sz="1050" dirty="0"/>
                        <a:t>PSBU</a:t>
                      </a:r>
                      <a:r>
                        <a:rPr lang="ja-JP" altLang="en-US" sz="1050" dirty="0"/>
                        <a:t>）</a:t>
                      </a:r>
                      <a:endParaRPr lang="en-US" sz="1050" dirty="0"/>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No need for global standard as there are too many change requests</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96658287"/>
                  </a:ext>
                </a:extLst>
              </a:tr>
              <a:tr h="432000">
                <a:tc>
                  <a:txBody>
                    <a:bodyPr/>
                    <a:lstStyle/>
                    <a:p>
                      <a:pPr algn="l"/>
                      <a:r>
                        <a:rPr lang="en-US" sz="1050" b="1" dirty="0">
                          <a:solidFill>
                            <a:schemeClr val="bg1"/>
                          </a:solidFill>
                        </a:rPr>
                        <a:t>Customer &amp; Supplier Change Management </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Not strong enough relationship with supplier, one way communication</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Confirm to supplier by email / phone for tracking information</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Have more close communication with supplier, with system supporting tracking information</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Need visibility and keep record of communication history between supplier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3551714"/>
                  </a:ext>
                </a:extLst>
              </a:tr>
              <a:tr h="432000">
                <a:tc>
                  <a:txBody>
                    <a:bodyPr/>
                    <a:lstStyle/>
                    <a:p>
                      <a:pPr algn="l"/>
                      <a:r>
                        <a:rPr lang="en-US" sz="1050" b="1" dirty="0">
                          <a:solidFill>
                            <a:schemeClr val="bg1"/>
                          </a:solidFill>
                        </a:rPr>
                        <a:t>Cross-Functional Integration &amp;</a:t>
                      </a:r>
                      <a:r>
                        <a:rPr lang="en-US" sz="1050" b="1" baseline="0" dirty="0">
                          <a:solidFill>
                            <a:schemeClr val="bg1"/>
                          </a:solidFill>
                        </a:rPr>
                        <a:t> </a:t>
                      </a:r>
                      <a:r>
                        <a:rPr lang="en-US" sz="1050" b="1" dirty="0">
                          <a:solidFill>
                            <a:schemeClr val="bg1"/>
                          </a:solidFill>
                        </a:rPr>
                        <a:t>Traceability</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No cross-function traceability</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Unrealistic to consolidate all as there are too many processes. Focus on end result would be one idea </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Need manual work to incorporate any change, not efficient</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raceability is important for business perspective. Must be able to respond to the request from medical / automotive customers</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86354471"/>
                  </a:ext>
                </a:extLst>
              </a:tr>
              <a:tr h="432000">
                <a:tc>
                  <a:txBody>
                    <a:bodyPr/>
                    <a:lstStyle/>
                    <a:p>
                      <a:pPr algn="l"/>
                      <a:r>
                        <a:rPr lang="en-US" sz="1050" b="1" dirty="0">
                          <a:solidFill>
                            <a:schemeClr val="bg1"/>
                          </a:solidFill>
                        </a:rPr>
                        <a:t>Metrics &amp; Dashboard</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b="0" baseline="0" dirty="0">
                          <a:solidFill>
                            <a:schemeClr val="tx1"/>
                          </a:solidFill>
                        </a:rPr>
                        <a:t>No dashboard, but not many issues</a:t>
                      </a:r>
                      <a:r>
                        <a:rPr lang="ja-JP" altLang="en-US" sz="1050" b="0" baseline="0" dirty="0">
                          <a:solidFill>
                            <a:schemeClr val="tx1"/>
                          </a:solidFill>
                        </a:rPr>
                        <a:t>（</a:t>
                      </a:r>
                      <a:r>
                        <a:rPr lang="en-US" altLang="ja-JP" sz="1050" b="0" baseline="0" dirty="0">
                          <a:solidFill>
                            <a:schemeClr val="tx1"/>
                          </a:solidFill>
                        </a:rPr>
                        <a:t>MSBU</a:t>
                      </a:r>
                      <a:r>
                        <a:rPr lang="ja-JP" altLang="en-US" sz="1050" b="0" baseline="0" dirty="0">
                          <a:solidFill>
                            <a:schemeClr val="tx1"/>
                          </a:solidFill>
                        </a:rPr>
                        <a:t>）</a:t>
                      </a:r>
                      <a:endParaRPr lang="en-US" altLang="ja-JP" sz="1050" b="0" baseline="0" dirty="0">
                        <a:solidFill>
                          <a:schemeClr val="tx1"/>
                        </a:solidFill>
                      </a:endParaRP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Dashboard exists, and being able to track KPI, but some are left behind</a:t>
                      </a:r>
                      <a:r>
                        <a:rPr lang="ja-JP" altLang="en-US" sz="1050" b="0" baseline="0" dirty="0">
                          <a:solidFill>
                            <a:schemeClr val="tx1"/>
                          </a:solidFill>
                        </a:rPr>
                        <a:t>（</a:t>
                      </a:r>
                      <a:r>
                        <a:rPr lang="en-US" altLang="ja-JP" sz="1050" b="0" baseline="0" dirty="0">
                          <a:solidFill>
                            <a:schemeClr val="tx1"/>
                          </a:solidFill>
                        </a:rPr>
                        <a:t>PSBU</a:t>
                      </a:r>
                      <a:r>
                        <a:rPr lang="ja-JP" altLang="en-US" sz="1050" b="0" baseline="0" dirty="0">
                          <a:solidFill>
                            <a:schemeClr val="tx1"/>
                          </a:solidFill>
                        </a:rPr>
                        <a:t>）</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Dashboard might be necessary, but not primary focus</a:t>
                      </a:r>
                      <a:r>
                        <a:rPr lang="ja-JP" altLang="en-US" sz="1050" baseline="0" dirty="0">
                          <a:solidFill>
                            <a:schemeClr val="tx1"/>
                          </a:solidFill>
                        </a:rPr>
                        <a:t>（</a:t>
                      </a:r>
                      <a:r>
                        <a:rPr lang="en-US" altLang="ja-JP" sz="1050" baseline="0" dirty="0">
                          <a:solidFill>
                            <a:schemeClr val="tx1"/>
                          </a:solidFill>
                        </a:rPr>
                        <a:t>MSBU</a:t>
                      </a:r>
                      <a:r>
                        <a:rPr lang="ja-JP" altLang="en-US" sz="1050" baseline="0" dirty="0">
                          <a:solidFill>
                            <a:schemeClr val="tx1"/>
                          </a:solidFill>
                        </a:rPr>
                        <a:t>）</a:t>
                      </a:r>
                      <a:endParaRPr lang="en-US" altLang="ja-JP" sz="1050" baseline="0" dirty="0">
                        <a:solidFill>
                          <a:schemeClr val="tx1"/>
                        </a:solidFill>
                      </a:endParaRPr>
                    </a:p>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Need dashboard which can evaluate different types of product / KPI</a:t>
                      </a:r>
                      <a:r>
                        <a:rPr lang="ja-JP" altLang="en-US" sz="1050" baseline="0" dirty="0">
                          <a:solidFill>
                            <a:schemeClr val="tx1"/>
                          </a:solidFill>
                        </a:rPr>
                        <a:t>（</a:t>
                      </a:r>
                      <a:r>
                        <a:rPr lang="en-US" altLang="ja-JP" sz="1050" baseline="0" dirty="0">
                          <a:solidFill>
                            <a:schemeClr val="tx1"/>
                          </a:solidFill>
                        </a:rPr>
                        <a:t>PSBU</a:t>
                      </a:r>
                      <a:r>
                        <a:rPr lang="ja-JP" altLang="en-US" sz="1050" baseline="0" dirty="0">
                          <a:solidFill>
                            <a:schemeClr val="tx1"/>
                          </a:solidFill>
                        </a:rPr>
                        <a:t>）</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46147242"/>
                  </a:ext>
                </a:extLst>
              </a:tr>
              <a:tr h="432000">
                <a:tc>
                  <a:txBody>
                    <a:bodyPr/>
                    <a:lstStyle/>
                    <a:p>
                      <a:pPr algn="l"/>
                      <a:r>
                        <a:rPr lang="en-US" sz="1050" b="1" dirty="0">
                          <a:solidFill>
                            <a:schemeClr val="bg1"/>
                          </a:solidFill>
                        </a:rPr>
                        <a:t>Change Order</a:t>
                      </a:r>
                      <a:br>
                        <a:rPr lang="en-US" sz="1050" b="1" dirty="0">
                          <a:solidFill>
                            <a:schemeClr val="bg1"/>
                          </a:solidFill>
                        </a:rPr>
                      </a:br>
                      <a:r>
                        <a:rPr lang="en-US" sz="1050" b="1" dirty="0">
                          <a:solidFill>
                            <a:schemeClr val="bg1"/>
                          </a:solidFill>
                        </a:rPr>
                        <a:t>Communic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Email base, but good communication with customer</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Quality of communication is not enough, need form template</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b="0" baseline="0" dirty="0">
                          <a:solidFill>
                            <a:schemeClr val="tx1"/>
                          </a:solidFill>
                        </a:rPr>
                        <a:t>Need to raise the level of communication with customer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b="0" baseline="0" dirty="0">
                          <a:solidFill>
                            <a:schemeClr val="tx1"/>
                          </a:solidFill>
                        </a:rPr>
                        <a:t>Sometimes, there are cases where information is not correctly informed to manufacturing, which leads to high business risk</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9054611"/>
                  </a:ext>
                </a:extLst>
              </a:tr>
            </a:tbl>
          </a:graphicData>
        </a:graphic>
      </p:graphicFrame>
      <p:sp>
        <p:nvSpPr>
          <p:cNvPr id="6" name="Title 3">
            <a:extLst>
              <a:ext uri="{FF2B5EF4-FFF2-40B4-BE49-F238E27FC236}">
                <a16:creationId xmlns:a16="http://schemas.microsoft.com/office/drawing/2014/main" id="{026705D2-9A1E-4A1F-80F4-6BC1AE8E4025}"/>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lvl="0" defTabSz="914400">
              <a:defRPr/>
            </a:pPr>
            <a:r>
              <a:rPr lang="en-US" sz="2400" b="1" dirty="0">
                <a:solidFill>
                  <a:prstClr val="black"/>
                </a:solidFill>
              </a:rPr>
              <a:t>Change Management (CM) and Control</a:t>
            </a:r>
          </a:p>
        </p:txBody>
      </p:sp>
    </p:spTree>
    <p:extLst>
      <p:ext uri="{BB962C8B-B14F-4D97-AF65-F5344CB8AC3E}">
        <p14:creationId xmlns:p14="http://schemas.microsoft.com/office/powerpoint/2010/main" val="40445343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en-US" dirty="0"/>
              <a:t>Current-State Capability BOM Management</a:t>
            </a:r>
          </a:p>
        </p:txBody>
      </p:sp>
      <p:sp>
        <p:nvSpPr>
          <p:cNvPr id="7" name="Rectangle 6">
            <a:extLst>
              <a:ext uri="{FF2B5EF4-FFF2-40B4-BE49-F238E27FC236}">
                <a16:creationId xmlns:a16="http://schemas.microsoft.com/office/drawing/2014/main" id="{1617907B-D8E2-4123-ACEC-F245D7D4077D}"/>
              </a:ext>
            </a:extLst>
          </p:cNvPr>
          <p:cNvSpPr>
            <a:spLocks noChangeArrowheads="1"/>
          </p:cNvSpPr>
          <p:nvPr/>
        </p:nvSpPr>
        <p:spPr bwMode="gray">
          <a:xfrm>
            <a:off x="1263928" y="1812899"/>
            <a:ext cx="3085363" cy="215444"/>
          </a:xfrm>
          <a:prstGeom prst="rect">
            <a:avLst/>
          </a:prstGeom>
          <a:solidFill>
            <a:schemeClr val="bg1"/>
          </a:solidFill>
          <a:ln w="12700" cap="rnd" algn="ctr">
            <a:noFill/>
            <a:miter lim="800000"/>
            <a:headEnd/>
            <a:tailEnd/>
          </a:ln>
        </p:spPr>
        <p:txBody>
          <a:bodyPr wrap="square" lIns="71966" tIns="0" rIns="71966" bIns="0" anchor="ctr" anchorCtr="1">
            <a:spAutoFit/>
          </a:bodyPr>
          <a:lstStyle/>
          <a:p>
            <a:pPr defTabSz="913961" fontAlgn="base">
              <a:spcBef>
                <a:spcPct val="20000"/>
              </a:spcBef>
              <a:spcAft>
                <a:spcPct val="0"/>
              </a:spcAft>
            </a:pPr>
            <a:r>
              <a:rPr lang="en-US" sz="1400" b="1" dirty="0">
                <a:solidFill>
                  <a:srgbClr val="92D400"/>
                </a:solidFill>
                <a:latin typeface="+mj-lt"/>
                <a:cs typeface="Arial" pitchFamily="34" charset="0"/>
              </a:rPr>
              <a:t>Current State Journey</a:t>
            </a:r>
          </a:p>
        </p:txBody>
      </p:sp>
      <p:pic>
        <p:nvPicPr>
          <p:cNvPr id="8" name="Picture 7">
            <a:extLst>
              <a:ext uri="{FF2B5EF4-FFF2-40B4-BE49-F238E27FC236}">
                <a16:creationId xmlns:a16="http://schemas.microsoft.com/office/drawing/2014/main" id="{F58A16F7-C5FE-4FA0-95B9-317D632AC5C9}"/>
              </a:ext>
            </a:extLst>
          </p:cNvPr>
          <p:cNvPicPr>
            <a:picLocks noChangeAspect="1" noChangeArrowheads="1"/>
          </p:cNvPicPr>
          <p:nvPr/>
        </p:nvPicPr>
        <p:blipFill>
          <a:blip r:embed="rId2">
            <a:lum contrast="22000"/>
            <a:extLst>
              <a:ext uri="{28A0092B-C50C-407E-A947-70E740481C1C}">
                <a14:useLocalDpi xmlns:a14="http://schemas.microsoft.com/office/drawing/2010/main" val="0"/>
              </a:ext>
            </a:extLst>
          </a:blip>
          <a:srcRect/>
          <a:stretch>
            <a:fillRect/>
          </a:stretch>
        </p:blipFill>
        <p:spPr bwMode="auto">
          <a:xfrm>
            <a:off x="1197632" y="2240043"/>
            <a:ext cx="9311976" cy="2749079"/>
          </a:xfrm>
          <a:prstGeom prst="rect">
            <a:avLst/>
          </a:prstGeom>
          <a:solidFill>
            <a:schemeClr val="accent1">
              <a:lumMod val="20000"/>
              <a:lumOff val="80000"/>
            </a:schemeClr>
          </a:solidFill>
          <a:ln>
            <a:noFill/>
          </a:ln>
          <a:effectLst/>
        </p:spPr>
      </p:pic>
      <p:sp>
        <p:nvSpPr>
          <p:cNvPr id="9" name="Rectangle 8">
            <a:extLst>
              <a:ext uri="{FF2B5EF4-FFF2-40B4-BE49-F238E27FC236}">
                <a16:creationId xmlns:a16="http://schemas.microsoft.com/office/drawing/2014/main" id="{7B1A2920-D963-46D7-9BBE-A417E9448C54}"/>
              </a:ext>
            </a:extLst>
          </p:cNvPr>
          <p:cNvSpPr/>
          <p:nvPr/>
        </p:nvSpPr>
        <p:spPr bwMode="invGray">
          <a:xfrm>
            <a:off x="7302495" y="2611651"/>
            <a:ext cx="1354655" cy="230832"/>
          </a:xfrm>
          <a:prstGeom prst="rect">
            <a:avLst/>
          </a:prstGeom>
          <a:scene3d>
            <a:camera prst="orthographicFront">
              <a:rot lat="0" lon="0" rev="0"/>
            </a:camera>
            <a:lightRig rig="threePt" dir="t"/>
          </a:scene3d>
        </p:spPr>
        <p:txBody>
          <a:bodyPr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900" dirty="0">
              <a:solidFill>
                <a:prstClr val="white"/>
              </a:solidFill>
              <a:latin typeface="+mj-lt"/>
            </a:endParaRPr>
          </a:p>
        </p:txBody>
      </p:sp>
      <p:sp>
        <p:nvSpPr>
          <p:cNvPr id="10" name="Text Box 24">
            <a:extLst>
              <a:ext uri="{FF2B5EF4-FFF2-40B4-BE49-F238E27FC236}">
                <a16:creationId xmlns:a16="http://schemas.microsoft.com/office/drawing/2014/main" id="{EE00105A-566B-47B3-A87C-CAE93F806529}"/>
              </a:ext>
            </a:extLst>
          </p:cNvPr>
          <p:cNvSpPr txBox="1">
            <a:spLocks noChangeArrowheads="1"/>
          </p:cNvSpPr>
          <p:nvPr/>
        </p:nvSpPr>
        <p:spPr bwMode="auto">
          <a:xfrm>
            <a:off x="3620122" y="4305588"/>
            <a:ext cx="2095323" cy="34414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Design Review</a:t>
            </a:r>
          </a:p>
          <a:p>
            <a:pPr algn="l" defTabSz="913961" fontAlgn="auto">
              <a:spcBef>
                <a:spcPts val="0"/>
              </a:spcBef>
              <a:spcAft>
                <a:spcPts val="0"/>
              </a:spcAft>
              <a:defRPr/>
            </a:pPr>
            <a:r>
              <a:rPr lang="en-US" kern="0" dirty="0">
                <a:solidFill>
                  <a:srgbClr val="002776"/>
                </a:solidFill>
                <a:latin typeface="+mj-lt"/>
              </a:rPr>
              <a:t>Feasibility Study</a:t>
            </a:r>
          </a:p>
          <a:p>
            <a:pPr algn="l" defTabSz="913961" fontAlgn="auto">
              <a:spcBef>
                <a:spcPts val="0"/>
              </a:spcBef>
              <a:spcAft>
                <a:spcPts val="0"/>
              </a:spcAft>
              <a:defRPr/>
            </a:pPr>
            <a:r>
              <a:rPr lang="en-US" kern="0" dirty="0">
                <a:solidFill>
                  <a:srgbClr val="002776"/>
                </a:solidFill>
                <a:latin typeface="+mj-lt"/>
              </a:rPr>
              <a:t>Final Material Selection</a:t>
            </a:r>
          </a:p>
        </p:txBody>
      </p:sp>
      <p:sp>
        <p:nvSpPr>
          <p:cNvPr id="11" name="Text Box 24">
            <a:extLst>
              <a:ext uri="{FF2B5EF4-FFF2-40B4-BE49-F238E27FC236}">
                <a16:creationId xmlns:a16="http://schemas.microsoft.com/office/drawing/2014/main" id="{FEC057F0-58B4-4B1B-BE17-B6AD277A3863}"/>
              </a:ext>
            </a:extLst>
          </p:cNvPr>
          <p:cNvSpPr txBox="1">
            <a:spLocks noChangeArrowheads="1"/>
          </p:cNvSpPr>
          <p:nvPr/>
        </p:nvSpPr>
        <p:spPr bwMode="auto">
          <a:xfrm>
            <a:off x="4297191" y="2599727"/>
            <a:ext cx="1889780" cy="33237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Documenting Engineering BOM(PDD)</a:t>
            </a:r>
          </a:p>
        </p:txBody>
      </p:sp>
      <p:sp>
        <p:nvSpPr>
          <p:cNvPr id="12" name="Text Box 9">
            <a:extLst>
              <a:ext uri="{FF2B5EF4-FFF2-40B4-BE49-F238E27FC236}">
                <a16:creationId xmlns:a16="http://schemas.microsoft.com/office/drawing/2014/main" id="{C8A41943-F33A-4533-A39B-9CD8C84306AD}"/>
              </a:ext>
            </a:extLst>
          </p:cNvPr>
          <p:cNvSpPr txBox="1">
            <a:spLocks noChangeArrowheads="1"/>
          </p:cNvSpPr>
          <p:nvPr/>
        </p:nvSpPr>
        <p:spPr bwMode="gray">
          <a:xfrm>
            <a:off x="2156323" y="2643498"/>
            <a:ext cx="855935" cy="176095"/>
          </a:xfrm>
          <a:prstGeom prst="rect">
            <a:avLst/>
          </a:prstGeom>
          <a:noFill/>
          <a:ln w="12700" algn="ctr">
            <a:noFill/>
            <a:miter lim="800000"/>
            <a:headEnd/>
            <a:tailEnd/>
          </a:ln>
          <a:effectLst/>
        </p:spPr>
        <p:txBody>
          <a:bodyPr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1</a:t>
            </a:r>
          </a:p>
        </p:txBody>
      </p:sp>
      <p:sp>
        <p:nvSpPr>
          <p:cNvPr id="13" name="Oval 12">
            <a:extLst>
              <a:ext uri="{FF2B5EF4-FFF2-40B4-BE49-F238E27FC236}">
                <a16:creationId xmlns:a16="http://schemas.microsoft.com/office/drawing/2014/main" id="{032AF74C-4888-4BB8-A919-D966CF10B213}"/>
              </a:ext>
            </a:extLst>
          </p:cNvPr>
          <p:cNvSpPr>
            <a:spLocks noChangeArrowheads="1"/>
          </p:cNvSpPr>
          <p:nvPr/>
        </p:nvSpPr>
        <p:spPr bwMode="gray">
          <a:xfrm>
            <a:off x="1686199" y="2596105"/>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1</a:t>
            </a:r>
          </a:p>
        </p:txBody>
      </p:sp>
      <p:sp>
        <p:nvSpPr>
          <p:cNvPr id="14" name="Text Box 10">
            <a:extLst>
              <a:ext uri="{FF2B5EF4-FFF2-40B4-BE49-F238E27FC236}">
                <a16:creationId xmlns:a16="http://schemas.microsoft.com/office/drawing/2014/main" id="{9AB60634-0756-4848-9686-A7E0E572378C}"/>
              </a:ext>
            </a:extLst>
          </p:cNvPr>
          <p:cNvSpPr txBox="1">
            <a:spLocks noChangeArrowheads="1"/>
          </p:cNvSpPr>
          <p:nvPr/>
        </p:nvSpPr>
        <p:spPr bwMode="gray">
          <a:xfrm>
            <a:off x="3630604" y="4088230"/>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2</a:t>
            </a:r>
          </a:p>
        </p:txBody>
      </p:sp>
      <p:sp>
        <p:nvSpPr>
          <p:cNvPr id="15" name="Line 28">
            <a:extLst>
              <a:ext uri="{FF2B5EF4-FFF2-40B4-BE49-F238E27FC236}">
                <a16:creationId xmlns:a16="http://schemas.microsoft.com/office/drawing/2014/main" id="{888E09D3-4434-4D5C-8407-D2929B50A26B}"/>
              </a:ext>
            </a:extLst>
          </p:cNvPr>
          <p:cNvSpPr>
            <a:spLocks noChangeShapeType="1"/>
          </p:cNvSpPr>
          <p:nvPr/>
        </p:nvSpPr>
        <p:spPr bwMode="auto">
          <a:xfrm flipV="1">
            <a:off x="3377117" y="3874998"/>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16" name="Text Box 11">
            <a:extLst>
              <a:ext uri="{FF2B5EF4-FFF2-40B4-BE49-F238E27FC236}">
                <a16:creationId xmlns:a16="http://schemas.microsoft.com/office/drawing/2014/main" id="{46B996A9-99E3-4826-B6E1-B3F9341EA480}"/>
              </a:ext>
            </a:extLst>
          </p:cNvPr>
          <p:cNvSpPr txBox="1">
            <a:spLocks noChangeArrowheads="1"/>
          </p:cNvSpPr>
          <p:nvPr/>
        </p:nvSpPr>
        <p:spPr bwMode="gray">
          <a:xfrm>
            <a:off x="4297193" y="2385155"/>
            <a:ext cx="1477186" cy="177539"/>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3</a:t>
            </a:r>
          </a:p>
        </p:txBody>
      </p:sp>
      <p:sp>
        <p:nvSpPr>
          <p:cNvPr id="17" name="Rectangle 16">
            <a:extLst>
              <a:ext uri="{FF2B5EF4-FFF2-40B4-BE49-F238E27FC236}">
                <a16:creationId xmlns:a16="http://schemas.microsoft.com/office/drawing/2014/main" id="{9EB41562-1EC8-4C34-977A-A1ADF53BCBD8}"/>
              </a:ext>
            </a:extLst>
          </p:cNvPr>
          <p:cNvSpPr/>
          <p:nvPr/>
        </p:nvSpPr>
        <p:spPr bwMode="auto">
          <a:xfrm>
            <a:off x="1185243" y="1719587"/>
            <a:ext cx="9313296" cy="326953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defPPr>
              <a:defRPr lang="en-US"/>
            </a:defPPr>
            <a:lvl1pPr algn="ctr" rtl="0" fontAlgn="base">
              <a:spcBef>
                <a:spcPct val="20000"/>
              </a:spcBef>
              <a:spcAft>
                <a:spcPct val="0"/>
              </a:spcAft>
              <a:defRPr sz="1100" b="1" kern="1200">
                <a:solidFill>
                  <a:schemeClr val="lt1"/>
                </a:solidFill>
                <a:latin typeface="+mn-lt"/>
                <a:ea typeface="+mn-ea"/>
                <a:cs typeface="+mn-cs"/>
              </a:defRPr>
            </a:lvl1pPr>
            <a:lvl2pPr marL="457200" algn="ctr" rtl="0" fontAlgn="base">
              <a:spcBef>
                <a:spcPct val="20000"/>
              </a:spcBef>
              <a:spcAft>
                <a:spcPct val="0"/>
              </a:spcAft>
              <a:defRPr sz="1100" b="1" kern="1200">
                <a:solidFill>
                  <a:schemeClr val="lt1"/>
                </a:solidFill>
                <a:latin typeface="+mn-lt"/>
                <a:ea typeface="+mn-ea"/>
                <a:cs typeface="+mn-cs"/>
              </a:defRPr>
            </a:lvl2pPr>
            <a:lvl3pPr marL="914400" algn="ctr" rtl="0" fontAlgn="base">
              <a:spcBef>
                <a:spcPct val="20000"/>
              </a:spcBef>
              <a:spcAft>
                <a:spcPct val="0"/>
              </a:spcAft>
              <a:defRPr sz="1100" b="1" kern="1200">
                <a:solidFill>
                  <a:schemeClr val="lt1"/>
                </a:solidFill>
                <a:latin typeface="+mn-lt"/>
                <a:ea typeface="+mn-ea"/>
                <a:cs typeface="+mn-cs"/>
              </a:defRPr>
            </a:lvl3pPr>
            <a:lvl4pPr marL="1371600" algn="ctr" rtl="0" fontAlgn="base">
              <a:spcBef>
                <a:spcPct val="20000"/>
              </a:spcBef>
              <a:spcAft>
                <a:spcPct val="0"/>
              </a:spcAft>
              <a:defRPr sz="1100" b="1" kern="1200">
                <a:solidFill>
                  <a:schemeClr val="lt1"/>
                </a:solidFill>
                <a:latin typeface="+mn-lt"/>
                <a:ea typeface="+mn-ea"/>
                <a:cs typeface="+mn-cs"/>
              </a:defRPr>
            </a:lvl4pPr>
            <a:lvl5pPr marL="1828800" algn="ctr" rtl="0" fontAlgn="base">
              <a:spcBef>
                <a:spcPct val="20000"/>
              </a:spcBef>
              <a:spcAft>
                <a:spcPct val="0"/>
              </a:spcAft>
              <a:defRPr sz="1100" b="1" kern="1200">
                <a:solidFill>
                  <a:schemeClr val="lt1"/>
                </a:solidFill>
                <a:latin typeface="+mn-lt"/>
                <a:ea typeface="+mn-ea"/>
                <a:cs typeface="+mn-cs"/>
              </a:defRPr>
            </a:lvl5pPr>
            <a:lvl6pPr marL="2286000" algn="l" defTabSz="914400" rtl="0" eaLnBrk="1" latinLnBrk="0" hangingPunct="1">
              <a:defRPr sz="1100" b="1" kern="1200">
                <a:solidFill>
                  <a:schemeClr val="lt1"/>
                </a:solidFill>
                <a:latin typeface="+mn-lt"/>
                <a:ea typeface="+mn-ea"/>
                <a:cs typeface="+mn-cs"/>
              </a:defRPr>
            </a:lvl6pPr>
            <a:lvl7pPr marL="2743200" algn="l" defTabSz="914400" rtl="0" eaLnBrk="1" latinLnBrk="0" hangingPunct="1">
              <a:defRPr sz="1100" b="1" kern="1200">
                <a:solidFill>
                  <a:schemeClr val="lt1"/>
                </a:solidFill>
                <a:latin typeface="+mn-lt"/>
                <a:ea typeface="+mn-ea"/>
                <a:cs typeface="+mn-cs"/>
              </a:defRPr>
            </a:lvl7pPr>
            <a:lvl8pPr marL="3200400" algn="l" defTabSz="914400" rtl="0" eaLnBrk="1" latinLnBrk="0" hangingPunct="1">
              <a:defRPr sz="1100" b="1" kern="1200">
                <a:solidFill>
                  <a:schemeClr val="lt1"/>
                </a:solidFill>
                <a:latin typeface="+mn-lt"/>
                <a:ea typeface="+mn-ea"/>
                <a:cs typeface="+mn-cs"/>
              </a:defRPr>
            </a:lvl8pPr>
            <a:lvl9pPr marL="3657600" algn="l" defTabSz="914400" rtl="0" eaLnBrk="1" latinLnBrk="0" hangingPunct="1">
              <a:defRPr sz="1100" b="1" kern="1200">
                <a:solidFill>
                  <a:schemeClr val="lt1"/>
                </a:solidFill>
                <a:latin typeface="+mn-lt"/>
                <a:ea typeface="+mn-ea"/>
                <a:cs typeface="+mn-cs"/>
              </a:defRPr>
            </a:lvl9pPr>
          </a:lstStyle>
          <a:p>
            <a:pPr defTabSz="913961" fontAlgn="auto">
              <a:spcBef>
                <a:spcPts val="0"/>
              </a:spcBef>
              <a:spcAft>
                <a:spcPts val="0"/>
              </a:spcAft>
              <a:defRPr/>
            </a:pPr>
            <a:endParaRPr lang="en-US" sz="1050" dirty="0">
              <a:solidFill>
                <a:prstClr val="white"/>
              </a:solidFill>
              <a:latin typeface="+mj-lt"/>
            </a:endParaRPr>
          </a:p>
        </p:txBody>
      </p:sp>
      <p:sp>
        <p:nvSpPr>
          <p:cNvPr id="18" name="Text Box 24">
            <a:extLst>
              <a:ext uri="{FF2B5EF4-FFF2-40B4-BE49-F238E27FC236}">
                <a16:creationId xmlns:a16="http://schemas.microsoft.com/office/drawing/2014/main" id="{FFC98F6A-C43A-4D2B-AF2D-DF855F9BFC67}"/>
              </a:ext>
            </a:extLst>
          </p:cNvPr>
          <p:cNvSpPr txBox="1">
            <a:spLocks noChangeArrowheads="1"/>
          </p:cNvSpPr>
          <p:nvPr/>
        </p:nvSpPr>
        <p:spPr bwMode="auto">
          <a:xfrm>
            <a:off x="2156323" y="2888641"/>
            <a:ext cx="1621347" cy="293726"/>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Detailed Engineering Design</a:t>
            </a:r>
          </a:p>
        </p:txBody>
      </p:sp>
      <p:sp>
        <p:nvSpPr>
          <p:cNvPr id="19" name="Text Box 24">
            <a:extLst>
              <a:ext uri="{FF2B5EF4-FFF2-40B4-BE49-F238E27FC236}">
                <a16:creationId xmlns:a16="http://schemas.microsoft.com/office/drawing/2014/main" id="{FE7CF495-07E0-40DF-B5B1-35D4E6592281}"/>
              </a:ext>
            </a:extLst>
          </p:cNvPr>
          <p:cNvSpPr txBox="1">
            <a:spLocks noChangeArrowheads="1"/>
          </p:cNvSpPr>
          <p:nvPr/>
        </p:nvSpPr>
        <p:spPr bwMode="auto">
          <a:xfrm>
            <a:off x="6232861" y="2209420"/>
            <a:ext cx="2174050" cy="625361"/>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spc="-20" dirty="0">
                <a:solidFill>
                  <a:srgbClr val="002776"/>
                </a:solidFill>
                <a:latin typeface="+mj-lt"/>
              </a:rPr>
              <a:t>SAP Loading</a:t>
            </a:r>
          </a:p>
          <a:p>
            <a:pPr marL="171450" indent="-171450" algn="l" defTabSz="913961" fontAlgn="auto">
              <a:spcBef>
                <a:spcPts val="0"/>
              </a:spcBef>
              <a:spcAft>
                <a:spcPts val="0"/>
              </a:spcAft>
              <a:buFont typeface="Arial" panose="020B0604020202020204" pitchFamily="34" charset="0"/>
              <a:buChar char="•"/>
              <a:defRPr/>
            </a:pPr>
            <a:r>
              <a:rPr lang="en-US" kern="0" spc="-20" dirty="0">
                <a:solidFill>
                  <a:srgbClr val="002776"/>
                </a:solidFill>
                <a:latin typeface="+mj-lt"/>
              </a:rPr>
              <a:t>Local Design Center Load</a:t>
            </a:r>
          </a:p>
          <a:p>
            <a:pPr marL="171450" indent="-171450" algn="l" defTabSz="913961" fontAlgn="auto">
              <a:spcBef>
                <a:spcPts val="0"/>
              </a:spcBef>
              <a:spcAft>
                <a:spcPts val="0"/>
              </a:spcAft>
              <a:buFont typeface="Arial" panose="020B0604020202020204" pitchFamily="34" charset="0"/>
              <a:buChar char="•"/>
              <a:defRPr/>
            </a:pPr>
            <a:r>
              <a:rPr lang="en-US" kern="0" spc="-20" dirty="0">
                <a:solidFill>
                  <a:srgbClr val="002776"/>
                </a:solidFill>
                <a:latin typeface="+mj-lt"/>
              </a:rPr>
              <a:t>Plant Level Load</a:t>
            </a:r>
          </a:p>
          <a:p>
            <a:pPr marL="171450" indent="-171450" algn="l" defTabSz="913961" fontAlgn="auto">
              <a:spcBef>
                <a:spcPts val="0"/>
              </a:spcBef>
              <a:spcAft>
                <a:spcPts val="0"/>
              </a:spcAft>
              <a:buFont typeface="Arial" panose="020B0604020202020204" pitchFamily="34" charset="0"/>
              <a:buChar char="•"/>
              <a:defRPr/>
            </a:pPr>
            <a:r>
              <a:rPr lang="en-US" kern="0" spc="-20" dirty="0">
                <a:solidFill>
                  <a:srgbClr val="002776"/>
                </a:solidFill>
                <a:latin typeface="+mj-lt"/>
              </a:rPr>
              <a:t>EHS/Compliance Checks</a:t>
            </a:r>
          </a:p>
        </p:txBody>
      </p:sp>
      <p:sp>
        <p:nvSpPr>
          <p:cNvPr id="20" name="Text Box 11">
            <a:extLst>
              <a:ext uri="{FF2B5EF4-FFF2-40B4-BE49-F238E27FC236}">
                <a16:creationId xmlns:a16="http://schemas.microsoft.com/office/drawing/2014/main" id="{D580D44A-823E-476D-8183-36AB135B8253}"/>
              </a:ext>
            </a:extLst>
          </p:cNvPr>
          <p:cNvSpPr txBox="1">
            <a:spLocks noChangeArrowheads="1"/>
          </p:cNvSpPr>
          <p:nvPr/>
        </p:nvSpPr>
        <p:spPr bwMode="gray">
          <a:xfrm>
            <a:off x="6232860" y="2014062"/>
            <a:ext cx="1341777"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5</a:t>
            </a:r>
          </a:p>
        </p:txBody>
      </p:sp>
      <p:sp>
        <p:nvSpPr>
          <p:cNvPr id="21" name="Text Box 24">
            <a:extLst>
              <a:ext uri="{FF2B5EF4-FFF2-40B4-BE49-F238E27FC236}">
                <a16:creationId xmlns:a16="http://schemas.microsoft.com/office/drawing/2014/main" id="{97A0FE0F-77A4-4B69-ABDE-A9988C3C23AA}"/>
              </a:ext>
            </a:extLst>
          </p:cNvPr>
          <p:cNvSpPr txBox="1">
            <a:spLocks noChangeArrowheads="1"/>
          </p:cNvSpPr>
          <p:nvPr/>
        </p:nvSpPr>
        <p:spPr bwMode="auto">
          <a:xfrm>
            <a:off x="6072154" y="4024161"/>
            <a:ext cx="2174050" cy="480337"/>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Project Plan Approval</a:t>
            </a:r>
            <a:endParaRPr lang="en-US" altLang="ja-JP" sz="800" kern="0" dirty="0">
              <a:solidFill>
                <a:srgbClr val="002776"/>
              </a:solidFill>
            </a:endParaRPr>
          </a:p>
          <a:p>
            <a:pPr marL="171450" indent="-171450" algn="l" defTabSz="913961" fontAlgn="auto">
              <a:spcBef>
                <a:spcPts val="0"/>
              </a:spcBef>
              <a:spcAft>
                <a:spcPts val="0"/>
              </a:spcAft>
              <a:buFont typeface="Arial" panose="020B0604020202020204" pitchFamily="34" charset="0"/>
              <a:buChar char="•"/>
              <a:defRPr/>
            </a:pPr>
            <a:r>
              <a:rPr lang="en-US" kern="0" dirty="0">
                <a:solidFill>
                  <a:srgbClr val="002776"/>
                </a:solidFill>
                <a:latin typeface="+mj-lt"/>
              </a:rPr>
              <a:t>PAR</a:t>
            </a:r>
          </a:p>
          <a:p>
            <a:pPr marL="171450" indent="-171450" algn="l" defTabSz="913961" fontAlgn="auto">
              <a:spcBef>
                <a:spcPts val="0"/>
              </a:spcBef>
              <a:spcAft>
                <a:spcPts val="0"/>
              </a:spcAft>
              <a:buFont typeface="Arial" panose="020B0604020202020204" pitchFamily="34" charset="0"/>
              <a:buChar char="•"/>
              <a:defRPr/>
            </a:pPr>
            <a:r>
              <a:rPr lang="en-US" kern="0" dirty="0">
                <a:solidFill>
                  <a:srgbClr val="002776"/>
                </a:solidFill>
                <a:latin typeface="+mj-lt"/>
              </a:rPr>
              <a:t>Vender Selection </a:t>
            </a:r>
          </a:p>
          <a:p>
            <a:pPr marL="171450" indent="-171450" algn="l" defTabSz="913961" fontAlgn="auto">
              <a:spcBef>
                <a:spcPts val="0"/>
              </a:spcBef>
              <a:spcAft>
                <a:spcPts val="0"/>
              </a:spcAft>
              <a:buFont typeface="Arial" panose="020B0604020202020204" pitchFamily="34" charset="0"/>
              <a:buChar char="•"/>
              <a:defRPr/>
            </a:pPr>
            <a:r>
              <a:rPr lang="en-US" kern="0" dirty="0">
                <a:solidFill>
                  <a:srgbClr val="002776"/>
                </a:solidFill>
                <a:latin typeface="+mj-lt"/>
              </a:rPr>
              <a:t>Manufacturing Locations</a:t>
            </a:r>
          </a:p>
        </p:txBody>
      </p:sp>
      <p:sp>
        <p:nvSpPr>
          <p:cNvPr id="22" name="Text Box 14">
            <a:extLst>
              <a:ext uri="{FF2B5EF4-FFF2-40B4-BE49-F238E27FC236}">
                <a16:creationId xmlns:a16="http://schemas.microsoft.com/office/drawing/2014/main" id="{957A023C-F13B-4843-A681-19BADC0F0BE1}"/>
              </a:ext>
            </a:extLst>
          </p:cNvPr>
          <p:cNvSpPr txBox="1">
            <a:spLocks noChangeArrowheads="1"/>
          </p:cNvSpPr>
          <p:nvPr/>
        </p:nvSpPr>
        <p:spPr bwMode="gray">
          <a:xfrm>
            <a:off x="6072153" y="3793742"/>
            <a:ext cx="1151165" cy="176095"/>
          </a:xfrm>
          <a:prstGeom prst="rect">
            <a:avLst/>
          </a:prstGeom>
          <a:noFill/>
          <a:ln w="12700" algn="ctr">
            <a:noFill/>
            <a:miter lim="800000"/>
            <a:headEnd/>
            <a:tailEnd/>
          </a:ln>
          <a:effectLst/>
        </p:spPr>
        <p:txBody>
          <a:bodyPr wrap="non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4</a:t>
            </a:r>
          </a:p>
        </p:txBody>
      </p:sp>
      <p:sp>
        <p:nvSpPr>
          <p:cNvPr id="23" name="Text Box 24">
            <a:extLst>
              <a:ext uri="{FF2B5EF4-FFF2-40B4-BE49-F238E27FC236}">
                <a16:creationId xmlns:a16="http://schemas.microsoft.com/office/drawing/2014/main" id="{FF7A872D-426A-4D46-A4A4-DABD2E0C69F0}"/>
              </a:ext>
            </a:extLst>
          </p:cNvPr>
          <p:cNvSpPr txBox="1">
            <a:spLocks noChangeArrowheads="1"/>
          </p:cNvSpPr>
          <p:nvPr/>
        </p:nvSpPr>
        <p:spPr bwMode="auto">
          <a:xfrm>
            <a:off x="8284653" y="3720359"/>
            <a:ext cx="2213886" cy="501152"/>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Plant Sustaining</a:t>
            </a:r>
          </a:p>
        </p:txBody>
      </p:sp>
      <p:sp>
        <p:nvSpPr>
          <p:cNvPr id="24" name="Text Box 10">
            <a:extLst>
              <a:ext uri="{FF2B5EF4-FFF2-40B4-BE49-F238E27FC236}">
                <a16:creationId xmlns:a16="http://schemas.microsoft.com/office/drawing/2014/main" id="{9CFBC63D-CE03-4161-9C29-FAB75D09F3AC}"/>
              </a:ext>
            </a:extLst>
          </p:cNvPr>
          <p:cNvSpPr txBox="1">
            <a:spLocks noChangeArrowheads="1"/>
          </p:cNvSpPr>
          <p:nvPr/>
        </p:nvSpPr>
        <p:spPr bwMode="gray">
          <a:xfrm>
            <a:off x="8284653" y="3499115"/>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6</a:t>
            </a:r>
          </a:p>
        </p:txBody>
      </p:sp>
      <p:sp>
        <p:nvSpPr>
          <p:cNvPr id="25" name="Oval 24">
            <a:extLst>
              <a:ext uri="{FF2B5EF4-FFF2-40B4-BE49-F238E27FC236}">
                <a16:creationId xmlns:a16="http://schemas.microsoft.com/office/drawing/2014/main" id="{562825D5-3D20-41DE-A3D7-832BE944793B}"/>
              </a:ext>
            </a:extLst>
          </p:cNvPr>
          <p:cNvSpPr>
            <a:spLocks noChangeArrowheads="1"/>
          </p:cNvSpPr>
          <p:nvPr/>
        </p:nvSpPr>
        <p:spPr bwMode="gray">
          <a:xfrm>
            <a:off x="3211331" y="4176276"/>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2</a:t>
            </a:r>
          </a:p>
        </p:txBody>
      </p:sp>
      <p:sp>
        <p:nvSpPr>
          <p:cNvPr id="26" name="Oval 25">
            <a:extLst>
              <a:ext uri="{FF2B5EF4-FFF2-40B4-BE49-F238E27FC236}">
                <a16:creationId xmlns:a16="http://schemas.microsoft.com/office/drawing/2014/main" id="{2955288C-C806-4891-9240-DFB031C3690C}"/>
              </a:ext>
            </a:extLst>
          </p:cNvPr>
          <p:cNvSpPr>
            <a:spLocks noChangeArrowheads="1"/>
          </p:cNvSpPr>
          <p:nvPr/>
        </p:nvSpPr>
        <p:spPr bwMode="gray">
          <a:xfrm>
            <a:off x="3916575" y="2300638"/>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3</a:t>
            </a:r>
          </a:p>
        </p:txBody>
      </p:sp>
      <p:sp>
        <p:nvSpPr>
          <p:cNvPr id="27" name="Oval 26">
            <a:extLst>
              <a:ext uri="{FF2B5EF4-FFF2-40B4-BE49-F238E27FC236}">
                <a16:creationId xmlns:a16="http://schemas.microsoft.com/office/drawing/2014/main" id="{6EABAB19-C5C1-49C9-8BC5-5F7CA5E9D95E}"/>
              </a:ext>
            </a:extLst>
          </p:cNvPr>
          <p:cNvSpPr>
            <a:spLocks noChangeArrowheads="1"/>
          </p:cNvSpPr>
          <p:nvPr/>
        </p:nvSpPr>
        <p:spPr bwMode="gray">
          <a:xfrm>
            <a:off x="7316378" y="3736294"/>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4</a:t>
            </a:r>
          </a:p>
        </p:txBody>
      </p:sp>
      <p:sp>
        <p:nvSpPr>
          <p:cNvPr id="28" name="Oval 27">
            <a:extLst>
              <a:ext uri="{FF2B5EF4-FFF2-40B4-BE49-F238E27FC236}">
                <a16:creationId xmlns:a16="http://schemas.microsoft.com/office/drawing/2014/main" id="{2E12D42A-ECC4-48E8-9A65-F5076BFE4749}"/>
              </a:ext>
            </a:extLst>
          </p:cNvPr>
          <p:cNvSpPr>
            <a:spLocks noChangeArrowheads="1"/>
          </p:cNvSpPr>
          <p:nvPr/>
        </p:nvSpPr>
        <p:spPr bwMode="gray">
          <a:xfrm>
            <a:off x="8280541" y="1965128"/>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5</a:t>
            </a:r>
          </a:p>
        </p:txBody>
      </p:sp>
      <p:sp>
        <p:nvSpPr>
          <p:cNvPr id="29" name="Line 28">
            <a:extLst>
              <a:ext uri="{FF2B5EF4-FFF2-40B4-BE49-F238E27FC236}">
                <a16:creationId xmlns:a16="http://schemas.microsoft.com/office/drawing/2014/main" id="{E47B6F27-9413-4D13-9C97-7C4233E36561}"/>
              </a:ext>
            </a:extLst>
          </p:cNvPr>
          <p:cNvSpPr>
            <a:spLocks noChangeShapeType="1"/>
          </p:cNvSpPr>
          <p:nvPr/>
        </p:nvSpPr>
        <p:spPr bwMode="auto">
          <a:xfrm flipH="1">
            <a:off x="8438503" y="2360554"/>
            <a:ext cx="0" cy="708058"/>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0" name="Oval 29">
            <a:extLst>
              <a:ext uri="{FF2B5EF4-FFF2-40B4-BE49-F238E27FC236}">
                <a16:creationId xmlns:a16="http://schemas.microsoft.com/office/drawing/2014/main" id="{1F289621-C8DD-44CC-94E4-CCBBE5737121}"/>
              </a:ext>
            </a:extLst>
          </p:cNvPr>
          <p:cNvSpPr>
            <a:spLocks noChangeArrowheads="1"/>
          </p:cNvSpPr>
          <p:nvPr/>
        </p:nvSpPr>
        <p:spPr bwMode="gray">
          <a:xfrm>
            <a:off x="9721613" y="3438451"/>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6</a:t>
            </a:r>
          </a:p>
        </p:txBody>
      </p:sp>
      <p:sp>
        <p:nvSpPr>
          <p:cNvPr id="33" name="Line 28">
            <a:extLst>
              <a:ext uri="{FF2B5EF4-FFF2-40B4-BE49-F238E27FC236}">
                <a16:creationId xmlns:a16="http://schemas.microsoft.com/office/drawing/2014/main" id="{312CD55C-5FB0-4E6D-A463-1F16AF8532D2}"/>
              </a:ext>
            </a:extLst>
          </p:cNvPr>
          <p:cNvSpPr>
            <a:spLocks noChangeShapeType="1"/>
          </p:cNvSpPr>
          <p:nvPr/>
        </p:nvSpPr>
        <p:spPr bwMode="auto">
          <a:xfrm flipH="1">
            <a:off x="4074538" y="2673990"/>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4" name="Line 28">
            <a:extLst>
              <a:ext uri="{FF2B5EF4-FFF2-40B4-BE49-F238E27FC236}">
                <a16:creationId xmlns:a16="http://schemas.microsoft.com/office/drawing/2014/main" id="{3751E61F-80AC-4F1D-A479-3A6E82BAF3B1}"/>
              </a:ext>
            </a:extLst>
          </p:cNvPr>
          <p:cNvSpPr>
            <a:spLocks noChangeShapeType="1"/>
          </p:cNvSpPr>
          <p:nvPr/>
        </p:nvSpPr>
        <p:spPr bwMode="auto">
          <a:xfrm flipH="1">
            <a:off x="1844162" y="2952413"/>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5" name="Line 28">
            <a:extLst>
              <a:ext uri="{FF2B5EF4-FFF2-40B4-BE49-F238E27FC236}">
                <a16:creationId xmlns:a16="http://schemas.microsoft.com/office/drawing/2014/main" id="{68083D47-6964-4128-A1EE-ED0743EC6C88}"/>
              </a:ext>
            </a:extLst>
          </p:cNvPr>
          <p:cNvSpPr>
            <a:spLocks noChangeShapeType="1"/>
          </p:cNvSpPr>
          <p:nvPr/>
        </p:nvSpPr>
        <p:spPr bwMode="auto">
          <a:xfrm flipV="1">
            <a:off x="6890552" y="3380733"/>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6" name="Line 28">
            <a:extLst>
              <a:ext uri="{FF2B5EF4-FFF2-40B4-BE49-F238E27FC236}">
                <a16:creationId xmlns:a16="http://schemas.microsoft.com/office/drawing/2014/main" id="{46D2E657-231D-4CAB-8C61-68DEC1453E60}"/>
              </a:ext>
            </a:extLst>
          </p:cNvPr>
          <p:cNvSpPr>
            <a:spLocks noChangeShapeType="1"/>
          </p:cNvSpPr>
          <p:nvPr/>
        </p:nvSpPr>
        <p:spPr bwMode="auto">
          <a:xfrm flipV="1">
            <a:off x="9877736" y="3039741"/>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Tree>
    <p:extLst>
      <p:ext uri="{BB962C8B-B14F-4D97-AF65-F5344CB8AC3E}">
        <p14:creationId xmlns:p14="http://schemas.microsoft.com/office/powerpoint/2010/main" val="39226598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en-US" dirty="0"/>
              <a:t>Current-State Capability BOM Management</a:t>
            </a:r>
          </a:p>
        </p:txBody>
      </p:sp>
      <p:grpSp>
        <p:nvGrpSpPr>
          <p:cNvPr id="2" name="Group 1">
            <a:extLst>
              <a:ext uri="{FF2B5EF4-FFF2-40B4-BE49-F238E27FC236}">
                <a16:creationId xmlns:a16="http://schemas.microsoft.com/office/drawing/2014/main" id="{E7A21B8F-4ED2-46A4-8680-2EDCE3257591}"/>
              </a:ext>
            </a:extLst>
          </p:cNvPr>
          <p:cNvGrpSpPr/>
          <p:nvPr/>
        </p:nvGrpSpPr>
        <p:grpSpPr>
          <a:xfrm>
            <a:off x="469900" y="1140674"/>
            <a:ext cx="10923052" cy="5158525"/>
            <a:chOff x="649252" y="4827051"/>
            <a:chExt cx="10923052" cy="2605312"/>
          </a:xfrm>
        </p:grpSpPr>
        <p:sp>
          <p:nvSpPr>
            <p:cNvPr id="5" name="Content Placeholder 2">
              <a:extLst>
                <a:ext uri="{FF2B5EF4-FFF2-40B4-BE49-F238E27FC236}">
                  <a16:creationId xmlns:a16="http://schemas.microsoft.com/office/drawing/2014/main" id="{D105B340-91FE-4713-91F6-44138599D7D9}"/>
                </a:ext>
              </a:extLst>
            </p:cNvPr>
            <p:cNvSpPr txBox="1">
              <a:spLocks/>
            </p:cNvSpPr>
            <p:nvPr/>
          </p:nvSpPr>
          <p:spPr>
            <a:xfrm>
              <a:off x="649252" y="4827051"/>
              <a:ext cx="3910371" cy="2605312"/>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marR="0" lvl="1"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1400" b="1" i="0" u="none" strike="noStrike" kern="1200" cap="none" spc="0" normalizeH="0" baseline="0" noProof="0" dirty="0">
                  <a:ln>
                    <a:noFill/>
                  </a:ln>
                  <a:solidFill>
                    <a:srgbClr val="62B5E5"/>
                  </a:solidFill>
                  <a:effectLst/>
                  <a:uLnTx/>
                  <a:uFillTx/>
                  <a:latin typeface="Verdana"/>
                  <a:ea typeface="+mn-ea"/>
                  <a:cs typeface="+mn-cs"/>
                </a:rPr>
                <a:t>Pain Points </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Consume a lot of time (Set of MM is needed as pre-process, manual or batch program is used for data entry.)</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BOM definition (E-BOM,P-BOM) is not consistent. (Need to revise if production is moved.)</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No automated systems (Drawing and Model are not direct linked to BOM. Need to revise by manual when it changes. There is no systematic check of incorrect data such as typo.  </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Manual track causes a delay of BOM set up. There is no systematic alert or notification.</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dirty="0">
                  <a:solidFill>
                    <a:prstClr val="black"/>
                  </a:solidFill>
                  <a:latin typeface="Verdana"/>
                </a:rPr>
                <a:t>No data linking system for suppliers (All suppliers data is inputted by manual)</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a:p>
              <a:pPr marL="127000" marR="0" lvl="1" indent="-127000" algn="l"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38" name="Content Placeholder 2">
              <a:extLst>
                <a:ext uri="{FF2B5EF4-FFF2-40B4-BE49-F238E27FC236}">
                  <a16:creationId xmlns:a16="http://schemas.microsoft.com/office/drawing/2014/main" id="{1CC05C0C-D496-46EE-A944-9B2BB98AFC14}"/>
                </a:ext>
              </a:extLst>
            </p:cNvPr>
            <p:cNvSpPr txBox="1">
              <a:spLocks/>
            </p:cNvSpPr>
            <p:nvPr/>
          </p:nvSpPr>
          <p:spPr>
            <a:xfrm>
              <a:off x="4751352" y="4827052"/>
              <a:ext cx="4793226" cy="2605311"/>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marR="0" lvl="1"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1400" b="1" i="0" u="none" strike="noStrike" kern="1200" cap="none" spc="0" normalizeH="0" baseline="0" noProof="0" dirty="0">
                  <a:ln>
                    <a:noFill/>
                  </a:ln>
                  <a:solidFill>
                    <a:srgbClr val="62B5E5"/>
                  </a:solidFill>
                  <a:effectLst/>
                  <a:uLnTx/>
                  <a:uFillTx/>
                  <a:latin typeface="Verdana"/>
                  <a:ea typeface="+mn-ea"/>
                  <a:cs typeface="+mn-cs"/>
                </a:rPr>
                <a:t>Improvement Opportunities  </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Automate SAP loading process including suppliers’ data</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Unify the definition of BOMs so that it can be used at all sites without any change</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Automate data check system </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Automate tracking and alert system</a:t>
              </a:r>
            </a:p>
            <a:p>
              <a:pPr marL="127000" marR="0" lvl="1" indent="-127000" algn="l"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a:p>
              <a:pPr marL="127000" marR="0" lvl="1" indent="-127000" algn="l"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a:p>
              <a:pPr marL="127000" marR="0" lvl="1" indent="-127000" algn="l"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37" name="Content Placeholder 2">
              <a:extLst>
                <a:ext uri="{FF2B5EF4-FFF2-40B4-BE49-F238E27FC236}">
                  <a16:creationId xmlns:a16="http://schemas.microsoft.com/office/drawing/2014/main" id="{1368719C-95CF-444F-8171-A5A2E1569750}"/>
                </a:ext>
              </a:extLst>
            </p:cNvPr>
            <p:cNvSpPr txBox="1">
              <a:spLocks/>
            </p:cNvSpPr>
            <p:nvPr/>
          </p:nvSpPr>
          <p:spPr>
            <a:xfrm>
              <a:off x="9736307" y="4827052"/>
              <a:ext cx="1835997" cy="2605311"/>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marR="0" lvl="1"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1400" b="1" i="0" u="none" strike="noStrike" kern="1200" cap="none" spc="0" normalizeH="0" baseline="0" noProof="0" dirty="0">
                  <a:ln>
                    <a:noFill/>
                  </a:ln>
                  <a:solidFill>
                    <a:srgbClr val="62B5E5"/>
                  </a:solidFill>
                  <a:effectLst/>
                  <a:uLnTx/>
                  <a:uFillTx/>
                  <a:latin typeface="Verdana"/>
                  <a:ea typeface="+mn-ea"/>
                  <a:cs typeface="+mn-cs"/>
                </a:rPr>
                <a:t>Technology / Data Utilized   </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ECTR</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NX</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SAP</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dirty="0">
                  <a:solidFill>
                    <a:prstClr val="black"/>
                  </a:solidFill>
                  <a:latin typeface="Verdana"/>
                </a:rPr>
                <a:t>GRANTA</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a:p>
              <a:pPr marL="127000" marR="0" lvl="1" indent="-127000" algn="l"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a:p>
              <a:pPr marL="127000" marR="0" lvl="1" indent="-127000" algn="l"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a:p>
              <a:pPr marL="127000" marR="0" lvl="1" indent="-127000" algn="l"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val="299146409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50954B8-2239-4B45-B822-09EB6A9A0BD3}"/>
              </a:ext>
            </a:extLst>
          </p:cNvPr>
          <p:cNvSpPr>
            <a:spLocks noGrp="1"/>
          </p:cNvSpPr>
          <p:nvPr>
            <p:ph type="sldNum" sz="quarter" idx="4"/>
          </p:nvPr>
        </p:nvSpPr>
        <p:spPr>
          <a:xfrm>
            <a:off x="10901101" y="6289274"/>
            <a:ext cx="609600"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04F2263D-2B56-3241-AE08-5B72161B4332}" type="slidenum">
              <a:rPr kumimoji="0" lang="it-IT" sz="1080" b="0" i="0" u="none" strike="noStrike" kern="1200" cap="none" spc="0" normalizeH="0" baseline="0" noProof="0" smtClean="0">
                <a:ln>
                  <a:noFill/>
                </a:ln>
                <a:solidFill>
                  <a:prstClr val="white"/>
                </a:solidFill>
                <a:effectLst/>
                <a:uLnTx/>
                <a:uFillTx/>
                <a:latin typeface="Arial"/>
                <a:ea typeface="+mn-ea"/>
                <a:cs typeface="Arial"/>
              </a:rPr>
              <a:pPr marL="0" marR="0" lvl="0" indent="0" algn="l" defTabSz="1219170" rtl="0" eaLnBrk="1" fontAlgn="auto" latinLnBrk="0" hangingPunct="1">
                <a:lnSpc>
                  <a:spcPct val="100000"/>
                </a:lnSpc>
                <a:spcBef>
                  <a:spcPts val="0"/>
                </a:spcBef>
                <a:spcAft>
                  <a:spcPts val="0"/>
                </a:spcAft>
                <a:buClrTx/>
                <a:buSzTx/>
                <a:buFontTx/>
                <a:buNone/>
                <a:tabLst/>
                <a:defRPr/>
              </a:pPr>
              <a:t>14</a:t>
            </a:fld>
            <a:endParaRPr kumimoji="0" lang="it-IT" sz="1080" b="0" i="0" u="none" strike="noStrike" kern="1200" cap="none" spc="0" normalizeH="0" baseline="0" noProof="0" dirty="0">
              <a:ln>
                <a:noFill/>
              </a:ln>
              <a:solidFill>
                <a:prstClr val="white"/>
              </a:solidFill>
              <a:effectLst/>
              <a:uLnTx/>
              <a:uFillTx/>
              <a:latin typeface="Arial"/>
              <a:ea typeface="+mn-ea"/>
              <a:cs typeface="Arial"/>
            </a:endParaRPr>
          </a:p>
        </p:txBody>
      </p:sp>
      <p:sp>
        <p:nvSpPr>
          <p:cNvPr id="6" name="Rectangle 3">
            <a:extLst>
              <a:ext uri="{FF2B5EF4-FFF2-40B4-BE49-F238E27FC236}">
                <a16:creationId xmlns:a16="http://schemas.microsoft.com/office/drawing/2014/main" id="{723847A3-2ACB-416A-B481-DBEB3F76DF1A}"/>
              </a:ext>
            </a:extLst>
          </p:cNvPr>
          <p:cNvSpPr>
            <a:spLocks noChangeArrowheads="1"/>
          </p:cNvSpPr>
          <p:nvPr/>
        </p:nvSpPr>
        <p:spPr bwMode="auto">
          <a:xfrm>
            <a:off x="6043926" y="5354652"/>
            <a:ext cx="775649" cy="511403"/>
          </a:xfrm>
          <a:prstGeom prst="roundRect">
            <a:avLst/>
          </a:prstGeom>
          <a:solidFill>
            <a:srgbClr val="002060"/>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20" normalizeH="0" baseline="0" noProof="0" dirty="0">
                <a:ln>
                  <a:noFill/>
                </a:ln>
                <a:solidFill>
                  <a:prstClr val="white"/>
                </a:solidFill>
                <a:effectLst/>
                <a:uLnTx/>
                <a:uFillTx/>
                <a:latin typeface="Verdana"/>
                <a:ea typeface="+mn-ea"/>
                <a:cs typeface="Arial" pitchFamily="34" charset="0"/>
              </a:rPr>
              <a:t>Search Capabilities</a:t>
            </a:r>
          </a:p>
        </p:txBody>
      </p:sp>
      <p:sp>
        <p:nvSpPr>
          <p:cNvPr id="8" name="Rectangle 5">
            <a:extLst>
              <a:ext uri="{FF2B5EF4-FFF2-40B4-BE49-F238E27FC236}">
                <a16:creationId xmlns:a16="http://schemas.microsoft.com/office/drawing/2014/main" id="{DD200E6B-F527-481F-B335-82E6DB2B80DC}"/>
              </a:ext>
            </a:extLst>
          </p:cNvPr>
          <p:cNvSpPr>
            <a:spLocks noChangeArrowheads="1"/>
          </p:cNvSpPr>
          <p:nvPr/>
        </p:nvSpPr>
        <p:spPr bwMode="auto">
          <a:xfrm>
            <a:off x="9503344" y="5354652"/>
            <a:ext cx="843263" cy="511403"/>
          </a:xfrm>
          <a:prstGeom prst="roundRect">
            <a:avLst/>
          </a:prstGeom>
          <a:solidFill>
            <a:srgbClr val="002060"/>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20" normalizeH="0" baseline="0" noProof="0" dirty="0">
                <a:ln>
                  <a:noFill/>
                </a:ln>
                <a:solidFill>
                  <a:prstClr val="white"/>
                </a:solidFill>
                <a:effectLst/>
                <a:uLnTx/>
                <a:uFillTx/>
                <a:latin typeface="Verdana"/>
                <a:ea typeface="+mn-ea"/>
                <a:cs typeface="Arial" pitchFamily="34" charset="0"/>
              </a:rPr>
              <a:t>Serialization</a:t>
            </a:r>
          </a:p>
        </p:txBody>
      </p:sp>
      <p:sp>
        <p:nvSpPr>
          <p:cNvPr id="10" name="Rectangle 7">
            <a:extLst>
              <a:ext uri="{FF2B5EF4-FFF2-40B4-BE49-F238E27FC236}">
                <a16:creationId xmlns:a16="http://schemas.microsoft.com/office/drawing/2014/main" id="{1FF9141A-2DC0-45C2-9715-4CA292E8BCD3}"/>
              </a:ext>
            </a:extLst>
          </p:cNvPr>
          <p:cNvSpPr>
            <a:spLocks noChangeArrowheads="1"/>
          </p:cNvSpPr>
          <p:nvPr/>
        </p:nvSpPr>
        <p:spPr bwMode="auto">
          <a:xfrm>
            <a:off x="2555693" y="5354652"/>
            <a:ext cx="760543" cy="511403"/>
          </a:xfrm>
          <a:prstGeom prst="roundRect">
            <a:avLst/>
          </a:prstGeom>
          <a:solidFill>
            <a:srgbClr val="002060"/>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Arial" pitchFamily="34" charset="0"/>
              </a:rPr>
              <a:t>Effectivity</a:t>
            </a:r>
          </a:p>
        </p:txBody>
      </p:sp>
      <p:sp>
        <p:nvSpPr>
          <p:cNvPr id="11" name="Rectangle 8">
            <a:extLst>
              <a:ext uri="{FF2B5EF4-FFF2-40B4-BE49-F238E27FC236}">
                <a16:creationId xmlns:a16="http://schemas.microsoft.com/office/drawing/2014/main" id="{35A73BC0-7DA3-45A2-87FA-B10871B03872}"/>
              </a:ext>
            </a:extLst>
          </p:cNvPr>
          <p:cNvSpPr>
            <a:spLocks noChangeArrowheads="1"/>
          </p:cNvSpPr>
          <p:nvPr/>
        </p:nvSpPr>
        <p:spPr bwMode="auto">
          <a:xfrm>
            <a:off x="776139" y="5354076"/>
            <a:ext cx="766956" cy="511403"/>
          </a:xfrm>
          <a:prstGeom prst="roundRect">
            <a:avLst/>
          </a:prstGeom>
          <a:solidFill>
            <a:srgbClr val="002060"/>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Arial" pitchFamily="34" charset="0"/>
              </a:rPr>
              <a:t>BOM Lifecycle Mgmt.</a:t>
            </a:r>
          </a:p>
        </p:txBody>
      </p:sp>
      <p:sp>
        <p:nvSpPr>
          <p:cNvPr id="12" name="Rectangle 10">
            <a:extLst>
              <a:ext uri="{FF2B5EF4-FFF2-40B4-BE49-F238E27FC236}">
                <a16:creationId xmlns:a16="http://schemas.microsoft.com/office/drawing/2014/main" id="{AE544C25-49A7-48F3-9143-BCB3CFC2C85C}"/>
              </a:ext>
            </a:extLst>
          </p:cNvPr>
          <p:cNvSpPr>
            <a:spLocks noChangeArrowheads="1"/>
          </p:cNvSpPr>
          <p:nvPr/>
        </p:nvSpPr>
        <p:spPr bwMode="auto">
          <a:xfrm>
            <a:off x="3413582" y="5366610"/>
            <a:ext cx="768096" cy="511403"/>
          </a:xfrm>
          <a:prstGeom prst="roundRect">
            <a:avLst/>
          </a:prstGeom>
          <a:solidFill>
            <a:srgbClr val="002060"/>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sv-SE" sz="800" b="1" i="0" u="none" strike="noStrike" kern="1200" cap="none" spc="-20" normalizeH="0" baseline="0" noProof="0" dirty="0">
                <a:ln>
                  <a:noFill/>
                </a:ln>
                <a:solidFill>
                  <a:prstClr val="white"/>
                </a:solidFill>
                <a:effectLst/>
                <a:uLnTx/>
                <a:uFillTx/>
                <a:latin typeface="Verdana"/>
                <a:ea typeface="+mn-ea"/>
                <a:cs typeface="+mn-cs"/>
              </a:rPr>
              <a:t>Product Data Association</a:t>
            </a:r>
            <a:endParaRPr kumimoji="0" lang="en-US" sz="800" b="1" i="0" u="none" strike="noStrike" kern="1200" cap="none" spc="-20" normalizeH="0" baseline="0" noProof="0" dirty="0">
              <a:ln>
                <a:noFill/>
              </a:ln>
              <a:solidFill>
                <a:prstClr val="white"/>
              </a:solidFill>
              <a:effectLst/>
              <a:uLnTx/>
              <a:uFillTx/>
              <a:latin typeface="Verdana"/>
              <a:ea typeface="+mn-ea"/>
              <a:cs typeface="+mn-cs"/>
            </a:endParaRPr>
          </a:p>
        </p:txBody>
      </p:sp>
      <p:sp>
        <p:nvSpPr>
          <p:cNvPr id="18" name="Rectangle: Rounded Corners 17">
            <a:extLst>
              <a:ext uri="{FF2B5EF4-FFF2-40B4-BE49-F238E27FC236}">
                <a16:creationId xmlns:a16="http://schemas.microsoft.com/office/drawing/2014/main" id="{BC3595D9-1925-45EA-8272-E4C6340BD144}"/>
              </a:ext>
            </a:extLst>
          </p:cNvPr>
          <p:cNvSpPr>
            <a:spLocks noChangeArrowheads="1"/>
          </p:cNvSpPr>
          <p:nvPr/>
        </p:nvSpPr>
        <p:spPr bwMode="auto">
          <a:xfrm>
            <a:off x="6047702" y="4108570"/>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No search feature. Users must browse for content</a:t>
            </a:r>
          </a:p>
        </p:txBody>
      </p:sp>
      <p:sp>
        <p:nvSpPr>
          <p:cNvPr id="20" name="Rectangle: Rounded Corners 19">
            <a:extLst>
              <a:ext uri="{FF2B5EF4-FFF2-40B4-BE49-F238E27FC236}">
                <a16:creationId xmlns:a16="http://schemas.microsoft.com/office/drawing/2014/main" id="{3FF1326B-2ABA-4A46-A803-07AD0240E4AC}"/>
              </a:ext>
            </a:extLst>
          </p:cNvPr>
          <p:cNvSpPr>
            <a:spLocks noChangeArrowheads="1"/>
          </p:cNvSpPr>
          <p:nvPr/>
        </p:nvSpPr>
        <p:spPr bwMode="auto">
          <a:xfrm>
            <a:off x="9540927" y="4108570"/>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No tracking of product instances based on serial number</a:t>
            </a:r>
          </a:p>
        </p:txBody>
      </p:sp>
      <p:sp>
        <p:nvSpPr>
          <p:cNvPr id="22" name="Rectangle: Rounded Corners 21">
            <a:extLst>
              <a:ext uri="{FF2B5EF4-FFF2-40B4-BE49-F238E27FC236}">
                <a16:creationId xmlns:a16="http://schemas.microsoft.com/office/drawing/2014/main" id="{90223F7C-7935-4BFE-AFA0-57B4C5E78393}"/>
              </a:ext>
            </a:extLst>
          </p:cNvPr>
          <p:cNvSpPr>
            <a:spLocks noChangeArrowheads="1"/>
          </p:cNvSpPr>
          <p:nvPr/>
        </p:nvSpPr>
        <p:spPr bwMode="auto">
          <a:xfrm>
            <a:off x="2551916" y="4108570"/>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No effectivity controls; Changes effective immediately</a:t>
            </a:r>
          </a:p>
        </p:txBody>
      </p:sp>
      <p:sp>
        <p:nvSpPr>
          <p:cNvPr id="25" name="Rectangle 25">
            <a:extLst>
              <a:ext uri="{FF2B5EF4-FFF2-40B4-BE49-F238E27FC236}">
                <a16:creationId xmlns:a16="http://schemas.microsoft.com/office/drawing/2014/main" id="{7EFE2ACD-56E4-4CBD-AE8B-FF0CC6F95A34}"/>
              </a:ext>
            </a:extLst>
          </p:cNvPr>
          <p:cNvSpPr>
            <a:spLocks noChangeArrowheads="1"/>
          </p:cNvSpPr>
          <p:nvPr/>
        </p:nvSpPr>
        <p:spPr bwMode="auto">
          <a:xfrm>
            <a:off x="6009297" y="1208733"/>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54864" tIns="54864" rIns="54864" bIns="54864"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Advanced global search capabilities based on object metadata</a:t>
            </a:r>
          </a:p>
        </p:txBody>
      </p:sp>
      <p:sp>
        <p:nvSpPr>
          <p:cNvPr id="27" name="Rectangle 27">
            <a:extLst>
              <a:ext uri="{FF2B5EF4-FFF2-40B4-BE49-F238E27FC236}">
                <a16:creationId xmlns:a16="http://schemas.microsoft.com/office/drawing/2014/main" id="{044F8674-6E7C-47C1-BF1C-4363EF04EC61}"/>
              </a:ext>
            </a:extLst>
          </p:cNvPr>
          <p:cNvSpPr>
            <a:spLocks noChangeArrowheads="1"/>
          </p:cNvSpPr>
          <p:nvPr/>
        </p:nvSpPr>
        <p:spPr bwMode="auto">
          <a:xfrm>
            <a:off x="9502522" y="1208733"/>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Ability to create product instances with serial numbers for all component</a:t>
            </a:r>
          </a:p>
        </p:txBody>
      </p:sp>
      <p:sp>
        <p:nvSpPr>
          <p:cNvPr id="29" name="Rectangle 29">
            <a:extLst>
              <a:ext uri="{FF2B5EF4-FFF2-40B4-BE49-F238E27FC236}">
                <a16:creationId xmlns:a16="http://schemas.microsoft.com/office/drawing/2014/main" id="{9614C284-FD9C-45E5-87E3-95C7AAC33869}"/>
              </a:ext>
            </a:extLst>
          </p:cNvPr>
          <p:cNvSpPr>
            <a:spLocks noChangeArrowheads="1"/>
          </p:cNvSpPr>
          <p:nvPr/>
        </p:nvSpPr>
        <p:spPr bwMode="auto">
          <a:xfrm>
            <a:off x="2513511" y="1208733"/>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Ability to set effectivity based on lot, dates, serial number and other product criteria</a:t>
            </a:r>
          </a:p>
        </p:txBody>
      </p:sp>
      <p:sp>
        <p:nvSpPr>
          <p:cNvPr id="32" name="Rectangle 33">
            <a:extLst>
              <a:ext uri="{FF2B5EF4-FFF2-40B4-BE49-F238E27FC236}">
                <a16:creationId xmlns:a16="http://schemas.microsoft.com/office/drawing/2014/main" id="{91D0BF44-7227-4EE2-8E26-24C52F430722}"/>
              </a:ext>
            </a:extLst>
          </p:cNvPr>
          <p:cNvSpPr>
            <a:spLocks noChangeArrowheads="1"/>
          </p:cNvSpPr>
          <p:nvPr/>
        </p:nvSpPr>
        <p:spPr bwMode="auto">
          <a:xfrm>
            <a:off x="6047702" y="286784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Local instance/ folder search capabilities based only on select object </a:t>
            </a:r>
          </a:p>
        </p:txBody>
      </p:sp>
      <p:sp>
        <p:nvSpPr>
          <p:cNvPr id="34" name="Rectangle 35">
            <a:extLst>
              <a:ext uri="{FF2B5EF4-FFF2-40B4-BE49-F238E27FC236}">
                <a16:creationId xmlns:a16="http://schemas.microsoft.com/office/drawing/2014/main" id="{870A03B1-DEEF-449D-9834-278312FA8456}"/>
              </a:ext>
            </a:extLst>
          </p:cNvPr>
          <p:cNvSpPr>
            <a:spLocks noChangeArrowheads="1"/>
          </p:cNvSpPr>
          <p:nvPr/>
        </p:nvSpPr>
        <p:spPr bwMode="auto">
          <a:xfrm>
            <a:off x="9540927" y="286784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Ability to create product instances with serial numbers</a:t>
            </a:r>
          </a:p>
        </p:txBody>
      </p:sp>
      <p:sp>
        <p:nvSpPr>
          <p:cNvPr id="36" name="Rectangle 37">
            <a:extLst>
              <a:ext uri="{FF2B5EF4-FFF2-40B4-BE49-F238E27FC236}">
                <a16:creationId xmlns:a16="http://schemas.microsoft.com/office/drawing/2014/main" id="{8932D4B6-7828-4161-A89F-C75C7509CA33}"/>
              </a:ext>
            </a:extLst>
          </p:cNvPr>
          <p:cNvSpPr>
            <a:spLocks noChangeArrowheads="1"/>
          </p:cNvSpPr>
          <p:nvPr/>
        </p:nvSpPr>
        <p:spPr bwMode="auto">
          <a:xfrm>
            <a:off x="2551916" y="286784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Ability to set basic effectivity based on dates</a:t>
            </a:r>
          </a:p>
        </p:txBody>
      </p:sp>
      <p:sp>
        <p:nvSpPr>
          <p:cNvPr id="39" name="Rectangle 41">
            <a:extLst>
              <a:ext uri="{FF2B5EF4-FFF2-40B4-BE49-F238E27FC236}">
                <a16:creationId xmlns:a16="http://schemas.microsoft.com/office/drawing/2014/main" id="{6C6D18D1-C745-4A0E-A8DC-BBB80083E350}"/>
              </a:ext>
            </a:extLst>
          </p:cNvPr>
          <p:cNvSpPr>
            <a:spLocks noChangeArrowheads="1"/>
          </p:cNvSpPr>
          <p:nvPr/>
        </p:nvSpPr>
        <p:spPr bwMode="auto">
          <a:xfrm>
            <a:off x="8674175" y="5354652"/>
            <a:ext cx="763381" cy="511403"/>
          </a:xfrm>
          <a:prstGeom prst="roundRect">
            <a:avLst/>
          </a:prstGeom>
          <a:solidFill>
            <a:srgbClr val="002060"/>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Arial" pitchFamily="34" charset="0"/>
              </a:rPr>
              <a:t>BOM </a:t>
            </a:r>
            <a:br>
              <a:rPr kumimoji="0" lang="en-US" sz="800" b="1" i="0" u="none" strike="noStrike" kern="1200" cap="none" spc="0" normalizeH="0" baseline="0" noProof="0" dirty="0">
                <a:ln>
                  <a:noFill/>
                </a:ln>
                <a:solidFill>
                  <a:prstClr val="white"/>
                </a:solidFill>
                <a:effectLst/>
                <a:uLnTx/>
                <a:uFillTx/>
                <a:latin typeface="Verdana"/>
                <a:ea typeface="+mn-ea"/>
                <a:cs typeface="Arial" pitchFamily="34" charset="0"/>
              </a:rPr>
            </a:br>
            <a:r>
              <a:rPr kumimoji="0" lang="en-US" sz="800" b="1" i="0" u="none" strike="noStrike" kern="1200" cap="none" spc="0" normalizeH="0" baseline="0" noProof="0" dirty="0">
                <a:ln>
                  <a:noFill/>
                </a:ln>
                <a:solidFill>
                  <a:prstClr val="white"/>
                </a:solidFill>
                <a:effectLst/>
                <a:uLnTx/>
                <a:uFillTx/>
                <a:latin typeface="Verdana"/>
                <a:ea typeface="+mn-ea"/>
                <a:cs typeface="Arial" pitchFamily="34" charset="0"/>
              </a:rPr>
              <a:t>Collaboration</a:t>
            </a:r>
          </a:p>
        </p:txBody>
      </p:sp>
      <p:sp>
        <p:nvSpPr>
          <p:cNvPr id="40" name="Rectangle 42">
            <a:extLst>
              <a:ext uri="{FF2B5EF4-FFF2-40B4-BE49-F238E27FC236}">
                <a16:creationId xmlns:a16="http://schemas.microsoft.com/office/drawing/2014/main" id="{897FDC7B-2F89-423D-A57D-BC8CB7C203DD}"/>
              </a:ext>
            </a:extLst>
          </p:cNvPr>
          <p:cNvSpPr>
            <a:spLocks noChangeArrowheads="1"/>
          </p:cNvSpPr>
          <p:nvPr/>
        </p:nvSpPr>
        <p:spPr bwMode="auto">
          <a:xfrm>
            <a:off x="7798864" y="5354652"/>
            <a:ext cx="768096" cy="511403"/>
          </a:xfrm>
          <a:prstGeom prst="roundRect">
            <a:avLst/>
          </a:prstGeom>
          <a:solidFill>
            <a:srgbClr val="002060"/>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Arial" pitchFamily="34" charset="0"/>
              </a:rPr>
              <a:t>Access</a:t>
            </a:r>
            <a:br>
              <a:rPr kumimoji="0" lang="en-US" sz="800" b="1" i="0" u="none" strike="noStrike" kern="1200" cap="none" spc="0" normalizeH="0" baseline="0" noProof="0" dirty="0">
                <a:ln>
                  <a:noFill/>
                </a:ln>
                <a:solidFill>
                  <a:prstClr val="white"/>
                </a:solidFill>
                <a:effectLst/>
                <a:uLnTx/>
                <a:uFillTx/>
                <a:latin typeface="Verdana"/>
                <a:ea typeface="+mn-ea"/>
                <a:cs typeface="Arial" pitchFamily="34" charset="0"/>
              </a:rPr>
            </a:br>
            <a:r>
              <a:rPr kumimoji="0" lang="en-US" sz="800" b="1" i="0" u="none" strike="noStrike" kern="1200" cap="none" spc="0" normalizeH="0" baseline="0" noProof="0" dirty="0">
                <a:ln>
                  <a:noFill/>
                </a:ln>
                <a:solidFill>
                  <a:prstClr val="white"/>
                </a:solidFill>
                <a:effectLst/>
                <a:uLnTx/>
                <a:uFillTx/>
                <a:latin typeface="Verdana"/>
                <a:ea typeface="+mn-ea"/>
                <a:cs typeface="Arial" pitchFamily="34" charset="0"/>
              </a:rPr>
              <a:t>Control</a:t>
            </a:r>
          </a:p>
        </p:txBody>
      </p:sp>
      <p:sp>
        <p:nvSpPr>
          <p:cNvPr id="41" name="Rectangle 43">
            <a:extLst>
              <a:ext uri="{FF2B5EF4-FFF2-40B4-BE49-F238E27FC236}">
                <a16:creationId xmlns:a16="http://schemas.microsoft.com/office/drawing/2014/main" id="{B0F635FD-41F9-40A6-9F60-EEB8E8A18425}"/>
              </a:ext>
            </a:extLst>
          </p:cNvPr>
          <p:cNvSpPr>
            <a:spLocks noChangeArrowheads="1"/>
          </p:cNvSpPr>
          <p:nvPr/>
        </p:nvSpPr>
        <p:spPr bwMode="auto">
          <a:xfrm>
            <a:off x="6918734" y="5354652"/>
            <a:ext cx="777194" cy="511403"/>
          </a:xfrm>
          <a:prstGeom prst="roundRect">
            <a:avLst/>
          </a:prstGeom>
          <a:solidFill>
            <a:srgbClr val="002060"/>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Arial" pitchFamily="34" charset="0"/>
              </a:rPr>
              <a:t>Redline / Markup</a:t>
            </a:r>
          </a:p>
        </p:txBody>
      </p:sp>
      <p:sp>
        <p:nvSpPr>
          <p:cNvPr id="42" name="Rectangle 44">
            <a:extLst>
              <a:ext uri="{FF2B5EF4-FFF2-40B4-BE49-F238E27FC236}">
                <a16:creationId xmlns:a16="http://schemas.microsoft.com/office/drawing/2014/main" id="{9113C316-23D9-4A42-8D89-2D33D2FB34DE}"/>
              </a:ext>
            </a:extLst>
          </p:cNvPr>
          <p:cNvSpPr>
            <a:spLocks noChangeArrowheads="1"/>
          </p:cNvSpPr>
          <p:nvPr/>
        </p:nvSpPr>
        <p:spPr bwMode="auto">
          <a:xfrm>
            <a:off x="8671817" y="4108570"/>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No validation of package structure during BOM export</a:t>
            </a:r>
          </a:p>
        </p:txBody>
      </p:sp>
      <p:sp>
        <p:nvSpPr>
          <p:cNvPr id="43" name="Rectangle 45">
            <a:extLst>
              <a:ext uri="{FF2B5EF4-FFF2-40B4-BE49-F238E27FC236}">
                <a16:creationId xmlns:a16="http://schemas.microsoft.com/office/drawing/2014/main" id="{3BDC6B03-2CB6-421E-91E1-AF2634B4B79D}"/>
              </a:ext>
            </a:extLst>
          </p:cNvPr>
          <p:cNvSpPr>
            <a:spLocks noChangeArrowheads="1"/>
          </p:cNvSpPr>
          <p:nvPr/>
        </p:nvSpPr>
        <p:spPr bwMode="auto">
          <a:xfrm>
            <a:off x="7798864" y="4108570"/>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No file security; all users may access all files</a:t>
            </a:r>
          </a:p>
        </p:txBody>
      </p:sp>
      <p:sp>
        <p:nvSpPr>
          <p:cNvPr id="44" name="Rectangle 46">
            <a:extLst>
              <a:ext uri="{FF2B5EF4-FFF2-40B4-BE49-F238E27FC236}">
                <a16:creationId xmlns:a16="http://schemas.microsoft.com/office/drawing/2014/main" id="{EFC93DB5-CB2D-4877-8976-DA552387A03D}"/>
              </a:ext>
            </a:extLst>
          </p:cNvPr>
          <p:cNvSpPr>
            <a:spLocks noChangeArrowheads="1"/>
          </p:cNvSpPr>
          <p:nvPr/>
        </p:nvSpPr>
        <p:spPr bwMode="auto">
          <a:xfrm>
            <a:off x="6923283" y="4108570"/>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No ability to redline or mark–up BOM for review </a:t>
            </a:r>
          </a:p>
        </p:txBody>
      </p:sp>
      <p:sp>
        <p:nvSpPr>
          <p:cNvPr id="45" name="Rectangle 48">
            <a:extLst>
              <a:ext uri="{FF2B5EF4-FFF2-40B4-BE49-F238E27FC236}">
                <a16:creationId xmlns:a16="http://schemas.microsoft.com/office/drawing/2014/main" id="{C3C7234A-5065-438A-9D41-FBF20234D4CD}"/>
              </a:ext>
            </a:extLst>
          </p:cNvPr>
          <p:cNvSpPr>
            <a:spLocks noChangeArrowheads="1"/>
          </p:cNvSpPr>
          <p:nvPr/>
        </p:nvSpPr>
        <p:spPr bwMode="auto">
          <a:xfrm>
            <a:off x="7760459" y="1208733"/>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Access to parts can be based on user, group, project, lifecycle, attribute value or combination of any</a:t>
            </a:r>
          </a:p>
        </p:txBody>
      </p:sp>
      <p:sp>
        <p:nvSpPr>
          <p:cNvPr id="46" name="Rectangle 49">
            <a:extLst>
              <a:ext uri="{FF2B5EF4-FFF2-40B4-BE49-F238E27FC236}">
                <a16:creationId xmlns:a16="http://schemas.microsoft.com/office/drawing/2014/main" id="{42C2AF30-FE28-4D05-AC9B-A6EE29E6F9DC}"/>
              </a:ext>
            </a:extLst>
          </p:cNvPr>
          <p:cNvSpPr>
            <a:spLocks noChangeArrowheads="1"/>
          </p:cNvSpPr>
          <p:nvPr/>
        </p:nvSpPr>
        <p:spPr bwMode="auto">
          <a:xfrm>
            <a:off x="6884878" y="1208733"/>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Ability to redline and markup BOM with automated rule based approval workflow </a:t>
            </a:r>
          </a:p>
        </p:txBody>
      </p:sp>
      <p:sp>
        <p:nvSpPr>
          <p:cNvPr id="47" name="Rectangle 50">
            <a:extLst>
              <a:ext uri="{FF2B5EF4-FFF2-40B4-BE49-F238E27FC236}">
                <a16:creationId xmlns:a16="http://schemas.microsoft.com/office/drawing/2014/main" id="{755616A4-8D07-4265-AAA0-1352E5C1D69D}"/>
              </a:ext>
            </a:extLst>
          </p:cNvPr>
          <p:cNvSpPr>
            <a:spLocks noChangeArrowheads="1"/>
          </p:cNvSpPr>
          <p:nvPr/>
        </p:nvSpPr>
        <p:spPr bwMode="auto">
          <a:xfrm>
            <a:off x="8671817" y="286784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BOM package validation during export </a:t>
            </a:r>
          </a:p>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endPar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endParaRPr>
          </a:p>
        </p:txBody>
      </p:sp>
      <p:sp>
        <p:nvSpPr>
          <p:cNvPr id="48" name="Rectangle 51">
            <a:extLst>
              <a:ext uri="{FF2B5EF4-FFF2-40B4-BE49-F238E27FC236}">
                <a16:creationId xmlns:a16="http://schemas.microsoft.com/office/drawing/2014/main" id="{D129B4E1-C317-4733-A1D3-D559E92F402C}"/>
              </a:ext>
            </a:extLst>
          </p:cNvPr>
          <p:cNvSpPr>
            <a:spLocks noChangeArrowheads="1"/>
          </p:cNvSpPr>
          <p:nvPr/>
        </p:nvSpPr>
        <p:spPr bwMode="auto">
          <a:xfrm>
            <a:off x="7798864" y="286784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Access based strictly on users, roles and groups</a:t>
            </a:r>
          </a:p>
        </p:txBody>
      </p:sp>
      <p:sp>
        <p:nvSpPr>
          <p:cNvPr id="49" name="Rectangle 52">
            <a:extLst>
              <a:ext uri="{FF2B5EF4-FFF2-40B4-BE49-F238E27FC236}">
                <a16:creationId xmlns:a16="http://schemas.microsoft.com/office/drawing/2014/main" id="{EEB08932-A793-45DB-95FB-6DCC979BCAA6}"/>
              </a:ext>
            </a:extLst>
          </p:cNvPr>
          <p:cNvSpPr>
            <a:spLocks noChangeArrowheads="1"/>
          </p:cNvSpPr>
          <p:nvPr/>
        </p:nvSpPr>
        <p:spPr bwMode="auto">
          <a:xfrm>
            <a:off x="6923283" y="286784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54864" tIns="54864" rIns="54864" bIns="54864"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Ability to redline and markup BOM with no automated approval workflow </a:t>
            </a:r>
          </a:p>
        </p:txBody>
      </p:sp>
      <p:sp>
        <p:nvSpPr>
          <p:cNvPr id="60" name="Rectangle 47">
            <a:extLst>
              <a:ext uri="{FF2B5EF4-FFF2-40B4-BE49-F238E27FC236}">
                <a16:creationId xmlns:a16="http://schemas.microsoft.com/office/drawing/2014/main" id="{EAB04A7A-047A-42C9-A74B-4C86F773D72F}"/>
              </a:ext>
            </a:extLst>
          </p:cNvPr>
          <p:cNvSpPr>
            <a:spLocks noChangeArrowheads="1"/>
          </p:cNvSpPr>
          <p:nvPr/>
        </p:nvSpPr>
        <p:spPr bwMode="auto">
          <a:xfrm>
            <a:off x="8633412" y="1208733"/>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Customer-side BOM validation for XML-based formats based on configurable rules</a:t>
            </a:r>
          </a:p>
        </p:txBody>
      </p:sp>
      <p:sp>
        <p:nvSpPr>
          <p:cNvPr id="62" name="Rectangle 19">
            <a:extLst>
              <a:ext uri="{FF2B5EF4-FFF2-40B4-BE49-F238E27FC236}">
                <a16:creationId xmlns:a16="http://schemas.microsoft.com/office/drawing/2014/main" id="{81986537-B813-4384-BED3-5E5BB1839124}"/>
              </a:ext>
            </a:extLst>
          </p:cNvPr>
          <p:cNvSpPr>
            <a:spLocks noChangeArrowheads="1"/>
          </p:cNvSpPr>
          <p:nvPr/>
        </p:nvSpPr>
        <p:spPr bwMode="auto">
          <a:xfrm>
            <a:off x="10435942" y="4108570"/>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Out-of-sync rollups. Ad-hoc change processes</a:t>
            </a:r>
          </a:p>
        </p:txBody>
      </p:sp>
      <p:sp>
        <p:nvSpPr>
          <p:cNvPr id="63" name="Rectangle 35">
            <a:extLst>
              <a:ext uri="{FF2B5EF4-FFF2-40B4-BE49-F238E27FC236}">
                <a16:creationId xmlns:a16="http://schemas.microsoft.com/office/drawing/2014/main" id="{FD0D3650-0E1A-48C3-86CB-07DDF0A5E582}"/>
              </a:ext>
            </a:extLst>
          </p:cNvPr>
          <p:cNvSpPr>
            <a:spLocks noChangeArrowheads="1"/>
          </p:cNvSpPr>
          <p:nvPr/>
        </p:nvSpPr>
        <p:spPr bwMode="auto">
          <a:xfrm>
            <a:off x="10435942" y="286784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Limited reuse in some functional areas. Some standardized templates </a:t>
            </a:r>
          </a:p>
        </p:txBody>
      </p:sp>
      <p:sp>
        <p:nvSpPr>
          <p:cNvPr id="66" name="Rectangle 27">
            <a:extLst>
              <a:ext uri="{FF2B5EF4-FFF2-40B4-BE49-F238E27FC236}">
                <a16:creationId xmlns:a16="http://schemas.microsoft.com/office/drawing/2014/main" id="{24BCF8B0-7FD8-44F8-8D26-8D9F4C8DC4B5}"/>
              </a:ext>
            </a:extLst>
          </p:cNvPr>
          <p:cNvSpPr>
            <a:spLocks noChangeArrowheads="1"/>
          </p:cNvSpPr>
          <p:nvPr/>
        </p:nvSpPr>
        <p:spPr bwMode="auto">
          <a:xfrm>
            <a:off x="10397537" y="1208733"/>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Formal process to manage reuse of designs via domain libraries. Standard metrics and templates in place to enhance best-in-class sharing</a:t>
            </a:r>
          </a:p>
        </p:txBody>
      </p:sp>
      <p:sp>
        <p:nvSpPr>
          <p:cNvPr id="82" name="Rectangle 5">
            <a:extLst>
              <a:ext uri="{FF2B5EF4-FFF2-40B4-BE49-F238E27FC236}">
                <a16:creationId xmlns:a16="http://schemas.microsoft.com/office/drawing/2014/main" id="{8C749EE1-DF17-469F-8007-268F20F81160}"/>
              </a:ext>
            </a:extLst>
          </p:cNvPr>
          <p:cNvSpPr>
            <a:spLocks noChangeArrowheads="1"/>
          </p:cNvSpPr>
          <p:nvPr/>
        </p:nvSpPr>
        <p:spPr bwMode="auto">
          <a:xfrm>
            <a:off x="10435942" y="5354652"/>
            <a:ext cx="768096" cy="511403"/>
          </a:xfrm>
          <a:prstGeom prst="roundRect">
            <a:avLst/>
          </a:prstGeom>
          <a:solidFill>
            <a:srgbClr val="002060"/>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Arial" pitchFamily="34" charset="0"/>
              </a:rPr>
              <a:t>Standardization and Reuse</a:t>
            </a:r>
          </a:p>
        </p:txBody>
      </p:sp>
      <p:sp>
        <p:nvSpPr>
          <p:cNvPr id="84" name="Text Box 11">
            <a:extLst>
              <a:ext uri="{FF2B5EF4-FFF2-40B4-BE49-F238E27FC236}">
                <a16:creationId xmlns:a16="http://schemas.microsoft.com/office/drawing/2014/main" id="{8867A06A-AA20-4300-A465-21C1F8B92BA2}"/>
              </a:ext>
            </a:extLst>
          </p:cNvPr>
          <p:cNvSpPr txBox="1">
            <a:spLocks noChangeArrowheads="1"/>
          </p:cNvSpPr>
          <p:nvPr/>
        </p:nvSpPr>
        <p:spPr bwMode="auto">
          <a:xfrm rot="-5400000">
            <a:off x="151253" y="4424165"/>
            <a:ext cx="574558" cy="312420"/>
          </a:xfrm>
          <a:prstGeom prst="rect">
            <a:avLst/>
          </a:prstGeom>
          <a:noFill/>
          <a:ln w="12700" algn="ctr">
            <a:noFill/>
            <a:miter lim="800000"/>
            <a:headEnd/>
            <a:tailEnd/>
          </a:ln>
        </p:spPr>
        <p:txBody>
          <a:bodyPr lIns="0" tIns="0" rIns="0" bIns="0" anchor="b"/>
          <a:lstStyle/>
          <a:p>
            <a:pPr marL="0" marR="0" lvl="0" indent="0" algn="ctr" defTabSz="1082040" rtl="0" eaLnBrk="0" fontAlgn="base" latinLnBrk="0" hangingPunct="0">
              <a:lnSpc>
                <a:spcPct val="90000"/>
              </a:lnSpc>
              <a:spcBef>
                <a:spcPct val="50000"/>
              </a:spcBef>
              <a:spcAft>
                <a:spcPct val="0"/>
              </a:spcAft>
              <a:buClr>
                <a:srgbClr val="8099CC"/>
              </a:buClr>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Low</a:t>
            </a:r>
          </a:p>
        </p:txBody>
      </p:sp>
      <p:sp>
        <p:nvSpPr>
          <p:cNvPr id="85" name="Text Box 12">
            <a:extLst>
              <a:ext uri="{FF2B5EF4-FFF2-40B4-BE49-F238E27FC236}">
                <a16:creationId xmlns:a16="http://schemas.microsoft.com/office/drawing/2014/main" id="{B64D4C05-4111-4516-BB22-6AB052511164}"/>
              </a:ext>
            </a:extLst>
          </p:cNvPr>
          <p:cNvSpPr txBox="1">
            <a:spLocks noChangeArrowheads="1"/>
          </p:cNvSpPr>
          <p:nvPr/>
        </p:nvSpPr>
        <p:spPr bwMode="auto">
          <a:xfrm rot="-5400000">
            <a:off x="163806" y="1619415"/>
            <a:ext cx="730951" cy="263598"/>
          </a:xfrm>
          <a:prstGeom prst="rect">
            <a:avLst/>
          </a:prstGeom>
          <a:noFill/>
          <a:ln w="12700" algn="ctr">
            <a:noFill/>
            <a:miter lim="800000"/>
            <a:headEnd/>
            <a:tailEnd/>
          </a:ln>
        </p:spPr>
        <p:txBody>
          <a:bodyPr wrap="square" lIns="0" rIns="0" anchor="b">
            <a:spAutoFit/>
          </a:bodyPr>
          <a:lstStyle/>
          <a:p>
            <a:pPr marL="0" marR="0" lvl="0" indent="0" algn="ctr" defTabSz="1097280" rtl="0" eaLnBrk="0" fontAlgn="base" latinLnBrk="0" hangingPunct="0">
              <a:lnSpc>
                <a:spcPct val="106000"/>
              </a:lnSpc>
              <a:spcBef>
                <a:spcPct val="50000"/>
              </a:spcBef>
              <a:spcAft>
                <a:spcPct val="0"/>
              </a:spcAft>
              <a:buClrTx/>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Advanced</a:t>
            </a:r>
          </a:p>
        </p:txBody>
      </p:sp>
      <p:sp>
        <p:nvSpPr>
          <p:cNvPr id="86" name="Text Box 13">
            <a:extLst>
              <a:ext uri="{FF2B5EF4-FFF2-40B4-BE49-F238E27FC236}">
                <a16:creationId xmlns:a16="http://schemas.microsoft.com/office/drawing/2014/main" id="{34A5B774-FD2F-42EF-9430-571375CDE687}"/>
              </a:ext>
            </a:extLst>
          </p:cNvPr>
          <p:cNvSpPr txBox="1">
            <a:spLocks noChangeArrowheads="1"/>
          </p:cNvSpPr>
          <p:nvPr/>
        </p:nvSpPr>
        <p:spPr bwMode="auto">
          <a:xfrm rot="-5400000">
            <a:off x="261004" y="3141312"/>
            <a:ext cx="544176" cy="255455"/>
          </a:xfrm>
          <a:prstGeom prst="rect">
            <a:avLst/>
          </a:prstGeom>
          <a:noFill/>
          <a:ln w="12700" algn="ctr">
            <a:noFill/>
            <a:miter lim="800000"/>
            <a:headEnd/>
            <a:tailEnd/>
          </a:ln>
        </p:spPr>
        <p:txBody>
          <a:bodyPr wrap="square" lIns="0" rIns="0" anchor="b">
            <a:spAutoFit/>
          </a:bodyPr>
          <a:lstStyle/>
          <a:p>
            <a:pPr marL="0" marR="0" lvl="0" indent="0" algn="ctr" defTabSz="1097280" rtl="0" eaLnBrk="0" fontAlgn="base" latinLnBrk="0" hangingPunct="0">
              <a:lnSpc>
                <a:spcPct val="106000"/>
              </a:lnSpc>
              <a:spcBef>
                <a:spcPct val="50000"/>
              </a:spcBef>
              <a:spcAft>
                <a:spcPct val="0"/>
              </a:spcAft>
              <a:buClrTx/>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Basic</a:t>
            </a:r>
          </a:p>
        </p:txBody>
      </p:sp>
      <p:sp>
        <p:nvSpPr>
          <p:cNvPr id="87" name="Text Box 28">
            <a:extLst>
              <a:ext uri="{FF2B5EF4-FFF2-40B4-BE49-F238E27FC236}">
                <a16:creationId xmlns:a16="http://schemas.microsoft.com/office/drawing/2014/main" id="{E614A11B-CE78-42CB-8511-BE8BA3DA182A}"/>
              </a:ext>
            </a:extLst>
          </p:cNvPr>
          <p:cNvSpPr txBox="1">
            <a:spLocks noChangeArrowheads="1"/>
          </p:cNvSpPr>
          <p:nvPr/>
        </p:nvSpPr>
        <p:spPr bwMode="auto">
          <a:xfrm>
            <a:off x="464019" y="907871"/>
            <a:ext cx="822946" cy="236337"/>
          </a:xfrm>
          <a:prstGeom prst="rect">
            <a:avLst/>
          </a:prstGeom>
          <a:noFill/>
          <a:ln w="25400">
            <a:noFill/>
            <a:miter lim="800000"/>
            <a:headEnd/>
            <a:tailEnd type="none" w="med" len="lg"/>
          </a:ln>
        </p:spPr>
        <p:txBody>
          <a:bodyPr wrap="square" lIns="0" tIns="54859" rIns="109718" bIns="54859">
            <a:spAutoFit/>
          </a:bodyPr>
          <a:lstStyle/>
          <a:p>
            <a:pPr marL="274320" marR="0" lvl="0" indent="-274320" algn="r" defTabSz="1082040" rtl="0" eaLnBrk="0" fontAlgn="base" latinLnBrk="0" hangingPunct="0">
              <a:lnSpc>
                <a:spcPct val="85000"/>
              </a:lnSpc>
              <a:spcBef>
                <a:spcPct val="0"/>
              </a:spcBef>
              <a:spcAft>
                <a:spcPct val="0"/>
              </a:spcAft>
              <a:buClr>
                <a:srgbClr val="8099CC"/>
              </a:buClr>
              <a:buSzTx/>
              <a:buFontTx/>
              <a:buNone/>
              <a:tabLst/>
              <a:defRPr/>
            </a:pPr>
            <a:r>
              <a:rPr kumimoji="0" lang="en-US" altLang="en-US" sz="960" b="1" i="0" u="none" strike="noStrike" kern="1200" cap="none" spc="0" normalizeH="0" baseline="0" noProof="0" dirty="0">
                <a:ln>
                  <a:noFill/>
                </a:ln>
                <a:solidFill>
                  <a:prstClr val="black"/>
                </a:solidFill>
                <a:effectLst/>
                <a:uLnTx/>
                <a:uFillTx/>
                <a:latin typeface="Verdana"/>
                <a:ea typeface="+mn-ea"/>
                <a:cs typeface="Arial" charset="0"/>
              </a:rPr>
              <a:t>Maturity</a:t>
            </a:r>
          </a:p>
        </p:txBody>
      </p:sp>
      <p:sp>
        <p:nvSpPr>
          <p:cNvPr id="88" name="Line 15">
            <a:extLst>
              <a:ext uri="{FF2B5EF4-FFF2-40B4-BE49-F238E27FC236}">
                <a16:creationId xmlns:a16="http://schemas.microsoft.com/office/drawing/2014/main" id="{2D8FD124-1B6B-4D3F-8911-80F0E23003F8}"/>
              </a:ext>
            </a:extLst>
          </p:cNvPr>
          <p:cNvSpPr>
            <a:spLocks noChangeShapeType="1"/>
          </p:cNvSpPr>
          <p:nvPr/>
        </p:nvSpPr>
        <p:spPr bwMode="auto">
          <a:xfrm flipV="1">
            <a:off x="698579" y="1211825"/>
            <a:ext cx="0" cy="4031776"/>
          </a:xfrm>
          <a:prstGeom prst="line">
            <a:avLst/>
          </a:prstGeom>
          <a:noFill/>
          <a:ln w="38100">
            <a:solidFill>
              <a:schemeClr val="tx1"/>
            </a:solidFill>
            <a:round/>
            <a:headEnd/>
            <a:tailEnd type="triangle" w="med" len="med"/>
          </a:ln>
        </p:spPr>
        <p:txBody>
          <a:bodyPr/>
          <a:lstStyle/>
          <a:p>
            <a:pPr marL="0" marR="0" lvl="0" indent="0" algn="l" defTabSz="1097280" rtl="0" eaLnBrk="0" fontAlgn="auto" latinLnBrk="0" hangingPunct="0">
              <a:lnSpc>
                <a:spcPct val="106000"/>
              </a:lnSpc>
              <a:spcBef>
                <a:spcPct val="50000"/>
              </a:spcBef>
              <a:spcAft>
                <a:spcPts val="0"/>
              </a:spcAft>
              <a:buClrTx/>
              <a:buSzPct val="100000"/>
              <a:buFontTx/>
              <a:buNone/>
              <a:tabLst/>
              <a:defRPr/>
            </a:pPr>
            <a:endParaRPr kumimoji="0" lang="en-US" sz="780" b="0" i="0" u="none" strike="noStrike" kern="0" cap="none" spc="0" normalizeH="0" baseline="0" noProof="0" dirty="0">
              <a:ln>
                <a:noFill/>
              </a:ln>
              <a:solidFill>
                <a:prstClr val="black"/>
              </a:solidFill>
              <a:effectLst/>
              <a:uLnTx/>
              <a:uFillTx/>
              <a:latin typeface="Verdana"/>
              <a:ea typeface="+mn-ea"/>
              <a:cs typeface="Arial" charset="0"/>
            </a:endParaRPr>
          </a:p>
        </p:txBody>
      </p:sp>
      <p:sp>
        <p:nvSpPr>
          <p:cNvPr id="89" name="Line 16">
            <a:extLst>
              <a:ext uri="{FF2B5EF4-FFF2-40B4-BE49-F238E27FC236}">
                <a16:creationId xmlns:a16="http://schemas.microsoft.com/office/drawing/2014/main" id="{2DA55379-CEF7-42A6-8AE7-A9F465AB1AA3}"/>
              </a:ext>
            </a:extLst>
          </p:cNvPr>
          <p:cNvSpPr>
            <a:spLocks noChangeShapeType="1"/>
          </p:cNvSpPr>
          <p:nvPr/>
        </p:nvSpPr>
        <p:spPr bwMode="auto">
          <a:xfrm flipV="1">
            <a:off x="679761" y="5223938"/>
            <a:ext cx="10290659" cy="0"/>
          </a:xfrm>
          <a:prstGeom prst="line">
            <a:avLst/>
          </a:prstGeom>
          <a:noFill/>
          <a:ln w="38100">
            <a:solidFill>
              <a:schemeClr val="tx1"/>
            </a:solidFill>
            <a:round/>
            <a:headEnd/>
            <a:tailEnd/>
          </a:ln>
        </p:spPr>
        <p:txBody>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960" b="0" i="0" u="none" strike="noStrike" kern="1200" cap="none" spc="0" normalizeH="0" baseline="0" noProof="0" dirty="0">
              <a:ln>
                <a:noFill/>
              </a:ln>
              <a:solidFill>
                <a:prstClr val="black"/>
              </a:solidFill>
              <a:effectLst/>
              <a:uLnTx/>
              <a:uFillTx/>
              <a:latin typeface="Verdana"/>
              <a:ea typeface="+mn-ea"/>
              <a:cs typeface="Arial" charset="0"/>
            </a:endParaRPr>
          </a:p>
        </p:txBody>
      </p:sp>
      <p:cxnSp>
        <p:nvCxnSpPr>
          <p:cNvPr id="92" name="Straight Arrow Connector 91">
            <a:extLst>
              <a:ext uri="{FF2B5EF4-FFF2-40B4-BE49-F238E27FC236}">
                <a16:creationId xmlns:a16="http://schemas.microsoft.com/office/drawing/2014/main" id="{63BA0240-EBC2-4ACE-BA7F-05417CC94F12}"/>
              </a:ext>
            </a:extLst>
          </p:cNvPr>
          <p:cNvCxnSpPr>
            <a:cxnSpLocks/>
            <a:endCxn id="66" idx="2"/>
          </p:cNvCxnSpPr>
          <p:nvPr/>
        </p:nvCxnSpPr>
        <p:spPr>
          <a:xfrm flipV="1">
            <a:off x="10819990" y="2654608"/>
            <a:ext cx="0" cy="20856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6" name="Straight Arrow Connector 95">
            <a:extLst>
              <a:ext uri="{FF2B5EF4-FFF2-40B4-BE49-F238E27FC236}">
                <a16:creationId xmlns:a16="http://schemas.microsoft.com/office/drawing/2014/main" id="{3A8990FB-8524-4A15-9106-E09385EBBFF8}"/>
              </a:ext>
            </a:extLst>
          </p:cNvPr>
          <p:cNvCxnSpPr>
            <a:cxnSpLocks/>
            <a:endCxn id="27" idx="2"/>
          </p:cNvCxnSpPr>
          <p:nvPr/>
        </p:nvCxnSpPr>
        <p:spPr>
          <a:xfrm flipV="1">
            <a:off x="9924975" y="2654608"/>
            <a:ext cx="0" cy="22182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8" name="Straight Arrow Connector 97">
            <a:extLst>
              <a:ext uri="{FF2B5EF4-FFF2-40B4-BE49-F238E27FC236}">
                <a16:creationId xmlns:a16="http://schemas.microsoft.com/office/drawing/2014/main" id="{B00FC490-4BA4-4DC7-BDB4-D4CA56AD3FE4}"/>
              </a:ext>
            </a:extLst>
          </p:cNvPr>
          <p:cNvCxnSpPr>
            <a:cxnSpLocks/>
            <a:endCxn id="60" idx="2"/>
          </p:cNvCxnSpPr>
          <p:nvPr/>
        </p:nvCxnSpPr>
        <p:spPr>
          <a:xfrm flipV="1">
            <a:off x="9055865" y="2654608"/>
            <a:ext cx="0" cy="22182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68F9E9E6-738F-4C93-B94F-28AD4F0ADD75}"/>
              </a:ext>
            </a:extLst>
          </p:cNvPr>
          <p:cNvCxnSpPr>
            <a:cxnSpLocks/>
            <a:endCxn id="45" idx="2"/>
          </p:cNvCxnSpPr>
          <p:nvPr/>
        </p:nvCxnSpPr>
        <p:spPr>
          <a:xfrm flipV="1">
            <a:off x="8182912" y="2654608"/>
            <a:ext cx="0" cy="22182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2" name="Straight Arrow Connector 101">
            <a:extLst>
              <a:ext uri="{FF2B5EF4-FFF2-40B4-BE49-F238E27FC236}">
                <a16:creationId xmlns:a16="http://schemas.microsoft.com/office/drawing/2014/main" id="{66F38FE6-6B5D-427E-B675-4DE8A0A3618F}"/>
              </a:ext>
            </a:extLst>
          </p:cNvPr>
          <p:cNvCxnSpPr>
            <a:cxnSpLocks/>
            <a:endCxn id="46" idx="2"/>
          </p:cNvCxnSpPr>
          <p:nvPr/>
        </p:nvCxnSpPr>
        <p:spPr>
          <a:xfrm flipV="1">
            <a:off x="7307331" y="2654608"/>
            <a:ext cx="0" cy="22182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4" name="Straight Arrow Connector 103">
            <a:extLst>
              <a:ext uri="{FF2B5EF4-FFF2-40B4-BE49-F238E27FC236}">
                <a16:creationId xmlns:a16="http://schemas.microsoft.com/office/drawing/2014/main" id="{4780C777-7AE7-4F75-A50A-18B1D5FDB1D1}"/>
              </a:ext>
            </a:extLst>
          </p:cNvPr>
          <p:cNvCxnSpPr>
            <a:cxnSpLocks/>
            <a:endCxn id="25" idx="2"/>
          </p:cNvCxnSpPr>
          <p:nvPr/>
        </p:nvCxnSpPr>
        <p:spPr>
          <a:xfrm flipV="1">
            <a:off x="6431750" y="2654608"/>
            <a:ext cx="0" cy="22182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Straight Arrow Connector 109">
            <a:extLst>
              <a:ext uri="{FF2B5EF4-FFF2-40B4-BE49-F238E27FC236}">
                <a16:creationId xmlns:a16="http://schemas.microsoft.com/office/drawing/2014/main" id="{5E06F4D9-F2D0-4FCB-8ACE-5AB2156A1D19}"/>
              </a:ext>
            </a:extLst>
          </p:cNvPr>
          <p:cNvCxnSpPr>
            <a:cxnSpLocks/>
            <a:endCxn id="29" idx="2"/>
          </p:cNvCxnSpPr>
          <p:nvPr/>
        </p:nvCxnSpPr>
        <p:spPr>
          <a:xfrm flipV="1">
            <a:off x="2935964" y="2654608"/>
            <a:ext cx="0" cy="22182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4" name="Rectangle 24">
            <a:extLst>
              <a:ext uri="{FF2B5EF4-FFF2-40B4-BE49-F238E27FC236}">
                <a16:creationId xmlns:a16="http://schemas.microsoft.com/office/drawing/2014/main" id="{61826C1C-8092-4C10-91B7-D66CC453F9CD}"/>
              </a:ext>
            </a:extLst>
          </p:cNvPr>
          <p:cNvSpPr>
            <a:spLocks noChangeArrowheads="1"/>
          </p:cNvSpPr>
          <p:nvPr/>
        </p:nvSpPr>
        <p:spPr bwMode="auto">
          <a:xfrm>
            <a:off x="3413582" y="4108570"/>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alt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Parts can not be associated with other product data objects</a:t>
            </a:r>
          </a:p>
        </p:txBody>
      </p:sp>
      <p:sp>
        <p:nvSpPr>
          <p:cNvPr id="31" name="Rectangle 32">
            <a:extLst>
              <a:ext uri="{FF2B5EF4-FFF2-40B4-BE49-F238E27FC236}">
                <a16:creationId xmlns:a16="http://schemas.microsoft.com/office/drawing/2014/main" id="{620A31BF-E0BC-4B57-8F99-18389A1F9C6B}"/>
              </a:ext>
            </a:extLst>
          </p:cNvPr>
          <p:cNvSpPr>
            <a:spLocks noChangeArrowheads="1"/>
          </p:cNvSpPr>
          <p:nvPr/>
        </p:nvSpPr>
        <p:spPr bwMode="auto">
          <a:xfrm>
            <a:off x="3375177" y="1208733"/>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alt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Parts linked to all types of product data objects; links can be filtered/ viewed by type/ category; relationship data may be stored on link</a:t>
            </a:r>
          </a:p>
        </p:txBody>
      </p:sp>
      <p:sp>
        <p:nvSpPr>
          <p:cNvPr id="38" name="Rectangle 40">
            <a:extLst>
              <a:ext uri="{FF2B5EF4-FFF2-40B4-BE49-F238E27FC236}">
                <a16:creationId xmlns:a16="http://schemas.microsoft.com/office/drawing/2014/main" id="{B3DE75B5-9529-4E87-8389-A0B11D94E21F}"/>
              </a:ext>
            </a:extLst>
          </p:cNvPr>
          <p:cNvSpPr>
            <a:spLocks noChangeArrowheads="1"/>
          </p:cNvSpPr>
          <p:nvPr/>
        </p:nvSpPr>
        <p:spPr bwMode="auto">
          <a:xfrm>
            <a:off x="3413582" y="286784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alt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Supports static links to fundamental product data objects; no relationship data associated with link</a:t>
            </a:r>
          </a:p>
        </p:txBody>
      </p:sp>
      <p:cxnSp>
        <p:nvCxnSpPr>
          <p:cNvPr id="114" name="Straight Arrow Connector 113">
            <a:extLst>
              <a:ext uri="{FF2B5EF4-FFF2-40B4-BE49-F238E27FC236}">
                <a16:creationId xmlns:a16="http://schemas.microsoft.com/office/drawing/2014/main" id="{E4C9DA31-60D7-48BE-BA05-7613F270BFBD}"/>
              </a:ext>
            </a:extLst>
          </p:cNvPr>
          <p:cNvCxnSpPr>
            <a:cxnSpLocks/>
            <a:endCxn id="31" idx="2"/>
          </p:cNvCxnSpPr>
          <p:nvPr/>
        </p:nvCxnSpPr>
        <p:spPr>
          <a:xfrm flipH="1" flipV="1">
            <a:off x="3797630" y="2654608"/>
            <a:ext cx="2836" cy="20465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6" name="Straight Arrow Connector 115">
            <a:extLst>
              <a:ext uri="{FF2B5EF4-FFF2-40B4-BE49-F238E27FC236}">
                <a16:creationId xmlns:a16="http://schemas.microsoft.com/office/drawing/2014/main" id="{2E5BA8C2-73DC-49EB-B8CE-A888E2FA4BAF}"/>
              </a:ext>
            </a:extLst>
          </p:cNvPr>
          <p:cNvCxnSpPr>
            <a:cxnSpLocks/>
            <a:stCxn id="24" idx="0"/>
            <a:endCxn id="38" idx="2"/>
          </p:cNvCxnSpPr>
          <p:nvPr/>
        </p:nvCxnSpPr>
        <p:spPr>
          <a:xfrm flipV="1">
            <a:off x="3797630" y="3855400"/>
            <a:ext cx="0" cy="25317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3" name="Rectangle: Rounded Corners 22">
            <a:extLst>
              <a:ext uri="{FF2B5EF4-FFF2-40B4-BE49-F238E27FC236}">
                <a16:creationId xmlns:a16="http://schemas.microsoft.com/office/drawing/2014/main" id="{3140A25E-9CBB-443C-BBA6-35E9C7AA98D3}"/>
              </a:ext>
            </a:extLst>
          </p:cNvPr>
          <p:cNvSpPr>
            <a:spLocks noChangeArrowheads="1"/>
          </p:cNvSpPr>
          <p:nvPr/>
        </p:nvSpPr>
        <p:spPr bwMode="auto">
          <a:xfrm>
            <a:off x="775569" y="4108570"/>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Single static BOM</a:t>
            </a:r>
          </a:p>
        </p:txBody>
      </p:sp>
      <p:sp>
        <p:nvSpPr>
          <p:cNvPr id="30" name="Rectangle 30">
            <a:extLst>
              <a:ext uri="{FF2B5EF4-FFF2-40B4-BE49-F238E27FC236}">
                <a16:creationId xmlns:a16="http://schemas.microsoft.com/office/drawing/2014/main" id="{3C27A4BA-F244-40C1-80DF-0ABE334CB9CF}"/>
              </a:ext>
            </a:extLst>
          </p:cNvPr>
          <p:cNvSpPr>
            <a:spLocks noChangeArrowheads="1"/>
          </p:cNvSpPr>
          <p:nvPr/>
        </p:nvSpPr>
        <p:spPr bwMode="auto">
          <a:xfrm>
            <a:off x="737164" y="1208733"/>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alt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Ability to create and manage BOMs at each phase of lifecycle (Design BOM, Eng. BOM, Mfg. BOM, Sales BOM) </a:t>
            </a:r>
          </a:p>
        </p:txBody>
      </p:sp>
      <p:sp>
        <p:nvSpPr>
          <p:cNvPr id="37" name="Rectangle 38">
            <a:extLst>
              <a:ext uri="{FF2B5EF4-FFF2-40B4-BE49-F238E27FC236}">
                <a16:creationId xmlns:a16="http://schemas.microsoft.com/office/drawing/2014/main" id="{156DEDBB-6B9D-4D3C-B13F-5DE9B5F0AEAF}"/>
              </a:ext>
            </a:extLst>
          </p:cNvPr>
          <p:cNvSpPr>
            <a:spLocks noChangeArrowheads="1"/>
          </p:cNvSpPr>
          <p:nvPr/>
        </p:nvSpPr>
        <p:spPr bwMode="auto">
          <a:xfrm>
            <a:off x="775569" y="286784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Ability to define BOM at certain lifecycle phases (not all)</a:t>
            </a:r>
          </a:p>
        </p:txBody>
      </p:sp>
      <p:cxnSp>
        <p:nvCxnSpPr>
          <p:cNvPr id="112" name="Straight Arrow Connector 111">
            <a:extLst>
              <a:ext uri="{FF2B5EF4-FFF2-40B4-BE49-F238E27FC236}">
                <a16:creationId xmlns:a16="http://schemas.microsoft.com/office/drawing/2014/main" id="{B3361B9A-4457-4269-8B98-D3767B50C917}"/>
              </a:ext>
            </a:extLst>
          </p:cNvPr>
          <p:cNvCxnSpPr>
            <a:cxnSpLocks/>
            <a:endCxn id="30" idx="2"/>
          </p:cNvCxnSpPr>
          <p:nvPr/>
        </p:nvCxnSpPr>
        <p:spPr>
          <a:xfrm flipV="1">
            <a:off x="1159617" y="2654608"/>
            <a:ext cx="0" cy="22182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8" name="Straight Arrow Connector 117">
            <a:extLst>
              <a:ext uri="{FF2B5EF4-FFF2-40B4-BE49-F238E27FC236}">
                <a16:creationId xmlns:a16="http://schemas.microsoft.com/office/drawing/2014/main" id="{23D12A4D-93FE-4D85-B9D9-7C4338B5769C}"/>
              </a:ext>
            </a:extLst>
          </p:cNvPr>
          <p:cNvCxnSpPr>
            <a:cxnSpLocks/>
            <a:stCxn id="23" idx="0"/>
            <a:endCxn id="37" idx="2"/>
          </p:cNvCxnSpPr>
          <p:nvPr/>
        </p:nvCxnSpPr>
        <p:spPr>
          <a:xfrm flipV="1">
            <a:off x="1159617" y="3855400"/>
            <a:ext cx="0" cy="25317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0" name="Straight Arrow Connector 119">
            <a:extLst>
              <a:ext uri="{FF2B5EF4-FFF2-40B4-BE49-F238E27FC236}">
                <a16:creationId xmlns:a16="http://schemas.microsoft.com/office/drawing/2014/main" id="{7417E330-7EF2-4A0E-8016-A9192DECBF42}"/>
              </a:ext>
            </a:extLst>
          </p:cNvPr>
          <p:cNvCxnSpPr>
            <a:cxnSpLocks/>
            <a:stCxn id="22" idx="0"/>
            <a:endCxn id="36" idx="2"/>
          </p:cNvCxnSpPr>
          <p:nvPr/>
        </p:nvCxnSpPr>
        <p:spPr>
          <a:xfrm flipV="1">
            <a:off x="2935964" y="3855400"/>
            <a:ext cx="0" cy="25317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9" name="Rectangle 6">
            <a:extLst>
              <a:ext uri="{FF2B5EF4-FFF2-40B4-BE49-F238E27FC236}">
                <a16:creationId xmlns:a16="http://schemas.microsoft.com/office/drawing/2014/main" id="{C976A444-B809-4A06-A35E-F529344B9F95}"/>
              </a:ext>
            </a:extLst>
          </p:cNvPr>
          <p:cNvSpPr>
            <a:spLocks noChangeArrowheads="1"/>
          </p:cNvSpPr>
          <p:nvPr/>
        </p:nvSpPr>
        <p:spPr bwMode="auto">
          <a:xfrm>
            <a:off x="5127038" y="5354652"/>
            <a:ext cx="808588" cy="511403"/>
          </a:xfrm>
          <a:prstGeom prst="roundRect">
            <a:avLst/>
          </a:prstGeom>
          <a:solidFill>
            <a:srgbClr val="002060"/>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20" normalizeH="0" baseline="0" noProof="0" dirty="0">
                <a:ln>
                  <a:noFill/>
                </a:ln>
                <a:solidFill>
                  <a:prstClr val="white"/>
                </a:solidFill>
                <a:effectLst/>
                <a:uLnTx/>
                <a:uFillTx/>
                <a:latin typeface="Verdana"/>
                <a:ea typeface="+mn-ea"/>
                <a:cs typeface="Arial" pitchFamily="34" charset="0"/>
              </a:rPr>
              <a:t>Substitution</a:t>
            </a:r>
          </a:p>
        </p:txBody>
      </p:sp>
      <p:sp>
        <p:nvSpPr>
          <p:cNvPr id="21" name="Rectangle: Rounded Corners 20">
            <a:extLst>
              <a:ext uri="{FF2B5EF4-FFF2-40B4-BE49-F238E27FC236}">
                <a16:creationId xmlns:a16="http://schemas.microsoft.com/office/drawing/2014/main" id="{4B43A490-519C-4608-9381-97E24EC84B13}"/>
              </a:ext>
            </a:extLst>
          </p:cNvPr>
          <p:cNvSpPr>
            <a:spLocks noChangeArrowheads="1"/>
          </p:cNvSpPr>
          <p:nvPr/>
        </p:nvSpPr>
        <p:spPr bwMode="auto">
          <a:xfrm>
            <a:off x="5147284" y="4108570"/>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No approved part interchange-ability</a:t>
            </a:r>
          </a:p>
        </p:txBody>
      </p:sp>
      <p:sp>
        <p:nvSpPr>
          <p:cNvPr id="28" name="Rectangle 28">
            <a:extLst>
              <a:ext uri="{FF2B5EF4-FFF2-40B4-BE49-F238E27FC236}">
                <a16:creationId xmlns:a16="http://schemas.microsoft.com/office/drawing/2014/main" id="{E39B9845-1A5D-4189-9BCC-1D2CB1DC2182}"/>
              </a:ext>
            </a:extLst>
          </p:cNvPr>
          <p:cNvSpPr>
            <a:spLocks noChangeArrowheads="1"/>
          </p:cNvSpPr>
          <p:nvPr/>
        </p:nvSpPr>
        <p:spPr bwMode="auto">
          <a:xfrm>
            <a:off x="5108879" y="1208733"/>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Ability to define both approved alternates (global applications) and substitutes (specific applications) for a part</a:t>
            </a:r>
          </a:p>
        </p:txBody>
      </p:sp>
      <p:sp>
        <p:nvSpPr>
          <p:cNvPr id="35" name="Rectangle 36">
            <a:extLst>
              <a:ext uri="{FF2B5EF4-FFF2-40B4-BE49-F238E27FC236}">
                <a16:creationId xmlns:a16="http://schemas.microsoft.com/office/drawing/2014/main" id="{3AC7974E-1E12-4A9D-8F0F-D426F73A37D7}"/>
              </a:ext>
            </a:extLst>
          </p:cNvPr>
          <p:cNvSpPr>
            <a:spLocks noChangeArrowheads="1"/>
          </p:cNvSpPr>
          <p:nvPr/>
        </p:nvSpPr>
        <p:spPr bwMode="auto">
          <a:xfrm>
            <a:off x="5147284" y="286784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Ability to define  approved alternates (global applications) for a part</a:t>
            </a:r>
          </a:p>
        </p:txBody>
      </p:sp>
      <p:cxnSp>
        <p:nvCxnSpPr>
          <p:cNvPr id="108" name="Straight Arrow Connector 107">
            <a:extLst>
              <a:ext uri="{FF2B5EF4-FFF2-40B4-BE49-F238E27FC236}">
                <a16:creationId xmlns:a16="http://schemas.microsoft.com/office/drawing/2014/main" id="{886D1E83-5C24-4F75-AAB5-68D7FCF7449D}"/>
              </a:ext>
            </a:extLst>
          </p:cNvPr>
          <p:cNvCxnSpPr>
            <a:cxnSpLocks/>
            <a:endCxn id="28" idx="2"/>
          </p:cNvCxnSpPr>
          <p:nvPr/>
        </p:nvCxnSpPr>
        <p:spPr>
          <a:xfrm flipV="1">
            <a:off x="5531332" y="2654608"/>
            <a:ext cx="0" cy="22182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2" name="Straight Arrow Connector 121">
            <a:extLst>
              <a:ext uri="{FF2B5EF4-FFF2-40B4-BE49-F238E27FC236}">
                <a16:creationId xmlns:a16="http://schemas.microsoft.com/office/drawing/2014/main" id="{59971653-BDD1-4A02-BD5F-EE2347A82BCE}"/>
              </a:ext>
            </a:extLst>
          </p:cNvPr>
          <p:cNvCxnSpPr>
            <a:cxnSpLocks/>
            <a:stCxn id="21" idx="0"/>
            <a:endCxn id="35" idx="2"/>
          </p:cNvCxnSpPr>
          <p:nvPr/>
        </p:nvCxnSpPr>
        <p:spPr>
          <a:xfrm flipV="1">
            <a:off x="5531332" y="3855400"/>
            <a:ext cx="0" cy="25317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9" name="Rectangle: Rounded Corners 18">
            <a:extLst>
              <a:ext uri="{FF2B5EF4-FFF2-40B4-BE49-F238E27FC236}">
                <a16:creationId xmlns:a16="http://schemas.microsoft.com/office/drawing/2014/main" id="{AEA34675-022A-430A-9E05-B678FA46001A}"/>
              </a:ext>
            </a:extLst>
          </p:cNvPr>
          <p:cNvSpPr>
            <a:spLocks noChangeArrowheads="1"/>
          </p:cNvSpPr>
          <p:nvPr/>
        </p:nvSpPr>
        <p:spPr bwMode="auto">
          <a:xfrm>
            <a:off x="1671827" y="4108570"/>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No revisioning /versioning of components</a:t>
            </a:r>
          </a:p>
        </p:txBody>
      </p:sp>
      <p:sp>
        <p:nvSpPr>
          <p:cNvPr id="7" name="Rectangle 4">
            <a:extLst>
              <a:ext uri="{FF2B5EF4-FFF2-40B4-BE49-F238E27FC236}">
                <a16:creationId xmlns:a16="http://schemas.microsoft.com/office/drawing/2014/main" id="{D6AE5ECA-EFFC-40AA-9CE3-C56FC6FB90C2}"/>
              </a:ext>
            </a:extLst>
          </p:cNvPr>
          <p:cNvSpPr>
            <a:spLocks noChangeArrowheads="1"/>
          </p:cNvSpPr>
          <p:nvPr/>
        </p:nvSpPr>
        <p:spPr bwMode="auto">
          <a:xfrm>
            <a:off x="1671827" y="5354652"/>
            <a:ext cx="768096" cy="511403"/>
          </a:xfrm>
          <a:prstGeom prst="roundRect">
            <a:avLst/>
          </a:prstGeom>
          <a:solidFill>
            <a:srgbClr val="002060"/>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Arial" pitchFamily="34" charset="0"/>
              </a:rPr>
              <a:t>Revision/ Version Control</a:t>
            </a:r>
          </a:p>
        </p:txBody>
      </p:sp>
      <p:sp>
        <p:nvSpPr>
          <p:cNvPr id="26" name="Rectangle 26">
            <a:extLst>
              <a:ext uri="{FF2B5EF4-FFF2-40B4-BE49-F238E27FC236}">
                <a16:creationId xmlns:a16="http://schemas.microsoft.com/office/drawing/2014/main" id="{D5ECF3B6-DEA6-4C82-B0FA-E6B36F485A66}"/>
              </a:ext>
            </a:extLst>
          </p:cNvPr>
          <p:cNvSpPr>
            <a:spLocks noChangeArrowheads="1"/>
          </p:cNvSpPr>
          <p:nvPr/>
        </p:nvSpPr>
        <p:spPr bwMode="auto">
          <a:xfrm>
            <a:off x="1633422" y="1208733"/>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 Automated, configurable revision/ version sequencing; option to selectively maintain current links to other objects</a:t>
            </a:r>
          </a:p>
        </p:txBody>
      </p:sp>
      <p:sp>
        <p:nvSpPr>
          <p:cNvPr id="33" name="Rectangle 34">
            <a:extLst>
              <a:ext uri="{FF2B5EF4-FFF2-40B4-BE49-F238E27FC236}">
                <a16:creationId xmlns:a16="http://schemas.microsoft.com/office/drawing/2014/main" id="{38D9C83C-D5CF-403F-9887-C5494098DCBA}"/>
              </a:ext>
            </a:extLst>
          </p:cNvPr>
          <p:cNvSpPr>
            <a:spLocks noChangeArrowheads="1"/>
          </p:cNvSpPr>
          <p:nvPr/>
        </p:nvSpPr>
        <p:spPr bwMode="auto">
          <a:xfrm>
            <a:off x="1671827" y="286784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Manual sequencing of revision/ version; option to maintain all or none object links</a:t>
            </a:r>
          </a:p>
        </p:txBody>
      </p:sp>
      <p:cxnSp>
        <p:nvCxnSpPr>
          <p:cNvPr id="106" name="Straight Arrow Connector 105">
            <a:extLst>
              <a:ext uri="{FF2B5EF4-FFF2-40B4-BE49-F238E27FC236}">
                <a16:creationId xmlns:a16="http://schemas.microsoft.com/office/drawing/2014/main" id="{A2C200C7-AAA0-492E-8969-231BEBB8B660}"/>
              </a:ext>
            </a:extLst>
          </p:cNvPr>
          <p:cNvCxnSpPr>
            <a:cxnSpLocks/>
            <a:endCxn id="26" idx="2"/>
          </p:cNvCxnSpPr>
          <p:nvPr/>
        </p:nvCxnSpPr>
        <p:spPr>
          <a:xfrm flipV="1">
            <a:off x="2055875" y="2654608"/>
            <a:ext cx="0" cy="22182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4" name="Straight Arrow Connector 123">
            <a:extLst>
              <a:ext uri="{FF2B5EF4-FFF2-40B4-BE49-F238E27FC236}">
                <a16:creationId xmlns:a16="http://schemas.microsoft.com/office/drawing/2014/main" id="{DBF25B2A-9F25-4A45-8147-AFB73B93740D}"/>
              </a:ext>
            </a:extLst>
          </p:cNvPr>
          <p:cNvCxnSpPr>
            <a:cxnSpLocks/>
            <a:stCxn id="19" idx="0"/>
            <a:endCxn id="33" idx="2"/>
          </p:cNvCxnSpPr>
          <p:nvPr/>
        </p:nvCxnSpPr>
        <p:spPr>
          <a:xfrm flipV="1">
            <a:off x="2055875" y="3855400"/>
            <a:ext cx="0" cy="25317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6" name="Straight Arrow Connector 125">
            <a:extLst>
              <a:ext uri="{FF2B5EF4-FFF2-40B4-BE49-F238E27FC236}">
                <a16:creationId xmlns:a16="http://schemas.microsoft.com/office/drawing/2014/main" id="{A6409909-2007-4B95-8A09-F8E6F9F18376}"/>
              </a:ext>
            </a:extLst>
          </p:cNvPr>
          <p:cNvCxnSpPr>
            <a:cxnSpLocks/>
            <a:stCxn id="18" idx="0"/>
            <a:endCxn id="32" idx="2"/>
          </p:cNvCxnSpPr>
          <p:nvPr/>
        </p:nvCxnSpPr>
        <p:spPr>
          <a:xfrm flipV="1">
            <a:off x="6431750" y="3855400"/>
            <a:ext cx="0" cy="25317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8" name="Straight Arrow Connector 127">
            <a:extLst>
              <a:ext uri="{FF2B5EF4-FFF2-40B4-BE49-F238E27FC236}">
                <a16:creationId xmlns:a16="http://schemas.microsoft.com/office/drawing/2014/main" id="{10494B0A-54AA-413E-8DA4-1E6A02D86A85}"/>
              </a:ext>
            </a:extLst>
          </p:cNvPr>
          <p:cNvCxnSpPr>
            <a:cxnSpLocks/>
            <a:stCxn id="44" idx="0"/>
            <a:endCxn id="49" idx="2"/>
          </p:cNvCxnSpPr>
          <p:nvPr/>
        </p:nvCxnSpPr>
        <p:spPr>
          <a:xfrm flipV="1">
            <a:off x="7307331" y="3855400"/>
            <a:ext cx="0" cy="25317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0" name="Straight Arrow Connector 129">
            <a:extLst>
              <a:ext uri="{FF2B5EF4-FFF2-40B4-BE49-F238E27FC236}">
                <a16:creationId xmlns:a16="http://schemas.microsoft.com/office/drawing/2014/main" id="{684E90B1-D98A-447F-BDD1-9CE472CDBE91}"/>
              </a:ext>
            </a:extLst>
          </p:cNvPr>
          <p:cNvCxnSpPr>
            <a:cxnSpLocks/>
            <a:stCxn id="43" idx="0"/>
            <a:endCxn id="48" idx="2"/>
          </p:cNvCxnSpPr>
          <p:nvPr/>
        </p:nvCxnSpPr>
        <p:spPr>
          <a:xfrm flipV="1">
            <a:off x="8182912" y="3855400"/>
            <a:ext cx="0" cy="25317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2" name="Straight Arrow Connector 131">
            <a:extLst>
              <a:ext uri="{FF2B5EF4-FFF2-40B4-BE49-F238E27FC236}">
                <a16:creationId xmlns:a16="http://schemas.microsoft.com/office/drawing/2014/main" id="{5BEF921D-98E0-4E3D-8023-17FBBD8617F9}"/>
              </a:ext>
            </a:extLst>
          </p:cNvPr>
          <p:cNvCxnSpPr>
            <a:cxnSpLocks/>
            <a:stCxn id="42" idx="0"/>
            <a:endCxn id="47" idx="2"/>
          </p:cNvCxnSpPr>
          <p:nvPr/>
        </p:nvCxnSpPr>
        <p:spPr>
          <a:xfrm flipV="1">
            <a:off x="9055865" y="3855400"/>
            <a:ext cx="0" cy="25317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4" name="Straight Arrow Connector 133">
            <a:extLst>
              <a:ext uri="{FF2B5EF4-FFF2-40B4-BE49-F238E27FC236}">
                <a16:creationId xmlns:a16="http://schemas.microsoft.com/office/drawing/2014/main" id="{87883E86-672E-49D7-8B8E-2160022AF991}"/>
              </a:ext>
            </a:extLst>
          </p:cNvPr>
          <p:cNvCxnSpPr>
            <a:cxnSpLocks/>
            <a:stCxn id="20" idx="0"/>
            <a:endCxn id="34" idx="2"/>
          </p:cNvCxnSpPr>
          <p:nvPr/>
        </p:nvCxnSpPr>
        <p:spPr>
          <a:xfrm flipV="1">
            <a:off x="9924975" y="3855400"/>
            <a:ext cx="0" cy="25317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61" name="Rectangle 19">
            <a:extLst>
              <a:ext uri="{FF2B5EF4-FFF2-40B4-BE49-F238E27FC236}">
                <a16:creationId xmlns:a16="http://schemas.microsoft.com/office/drawing/2014/main" id="{E4F28C3C-44A4-41D6-827D-1B6E0DEE49EC}"/>
              </a:ext>
            </a:extLst>
          </p:cNvPr>
          <p:cNvSpPr>
            <a:spLocks noChangeArrowheads="1"/>
          </p:cNvSpPr>
          <p:nvPr/>
        </p:nvSpPr>
        <p:spPr bwMode="auto">
          <a:xfrm>
            <a:off x="4282764" y="4108570"/>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Disparate, non-integrated  releases, out-of-sync rollups</a:t>
            </a:r>
          </a:p>
        </p:txBody>
      </p:sp>
      <p:sp>
        <p:nvSpPr>
          <p:cNvPr id="64" name="Rectangle 35">
            <a:extLst>
              <a:ext uri="{FF2B5EF4-FFF2-40B4-BE49-F238E27FC236}">
                <a16:creationId xmlns:a16="http://schemas.microsoft.com/office/drawing/2014/main" id="{C18311E8-C2CD-4E4B-A892-0CE0C5C508D2}"/>
              </a:ext>
            </a:extLst>
          </p:cNvPr>
          <p:cNvSpPr>
            <a:spLocks noChangeArrowheads="1"/>
          </p:cNvSpPr>
          <p:nvPr/>
        </p:nvSpPr>
        <p:spPr bwMode="auto">
          <a:xfrm>
            <a:off x="4282764" y="286784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Well-defined release criteria and metrics. Engineering responsible for releasing designs, with little oversight</a:t>
            </a:r>
          </a:p>
        </p:txBody>
      </p:sp>
      <p:sp>
        <p:nvSpPr>
          <p:cNvPr id="65" name="Rectangle 27">
            <a:extLst>
              <a:ext uri="{FF2B5EF4-FFF2-40B4-BE49-F238E27FC236}">
                <a16:creationId xmlns:a16="http://schemas.microsoft.com/office/drawing/2014/main" id="{2AF7E388-2B72-4BB7-A303-A1E5978BE6C0}"/>
              </a:ext>
            </a:extLst>
          </p:cNvPr>
          <p:cNvSpPr>
            <a:spLocks noChangeArrowheads="1"/>
          </p:cNvSpPr>
          <p:nvPr/>
        </p:nvSpPr>
        <p:spPr bwMode="auto">
          <a:xfrm>
            <a:off x="4244359" y="1208733"/>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rPr>
              <a:t>Common release process across functional areas. Changes require business case  justification and analysis</a:t>
            </a:r>
          </a:p>
        </p:txBody>
      </p:sp>
      <p:sp>
        <p:nvSpPr>
          <p:cNvPr id="81" name="Rectangle 5">
            <a:extLst>
              <a:ext uri="{FF2B5EF4-FFF2-40B4-BE49-F238E27FC236}">
                <a16:creationId xmlns:a16="http://schemas.microsoft.com/office/drawing/2014/main" id="{EB26ACE3-05F2-4709-8F41-CF1EB0C0D19D}"/>
              </a:ext>
            </a:extLst>
          </p:cNvPr>
          <p:cNvSpPr>
            <a:spLocks noChangeArrowheads="1"/>
          </p:cNvSpPr>
          <p:nvPr/>
        </p:nvSpPr>
        <p:spPr bwMode="auto">
          <a:xfrm>
            <a:off x="4282764" y="5354652"/>
            <a:ext cx="768096" cy="511403"/>
          </a:xfrm>
          <a:prstGeom prst="roundRect">
            <a:avLst/>
          </a:prstGeom>
          <a:solidFill>
            <a:srgbClr val="002060"/>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white"/>
                </a:solidFill>
                <a:effectLst/>
                <a:uLnTx/>
                <a:uFillTx/>
                <a:latin typeface="Verdana"/>
                <a:ea typeface="+mn-ea"/>
                <a:cs typeface="Arial" pitchFamily="34" charset="0"/>
              </a:rPr>
              <a:t>Release and Governance</a:t>
            </a:r>
          </a:p>
        </p:txBody>
      </p:sp>
      <p:cxnSp>
        <p:nvCxnSpPr>
          <p:cNvPr id="94" name="Straight Arrow Connector 93">
            <a:extLst>
              <a:ext uri="{FF2B5EF4-FFF2-40B4-BE49-F238E27FC236}">
                <a16:creationId xmlns:a16="http://schemas.microsoft.com/office/drawing/2014/main" id="{51D44D4D-6E28-49FF-8533-882B869CE249}"/>
              </a:ext>
            </a:extLst>
          </p:cNvPr>
          <p:cNvCxnSpPr>
            <a:cxnSpLocks/>
            <a:endCxn id="65" idx="2"/>
          </p:cNvCxnSpPr>
          <p:nvPr/>
        </p:nvCxnSpPr>
        <p:spPr>
          <a:xfrm flipV="1">
            <a:off x="4666812" y="2654608"/>
            <a:ext cx="0" cy="22182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6" name="Straight Arrow Connector 135">
            <a:extLst>
              <a:ext uri="{FF2B5EF4-FFF2-40B4-BE49-F238E27FC236}">
                <a16:creationId xmlns:a16="http://schemas.microsoft.com/office/drawing/2014/main" id="{F90DEE09-BDD3-4C95-B8C8-1FA6D0259DF4}"/>
              </a:ext>
            </a:extLst>
          </p:cNvPr>
          <p:cNvCxnSpPr>
            <a:cxnSpLocks/>
            <a:stCxn id="61" idx="0"/>
            <a:endCxn id="64" idx="2"/>
          </p:cNvCxnSpPr>
          <p:nvPr/>
        </p:nvCxnSpPr>
        <p:spPr>
          <a:xfrm flipV="1">
            <a:off x="4666812" y="3855400"/>
            <a:ext cx="0" cy="25317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8" name="Straight Arrow Connector 137">
            <a:extLst>
              <a:ext uri="{FF2B5EF4-FFF2-40B4-BE49-F238E27FC236}">
                <a16:creationId xmlns:a16="http://schemas.microsoft.com/office/drawing/2014/main" id="{4381F8BA-02F4-412C-A27F-DA7858D69FF3}"/>
              </a:ext>
            </a:extLst>
          </p:cNvPr>
          <p:cNvCxnSpPr>
            <a:cxnSpLocks/>
            <a:stCxn id="62" idx="0"/>
            <a:endCxn id="63" idx="2"/>
          </p:cNvCxnSpPr>
          <p:nvPr/>
        </p:nvCxnSpPr>
        <p:spPr>
          <a:xfrm flipV="1">
            <a:off x="10819990" y="3855400"/>
            <a:ext cx="0" cy="25317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91" name="Title 1">
            <a:extLst>
              <a:ext uri="{FF2B5EF4-FFF2-40B4-BE49-F238E27FC236}">
                <a16:creationId xmlns:a16="http://schemas.microsoft.com/office/drawing/2014/main" id="{583C26A0-B0D2-4903-B6AA-9AB30D920277}"/>
              </a:ext>
            </a:extLst>
          </p:cNvPr>
          <p:cNvSpPr txBox="1">
            <a:spLocks/>
          </p:cNvSpPr>
          <p:nvPr/>
        </p:nvSpPr>
        <p:spPr>
          <a:xfrm>
            <a:off x="469900" y="402587"/>
            <a:ext cx="8397735" cy="717944"/>
          </a:xfrm>
          <a:prstGeom prst="rect">
            <a:avLst/>
          </a:prstGeom>
        </p:spPr>
        <p:txBody>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Verdana"/>
                <a:ea typeface="+mj-ea"/>
                <a:cs typeface="+mj-cs"/>
              </a:rPr>
              <a:t>BOM and Product Information Management</a:t>
            </a:r>
          </a:p>
        </p:txBody>
      </p:sp>
      <p:sp>
        <p:nvSpPr>
          <p:cNvPr id="148" name="Freeform 42">
            <a:extLst>
              <a:ext uri="{FF2B5EF4-FFF2-40B4-BE49-F238E27FC236}">
                <a16:creationId xmlns:a16="http://schemas.microsoft.com/office/drawing/2014/main" id="{7878A4A6-B746-4727-9750-6E6BA7F3B9F2}"/>
              </a:ext>
            </a:extLst>
          </p:cNvPr>
          <p:cNvSpPr/>
          <p:nvPr/>
        </p:nvSpPr>
        <p:spPr bwMode="auto">
          <a:xfrm>
            <a:off x="1174588" y="1301388"/>
            <a:ext cx="9644365" cy="2126016"/>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774244 w 7136640"/>
              <a:gd name="connsiteY1" fmla="*/ 285534 h 308134"/>
              <a:gd name="connsiteX2" fmla="*/ 1317807 w 7136640"/>
              <a:gd name="connsiteY2" fmla="*/ 54363 h 308134"/>
              <a:gd name="connsiteX3" fmla="*/ 1992056 w 7136640"/>
              <a:gd name="connsiteY3" fmla="*/ 307577 h 308134"/>
              <a:gd name="connsiteX4" fmla="*/ 2642777 w 7136640"/>
              <a:gd name="connsiteY4" fmla="*/ 124402 h 308134"/>
              <a:gd name="connsiteX5" fmla="*/ 3302093 w 7136640"/>
              <a:gd name="connsiteY5" fmla="*/ 189711 h 308134"/>
              <a:gd name="connsiteX6" fmla="*/ 3964644 w 7136640"/>
              <a:gd name="connsiteY6" fmla="*/ 417 h 308134"/>
              <a:gd name="connsiteX7" fmla="*/ 4578995 w 7136640"/>
              <a:gd name="connsiteY7" fmla="*/ 255894 h 308134"/>
              <a:gd name="connsiteX8" fmla="*/ 5236906 w 7136640"/>
              <a:gd name="connsiteY8" fmla="*/ 128120 h 308134"/>
              <a:gd name="connsiteX9" fmla="*/ 5843222 w 7136640"/>
              <a:gd name="connsiteY9" fmla="*/ 271154 h 308134"/>
              <a:gd name="connsiteX10" fmla="*/ 6486411 w 7136640"/>
              <a:gd name="connsiteY10" fmla="*/ 18281 h 308134"/>
              <a:gd name="connsiteX11" fmla="*/ 7136640 w 7136640"/>
              <a:gd name="connsiteY11" fmla="*/ 141032 h 308134"/>
              <a:gd name="connsiteX0" fmla="*/ 0 w 7136640"/>
              <a:gd name="connsiteY0" fmla="*/ 50651 h 285535"/>
              <a:gd name="connsiteX1" fmla="*/ 774244 w 7136640"/>
              <a:gd name="connsiteY1" fmla="*/ 285534 h 285535"/>
              <a:gd name="connsiteX2" fmla="*/ 1317807 w 7136640"/>
              <a:gd name="connsiteY2" fmla="*/ 54363 h 285535"/>
              <a:gd name="connsiteX3" fmla="*/ 2187898 w 7136640"/>
              <a:gd name="connsiteY3" fmla="*/ 56160 h 285535"/>
              <a:gd name="connsiteX4" fmla="*/ 2642777 w 7136640"/>
              <a:gd name="connsiteY4" fmla="*/ 124402 h 285535"/>
              <a:gd name="connsiteX5" fmla="*/ 3302093 w 7136640"/>
              <a:gd name="connsiteY5" fmla="*/ 189711 h 285535"/>
              <a:gd name="connsiteX6" fmla="*/ 3964644 w 7136640"/>
              <a:gd name="connsiteY6" fmla="*/ 417 h 285535"/>
              <a:gd name="connsiteX7" fmla="*/ 4578995 w 7136640"/>
              <a:gd name="connsiteY7" fmla="*/ 255894 h 285535"/>
              <a:gd name="connsiteX8" fmla="*/ 5236906 w 7136640"/>
              <a:gd name="connsiteY8" fmla="*/ 128120 h 285535"/>
              <a:gd name="connsiteX9" fmla="*/ 5843222 w 7136640"/>
              <a:gd name="connsiteY9" fmla="*/ 271154 h 285535"/>
              <a:gd name="connsiteX10" fmla="*/ 6486411 w 7136640"/>
              <a:gd name="connsiteY10" fmla="*/ 18281 h 285535"/>
              <a:gd name="connsiteX11" fmla="*/ 7136640 w 7136640"/>
              <a:gd name="connsiteY11" fmla="*/ 141032 h 285535"/>
              <a:gd name="connsiteX0" fmla="*/ 0 w 7136640"/>
              <a:gd name="connsiteY0" fmla="*/ 50651 h 285535"/>
              <a:gd name="connsiteX1" fmla="*/ 774244 w 7136640"/>
              <a:gd name="connsiteY1" fmla="*/ 285534 h 285535"/>
              <a:gd name="connsiteX2" fmla="*/ 1317807 w 7136640"/>
              <a:gd name="connsiteY2" fmla="*/ 54363 h 285535"/>
              <a:gd name="connsiteX3" fmla="*/ 2187898 w 7136640"/>
              <a:gd name="connsiteY3" fmla="*/ 56160 h 285535"/>
              <a:gd name="connsiteX4" fmla="*/ 2685618 w 7136640"/>
              <a:gd name="connsiteY4" fmla="*/ 166611 h 285535"/>
              <a:gd name="connsiteX5" fmla="*/ 3302093 w 7136640"/>
              <a:gd name="connsiteY5" fmla="*/ 189711 h 285535"/>
              <a:gd name="connsiteX6" fmla="*/ 3964644 w 7136640"/>
              <a:gd name="connsiteY6" fmla="*/ 417 h 285535"/>
              <a:gd name="connsiteX7" fmla="*/ 4578995 w 7136640"/>
              <a:gd name="connsiteY7" fmla="*/ 255894 h 285535"/>
              <a:gd name="connsiteX8" fmla="*/ 5236906 w 7136640"/>
              <a:gd name="connsiteY8" fmla="*/ 128120 h 285535"/>
              <a:gd name="connsiteX9" fmla="*/ 5843222 w 7136640"/>
              <a:gd name="connsiteY9" fmla="*/ 271154 h 285535"/>
              <a:gd name="connsiteX10" fmla="*/ 6486411 w 7136640"/>
              <a:gd name="connsiteY10" fmla="*/ 18281 h 285535"/>
              <a:gd name="connsiteX11" fmla="*/ 7136640 w 7136640"/>
              <a:gd name="connsiteY11" fmla="*/ 141032 h 285535"/>
              <a:gd name="connsiteX0" fmla="*/ 0 w 7136640"/>
              <a:gd name="connsiteY0" fmla="*/ 50651 h 285535"/>
              <a:gd name="connsiteX1" fmla="*/ 774244 w 7136640"/>
              <a:gd name="connsiteY1" fmla="*/ 285534 h 285535"/>
              <a:gd name="connsiteX2" fmla="*/ 1317807 w 7136640"/>
              <a:gd name="connsiteY2" fmla="*/ 54363 h 285535"/>
              <a:gd name="connsiteX3" fmla="*/ 1985936 w 7136640"/>
              <a:gd name="connsiteY3" fmla="*/ 157094 h 285535"/>
              <a:gd name="connsiteX4" fmla="*/ 2685618 w 7136640"/>
              <a:gd name="connsiteY4" fmla="*/ 166611 h 285535"/>
              <a:gd name="connsiteX5" fmla="*/ 3302093 w 7136640"/>
              <a:gd name="connsiteY5" fmla="*/ 189711 h 285535"/>
              <a:gd name="connsiteX6" fmla="*/ 3964644 w 7136640"/>
              <a:gd name="connsiteY6" fmla="*/ 417 h 285535"/>
              <a:gd name="connsiteX7" fmla="*/ 4578995 w 7136640"/>
              <a:gd name="connsiteY7" fmla="*/ 255894 h 285535"/>
              <a:gd name="connsiteX8" fmla="*/ 5236906 w 7136640"/>
              <a:gd name="connsiteY8" fmla="*/ 128120 h 285535"/>
              <a:gd name="connsiteX9" fmla="*/ 5843222 w 7136640"/>
              <a:gd name="connsiteY9" fmla="*/ 271154 h 285535"/>
              <a:gd name="connsiteX10" fmla="*/ 6486411 w 7136640"/>
              <a:gd name="connsiteY10" fmla="*/ 18281 h 285535"/>
              <a:gd name="connsiteX11" fmla="*/ 7136640 w 7136640"/>
              <a:gd name="connsiteY11" fmla="*/ 141032 h 285535"/>
              <a:gd name="connsiteX0" fmla="*/ 0 w 7178503"/>
              <a:gd name="connsiteY0" fmla="*/ 20460092 h 20460092"/>
              <a:gd name="connsiteX1" fmla="*/ 816107 w 7178503"/>
              <a:gd name="connsiteY1" fmla="*/ 1480429 h 20460092"/>
              <a:gd name="connsiteX2" fmla="*/ 1359670 w 7178503"/>
              <a:gd name="connsiteY2" fmla="*/ 1249258 h 20460092"/>
              <a:gd name="connsiteX3" fmla="*/ 2027799 w 7178503"/>
              <a:gd name="connsiteY3" fmla="*/ 1351989 h 20460092"/>
              <a:gd name="connsiteX4" fmla="*/ 2727481 w 7178503"/>
              <a:gd name="connsiteY4" fmla="*/ 1361506 h 20460092"/>
              <a:gd name="connsiteX5" fmla="*/ 3343956 w 7178503"/>
              <a:gd name="connsiteY5" fmla="*/ 1384606 h 20460092"/>
              <a:gd name="connsiteX6" fmla="*/ 4006507 w 7178503"/>
              <a:gd name="connsiteY6" fmla="*/ 1195312 h 20460092"/>
              <a:gd name="connsiteX7" fmla="*/ 4620858 w 7178503"/>
              <a:gd name="connsiteY7" fmla="*/ 1450789 h 20460092"/>
              <a:gd name="connsiteX8" fmla="*/ 5278769 w 7178503"/>
              <a:gd name="connsiteY8" fmla="*/ 1323015 h 20460092"/>
              <a:gd name="connsiteX9" fmla="*/ 5885085 w 7178503"/>
              <a:gd name="connsiteY9" fmla="*/ 1466049 h 20460092"/>
              <a:gd name="connsiteX10" fmla="*/ 6528274 w 7178503"/>
              <a:gd name="connsiteY10" fmla="*/ 1213176 h 20460092"/>
              <a:gd name="connsiteX11" fmla="*/ 7178503 w 7178503"/>
              <a:gd name="connsiteY11" fmla="*/ 1335927 h 20460092"/>
              <a:gd name="connsiteX0" fmla="*/ 0 w 7178503"/>
              <a:gd name="connsiteY0" fmla="*/ 19696781 h 19696781"/>
              <a:gd name="connsiteX1" fmla="*/ 1039375 w 7178503"/>
              <a:gd name="connsiteY1" fmla="*/ 7439236 h 19696781"/>
              <a:gd name="connsiteX2" fmla="*/ 1359670 w 7178503"/>
              <a:gd name="connsiteY2" fmla="*/ 485947 h 19696781"/>
              <a:gd name="connsiteX3" fmla="*/ 2027799 w 7178503"/>
              <a:gd name="connsiteY3" fmla="*/ 588678 h 19696781"/>
              <a:gd name="connsiteX4" fmla="*/ 2727481 w 7178503"/>
              <a:gd name="connsiteY4" fmla="*/ 598195 h 19696781"/>
              <a:gd name="connsiteX5" fmla="*/ 3343956 w 7178503"/>
              <a:gd name="connsiteY5" fmla="*/ 621295 h 19696781"/>
              <a:gd name="connsiteX6" fmla="*/ 4006507 w 7178503"/>
              <a:gd name="connsiteY6" fmla="*/ 432001 h 19696781"/>
              <a:gd name="connsiteX7" fmla="*/ 4620858 w 7178503"/>
              <a:gd name="connsiteY7" fmla="*/ 687478 h 19696781"/>
              <a:gd name="connsiteX8" fmla="*/ 5278769 w 7178503"/>
              <a:gd name="connsiteY8" fmla="*/ 559704 h 19696781"/>
              <a:gd name="connsiteX9" fmla="*/ 5885085 w 7178503"/>
              <a:gd name="connsiteY9" fmla="*/ 702738 h 19696781"/>
              <a:gd name="connsiteX10" fmla="*/ 6528274 w 7178503"/>
              <a:gd name="connsiteY10" fmla="*/ 449865 h 19696781"/>
              <a:gd name="connsiteX11" fmla="*/ 7178503 w 7178503"/>
              <a:gd name="connsiteY11" fmla="*/ 572616 h 19696781"/>
              <a:gd name="connsiteX0" fmla="*/ 0 w 7178503"/>
              <a:gd name="connsiteY0" fmla="*/ 19696781 h 19696781"/>
              <a:gd name="connsiteX1" fmla="*/ 1039375 w 7178503"/>
              <a:gd name="connsiteY1" fmla="*/ 7439236 h 19696781"/>
              <a:gd name="connsiteX2" fmla="*/ 1359670 w 7178503"/>
              <a:gd name="connsiteY2" fmla="*/ 485947 h 19696781"/>
              <a:gd name="connsiteX3" fmla="*/ 2027799 w 7178503"/>
              <a:gd name="connsiteY3" fmla="*/ 588678 h 19696781"/>
              <a:gd name="connsiteX4" fmla="*/ 2727481 w 7178503"/>
              <a:gd name="connsiteY4" fmla="*/ 598195 h 19696781"/>
              <a:gd name="connsiteX5" fmla="*/ 3343956 w 7178503"/>
              <a:gd name="connsiteY5" fmla="*/ 621295 h 19696781"/>
              <a:gd name="connsiteX6" fmla="*/ 4006507 w 7178503"/>
              <a:gd name="connsiteY6" fmla="*/ 432001 h 19696781"/>
              <a:gd name="connsiteX7" fmla="*/ 4620858 w 7178503"/>
              <a:gd name="connsiteY7" fmla="*/ 687478 h 19696781"/>
              <a:gd name="connsiteX8" fmla="*/ 5278769 w 7178503"/>
              <a:gd name="connsiteY8" fmla="*/ 559704 h 19696781"/>
              <a:gd name="connsiteX9" fmla="*/ 5885085 w 7178503"/>
              <a:gd name="connsiteY9" fmla="*/ 702738 h 19696781"/>
              <a:gd name="connsiteX10" fmla="*/ 6528274 w 7178503"/>
              <a:gd name="connsiteY10" fmla="*/ 449865 h 19696781"/>
              <a:gd name="connsiteX11" fmla="*/ 7178503 w 7178503"/>
              <a:gd name="connsiteY11" fmla="*/ 572616 h 19696781"/>
              <a:gd name="connsiteX0" fmla="*/ 0 w 7178503"/>
              <a:gd name="connsiteY0" fmla="*/ 20282334 h 20282334"/>
              <a:gd name="connsiteX1" fmla="*/ 669588 w 7178503"/>
              <a:gd name="connsiteY1" fmla="*/ 15936661 h 20282334"/>
              <a:gd name="connsiteX2" fmla="*/ 1359670 w 7178503"/>
              <a:gd name="connsiteY2" fmla="*/ 1071500 h 20282334"/>
              <a:gd name="connsiteX3" fmla="*/ 2027799 w 7178503"/>
              <a:gd name="connsiteY3" fmla="*/ 1174231 h 20282334"/>
              <a:gd name="connsiteX4" fmla="*/ 2727481 w 7178503"/>
              <a:gd name="connsiteY4" fmla="*/ 1183748 h 20282334"/>
              <a:gd name="connsiteX5" fmla="*/ 3343956 w 7178503"/>
              <a:gd name="connsiteY5" fmla="*/ 1206848 h 20282334"/>
              <a:gd name="connsiteX6" fmla="*/ 4006507 w 7178503"/>
              <a:gd name="connsiteY6" fmla="*/ 1017554 h 20282334"/>
              <a:gd name="connsiteX7" fmla="*/ 4620858 w 7178503"/>
              <a:gd name="connsiteY7" fmla="*/ 1273031 h 20282334"/>
              <a:gd name="connsiteX8" fmla="*/ 5278769 w 7178503"/>
              <a:gd name="connsiteY8" fmla="*/ 1145257 h 20282334"/>
              <a:gd name="connsiteX9" fmla="*/ 5885085 w 7178503"/>
              <a:gd name="connsiteY9" fmla="*/ 1288291 h 20282334"/>
              <a:gd name="connsiteX10" fmla="*/ 6528274 w 7178503"/>
              <a:gd name="connsiteY10" fmla="*/ 1035418 h 20282334"/>
              <a:gd name="connsiteX11" fmla="*/ 7178503 w 7178503"/>
              <a:gd name="connsiteY11" fmla="*/ 1158169 h 20282334"/>
              <a:gd name="connsiteX0" fmla="*/ 0 w 7178503"/>
              <a:gd name="connsiteY0" fmla="*/ 20326383 h 20326383"/>
              <a:gd name="connsiteX1" fmla="*/ 697496 w 7178503"/>
              <a:gd name="connsiteY1" fmla="*/ 16575588 h 20326383"/>
              <a:gd name="connsiteX2" fmla="*/ 1359670 w 7178503"/>
              <a:gd name="connsiteY2" fmla="*/ 1115549 h 20326383"/>
              <a:gd name="connsiteX3" fmla="*/ 2027799 w 7178503"/>
              <a:gd name="connsiteY3" fmla="*/ 1218280 h 20326383"/>
              <a:gd name="connsiteX4" fmla="*/ 2727481 w 7178503"/>
              <a:gd name="connsiteY4" fmla="*/ 1227797 h 20326383"/>
              <a:gd name="connsiteX5" fmla="*/ 3343956 w 7178503"/>
              <a:gd name="connsiteY5" fmla="*/ 1250897 h 20326383"/>
              <a:gd name="connsiteX6" fmla="*/ 4006507 w 7178503"/>
              <a:gd name="connsiteY6" fmla="*/ 1061603 h 20326383"/>
              <a:gd name="connsiteX7" fmla="*/ 4620858 w 7178503"/>
              <a:gd name="connsiteY7" fmla="*/ 1317080 h 20326383"/>
              <a:gd name="connsiteX8" fmla="*/ 5278769 w 7178503"/>
              <a:gd name="connsiteY8" fmla="*/ 1189306 h 20326383"/>
              <a:gd name="connsiteX9" fmla="*/ 5885085 w 7178503"/>
              <a:gd name="connsiteY9" fmla="*/ 1332340 h 20326383"/>
              <a:gd name="connsiteX10" fmla="*/ 6528274 w 7178503"/>
              <a:gd name="connsiteY10" fmla="*/ 1079467 h 20326383"/>
              <a:gd name="connsiteX11" fmla="*/ 7178503 w 7178503"/>
              <a:gd name="connsiteY11" fmla="*/ 1202218 h 20326383"/>
              <a:gd name="connsiteX0" fmla="*/ 0 w 7178503"/>
              <a:gd name="connsiteY0" fmla="*/ 20098806 h 20098806"/>
              <a:gd name="connsiteX1" fmla="*/ 697496 w 7178503"/>
              <a:gd name="connsiteY1" fmla="*/ 16348011 h 20098806"/>
              <a:gd name="connsiteX2" fmla="*/ 1359670 w 7178503"/>
              <a:gd name="connsiteY2" fmla="*/ 14391691 h 20098806"/>
              <a:gd name="connsiteX3" fmla="*/ 2027799 w 7178503"/>
              <a:gd name="connsiteY3" fmla="*/ 990703 h 20098806"/>
              <a:gd name="connsiteX4" fmla="*/ 2727481 w 7178503"/>
              <a:gd name="connsiteY4" fmla="*/ 1000220 h 20098806"/>
              <a:gd name="connsiteX5" fmla="*/ 3343956 w 7178503"/>
              <a:gd name="connsiteY5" fmla="*/ 1023320 h 20098806"/>
              <a:gd name="connsiteX6" fmla="*/ 4006507 w 7178503"/>
              <a:gd name="connsiteY6" fmla="*/ 834026 h 20098806"/>
              <a:gd name="connsiteX7" fmla="*/ 4620858 w 7178503"/>
              <a:gd name="connsiteY7" fmla="*/ 1089503 h 20098806"/>
              <a:gd name="connsiteX8" fmla="*/ 5278769 w 7178503"/>
              <a:gd name="connsiteY8" fmla="*/ 961729 h 20098806"/>
              <a:gd name="connsiteX9" fmla="*/ 5885085 w 7178503"/>
              <a:gd name="connsiteY9" fmla="*/ 1104763 h 20098806"/>
              <a:gd name="connsiteX10" fmla="*/ 6528274 w 7178503"/>
              <a:gd name="connsiteY10" fmla="*/ 851890 h 20098806"/>
              <a:gd name="connsiteX11" fmla="*/ 7178503 w 7178503"/>
              <a:gd name="connsiteY11" fmla="*/ 974641 h 20098806"/>
              <a:gd name="connsiteX0" fmla="*/ 0 w 7178503"/>
              <a:gd name="connsiteY0" fmla="*/ 20098806 h 20098806"/>
              <a:gd name="connsiteX1" fmla="*/ 697496 w 7178503"/>
              <a:gd name="connsiteY1" fmla="*/ 16348011 h 20098806"/>
              <a:gd name="connsiteX2" fmla="*/ 1359670 w 7178503"/>
              <a:gd name="connsiteY2" fmla="*/ 14391691 h 20098806"/>
              <a:gd name="connsiteX3" fmla="*/ 2027799 w 7178503"/>
              <a:gd name="connsiteY3" fmla="*/ 990703 h 20098806"/>
              <a:gd name="connsiteX4" fmla="*/ 2727481 w 7178503"/>
              <a:gd name="connsiteY4" fmla="*/ 1000220 h 20098806"/>
              <a:gd name="connsiteX5" fmla="*/ 3343956 w 7178503"/>
              <a:gd name="connsiteY5" fmla="*/ 1023320 h 20098806"/>
              <a:gd name="connsiteX6" fmla="*/ 4006507 w 7178503"/>
              <a:gd name="connsiteY6" fmla="*/ 834026 h 20098806"/>
              <a:gd name="connsiteX7" fmla="*/ 4620858 w 7178503"/>
              <a:gd name="connsiteY7" fmla="*/ 1089503 h 20098806"/>
              <a:gd name="connsiteX8" fmla="*/ 5278769 w 7178503"/>
              <a:gd name="connsiteY8" fmla="*/ 961729 h 20098806"/>
              <a:gd name="connsiteX9" fmla="*/ 5885085 w 7178503"/>
              <a:gd name="connsiteY9" fmla="*/ 1104763 h 20098806"/>
              <a:gd name="connsiteX10" fmla="*/ 6528274 w 7178503"/>
              <a:gd name="connsiteY10" fmla="*/ 851890 h 20098806"/>
              <a:gd name="connsiteX11" fmla="*/ 7178503 w 7178503"/>
              <a:gd name="connsiteY11" fmla="*/ 974641 h 20098806"/>
              <a:gd name="connsiteX0" fmla="*/ 0 w 7178503"/>
              <a:gd name="connsiteY0" fmla="*/ 20098806 h 20098806"/>
              <a:gd name="connsiteX1" fmla="*/ 697496 w 7178503"/>
              <a:gd name="connsiteY1" fmla="*/ 16348011 h 20098806"/>
              <a:gd name="connsiteX2" fmla="*/ 1429441 w 7178503"/>
              <a:gd name="connsiteY2" fmla="*/ 14391691 h 20098806"/>
              <a:gd name="connsiteX3" fmla="*/ 2027799 w 7178503"/>
              <a:gd name="connsiteY3" fmla="*/ 990703 h 20098806"/>
              <a:gd name="connsiteX4" fmla="*/ 2727481 w 7178503"/>
              <a:gd name="connsiteY4" fmla="*/ 1000220 h 20098806"/>
              <a:gd name="connsiteX5" fmla="*/ 3343956 w 7178503"/>
              <a:gd name="connsiteY5" fmla="*/ 1023320 h 20098806"/>
              <a:gd name="connsiteX6" fmla="*/ 4006507 w 7178503"/>
              <a:gd name="connsiteY6" fmla="*/ 834026 h 20098806"/>
              <a:gd name="connsiteX7" fmla="*/ 4620858 w 7178503"/>
              <a:gd name="connsiteY7" fmla="*/ 1089503 h 20098806"/>
              <a:gd name="connsiteX8" fmla="*/ 5278769 w 7178503"/>
              <a:gd name="connsiteY8" fmla="*/ 961729 h 20098806"/>
              <a:gd name="connsiteX9" fmla="*/ 5885085 w 7178503"/>
              <a:gd name="connsiteY9" fmla="*/ 1104763 h 20098806"/>
              <a:gd name="connsiteX10" fmla="*/ 6528274 w 7178503"/>
              <a:gd name="connsiteY10" fmla="*/ 851890 h 20098806"/>
              <a:gd name="connsiteX11" fmla="*/ 7178503 w 7178503"/>
              <a:gd name="connsiteY11" fmla="*/ 974641 h 20098806"/>
              <a:gd name="connsiteX0" fmla="*/ 0 w 7178503"/>
              <a:gd name="connsiteY0" fmla="*/ 20235406 h 20235406"/>
              <a:gd name="connsiteX1" fmla="*/ 697496 w 7178503"/>
              <a:gd name="connsiteY1" fmla="*/ 16484611 h 20235406"/>
              <a:gd name="connsiteX2" fmla="*/ 1422464 w 7178503"/>
              <a:gd name="connsiteY2" fmla="*/ 16372411 h 20235406"/>
              <a:gd name="connsiteX3" fmla="*/ 2027799 w 7178503"/>
              <a:gd name="connsiteY3" fmla="*/ 1127303 h 20235406"/>
              <a:gd name="connsiteX4" fmla="*/ 2727481 w 7178503"/>
              <a:gd name="connsiteY4" fmla="*/ 1136820 h 20235406"/>
              <a:gd name="connsiteX5" fmla="*/ 3343956 w 7178503"/>
              <a:gd name="connsiteY5" fmla="*/ 1159920 h 20235406"/>
              <a:gd name="connsiteX6" fmla="*/ 4006507 w 7178503"/>
              <a:gd name="connsiteY6" fmla="*/ 970626 h 20235406"/>
              <a:gd name="connsiteX7" fmla="*/ 4620858 w 7178503"/>
              <a:gd name="connsiteY7" fmla="*/ 1226103 h 20235406"/>
              <a:gd name="connsiteX8" fmla="*/ 5278769 w 7178503"/>
              <a:gd name="connsiteY8" fmla="*/ 1098329 h 20235406"/>
              <a:gd name="connsiteX9" fmla="*/ 5885085 w 7178503"/>
              <a:gd name="connsiteY9" fmla="*/ 1241363 h 20235406"/>
              <a:gd name="connsiteX10" fmla="*/ 6528274 w 7178503"/>
              <a:gd name="connsiteY10" fmla="*/ 988490 h 20235406"/>
              <a:gd name="connsiteX11" fmla="*/ 7178503 w 7178503"/>
              <a:gd name="connsiteY11" fmla="*/ 1111241 h 20235406"/>
              <a:gd name="connsiteX0" fmla="*/ 0 w 7178503"/>
              <a:gd name="connsiteY0" fmla="*/ 20235406 h 20235406"/>
              <a:gd name="connsiteX1" fmla="*/ 697496 w 7178503"/>
              <a:gd name="connsiteY1" fmla="*/ 16484611 h 20235406"/>
              <a:gd name="connsiteX2" fmla="*/ 1422464 w 7178503"/>
              <a:gd name="connsiteY2" fmla="*/ 16372411 h 20235406"/>
              <a:gd name="connsiteX3" fmla="*/ 2027799 w 7178503"/>
              <a:gd name="connsiteY3" fmla="*/ 1127303 h 20235406"/>
              <a:gd name="connsiteX4" fmla="*/ 2727481 w 7178503"/>
              <a:gd name="connsiteY4" fmla="*/ 1136820 h 20235406"/>
              <a:gd name="connsiteX5" fmla="*/ 3343956 w 7178503"/>
              <a:gd name="connsiteY5" fmla="*/ 1159920 h 20235406"/>
              <a:gd name="connsiteX6" fmla="*/ 4006507 w 7178503"/>
              <a:gd name="connsiteY6" fmla="*/ 970626 h 20235406"/>
              <a:gd name="connsiteX7" fmla="*/ 4620858 w 7178503"/>
              <a:gd name="connsiteY7" fmla="*/ 1226103 h 20235406"/>
              <a:gd name="connsiteX8" fmla="*/ 5278769 w 7178503"/>
              <a:gd name="connsiteY8" fmla="*/ 1098329 h 20235406"/>
              <a:gd name="connsiteX9" fmla="*/ 5885085 w 7178503"/>
              <a:gd name="connsiteY9" fmla="*/ 1241363 h 20235406"/>
              <a:gd name="connsiteX10" fmla="*/ 6528274 w 7178503"/>
              <a:gd name="connsiteY10" fmla="*/ 988490 h 20235406"/>
              <a:gd name="connsiteX11" fmla="*/ 7178503 w 7178503"/>
              <a:gd name="connsiteY11" fmla="*/ 1111241 h 20235406"/>
              <a:gd name="connsiteX0" fmla="*/ 0 w 7178503"/>
              <a:gd name="connsiteY0" fmla="*/ 19613024 h 19613024"/>
              <a:gd name="connsiteX1" fmla="*/ 697496 w 7178503"/>
              <a:gd name="connsiteY1" fmla="*/ 15862229 h 19613024"/>
              <a:gd name="connsiteX2" fmla="*/ 1422464 w 7178503"/>
              <a:gd name="connsiteY2" fmla="*/ 15750029 h 19613024"/>
              <a:gd name="connsiteX3" fmla="*/ 2181296 w 7178503"/>
              <a:gd name="connsiteY3" fmla="*/ 7583962 h 19613024"/>
              <a:gd name="connsiteX4" fmla="*/ 2727481 w 7178503"/>
              <a:gd name="connsiteY4" fmla="*/ 514438 h 19613024"/>
              <a:gd name="connsiteX5" fmla="*/ 3343956 w 7178503"/>
              <a:gd name="connsiteY5" fmla="*/ 537538 h 19613024"/>
              <a:gd name="connsiteX6" fmla="*/ 4006507 w 7178503"/>
              <a:gd name="connsiteY6" fmla="*/ 348244 h 19613024"/>
              <a:gd name="connsiteX7" fmla="*/ 4620858 w 7178503"/>
              <a:gd name="connsiteY7" fmla="*/ 603721 h 19613024"/>
              <a:gd name="connsiteX8" fmla="*/ 5278769 w 7178503"/>
              <a:gd name="connsiteY8" fmla="*/ 475947 h 19613024"/>
              <a:gd name="connsiteX9" fmla="*/ 5885085 w 7178503"/>
              <a:gd name="connsiteY9" fmla="*/ 618981 h 19613024"/>
              <a:gd name="connsiteX10" fmla="*/ 6528274 w 7178503"/>
              <a:gd name="connsiteY10" fmla="*/ 366108 h 19613024"/>
              <a:gd name="connsiteX11" fmla="*/ 7178503 w 7178503"/>
              <a:gd name="connsiteY11" fmla="*/ 488859 h 19613024"/>
              <a:gd name="connsiteX0" fmla="*/ 0 w 7178503"/>
              <a:gd name="connsiteY0" fmla="*/ 19613024 h 19613024"/>
              <a:gd name="connsiteX1" fmla="*/ 697496 w 7178503"/>
              <a:gd name="connsiteY1" fmla="*/ 15862229 h 19613024"/>
              <a:gd name="connsiteX2" fmla="*/ 1422464 w 7178503"/>
              <a:gd name="connsiteY2" fmla="*/ 15750029 h 19613024"/>
              <a:gd name="connsiteX3" fmla="*/ 2181296 w 7178503"/>
              <a:gd name="connsiteY3" fmla="*/ 7583962 h 19613024"/>
              <a:gd name="connsiteX4" fmla="*/ 2727481 w 7178503"/>
              <a:gd name="connsiteY4" fmla="*/ 514438 h 19613024"/>
              <a:gd name="connsiteX5" fmla="*/ 3343956 w 7178503"/>
              <a:gd name="connsiteY5" fmla="*/ 537538 h 19613024"/>
              <a:gd name="connsiteX6" fmla="*/ 4006507 w 7178503"/>
              <a:gd name="connsiteY6" fmla="*/ 348244 h 19613024"/>
              <a:gd name="connsiteX7" fmla="*/ 4620858 w 7178503"/>
              <a:gd name="connsiteY7" fmla="*/ 603721 h 19613024"/>
              <a:gd name="connsiteX8" fmla="*/ 5278769 w 7178503"/>
              <a:gd name="connsiteY8" fmla="*/ 475947 h 19613024"/>
              <a:gd name="connsiteX9" fmla="*/ 5885085 w 7178503"/>
              <a:gd name="connsiteY9" fmla="*/ 618981 h 19613024"/>
              <a:gd name="connsiteX10" fmla="*/ 6528274 w 7178503"/>
              <a:gd name="connsiteY10" fmla="*/ 366108 h 19613024"/>
              <a:gd name="connsiteX11" fmla="*/ 7178503 w 7178503"/>
              <a:gd name="connsiteY11" fmla="*/ 488859 h 19613024"/>
              <a:gd name="connsiteX0" fmla="*/ 0 w 7178503"/>
              <a:gd name="connsiteY0" fmla="*/ 19899408 h 19899408"/>
              <a:gd name="connsiteX1" fmla="*/ 697496 w 7178503"/>
              <a:gd name="connsiteY1" fmla="*/ 16148613 h 19899408"/>
              <a:gd name="connsiteX2" fmla="*/ 1422464 w 7178503"/>
              <a:gd name="connsiteY2" fmla="*/ 16036413 h 19899408"/>
              <a:gd name="connsiteX3" fmla="*/ 2167342 w 7178503"/>
              <a:gd name="connsiteY3" fmla="*/ 11737050 h 19899408"/>
              <a:gd name="connsiteX4" fmla="*/ 2727481 w 7178503"/>
              <a:gd name="connsiteY4" fmla="*/ 800822 h 19899408"/>
              <a:gd name="connsiteX5" fmla="*/ 3343956 w 7178503"/>
              <a:gd name="connsiteY5" fmla="*/ 823922 h 19899408"/>
              <a:gd name="connsiteX6" fmla="*/ 4006507 w 7178503"/>
              <a:gd name="connsiteY6" fmla="*/ 634628 h 19899408"/>
              <a:gd name="connsiteX7" fmla="*/ 4620858 w 7178503"/>
              <a:gd name="connsiteY7" fmla="*/ 890105 h 19899408"/>
              <a:gd name="connsiteX8" fmla="*/ 5278769 w 7178503"/>
              <a:gd name="connsiteY8" fmla="*/ 762331 h 19899408"/>
              <a:gd name="connsiteX9" fmla="*/ 5885085 w 7178503"/>
              <a:gd name="connsiteY9" fmla="*/ 905365 h 19899408"/>
              <a:gd name="connsiteX10" fmla="*/ 6528274 w 7178503"/>
              <a:gd name="connsiteY10" fmla="*/ 652492 h 19899408"/>
              <a:gd name="connsiteX11" fmla="*/ 7178503 w 7178503"/>
              <a:gd name="connsiteY11" fmla="*/ 775243 h 19899408"/>
              <a:gd name="connsiteX0" fmla="*/ 0 w 7178503"/>
              <a:gd name="connsiteY0" fmla="*/ 20013968 h 20013968"/>
              <a:gd name="connsiteX1" fmla="*/ 697496 w 7178503"/>
              <a:gd name="connsiteY1" fmla="*/ 16263173 h 20013968"/>
              <a:gd name="connsiteX2" fmla="*/ 1422464 w 7178503"/>
              <a:gd name="connsiteY2" fmla="*/ 16150973 h 20013968"/>
              <a:gd name="connsiteX3" fmla="*/ 2013846 w 7178503"/>
              <a:gd name="connsiteY3" fmla="*/ 13398292 h 20013968"/>
              <a:gd name="connsiteX4" fmla="*/ 2727481 w 7178503"/>
              <a:gd name="connsiteY4" fmla="*/ 915382 h 20013968"/>
              <a:gd name="connsiteX5" fmla="*/ 3343956 w 7178503"/>
              <a:gd name="connsiteY5" fmla="*/ 938482 h 20013968"/>
              <a:gd name="connsiteX6" fmla="*/ 4006507 w 7178503"/>
              <a:gd name="connsiteY6" fmla="*/ 749188 h 20013968"/>
              <a:gd name="connsiteX7" fmla="*/ 4620858 w 7178503"/>
              <a:gd name="connsiteY7" fmla="*/ 1004665 h 20013968"/>
              <a:gd name="connsiteX8" fmla="*/ 5278769 w 7178503"/>
              <a:gd name="connsiteY8" fmla="*/ 876891 h 20013968"/>
              <a:gd name="connsiteX9" fmla="*/ 5885085 w 7178503"/>
              <a:gd name="connsiteY9" fmla="*/ 1019925 h 20013968"/>
              <a:gd name="connsiteX10" fmla="*/ 6528274 w 7178503"/>
              <a:gd name="connsiteY10" fmla="*/ 767052 h 20013968"/>
              <a:gd name="connsiteX11" fmla="*/ 7178503 w 7178503"/>
              <a:gd name="connsiteY11" fmla="*/ 889803 h 20013968"/>
              <a:gd name="connsiteX0" fmla="*/ 0 w 7178503"/>
              <a:gd name="connsiteY0" fmla="*/ 20124125 h 20124125"/>
              <a:gd name="connsiteX1" fmla="*/ 697496 w 7178503"/>
              <a:gd name="connsiteY1" fmla="*/ 16373330 h 20124125"/>
              <a:gd name="connsiteX2" fmla="*/ 1422464 w 7178503"/>
              <a:gd name="connsiteY2" fmla="*/ 16261130 h 20124125"/>
              <a:gd name="connsiteX3" fmla="*/ 1978961 w 7178503"/>
              <a:gd name="connsiteY3" fmla="*/ 14995643 h 20124125"/>
              <a:gd name="connsiteX4" fmla="*/ 2727481 w 7178503"/>
              <a:gd name="connsiteY4" fmla="*/ 1025539 h 20124125"/>
              <a:gd name="connsiteX5" fmla="*/ 3343956 w 7178503"/>
              <a:gd name="connsiteY5" fmla="*/ 1048639 h 20124125"/>
              <a:gd name="connsiteX6" fmla="*/ 4006507 w 7178503"/>
              <a:gd name="connsiteY6" fmla="*/ 859345 h 20124125"/>
              <a:gd name="connsiteX7" fmla="*/ 4620858 w 7178503"/>
              <a:gd name="connsiteY7" fmla="*/ 1114822 h 20124125"/>
              <a:gd name="connsiteX8" fmla="*/ 5278769 w 7178503"/>
              <a:gd name="connsiteY8" fmla="*/ 987048 h 20124125"/>
              <a:gd name="connsiteX9" fmla="*/ 5885085 w 7178503"/>
              <a:gd name="connsiteY9" fmla="*/ 1130082 h 20124125"/>
              <a:gd name="connsiteX10" fmla="*/ 6528274 w 7178503"/>
              <a:gd name="connsiteY10" fmla="*/ 877209 h 20124125"/>
              <a:gd name="connsiteX11" fmla="*/ 7178503 w 7178503"/>
              <a:gd name="connsiteY11" fmla="*/ 999960 h 20124125"/>
              <a:gd name="connsiteX0" fmla="*/ 0 w 7178503"/>
              <a:gd name="connsiteY0" fmla="*/ 20124125 h 20124125"/>
              <a:gd name="connsiteX1" fmla="*/ 697496 w 7178503"/>
              <a:gd name="connsiteY1" fmla="*/ 16373330 h 20124125"/>
              <a:gd name="connsiteX2" fmla="*/ 1422464 w 7178503"/>
              <a:gd name="connsiteY2" fmla="*/ 16261130 h 20124125"/>
              <a:gd name="connsiteX3" fmla="*/ 1978961 w 7178503"/>
              <a:gd name="connsiteY3" fmla="*/ 14995643 h 20124125"/>
              <a:gd name="connsiteX4" fmla="*/ 2727481 w 7178503"/>
              <a:gd name="connsiteY4" fmla="*/ 1025539 h 20124125"/>
              <a:gd name="connsiteX5" fmla="*/ 3343956 w 7178503"/>
              <a:gd name="connsiteY5" fmla="*/ 1048639 h 20124125"/>
              <a:gd name="connsiteX6" fmla="*/ 4006507 w 7178503"/>
              <a:gd name="connsiteY6" fmla="*/ 859345 h 20124125"/>
              <a:gd name="connsiteX7" fmla="*/ 4620858 w 7178503"/>
              <a:gd name="connsiteY7" fmla="*/ 1114822 h 20124125"/>
              <a:gd name="connsiteX8" fmla="*/ 5278769 w 7178503"/>
              <a:gd name="connsiteY8" fmla="*/ 987048 h 20124125"/>
              <a:gd name="connsiteX9" fmla="*/ 5885085 w 7178503"/>
              <a:gd name="connsiteY9" fmla="*/ 1130082 h 20124125"/>
              <a:gd name="connsiteX10" fmla="*/ 6528274 w 7178503"/>
              <a:gd name="connsiteY10" fmla="*/ 877209 h 20124125"/>
              <a:gd name="connsiteX11" fmla="*/ 7178503 w 7178503"/>
              <a:gd name="connsiteY11" fmla="*/ 999960 h 20124125"/>
              <a:gd name="connsiteX0" fmla="*/ 0 w 7178503"/>
              <a:gd name="connsiteY0" fmla="*/ 20119716 h 20119716"/>
              <a:gd name="connsiteX1" fmla="*/ 697496 w 7178503"/>
              <a:gd name="connsiteY1" fmla="*/ 16368921 h 20119716"/>
              <a:gd name="connsiteX2" fmla="*/ 1422464 w 7178503"/>
              <a:gd name="connsiteY2" fmla="*/ 16256721 h 20119716"/>
              <a:gd name="connsiteX3" fmla="*/ 2027801 w 7178503"/>
              <a:gd name="connsiteY3" fmla="*/ 14931746 h 20119716"/>
              <a:gd name="connsiteX4" fmla="*/ 2727481 w 7178503"/>
              <a:gd name="connsiteY4" fmla="*/ 1021130 h 20119716"/>
              <a:gd name="connsiteX5" fmla="*/ 3343956 w 7178503"/>
              <a:gd name="connsiteY5" fmla="*/ 1044230 h 20119716"/>
              <a:gd name="connsiteX6" fmla="*/ 4006507 w 7178503"/>
              <a:gd name="connsiteY6" fmla="*/ 854936 h 20119716"/>
              <a:gd name="connsiteX7" fmla="*/ 4620858 w 7178503"/>
              <a:gd name="connsiteY7" fmla="*/ 1110413 h 20119716"/>
              <a:gd name="connsiteX8" fmla="*/ 5278769 w 7178503"/>
              <a:gd name="connsiteY8" fmla="*/ 982639 h 20119716"/>
              <a:gd name="connsiteX9" fmla="*/ 5885085 w 7178503"/>
              <a:gd name="connsiteY9" fmla="*/ 1125673 h 20119716"/>
              <a:gd name="connsiteX10" fmla="*/ 6528274 w 7178503"/>
              <a:gd name="connsiteY10" fmla="*/ 872800 h 20119716"/>
              <a:gd name="connsiteX11" fmla="*/ 7178503 w 7178503"/>
              <a:gd name="connsiteY11" fmla="*/ 995551 h 20119716"/>
              <a:gd name="connsiteX0" fmla="*/ 0 w 7178503"/>
              <a:gd name="connsiteY0" fmla="*/ 20516289 h 20828248"/>
              <a:gd name="connsiteX1" fmla="*/ 697496 w 7178503"/>
              <a:gd name="connsiteY1" fmla="*/ 16765494 h 20828248"/>
              <a:gd name="connsiteX2" fmla="*/ 1422464 w 7178503"/>
              <a:gd name="connsiteY2" fmla="*/ 16653294 h 20828248"/>
              <a:gd name="connsiteX3" fmla="*/ 2013847 w 7178503"/>
              <a:gd name="connsiteY3" fmla="*/ 20682218 h 20828248"/>
              <a:gd name="connsiteX4" fmla="*/ 2727481 w 7178503"/>
              <a:gd name="connsiteY4" fmla="*/ 1417703 h 20828248"/>
              <a:gd name="connsiteX5" fmla="*/ 3343956 w 7178503"/>
              <a:gd name="connsiteY5" fmla="*/ 1440803 h 20828248"/>
              <a:gd name="connsiteX6" fmla="*/ 4006507 w 7178503"/>
              <a:gd name="connsiteY6" fmla="*/ 1251509 h 20828248"/>
              <a:gd name="connsiteX7" fmla="*/ 4620858 w 7178503"/>
              <a:gd name="connsiteY7" fmla="*/ 1506986 h 20828248"/>
              <a:gd name="connsiteX8" fmla="*/ 5278769 w 7178503"/>
              <a:gd name="connsiteY8" fmla="*/ 1379212 h 20828248"/>
              <a:gd name="connsiteX9" fmla="*/ 5885085 w 7178503"/>
              <a:gd name="connsiteY9" fmla="*/ 1522246 h 20828248"/>
              <a:gd name="connsiteX10" fmla="*/ 6528274 w 7178503"/>
              <a:gd name="connsiteY10" fmla="*/ 1269373 h 20828248"/>
              <a:gd name="connsiteX11" fmla="*/ 7178503 w 7178503"/>
              <a:gd name="connsiteY11" fmla="*/ 1392124 h 20828248"/>
              <a:gd name="connsiteX0" fmla="*/ 0 w 7178503"/>
              <a:gd name="connsiteY0" fmla="*/ 20516289 h 20729295"/>
              <a:gd name="connsiteX1" fmla="*/ 697496 w 7178503"/>
              <a:gd name="connsiteY1" fmla="*/ 16765494 h 20729295"/>
              <a:gd name="connsiteX2" fmla="*/ 1422464 w 7178503"/>
              <a:gd name="connsiteY2" fmla="*/ 16653294 h 20729295"/>
              <a:gd name="connsiteX3" fmla="*/ 2013847 w 7178503"/>
              <a:gd name="connsiteY3" fmla="*/ 20682218 h 20729295"/>
              <a:gd name="connsiteX4" fmla="*/ 2727481 w 7178503"/>
              <a:gd name="connsiteY4" fmla="*/ 1417703 h 20729295"/>
              <a:gd name="connsiteX5" fmla="*/ 3343956 w 7178503"/>
              <a:gd name="connsiteY5" fmla="*/ 1440803 h 20729295"/>
              <a:gd name="connsiteX6" fmla="*/ 4006507 w 7178503"/>
              <a:gd name="connsiteY6" fmla="*/ 1251509 h 20729295"/>
              <a:gd name="connsiteX7" fmla="*/ 4620858 w 7178503"/>
              <a:gd name="connsiteY7" fmla="*/ 1506986 h 20729295"/>
              <a:gd name="connsiteX8" fmla="*/ 5278769 w 7178503"/>
              <a:gd name="connsiteY8" fmla="*/ 1379212 h 20729295"/>
              <a:gd name="connsiteX9" fmla="*/ 5885085 w 7178503"/>
              <a:gd name="connsiteY9" fmla="*/ 1522246 h 20729295"/>
              <a:gd name="connsiteX10" fmla="*/ 6528274 w 7178503"/>
              <a:gd name="connsiteY10" fmla="*/ 1269373 h 20729295"/>
              <a:gd name="connsiteX11" fmla="*/ 7178503 w 7178503"/>
              <a:gd name="connsiteY11" fmla="*/ 1392124 h 20729295"/>
              <a:gd name="connsiteX0" fmla="*/ 0 w 7178503"/>
              <a:gd name="connsiteY0" fmla="*/ 19265197 h 19480208"/>
              <a:gd name="connsiteX1" fmla="*/ 697496 w 7178503"/>
              <a:gd name="connsiteY1" fmla="*/ 15514402 h 19480208"/>
              <a:gd name="connsiteX2" fmla="*/ 1422464 w 7178503"/>
              <a:gd name="connsiteY2" fmla="*/ 15402202 h 19480208"/>
              <a:gd name="connsiteX3" fmla="*/ 2013847 w 7178503"/>
              <a:gd name="connsiteY3" fmla="*/ 19431126 h 19480208"/>
              <a:gd name="connsiteX4" fmla="*/ 2769344 w 7178503"/>
              <a:gd name="connsiteY4" fmla="*/ 16347279 h 19480208"/>
              <a:gd name="connsiteX5" fmla="*/ 3343956 w 7178503"/>
              <a:gd name="connsiteY5" fmla="*/ 189711 h 19480208"/>
              <a:gd name="connsiteX6" fmla="*/ 4006507 w 7178503"/>
              <a:gd name="connsiteY6" fmla="*/ 417 h 19480208"/>
              <a:gd name="connsiteX7" fmla="*/ 4620858 w 7178503"/>
              <a:gd name="connsiteY7" fmla="*/ 255894 h 19480208"/>
              <a:gd name="connsiteX8" fmla="*/ 5278769 w 7178503"/>
              <a:gd name="connsiteY8" fmla="*/ 128120 h 19480208"/>
              <a:gd name="connsiteX9" fmla="*/ 5885085 w 7178503"/>
              <a:gd name="connsiteY9" fmla="*/ 271154 h 19480208"/>
              <a:gd name="connsiteX10" fmla="*/ 6528274 w 7178503"/>
              <a:gd name="connsiteY10" fmla="*/ 18281 h 19480208"/>
              <a:gd name="connsiteX11" fmla="*/ 7178503 w 7178503"/>
              <a:gd name="connsiteY11" fmla="*/ 141032 h 19480208"/>
              <a:gd name="connsiteX0" fmla="*/ 0 w 7178503"/>
              <a:gd name="connsiteY0" fmla="*/ 19265197 h 19443666"/>
              <a:gd name="connsiteX1" fmla="*/ 697496 w 7178503"/>
              <a:gd name="connsiteY1" fmla="*/ 15514402 h 19443666"/>
              <a:gd name="connsiteX2" fmla="*/ 1422464 w 7178503"/>
              <a:gd name="connsiteY2" fmla="*/ 15402202 h 19443666"/>
              <a:gd name="connsiteX3" fmla="*/ 2013847 w 7178503"/>
              <a:gd name="connsiteY3" fmla="*/ 19431126 h 19443666"/>
              <a:gd name="connsiteX4" fmla="*/ 2769344 w 7178503"/>
              <a:gd name="connsiteY4" fmla="*/ 16347279 h 19443666"/>
              <a:gd name="connsiteX5" fmla="*/ 3343956 w 7178503"/>
              <a:gd name="connsiteY5" fmla="*/ 189711 h 19443666"/>
              <a:gd name="connsiteX6" fmla="*/ 4006507 w 7178503"/>
              <a:gd name="connsiteY6" fmla="*/ 417 h 19443666"/>
              <a:gd name="connsiteX7" fmla="*/ 4620858 w 7178503"/>
              <a:gd name="connsiteY7" fmla="*/ 255894 h 19443666"/>
              <a:gd name="connsiteX8" fmla="*/ 5278769 w 7178503"/>
              <a:gd name="connsiteY8" fmla="*/ 128120 h 19443666"/>
              <a:gd name="connsiteX9" fmla="*/ 5885085 w 7178503"/>
              <a:gd name="connsiteY9" fmla="*/ 271154 h 19443666"/>
              <a:gd name="connsiteX10" fmla="*/ 6528274 w 7178503"/>
              <a:gd name="connsiteY10" fmla="*/ 18281 h 19443666"/>
              <a:gd name="connsiteX11" fmla="*/ 7178503 w 7178503"/>
              <a:gd name="connsiteY11" fmla="*/ 141032 h 19443666"/>
              <a:gd name="connsiteX0" fmla="*/ 0 w 7178503"/>
              <a:gd name="connsiteY0" fmla="*/ 19265197 h 19466905"/>
              <a:gd name="connsiteX1" fmla="*/ 697496 w 7178503"/>
              <a:gd name="connsiteY1" fmla="*/ 15514402 h 19466905"/>
              <a:gd name="connsiteX2" fmla="*/ 1422464 w 7178503"/>
              <a:gd name="connsiteY2" fmla="*/ 15402202 h 19466905"/>
              <a:gd name="connsiteX3" fmla="*/ 2013847 w 7178503"/>
              <a:gd name="connsiteY3" fmla="*/ 19431126 h 19466905"/>
              <a:gd name="connsiteX4" fmla="*/ 2650733 w 7178503"/>
              <a:gd name="connsiteY4" fmla="*/ 16823182 h 19466905"/>
              <a:gd name="connsiteX5" fmla="*/ 3343956 w 7178503"/>
              <a:gd name="connsiteY5" fmla="*/ 189711 h 19466905"/>
              <a:gd name="connsiteX6" fmla="*/ 4006507 w 7178503"/>
              <a:gd name="connsiteY6" fmla="*/ 417 h 19466905"/>
              <a:gd name="connsiteX7" fmla="*/ 4620858 w 7178503"/>
              <a:gd name="connsiteY7" fmla="*/ 255894 h 19466905"/>
              <a:gd name="connsiteX8" fmla="*/ 5278769 w 7178503"/>
              <a:gd name="connsiteY8" fmla="*/ 128120 h 19466905"/>
              <a:gd name="connsiteX9" fmla="*/ 5885085 w 7178503"/>
              <a:gd name="connsiteY9" fmla="*/ 271154 h 19466905"/>
              <a:gd name="connsiteX10" fmla="*/ 6528274 w 7178503"/>
              <a:gd name="connsiteY10" fmla="*/ 18281 h 19466905"/>
              <a:gd name="connsiteX11" fmla="*/ 7178503 w 7178503"/>
              <a:gd name="connsiteY11" fmla="*/ 141032 h 19466905"/>
              <a:gd name="connsiteX0" fmla="*/ 0 w 7178503"/>
              <a:gd name="connsiteY0" fmla="*/ 19265197 h 19460135"/>
              <a:gd name="connsiteX1" fmla="*/ 697496 w 7178503"/>
              <a:gd name="connsiteY1" fmla="*/ 15514402 h 19460135"/>
              <a:gd name="connsiteX2" fmla="*/ 1422464 w 7178503"/>
              <a:gd name="connsiteY2" fmla="*/ 15402202 h 19460135"/>
              <a:gd name="connsiteX3" fmla="*/ 2013847 w 7178503"/>
              <a:gd name="connsiteY3" fmla="*/ 19431126 h 19460135"/>
              <a:gd name="connsiteX4" fmla="*/ 2650733 w 7178503"/>
              <a:gd name="connsiteY4" fmla="*/ 16823182 h 19460135"/>
              <a:gd name="connsiteX5" fmla="*/ 3343956 w 7178503"/>
              <a:gd name="connsiteY5" fmla="*/ 189711 h 19460135"/>
              <a:gd name="connsiteX6" fmla="*/ 4006507 w 7178503"/>
              <a:gd name="connsiteY6" fmla="*/ 417 h 19460135"/>
              <a:gd name="connsiteX7" fmla="*/ 4620858 w 7178503"/>
              <a:gd name="connsiteY7" fmla="*/ 255894 h 19460135"/>
              <a:gd name="connsiteX8" fmla="*/ 5278769 w 7178503"/>
              <a:gd name="connsiteY8" fmla="*/ 128120 h 19460135"/>
              <a:gd name="connsiteX9" fmla="*/ 5885085 w 7178503"/>
              <a:gd name="connsiteY9" fmla="*/ 271154 h 19460135"/>
              <a:gd name="connsiteX10" fmla="*/ 6528274 w 7178503"/>
              <a:gd name="connsiteY10" fmla="*/ 18281 h 19460135"/>
              <a:gd name="connsiteX11" fmla="*/ 7178503 w 7178503"/>
              <a:gd name="connsiteY11" fmla="*/ 141032 h 19460135"/>
              <a:gd name="connsiteX0" fmla="*/ 0 w 7178503"/>
              <a:gd name="connsiteY0" fmla="*/ 20344414 h 20527979"/>
              <a:gd name="connsiteX1" fmla="*/ 697496 w 7178503"/>
              <a:gd name="connsiteY1" fmla="*/ 16593619 h 20527979"/>
              <a:gd name="connsiteX2" fmla="*/ 1422464 w 7178503"/>
              <a:gd name="connsiteY2" fmla="*/ 16481419 h 20527979"/>
              <a:gd name="connsiteX3" fmla="*/ 2013847 w 7178503"/>
              <a:gd name="connsiteY3" fmla="*/ 20510343 h 20527979"/>
              <a:gd name="connsiteX4" fmla="*/ 2650733 w 7178503"/>
              <a:gd name="connsiteY4" fmla="*/ 17902399 h 20527979"/>
              <a:gd name="connsiteX5" fmla="*/ 3260230 w 7178503"/>
              <a:gd name="connsiteY5" fmla="*/ 16735745 h 20527979"/>
              <a:gd name="connsiteX6" fmla="*/ 4006507 w 7178503"/>
              <a:gd name="connsiteY6" fmla="*/ 1079634 h 20527979"/>
              <a:gd name="connsiteX7" fmla="*/ 4620858 w 7178503"/>
              <a:gd name="connsiteY7" fmla="*/ 1335111 h 20527979"/>
              <a:gd name="connsiteX8" fmla="*/ 5278769 w 7178503"/>
              <a:gd name="connsiteY8" fmla="*/ 1207337 h 20527979"/>
              <a:gd name="connsiteX9" fmla="*/ 5885085 w 7178503"/>
              <a:gd name="connsiteY9" fmla="*/ 1350371 h 20527979"/>
              <a:gd name="connsiteX10" fmla="*/ 6528274 w 7178503"/>
              <a:gd name="connsiteY10" fmla="*/ 1097498 h 20527979"/>
              <a:gd name="connsiteX11" fmla="*/ 7178503 w 7178503"/>
              <a:gd name="connsiteY11" fmla="*/ 1220249 h 20527979"/>
              <a:gd name="connsiteX0" fmla="*/ 0 w 7178503"/>
              <a:gd name="connsiteY0" fmla="*/ 20410335 h 20592882"/>
              <a:gd name="connsiteX1" fmla="*/ 697496 w 7178503"/>
              <a:gd name="connsiteY1" fmla="*/ 16659540 h 20592882"/>
              <a:gd name="connsiteX2" fmla="*/ 1422464 w 7178503"/>
              <a:gd name="connsiteY2" fmla="*/ 16547340 h 20592882"/>
              <a:gd name="connsiteX3" fmla="*/ 2013847 w 7178503"/>
              <a:gd name="connsiteY3" fmla="*/ 20576264 h 20592882"/>
              <a:gd name="connsiteX4" fmla="*/ 2650733 w 7178503"/>
              <a:gd name="connsiteY4" fmla="*/ 17968320 h 20592882"/>
              <a:gd name="connsiteX5" fmla="*/ 3295116 w 7178503"/>
              <a:gd name="connsiteY5" fmla="*/ 17693983 h 20592882"/>
              <a:gd name="connsiteX6" fmla="*/ 4006507 w 7178503"/>
              <a:gd name="connsiteY6" fmla="*/ 1145555 h 20592882"/>
              <a:gd name="connsiteX7" fmla="*/ 4620858 w 7178503"/>
              <a:gd name="connsiteY7" fmla="*/ 1401032 h 20592882"/>
              <a:gd name="connsiteX8" fmla="*/ 5278769 w 7178503"/>
              <a:gd name="connsiteY8" fmla="*/ 1273258 h 20592882"/>
              <a:gd name="connsiteX9" fmla="*/ 5885085 w 7178503"/>
              <a:gd name="connsiteY9" fmla="*/ 1416292 h 20592882"/>
              <a:gd name="connsiteX10" fmla="*/ 6528274 w 7178503"/>
              <a:gd name="connsiteY10" fmla="*/ 1163419 h 20592882"/>
              <a:gd name="connsiteX11" fmla="*/ 7178503 w 7178503"/>
              <a:gd name="connsiteY11" fmla="*/ 1286170 h 20592882"/>
              <a:gd name="connsiteX0" fmla="*/ 0 w 7178503"/>
              <a:gd name="connsiteY0" fmla="*/ 20423519 h 20605879"/>
              <a:gd name="connsiteX1" fmla="*/ 697496 w 7178503"/>
              <a:gd name="connsiteY1" fmla="*/ 16672724 h 20605879"/>
              <a:gd name="connsiteX2" fmla="*/ 1422464 w 7178503"/>
              <a:gd name="connsiteY2" fmla="*/ 16560524 h 20605879"/>
              <a:gd name="connsiteX3" fmla="*/ 2013847 w 7178503"/>
              <a:gd name="connsiteY3" fmla="*/ 20589448 h 20605879"/>
              <a:gd name="connsiteX4" fmla="*/ 2650733 w 7178503"/>
              <a:gd name="connsiteY4" fmla="*/ 17981504 h 20605879"/>
              <a:gd name="connsiteX5" fmla="*/ 3295116 w 7178503"/>
              <a:gd name="connsiteY5" fmla="*/ 17885630 h 20605879"/>
              <a:gd name="connsiteX6" fmla="*/ 4006507 w 7178503"/>
              <a:gd name="connsiteY6" fmla="*/ 1158739 h 20605879"/>
              <a:gd name="connsiteX7" fmla="*/ 4620858 w 7178503"/>
              <a:gd name="connsiteY7" fmla="*/ 1414216 h 20605879"/>
              <a:gd name="connsiteX8" fmla="*/ 5278769 w 7178503"/>
              <a:gd name="connsiteY8" fmla="*/ 1286442 h 20605879"/>
              <a:gd name="connsiteX9" fmla="*/ 5885085 w 7178503"/>
              <a:gd name="connsiteY9" fmla="*/ 1429476 h 20605879"/>
              <a:gd name="connsiteX10" fmla="*/ 6528274 w 7178503"/>
              <a:gd name="connsiteY10" fmla="*/ 1176603 h 20605879"/>
              <a:gd name="connsiteX11" fmla="*/ 7178503 w 7178503"/>
              <a:gd name="connsiteY11" fmla="*/ 1299354 h 20605879"/>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92553 w 7178503"/>
              <a:gd name="connsiteY6" fmla="*/ 13664604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92553 w 7178503"/>
              <a:gd name="connsiteY6" fmla="*/ 13664604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92553 w 7178503"/>
              <a:gd name="connsiteY6" fmla="*/ 13664604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36736 w 7178503"/>
              <a:gd name="connsiteY6" fmla="*/ 13724092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36736 w 7178503"/>
              <a:gd name="connsiteY6" fmla="*/ 14616408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36736 w 7178503"/>
              <a:gd name="connsiteY6" fmla="*/ 14616408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36736 w 7178503"/>
              <a:gd name="connsiteY6" fmla="*/ 14616408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20057037 h 20239397"/>
              <a:gd name="connsiteX1" fmla="*/ 697496 w 7178503"/>
              <a:gd name="connsiteY1" fmla="*/ 16306242 h 20239397"/>
              <a:gd name="connsiteX2" fmla="*/ 1422464 w 7178503"/>
              <a:gd name="connsiteY2" fmla="*/ 16194042 h 20239397"/>
              <a:gd name="connsiteX3" fmla="*/ 2013847 w 7178503"/>
              <a:gd name="connsiteY3" fmla="*/ 20222966 h 20239397"/>
              <a:gd name="connsiteX4" fmla="*/ 2650733 w 7178503"/>
              <a:gd name="connsiteY4" fmla="*/ 17615022 h 20239397"/>
              <a:gd name="connsiteX5" fmla="*/ 3295116 w 7178503"/>
              <a:gd name="connsiteY5" fmla="*/ 17519148 h 20239397"/>
              <a:gd name="connsiteX6" fmla="*/ 3936736 w 7178503"/>
              <a:gd name="connsiteY6" fmla="*/ 15426247 h 20239397"/>
              <a:gd name="connsiteX7" fmla="*/ 4613881 w 7178503"/>
              <a:gd name="connsiteY7" fmla="*/ 14016065 h 20239397"/>
              <a:gd name="connsiteX8" fmla="*/ 5278769 w 7178503"/>
              <a:gd name="connsiteY8" fmla="*/ 919960 h 20239397"/>
              <a:gd name="connsiteX9" fmla="*/ 5885085 w 7178503"/>
              <a:gd name="connsiteY9" fmla="*/ 1062994 h 20239397"/>
              <a:gd name="connsiteX10" fmla="*/ 6528274 w 7178503"/>
              <a:gd name="connsiteY10" fmla="*/ 810121 h 20239397"/>
              <a:gd name="connsiteX11" fmla="*/ 7178503 w 7178503"/>
              <a:gd name="connsiteY11" fmla="*/ 932872 h 20239397"/>
              <a:gd name="connsiteX0" fmla="*/ 0 w 7178503"/>
              <a:gd name="connsiteY0" fmla="*/ 20114233 h 20296593"/>
              <a:gd name="connsiteX1" fmla="*/ 697496 w 7178503"/>
              <a:gd name="connsiteY1" fmla="*/ 16363438 h 20296593"/>
              <a:gd name="connsiteX2" fmla="*/ 1422464 w 7178503"/>
              <a:gd name="connsiteY2" fmla="*/ 16251238 h 20296593"/>
              <a:gd name="connsiteX3" fmla="*/ 2013847 w 7178503"/>
              <a:gd name="connsiteY3" fmla="*/ 20280162 h 20296593"/>
              <a:gd name="connsiteX4" fmla="*/ 2650733 w 7178503"/>
              <a:gd name="connsiteY4" fmla="*/ 17672218 h 20296593"/>
              <a:gd name="connsiteX5" fmla="*/ 3295116 w 7178503"/>
              <a:gd name="connsiteY5" fmla="*/ 17576344 h 20296593"/>
              <a:gd name="connsiteX6" fmla="*/ 3936736 w 7178503"/>
              <a:gd name="connsiteY6" fmla="*/ 15483443 h 20296593"/>
              <a:gd name="connsiteX7" fmla="*/ 4578996 w 7178503"/>
              <a:gd name="connsiteY7" fmla="*/ 14846602 h 20296593"/>
              <a:gd name="connsiteX8" fmla="*/ 5278769 w 7178503"/>
              <a:gd name="connsiteY8" fmla="*/ 977156 h 20296593"/>
              <a:gd name="connsiteX9" fmla="*/ 5885085 w 7178503"/>
              <a:gd name="connsiteY9" fmla="*/ 1120190 h 20296593"/>
              <a:gd name="connsiteX10" fmla="*/ 6528274 w 7178503"/>
              <a:gd name="connsiteY10" fmla="*/ 867317 h 20296593"/>
              <a:gd name="connsiteX11" fmla="*/ 7178503 w 7178503"/>
              <a:gd name="connsiteY11" fmla="*/ 990068 h 20296593"/>
              <a:gd name="connsiteX0" fmla="*/ 0 w 7178503"/>
              <a:gd name="connsiteY0" fmla="*/ 19978476 h 20160836"/>
              <a:gd name="connsiteX1" fmla="*/ 697496 w 7178503"/>
              <a:gd name="connsiteY1" fmla="*/ 16227681 h 20160836"/>
              <a:gd name="connsiteX2" fmla="*/ 1422464 w 7178503"/>
              <a:gd name="connsiteY2" fmla="*/ 16115481 h 20160836"/>
              <a:gd name="connsiteX3" fmla="*/ 2013847 w 7178503"/>
              <a:gd name="connsiteY3" fmla="*/ 20144405 h 20160836"/>
              <a:gd name="connsiteX4" fmla="*/ 2650733 w 7178503"/>
              <a:gd name="connsiteY4" fmla="*/ 17536461 h 20160836"/>
              <a:gd name="connsiteX5" fmla="*/ 3295116 w 7178503"/>
              <a:gd name="connsiteY5" fmla="*/ 17440587 h 20160836"/>
              <a:gd name="connsiteX6" fmla="*/ 3936736 w 7178503"/>
              <a:gd name="connsiteY6" fmla="*/ 15347686 h 20160836"/>
              <a:gd name="connsiteX7" fmla="*/ 4578996 w 7178503"/>
              <a:gd name="connsiteY7" fmla="*/ 14710845 h 20160836"/>
              <a:gd name="connsiteX8" fmla="*/ 5278769 w 7178503"/>
              <a:gd name="connsiteY8" fmla="*/ 13036388 h 20160836"/>
              <a:gd name="connsiteX9" fmla="*/ 5885085 w 7178503"/>
              <a:gd name="connsiteY9" fmla="*/ 984433 h 20160836"/>
              <a:gd name="connsiteX10" fmla="*/ 6528274 w 7178503"/>
              <a:gd name="connsiteY10" fmla="*/ 731560 h 20160836"/>
              <a:gd name="connsiteX11" fmla="*/ 7178503 w 7178503"/>
              <a:gd name="connsiteY11" fmla="*/ 854311 h 20160836"/>
              <a:gd name="connsiteX0" fmla="*/ 0 w 7178503"/>
              <a:gd name="connsiteY0" fmla="*/ 19978476 h 20160836"/>
              <a:gd name="connsiteX1" fmla="*/ 697496 w 7178503"/>
              <a:gd name="connsiteY1" fmla="*/ 16227681 h 20160836"/>
              <a:gd name="connsiteX2" fmla="*/ 1422464 w 7178503"/>
              <a:gd name="connsiteY2" fmla="*/ 16115481 h 20160836"/>
              <a:gd name="connsiteX3" fmla="*/ 2013847 w 7178503"/>
              <a:gd name="connsiteY3" fmla="*/ 20144405 h 20160836"/>
              <a:gd name="connsiteX4" fmla="*/ 2650733 w 7178503"/>
              <a:gd name="connsiteY4" fmla="*/ 17536461 h 20160836"/>
              <a:gd name="connsiteX5" fmla="*/ 3295116 w 7178503"/>
              <a:gd name="connsiteY5" fmla="*/ 17440587 h 20160836"/>
              <a:gd name="connsiteX6" fmla="*/ 3936736 w 7178503"/>
              <a:gd name="connsiteY6" fmla="*/ 15347686 h 20160836"/>
              <a:gd name="connsiteX7" fmla="*/ 4578996 w 7178503"/>
              <a:gd name="connsiteY7" fmla="*/ 14710845 h 20160836"/>
              <a:gd name="connsiteX8" fmla="*/ 5278769 w 7178503"/>
              <a:gd name="connsiteY8" fmla="*/ 13036388 h 20160836"/>
              <a:gd name="connsiteX9" fmla="*/ 5885085 w 7178503"/>
              <a:gd name="connsiteY9" fmla="*/ 984433 h 20160836"/>
              <a:gd name="connsiteX10" fmla="*/ 6528274 w 7178503"/>
              <a:gd name="connsiteY10" fmla="*/ 731560 h 20160836"/>
              <a:gd name="connsiteX11" fmla="*/ 7178503 w 7178503"/>
              <a:gd name="connsiteY11" fmla="*/ 854311 h 20160836"/>
              <a:gd name="connsiteX0" fmla="*/ 0 w 7178503"/>
              <a:gd name="connsiteY0" fmla="*/ 19987232 h 20169592"/>
              <a:gd name="connsiteX1" fmla="*/ 697496 w 7178503"/>
              <a:gd name="connsiteY1" fmla="*/ 16236437 h 20169592"/>
              <a:gd name="connsiteX2" fmla="*/ 1422464 w 7178503"/>
              <a:gd name="connsiteY2" fmla="*/ 16124237 h 20169592"/>
              <a:gd name="connsiteX3" fmla="*/ 2013847 w 7178503"/>
              <a:gd name="connsiteY3" fmla="*/ 20153161 h 20169592"/>
              <a:gd name="connsiteX4" fmla="*/ 2650733 w 7178503"/>
              <a:gd name="connsiteY4" fmla="*/ 17545217 h 20169592"/>
              <a:gd name="connsiteX5" fmla="*/ 3295116 w 7178503"/>
              <a:gd name="connsiteY5" fmla="*/ 17449343 h 20169592"/>
              <a:gd name="connsiteX6" fmla="*/ 3936736 w 7178503"/>
              <a:gd name="connsiteY6" fmla="*/ 15356442 h 20169592"/>
              <a:gd name="connsiteX7" fmla="*/ 4578996 w 7178503"/>
              <a:gd name="connsiteY7" fmla="*/ 14719601 h 20169592"/>
              <a:gd name="connsiteX8" fmla="*/ 5243884 w 7178503"/>
              <a:gd name="connsiteY8" fmla="*/ 13164120 h 20169592"/>
              <a:gd name="connsiteX9" fmla="*/ 5885085 w 7178503"/>
              <a:gd name="connsiteY9" fmla="*/ 993189 h 20169592"/>
              <a:gd name="connsiteX10" fmla="*/ 6528274 w 7178503"/>
              <a:gd name="connsiteY10" fmla="*/ 740316 h 20169592"/>
              <a:gd name="connsiteX11" fmla="*/ 7178503 w 7178503"/>
              <a:gd name="connsiteY11" fmla="*/ 863067 h 20169592"/>
              <a:gd name="connsiteX0" fmla="*/ 0 w 7178503"/>
              <a:gd name="connsiteY0" fmla="*/ 19987232 h 20169592"/>
              <a:gd name="connsiteX1" fmla="*/ 697496 w 7178503"/>
              <a:gd name="connsiteY1" fmla="*/ 16236437 h 20169592"/>
              <a:gd name="connsiteX2" fmla="*/ 1422464 w 7178503"/>
              <a:gd name="connsiteY2" fmla="*/ 16124237 h 20169592"/>
              <a:gd name="connsiteX3" fmla="*/ 2013847 w 7178503"/>
              <a:gd name="connsiteY3" fmla="*/ 20153161 h 20169592"/>
              <a:gd name="connsiteX4" fmla="*/ 2650733 w 7178503"/>
              <a:gd name="connsiteY4" fmla="*/ 17545217 h 20169592"/>
              <a:gd name="connsiteX5" fmla="*/ 3295116 w 7178503"/>
              <a:gd name="connsiteY5" fmla="*/ 17449343 h 20169592"/>
              <a:gd name="connsiteX6" fmla="*/ 3936736 w 7178503"/>
              <a:gd name="connsiteY6" fmla="*/ 15356442 h 20169592"/>
              <a:gd name="connsiteX7" fmla="*/ 4578996 w 7178503"/>
              <a:gd name="connsiteY7" fmla="*/ 14719601 h 20169592"/>
              <a:gd name="connsiteX8" fmla="*/ 5243884 w 7178503"/>
              <a:gd name="connsiteY8" fmla="*/ 13164120 h 20169592"/>
              <a:gd name="connsiteX9" fmla="*/ 5885085 w 7178503"/>
              <a:gd name="connsiteY9" fmla="*/ 993189 h 20169592"/>
              <a:gd name="connsiteX10" fmla="*/ 6528274 w 7178503"/>
              <a:gd name="connsiteY10" fmla="*/ 740316 h 20169592"/>
              <a:gd name="connsiteX11" fmla="*/ 7178503 w 7178503"/>
              <a:gd name="connsiteY11" fmla="*/ 863067 h 20169592"/>
              <a:gd name="connsiteX0" fmla="*/ 0 w 7178503"/>
              <a:gd name="connsiteY0" fmla="*/ 19246923 h 19429283"/>
              <a:gd name="connsiteX1" fmla="*/ 697496 w 7178503"/>
              <a:gd name="connsiteY1" fmla="*/ 15496128 h 19429283"/>
              <a:gd name="connsiteX2" fmla="*/ 1422464 w 7178503"/>
              <a:gd name="connsiteY2" fmla="*/ 15383928 h 19429283"/>
              <a:gd name="connsiteX3" fmla="*/ 2013847 w 7178503"/>
              <a:gd name="connsiteY3" fmla="*/ 19412852 h 19429283"/>
              <a:gd name="connsiteX4" fmla="*/ 2650733 w 7178503"/>
              <a:gd name="connsiteY4" fmla="*/ 16804908 h 19429283"/>
              <a:gd name="connsiteX5" fmla="*/ 3295116 w 7178503"/>
              <a:gd name="connsiteY5" fmla="*/ 16709034 h 19429283"/>
              <a:gd name="connsiteX6" fmla="*/ 3936736 w 7178503"/>
              <a:gd name="connsiteY6" fmla="*/ 14616133 h 19429283"/>
              <a:gd name="connsiteX7" fmla="*/ 4578996 w 7178503"/>
              <a:gd name="connsiteY7" fmla="*/ 13979292 h 19429283"/>
              <a:gd name="connsiteX8" fmla="*/ 5243884 w 7178503"/>
              <a:gd name="connsiteY8" fmla="*/ 12423811 h 19429283"/>
              <a:gd name="connsiteX9" fmla="*/ 5906017 w 7178503"/>
              <a:gd name="connsiteY9" fmla="*/ 12507356 h 19429283"/>
              <a:gd name="connsiteX10" fmla="*/ 6528274 w 7178503"/>
              <a:gd name="connsiteY10" fmla="*/ 7 h 19429283"/>
              <a:gd name="connsiteX11" fmla="*/ 7178503 w 7178503"/>
              <a:gd name="connsiteY11" fmla="*/ 122758 h 19429283"/>
              <a:gd name="connsiteX0" fmla="*/ 0 w 7178503"/>
              <a:gd name="connsiteY0" fmla="*/ 19246923 h 19429283"/>
              <a:gd name="connsiteX1" fmla="*/ 697496 w 7178503"/>
              <a:gd name="connsiteY1" fmla="*/ 15496128 h 19429283"/>
              <a:gd name="connsiteX2" fmla="*/ 1422464 w 7178503"/>
              <a:gd name="connsiteY2" fmla="*/ 15383928 h 19429283"/>
              <a:gd name="connsiteX3" fmla="*/ 2013847 w 7178503"/>
              <a:gd name="connsiteY3" fmla="*/ 19412852 h 19429283"/>
              <a:gd name="connsiteX4" fmla="*/ 2650733 w 7178503"/>
              <a:gd name="connsiteY4" fmla="*/ 16804908 h 19429283"/>
              <a:gd name="connsiteX5" fmla="*/ 3295116 w 7178503"/>
              <a:gd name="connsiteY5" fmla="*/ 16709034 h 19429283"/>
              <a:gd name="connsiteX6" fmla="*/ 3936736 w 7178503"/>
              <a:gd name="connsiteY6" fmla="*/ 14616133 h 19429283"/>
              <a:gd name="connsiteX7" fmla="*/ 4578996 w 7178503"/>
              <a:gd name="connsiteY7" fmla="*/ 13979292 h 19429283"/>
              <a:gd name="connsiteX8" fmla="*/ 5243884 w 7178503"/>
              <a:gd name="connsiteY8" fmla="*/ 12423811 h 19429283"/>
              <a:gd name="connsiteX9" fmla="*/ 5906017 w 7178503"/>
              <a:gd name="connsiteY9" fmla="*/ 12507356 h 19429283"/>
              <a:gd name="connsiteX10" fmla="*/ 6528274 w 7178503"/>
              <a:gd name="connsiteY10" fmla="*/ 7 h 19429283"/>
              <a:gd name="connsiteX11" fmla="*/ 7178503 w 7178503"/>
              <a:gd name="connsiteY11" fmla="*/ 122758 h 19429283"/>
              <a:gd name="connsiteX0" fmla="*/ 0 w 7178503"/>
              <a:gd name="connsiteY0" fmla="*/ 19246923 h 19429283"/>
              <a:gd name="connsiteX1" fmla="*/ 697496 w 7178503"/>
              <a:gd name="connsiteY1" fmla="*/ 15496128 h 19429283"/>
              <a:gd name="connsiteX2" fmla="*/ 1422464 w 7178503"/>
              <a:gd name="connsiteY2" fmla="*/ 15383928 h 19429283"/>
              <a:gd name="connsiteX3" fmla="*/ 2013847 w 7178503"/>
              <a:gd name="connsiteY3" fmla="*/ 19412852 h 19429283"/>
              <a:gd name="connsiteX4" fmla="*/ 2650733 w 7178503"/>
              <a:gd name="connsiteY4" fmla="*/ 16804908 h 19429283"/>
              <a:gd name="connsiteX5" fmla="*/ 3295116 w 7178503"/>
              <a:gd name="connsiteY5" fmla="*/ 16709034 h 19429283"/>
              <a:gd name="connsiteX6" fmla="*/ 3936736 w 7178503"/>
              <a:gd name="connsiteY6" fmla="*/ 14616133 h 19429283"/>
              <a:gd name="connsiteX7" fmla="*/ 4578996 w 7178503"/>
              <a:gd name="connsiteY7" fmla="*/ 13979292 h 19429283"/>
              <a:gd name="connsiteX8" fmla="*/ 5243884 w 7178503"/>
              <a:gd name="connsiteY8" fmla="*/ 12423811 h 19429283"/>
              <a:gd name="connsiteX9" fmla="*/ 5857177 w 7178503"/>
              <a:gd name="connsiteY9" fmla="*/ 9592456 h 19429283"/>
              <a:gd name="connsiteX10" fmla="*/ 6528274 w 7178503"/>
              <a:gd name="connsiteY10" fmla="*/ 7 h 19429283"/>
              <a:gd name="connsiteX11" fmla="*/ 7178503 w 7178503"/>
              <a:gd name="connsiteY11" fmla="*/ 122758 h 19429283"/>
              <a:gd name="connsiteX0" fmla="*/ 0 w 7178503"/>
              <a:gd name="connsiteY0" fmla="*/ 19124169 h 19306529"/>
              <a:gd name="connsiteX1" fmla="*/ 697496 w 7178503"/>
              <a:gd name="connsiteY1" fmla="*/ 15373374 h 19306529"/>
              <a:gd name="connsiteX2" fmla="*/ 1422464 w 7178503"/>
              <a:gd name="connsiteY2" fmla="*/ 15261174 h 19306529"/>
              <a:gd name="connsiteX3" fmla="*/ 2013847 w 7178503"/>
              <a:gd name="connsiteY3" fmla="*/ 19290098 h 19306529"/>
              <a:gd name="connsiteX4" fmla="*/ 2650733 w 7178503"/>
              <a:gd name="connsiteY4" fmla="*/ 16682154 h 19306529"/>
              <a:gd name="connsiteX5" fmla="*/ 3295116 w 7178503"/>
              <a:gd name="connsiteY5" fmla="*/ 16586280 h 19306529"/>
              <a:gd name="connsiteX6" fmla="*/ 3936736 w 7178503"/>
              <a:gd name="connsiteY6" fmla="*/ 14493379 h 19306529"/>
              <a:gd name="connsiteX7" fmla="*/ 4578996 w 7178503"/>
              <a:gd name="connsiteY7" fmla="*/ 13856538 h 19306529"/>
              <a:gd name="connsiteX8" fmla="*/ 5243884 w 7178503"/>
              <a:gd name="connsiteY8" fmla="*/ 12301057 h 19306529"/>
              <a:gd name="connsiteX9" fmla="*/ 5857177 w 7178503"/>
              <a:gd name="connsiteY9" fmla="*/ 9469702 h 19306529"/>
              <a:gd name="connsiteX10" fmla="*/ 6563159 w 7178503"/>
              <a:gd name="connsiteY10" fmla="*/ 17783068 h 19306529"/>
              <a:gd name="connsiteX11" fmla="*/ 7178503 w 7178503"/>
              <a:gd name="connsiteY11" fmla="*/ 4 h 19306529"/>
              <a:gd name="connsiteX0" fmla="*/ 0 w 7178503"/>
              <a:gd name="connsiteY0" fmla="*/ 9825317 h 10007677"/>
              <a:gd name="connsiteX1" fmla="*/ 697496 w 7178503"/>
              <a:gd name="connsiteY1" fmla="*/ 6074522 h 10007677"/>
              <a:gd name="connsiteX2" fmla="*/ 1422464 w 7178503"/>
              <a:gd name="connsiteY2" fmla="*/ 5962322 h 10007677"/>
              <a:gd name="connsiteX3" fmla="*/ 2013847 w 7178503"/>
              <a:gd name="connsiteY3" fmla="*/ 9991246 h 10007677"/>
              <a:gd name="connsiteX4" fmla="*/ 2650733 w 7178503"/>
              <a:gd name="connsiteY4" fmla="*/ 7383302 h 10007677"/>
              <a:gd name="connsiteX5" fmla="*/ 3295116 w 7178503"/>
              <a:gd name="connsiteY5" fmla="*/ 7287428 h 10007677"/>
              <a:gd name="connsiteX6" fmla="*/ 3936736 w 7178503"/>
              <a:gd name="connsiteY6" fmla="*/ 5194527 h 10007677"/>
              <a:gd name="connsiteX7" fmla="*/ 4578996 w 7178503"/>
              <a:gd name="connsiteY7" fmla="*/ 4557686 h 10007677"/>
              <a:gd name="connsiteX8" fmla="*/ 5243884 w 7178503"/>
              <a:gd name="connsiteY8" fmla="*/ 3002205 h 10007677"/>
              <a:gd name="connsiteX9" fmla="*/ 5857177 w 7178503"/>
              <a:gd name="connsiteY9" fmla="*/ 170850 h 10007677"/>
              <a:gd name="connsiteX10" fmla="*/ 6563159 w 7178503"/>
              <a:gd name="connsiteY10" fmla="*/ 8484216 h 10007677"/>
              <a:gd name="connsiteX11" fmla="*/ 7178503 w 7178503"/>
              <a:gd name="connsiteY11" fmla="*/ 7060288 h 10007677"/>
              <a:gd name="connsiteX0" fmla="*/ 0 w 7178503"/>
              <a:gd name="connsiteY0" fmla="*/ 9825317 h 10007677"/>
              <a:gd name="connsiteX1" fmla="*/ 697496 w 7178503"/>
              <a:gd name="connsiteY1" fmla="*/ 6074522 h 10007677"/>
              <a:gd name="connsiteX2" fmla="*/ 1422464 w 7178503"/>
              <a:gd name="connsiteY2" fmla="*/ 5962322 h 10007677"/>
              <a:gd name="connsiteX3" fmla="*/ 2013847 w 7178503"/>
              <a:gd name="connsiteY3" fmla="*/ 9991246 h 10007677"/>
              <a:gd name="connsiteX4" fmla="*/ 2650733 w 7178503"/>
              <a:gd name="connsiteY4" fmla="*/ 7383302 h 10007677"/>
              <a:gd name="connsiteX5" fmla="*/ 3295116 w 7178503"/>
              <a:gd name="connsiteY5" fmla="*/ 7287428 h 10007677"/>
              <a:gd name="connsiteX6" fmla="*/ 3936736 w 7178503"/>
              <a:gd name="connsiteY6" fmla="*/ 5194527 h 10007677"/>
              <a:gd name="connsiteX7" fmla="*/ 4578996 w 7178503"/>
              <a:gd name="connsiteY7" fmla="*/ 4557686 h 10007677"/>
              <a:gd name="connsiteX8" fmla="*/ 5243884 w 7178503"/>
              <a:gd name="connsiteY8" fmla="*/ 3002205 h 10007677"/>
              <a:gd name="connsiteX9" fmla="*/ 5857177 w 7178503"/>
              <a:gd name="connsiteY9" fmla="*/ 170850 h 10007677"/>
              <a:gd name="connsiteX10" fmla="*/ 6563159 w 7178503"/>
              <a:gd name="connsiteY10" fmla="*/ 8484216 h 10007677"/>
              <a:gd name="connsiteX11" fmla="*/ 7178503 w 7178503"/>
              <a:gd name="connsiteY11" fmla="*/ 7000800 h 10007677"/>
              <a:gd name="connsiteX0" fmla="*/ 0 w 7178503"/>
              <a:gd name="connsiteY0" fmla="*/ 9825317 h 10007677"/>
              <a:gd name="connsiteX1" fmla="*/ 680751 w 7178503"/>
              <a:gd name="connsiteY1" fmla="*/ 9286860 h 10007677"/>
              <a:gd name="connsiteX2" fmla="*/ 1422464 w 7178503"/>
              <a:gd name="connsiteY2" fmla="*/ 5962322 h 10007677"/>
              <a:gd name="connsiteX3" fmla="*/ 2013847 w 7178503"/>
              <a:gd name="connsiteY3" fmla="*/ 9991246 h 10007677"/>
              <a:gd name="connsiteX4" fmla="*/ 2650733 w 7178503"/>
              <a:gd name="connsiteY4" fmla="*/ 7383302 h 10007677"/>
              <a:gd name="connsiteX5" fmla="*/ 3295116 w 7178503"/>
              <a:gd name="connsiteY5" fmla="*/ 7287428 h 10007677"/>
              <a:gd name="connsiteX6" fmla="*/ 3936736 w 7178503"/>
              <a:gd name="connsiteY6" fmla="*/ 5194527 h 10007677"/>
              <a:gd name="connsiteX7" fmla="*/ 4578996 w 7178503"/>
              <a:gd name="connsiteY7" fmla="*/ 4557686 h 10007677"/>
              <a:gd name="connsiteX8" fmla="*/ 5243884 w 7178503"/>
              <a:gd name="connsiteY8" fmla="*/ 3002205 h 10007677"/>
              <a:gd name="connsiteX9" fmla="*/ 5857177 w 7178503"/>
              <a:gd name="connsiteY9" fmla="*/ 170850 h 10007677"/>
              <a:gd name="connsiteX10" fmla="*/ 6563159 w 7178503"/>
              <a:gd name="connsiteY10" fmla="*/ 8484216 h 10007677"/>
              <a:gd name="connsiteX11" fmla="*/ 7178503 w 7178503"/>
              <a:gd name="connsiteY11" fmla="*/ 7000800 h 10007677"/>
              <a:gd name="connsiteX0" fmla="*/ 0 w 7178503"/>
              <a:gd name="connsiteY0" fmla="*/ 9825317 h 10053893"/>
              <a:gd name="connsiteX1" fmla="*/ 680751 w 7178503"/>
              <a:gd name="connsiteY1" fmla="*/ 9286860 h 10053893"/>
              <a:gd name="connsiteX2" fmla="*/ 1397346 w 7178503"/>
              <a:gd name="connsiteY2" fmla="*/ 9246046 h 10053893"/>
              <a:gd name="connsiteX3" fmla="*/ 2013847 w 7178503"/>
              <a:gd name="connsiteY3" fmla="*/ 9991246 h 10053893"/>
              <a:gd name="connsiteX4" fmla="*/ 2650733 w 7178503"/>
              <a:gd name="connsiteY4" fmla="*/ 7383302 h 10053893"/>
              <a:gd name="connsiteX5" fmla="*/ 3295116 w 7178503"/>
              <a:gd name="connsiteY5" fmla="*/ 7287428 h 10053893"/>
              <a:gd name="connsiteX6" fmla="*/ 3936736 w 7178503"/>
              <a:gd name="connsiteY6" fmla="*/ 5194527 h 10053893"/>
              <a:gd name="connsiteX7" fmla="*/ 4578996 w 7178503"/>
              <a:gd name="connsiteY7" fmla="*/ 4557686 h 10053893"/>
              <a:gd name="connsiteX8" fmla="*/ 5243884 w 7178503"/>
              <a:gd name="connsiteY8" fmla="*/ 3002205 h 10053893"/>
              <a:gd name="connsiteX9" fmla="*/ 5857177 w 7178503"/>
              <a:gd name="connsiteY9" fmla="*/ 170850 h 10053893"/>
              <a:gd name="connsiteX10" fmla="*/ 6563159 w 7178503"/>
              <a:gd name="connsiteY10" fmla="*/ 8484216 h 10053893"/>
              <a:gd name="connsiteX11" fmla="*/ 7178503 w 7178503"/>
              <a:gd name="connsiteY11" fmla="*/ 7000800 h 10053893"/>
              <a:gd name="connsiteX0" fmla="*/ 0 w 7178503"/>
              <a:gd name="connsiteY0" fmla="*/ 9825317 h 10105087"/>
              <a:gd name="connsiteX1" fmla="*/ 680751 w 7178503"/>
              <a:gd name="connsiteY1" fmla="*/ 9286860 h 10105087"/>
              <a:gd name="connsiteX2" fmla="*/ 1397346 w 7178503"/>
              <a:gd name="connsiteY2" fmla="*/ 9246046 h 10105087"/>
              <a:gd name="connsiteX3" fmla="*/ 2013847 w 7178503"/>
              <a:gd name="connsiteY3" fmla="*/ 9991246 h 10105087"/>
              <a:gd name="connsiteX4" fmla="*/ 2675851 w 7178503"/>
              <a:gd name="connsiteY4" fmla="*/ 9810402 h 10105087"/>
              <a:gd name="connsiteX5" fmla="*/ 3295116 w 7178503"/>
              <a:gd name="connsiteY5" fmla="*/ 7287428 h 10105087"/>
              <a:gd name="connsiteX6" fmla="*/ 3936736 w 7178503"/>
              <a:gd name="connsiteY6" fmla="*/ 5194527 h 10105087"/>
              <a:gd name="connsiteX7" fmla="*/ 4578996 w 7178503"/>
              <a:gd name="connsiteY7" fmla="*/ 4557686 h 10105087"/>
              <a:gd name="connsiteX8" fmla="*/ 5243884 w 7178503"/>
              <a:gd name="connsiteY8" fmla="*/ 3002205 h 10105087"/>
              <a:gd name="connsiteX9" fmla="*/ 5857177 w 7178503"/>
              <a:gd name="connsiteY9" fmla="*/ 170850 h 10105087"/>
              <a:gd name="connsiteX10" fmla="*/ 6563159 w 7178503"/>
              <a:gd name="connsiteY10" fmla="*/ 8484216 h 10105087"/>
              <a:gd name="connsiteX11" fmla="*/ 7178503 w 7178503"/>
              <a:gd name="connsiteY11" fmla="*/ 7000800 h 10105087"/>
              <a:gd name="connsiteX0" fmla="*/ 0 w 7178503"/>
              <a:gd name="connsiteY0" fmla="*/ 9825317 h 10010775"/>
              <a:gd name="connsiteX1" fmla="*/ 680751 w 7178503"/>
              <a:gd name="connsiteY1" fmla="*/ 9286860 h 10010775"/>
              <a:gd name="connsiteX2" fmla="*/ 1397346 w 7178503"/>
              <a:gd name="connsiteY2" fmla="*/ 9246046 h 10010775"/>
              <a:gd name="connsiteX3" fmla="*/ 2013847 w 7178503"/>
              <a:gd name="connsiteY3" fmla="*/ 9991246 h 10010775"/>
              <a:gd name="connsiteX4" fmla="*/ 2675851 w 7178503"/>
              <a:gd name="connsiteY4" fmla="*/ 9810402 h 10010775"/>
              <a:gd name="connsiteX5" fmla="*/ 3303489 w 7178503"/>
              <a:gd name="connsiteY5" fmla="*/ 10000070 h 10010775"/>
              <a:gd name="connsiteX6" fmla="*/ 3936736 w 7178503"/>
              <a:gd name="connsiteY6" fmla="*/ 5194527 h 10010775"/>
              <a:gd name="connsiteX7" fmla="*/ 4578996 w 7178503"/>
              <a:gd name="connsiteY7" fmla="*/ 4557686 h 10010775"/>
              <a:gd name="connsiteX8" fmla="*/ 5243884 w 7178503"/>
              <a:gd name="connsiteY8" fmla="*/ 3002205 h 10010775"/>
              <a:gd name="connsiteX9" fmla="*/ 5857177 w 7178503"/>
              <a:gd name="connsiteY9" fmla="*/ 170850 h 10010775"/>
              <a:gd name="connsiteX10" fmla="*/ 6563159 w 7178503"/>
              <a:gd name="connsiteY10" fmla="*/ 8484216 h 10010775"/>
              <a:gd name="connsiteX11" fmla="*/ 7178503 w 7178503"/>
              <a:gd name="connsiteY11" fmla="*/ 7000800 h 10010775"/>
              <a:gd name="connsiteX0" fmla="*/ 0 w 7178503"/>
              <a:gd name="connsiteY0" fmla="*/ 9825317 h 10057366"/>
              <a:gd name="connsiteX1" fmla="*/ 680751 w 7178503"/>
              <a:gd name="connsiteY1" fmla="*/ 9286860 h 10057366"/>
              <a:gd name="connsiteX2" fmla="*/ 1397346 w 7178503"/>
              <a:gd name="connsiteY2" fmla="*/ 9246046 h 10057366"/>
              <a:gd name="connsiteX3" fmla="*/ 2013847 w 7178503"/>
              <a:gd name="connsiteY3" fmla="*/ 9991246 h 10057366"/>
              <a:gd name="connsiteX4" fmla="*/ 2675851 w 7178503"/>
              <a:gd name="connsiteY4" fmla="*/ 9810402 h 10057366"/>
              <a:gd name="connsiteX5" fmla="*/ 3303489 w 7178503"/>
              <a:gd name="connsiteY5" fmla="*/ 10000070 h 10057366"/>
              <a:gd name="connsiteX6" fmla="*/ 4003716 w 7178503"/>
              <a:gd name="connsiteY6" fmla="*/ 9406261 h 10057366"/>
              <a:gd name="connsiteX7" fmla="*/ 4578996 w 7178503"/>
              <a:gd name="connsiteY7" fmla="*/ 4557686 h 10057366"/>
              <a:gd name="connsiteX8" fmla="*/ 5243884 w 7178503"/>
              <a:gd name="connsiteY8" fmla="*/ 3002205 h 10057366"/>
              <a:gd name="connsiteX9" fmla="*/ 5857177 w 7178503"/>
              <a:gd name="connsiteY9" fmla="*/ 170850 h 10057366"/>
              <a:gd name="connsiteX10" fmla="*/ 6563159 w 7178503"/>
              <a:gd name="connsiteY10" fmla="*/ 8484216 h 10057366"/>
              <a:gd name="connsiteX11" fmla="*/ 7178503 w 7178503"/>
              <a:gd name="connsiteY11" fmla="*/ 7000800 h 10057366"/>
              <a:gd name="connsiteX0" fmla="*/ 0 w 7178503"/>
              <a:gd name="connsiteY0" fmla="*/ 9871458 h 10056916"/>
              <a:gd name="connsiteX1" fmla="*/ 680751 w 7178503"/>
              <a:gd name="connsiteY1" fmla="*/ 9333001 h 10056916"/>
              <a:gd name="connsiteX2" fmla="*/ 1397346 w 7178503"/>
              <a:gd name="connsiteY2" fmla="*/ 9292187 h 10056916"/>
              <a:gd name="connsiteX3" fmla="*/ 2013847 w 7178503"/>
              <a:gd name="connsiteY3" fmla="*/ 10037387 h 10056916"/>
              <a:gd name="connsiteX4" fmla="*/ 2675851 w 7178503"/>
              <a:gd name="connsiteY4" fmla="*/ 9856543 h 10056916"/>
              <a:gd name="connsiteX5" fmla="*/ 3303489 w 7178503"/>
              <a:gd name="connsiteY5" fmla="*/ 10046211 h 10056916"/>
              <a:gd name="connsiteX6" fmla="*/ 4003716 w 7178503"/>
              <a:gd name="connsiteY6" fmla="*/ 9452402 h 10056916"/>
              <a:gd name="connsiteX7" fmla="*/ 4562251 w 7178503"/>
              <a:gd name="connsiteY7" fmla="*/ 9672185 h 10056916"/>
              <a:gd name="connsiteX8" fmla="*/ 5243884 w 7178503"/>
              <a:gd name="connsiteY8" fmla="*/ 3048346 h 10056916"/>
              <a:gd name="connsiteX9" fmla="*/ 5857177 w 7178503"/>
              <a:gd name="connsiteY9" fmla="*/ 216991 h 10056916"/>
              <a:gd name="connsiteX10" fmla="*/ 6563159 w 7178503"/>
              <a:gd name="connsiteY10" fmla="*/ 8530357 h 10056916"/>
              <a:gd name="connsiteX11" fmla="*/ 7178503 w 7178503"/>
              <a:gd name="connsiteY11" fmla="*/ 7046941 h 10056916"/>
              <a:gd name="connsiteX0" fmla="*/ 0 w 7178503"/>
              <a:gd name="connsiteY0" fmla="*/ 9655528 h 9840986"/>
              <a:gd name="connsiteX1" fmla="*/ 680751 w 7178503"/>
              <a:gd name="connsiteY1" fmla="*/ 9117071 h 9840986"/>
              <a:gd name="connsiteX2" fmla="*/ 1397346 w 7178503"/>
              <a:gd name="connsiteY2" fmla="*/ 9076257 h 9840986"/>
              <a:gd name="connsiteX3" fmla="*/ 2013847 w 7178503"/>
              <a:gd name="connsiteY3" fmla="*/ 9821457 h 9840986"/>
              <a:gd name="connsiteX4" fmla="*/ 2675851 w 7178503"/>
              <a:gd name="connsiteY4" fmla="*/ 9640613 h 9840986"/>
              <a:gd name="connsiteX5" fmla="*/ 3303489 w 7178503"/>
              <a:gd name="connsiteY5" fmla="*/ 9830281 h 9840986"/>
              <a:gd name="connsiteX6" fmla="*/ 4003716 w 7178503"/>
              <a:gd name="connsiteY6" fmla="*/ 9236472 h 9840986"/>
              <a:gd name="connsiteX7" fmla="*/ 4562251 w 7178503"/>
              <a:gd name="connsiteY7" fmla="*/ 9456255 h 9840986"/>
              <a:gd name="connsiteX8" fmla="*/ 5277375 w 7178503"/>
              <a:gd name="connsiteY8" fmla="*/ 8971553 h 9840986"/>
              <a:gd name="connsiteX9" fmla="*/ 5857177 w 7178503"/>
              <a:gd name="connsiteY9" fmla="*/ 1061 h 9840986"/>
              <a:gd name="connsiteX10" fmla="*/ 6563159 w 7178503"/>
              <a:gd name="connsiteY10" fmla="*/ 8314427 h 9840986"/>
              <a:gd name="connsiteX11" fmla="*/ 7178503 w 7178503"/>
              <a:gd name="connsiteY11" fmla="*/ 6831011 h 9840986"/>
              <a:gd name="connsiteX0" fmla="*/ 0 w 7178503"/>
              <a:gd name="connsiteY0" fmla="*/ 2824591 h 3010049"/>
              <a:gd name="connsiteX1" fmla="*/ 680751 w 7178503"/>
              <a:gd name="connsiteY1" fmla="*/ 2286134 h 3010049"/>
              <a:gd name="connsiteX2" fmla="*/ 1397346 w 7178503"/>
              <a:gd name="connsiteY2" fmla="*/ 2245320 h 3010049"/>
              <a:gd name="connsiteX3" fmla="*/ 2013847 w 7178503"/>
              <a:gd name="connsiteY3" fmla="*/ 2990520 h 3010049"/>
              <a:gd name="connsiteX4" fmla="*/ 2675851 w 7178503"/>
              <a:gd name="connsiteY4" fmla="*/ 2809676 h 3010049"/>
              <a:gd name="connsiteX5" fmla="*/ 3303489 w 7178503"/>
              <a:gd name="connsiteY5" fmla="*/ 2999344 h 3010049"/>
              <a:gd name="connsiteX6" fmla="*/ 4003716 w 7178503"/>
              <a:gd name="connsiteY6" fmla="*/ 2405535 h 3010049"/>
              <a:gd name="connsiteX7" fmla="*/ 4562251 w 7178503"/>
              <a:gd name="connsiteY7" fmla="*/ 2625318 h 3010049"/>
              <a:gd name="connsiteX8" fmla="*/ 5277375 w 7178503"/>
              <a:gd name="connsiteY8" fmla="*/ 2140616 h 3010049"/>
              <a:gd name="connsiteX9" fmla="*/ 5790197 w 7178503"/>
              <a:gd name="connsiteY9" fmla="*/ 1522206 h 3010049"/>
              <a:gd name="connsiteX10" fmla="*/ 6563159 w 7178503"/>
              <a:gd name="connsiteY10" fmla="*/ 1483490 h 3010049"/>
              <a:gd name="connsiteX11" fmla="*/ 7178503 w 7178503"/>
              <a:gd name="connsiteY11" fmla="*/ 74 h 3010049"/>
              <a:gd name="connsiteX0" fmla="*/ 0 w 7195248"/>
              <a:gd name="connsiteY0" fmla="*/ 1366819 h 1552277"/>
              <a:gd name="connsiteX1" fmla="*/ 680751 w 7195248"/>
              <a:gd name="connsiteY1" fmla="*/ 828362 h 1552277"/>
              <a:gd name="connsiteX2" fmla="*/ 1397346 w 7195248"/>
              <a:gd name="connsiteY2" fmla="*/ 787548 h 1552277"/>
              <a:gd name="connsiteX3" fmla="*/ 2013847 w 7195248"/>
              <a:gd name="connsiteY3" fmla="*/ 1532748 h 1552277"/>
              <a:gd name="connsiteX4" fmla="*/ 2675851 w 7195248"/>
              <a:gd name="connsiteY4" fmla="*/ 1351904 h 1552277"/>
              <a:gd name="connsiteX5" fmla="*/ 3303489 w 7195248"/>
              <a:gd name="connsiteY5" fmla="*/ 1541572 h 1552277"/>
              <a:gd name="connsiteX6" fmla="*/ 4003716 w 7195248"/>
              <a:gd name="connsiteY6" fmla="*/ 947763 h 1552277"/>
              <a:gd name="connsiteX7" fmla="*/ 4562251 w 7195248"/>
              <a:gd name="connsiteY7" fmla="*/ 1167546 h 1552277"/>
              <a:gd name="connsiteX8" fmla="*/ 5277375 w 7195248"/>
              <a:gd name="connsiteY8" fmla="*/ 682844 h 1552277"/>
              <a:gd name="connsiteX9" fmla="*/ 5790197 w 7195248"/>
              <a:gd name="connsiteY9" fmla="*/ 64434 h 1552277"/>
              <a:gd name="connsiteX10" fmla="*/ 6563159 w 7195248"/>
              <a:gd name="connsiteY10" fmla="*/ 25718 h 1552277"/>
              <a:gd name="connsiteX11" fmla="*/ 7195248 w 7195248"/>
              <a:gd name="connsiteY11" fmla="*/ 326935 h 1552277"/>
              <a:gd name="connsiteX0" fmla="*/ 0 w 7230194"/>
              <a:gd name="connsiteY0" fmla="*/ 6 h 8478573"/>
              <a:gd name="connsiteX1" fmla="*/ 715697 w 7230194"/>
              <a:gd name="connsiteY1" fmla="*/ 7754658 h 8478573"/>
              <a:gd name="connsiteX2" fmla="*/ 1432292 w 7230194"/>
              <a:gd name="connsiteY2" fmla="*/ 7713844 h 8478573"/>
              <a:gd name="connsiteX3" fmla="*/ 2048793 w 7230194"/>
              <a:gd name="connsiteY3" fmla="*/ 8459044 h 8478573"/>
              <a:gd name="connsiteX4" fmla="*/ 2710797 w 7230194"/>
              <a:gd name="connsiteY4" fmla="*/ 8278200 h 8478573"/>
              <a:gd name="connsiteX5" fmla="*/ 3338435 w 7230194"/>
              <a:gd name="connsiteY5" fmla="*/ 8467868 h 8478573"/>
              <a:gd name="connsiteX6" fmla="*/ 4038662 w 7230194"/>
              <a:gd name="connsiteY6" fmla="*/ 7874059 h 8478573"/>
              <a:gd name="connsiteX7" fmla="*/ 4597197 w 7230194"/>
              <a:gd name="connsiteY7" fmla="*/ 8093842 h 8478573"/>
              <a:gd name="connsiteX8" fmla="*/ 5312321 w 7230194"/>
              <a:gd name="connsiteY8" fmla="*/ 7609140 h 8478573"/>
              <a:gd name="connsiteX9" fmla="*/ 5825143 w 7230194"/>
              <a:gd name="connsiteY9" fmla="*/ 6990730 h 8478573"/>
              <a:gd name="connsiteX10" fmla="*/ 6598105 w 7230194"/>
              <a:gd name="connsiteY10" fmla="*/ 6952014 h 8478573"/>
              <a:gd name="connsiteX11" fmla="*/ 7230194 w 7230194"/>
              <a:gd name="connsiteY11" fmla="*/ 7253231 h 8478573"/>
              <a:gd name="connsiteX0" fmla="*/ 0 w 7131180"/>
              <a:gd name="connsiteY0" fmla="*/ 6 h 8975166"/>
              <a:gd name="connsiteX1" fmla="*/ 616683 w 7131180"/>
              <a:gd name="connsiteY1" fmla="*/ 8251251 h 8975166"/>
              <a:gd name="connsiteX2" fmla="*/ 1333278 w 7131180"/>
              <a:gd name="connsiteY2" fmla="*/ 8210437 h 8975166"/>
              <a:gd name="connsiteX3" fmla="*/ 1949779 w 7131180"/>
              <a:gd name="connsiteY3" fmla="*/ 8955637 h 8975166"/>
              <a:gd name="connsiteX4" fmla="*/ 2611783 w 7131180"/>
              <a:gd name="connsiteY4" fmla="*/ 8774793 h 8975166"/>
              <a:gd name="connsiteX5" fmla="*/ 3239421 w 7131180"/>
              <a:gd name="connsiteY5" fmla="*/ 8964461 h 8975166"/>
              <a:gd name="connsiteX6" fmla="*/ 3939648 w 7131180"/>
              <a:gd name="connsiteY6" fmla="*/ 8370652 h 8975166"/>
              <a:gd name="connsiteX7" fmla="*/ 4498183 w 7131180"/>
              <a:gd name="connsiteY7" fmla="*/ 8590435 h 8975166"/>
              <a:gd name="connsiteX8" fmla="*/ 5213307 w 7131180"/>
              <a:gd name="connsiteY8" fmla="*/ 8105733 h 8975166"/>
              <a:gd name="connsiteX9" fmla="*/ 5726129 w 7131180"/>
              <a:gd name="connsiteY9" fmla="*/ 7487323 h 8975166"/>
              <a:gd name="connsiteX10" fmla="*/ 6499091 w 7131180"/>
              <a:gd name="connsiteY10" fmla="*/ 7448607 h 8975166"/>
              <a:gd name="connsiteX11" fmla="*/ 7131180 w 7131180"/>
              <a:gd name="connsiteY11" fmla="*/ 7749824 h 8975166"/>
              <a:gd name="connsiteX0" fmla="*/ 0 w 7131180"/>
              <a:gd name="connsiteY0" fmla="*/ 6 h 8984066"/>
              <a:gd name="connsiteX1" fmla="*/ 616683 w 7131180"/>
              <a:gd name="connsiteY1" fmla="*/ 8251251 h 8984066"/>
              <a:gd name="connsiteX2" fmla="*/ 712819 w 7131180"/>
              <a:gd name="connsiteY2" fmla="*/ 2072534 h 8984066"/>
              <a:gd name="connsiteX3" fmla="*/ 1333278 w 7131180"/>
              <a:gd name="connsiteY3" fmla="*/ 8210437 h 8984066"/>
              <a:gd name="connsiteX4" fmla="*/ 1949779 w 7131180"/>
              <a:gd name="connsiteY4" fmla="*/ 8955637 h 8984066"/>
              <a:gd name="connsiteX5" fmla="*/ 2611783 w 7131180"/>
              <a:gd name="connsiteY5" fmla="*/ 8774793 h 8984066"/>
              <a:gd name="connsiteX6" fmla="*/ 3239421 w 7131180"/>
              <a:gd name="connsiteY6" fmla="*/ 8964461 h 8984066"/>
              <a:gd name="connsiteX7" fmla="*/ 3939648 w 7131180"/>
              <a:gd name="connsiteY7" fmla="*/ 8370652 h 8984066"/>
              <a:gd name="connsiteX8" fmla="*/ 4498183 w 7131180"/>
              <a:gd name="connsiteY8" fmla="*/ 8590435 h 8984066"/>
              <a:gd name="connsiteX9" fmla="*/ 5213307 w 7131180"/>
              <a:gd name="connsiteY9" fmla="*/ 8105733 h 8984066"/>
              <a:gd name="connsiteX10" fmla="*/ 5726129 w 7131180"/>
              <a:gd name="connsiteY10" fmla="*/ 7487323 h 8984066"/>
              <a:gd name="connsiteX11" fmla="*/ 6499091 w 7131180"/>
              <a:gd name="connsiteY11" fmla="*/ 7448607 h 8984066"/>
              <a:gd name="connsiteX12" fmla="*/ 7131180 w 7131180"/>
              <a:gd name="connsiteY12" fmla="*/ 7749824 h 8984066"/>
              <a:gd name="connsiteX0" fmla="*/ 0 w 7131180"/>
              <a:gd name="connsiteY0" fmla="*/ 37 h 8984097"/>
              <a:gd name="connsiteX1" fmla="*/ 645805 w 7131180"/>
              <a:gd name="connsiteY1" fmla="*/ 1149996 h 8984097"/>
              <a:gd name="connsiteX2" fmla="*/ 712819 w 7131180"/>
              <a:gd name="connsiteY2" fmla="*/ 2072565 h 8984097"/>
              <a:gd name="connsiteX3" fmla="*/ 1333278 w 7131180"/>
              <a:gd name="connsiteY3" fmla="*/ 8210468 h 8984097"/>
              <a:gd name="connsiteX4" fmla="*/ 1949779 w 7131180"/>
              <a:gd name="connsiteY4" fmla="*/ 8955668 h 8984097"/>
              <a:gd name="connsiteX5" fmla="*/ 2611783 w 7131180"/>
              <a:gd name="connsiteY5" fmla="*/ 8774824 h 8984097"/>
              <a:gd name="connsiteX6" fmla="*/ 3239421 w 7131180"/>
              <a:gd name="connsiteY6" fmla="*/ 8964492 h 8984097"/>
              <a:gd name="connsiteX7" fmla="*/ 3939648 w 7131180"/>
              <a:gd name="connsiteY7" fmla="*/ 8370683 h 8984097"/>
              <a:gd name="connsiteX8" fmla="*/ 4498183 w 7131180"/>
              <a:gd name="connsiteY8" fmla="*/ 8590466 h 8984097"/>
              <a:gd name="connsiteX9" fmla="*/ 5213307 w 7131180"/>
              <a:gd name="connsiteY9" fmla="*/ 8105764 h 8984097"/>
              <a:gd name="connsiteX10" fmla="*/ 5726129 w 7131180"/>
              <a:gd name="connsiteY10" fmla="*/ 7487354 h 8984097"/>
              <a:gd name="connsiteX11" fmla="*/ 6499091 w 7131180"/>
              <a:gd name="connsiteY11" fmla="*/ 7448638 h 8984097"/>
              <a:gd name="connsiteX12" fmla="*/ 7131180 w 7131180"/>
              <a:gd name="connsiteY12" fmla="*/ 7749855 h 8984097"/>
              <a:gd name="connsiteX0" fmla="*/ 0 w 7131180"/>
              <a:gd name="connsiteY0" fmla="*/ 356 h 8975516"/>
              <a:gd name="connsiteX1" fmla="*/ 645805 w 7131180"/>
              <a:gd name="connsiteY1" fmla="*/ 1150315 h 8975516"/>
              <a:gd name="connsiteX2" fmla="*/ 1219540 w 7131180"/>
              <a:gd name="connsiteY2" fmla="*/ 6492564 h 8975516"/>
              <a:gd name="connsiteX3" fmla="*/ 1333278 w 7131180"/>
              <a:gd name="connsiteY3" fmla="*/ 8210787 h 8975516"/>
              <a:gd name="connsiteX4" fmla="*/ 1949779 w 7131180"/>
              <a:gd name="connsiteY4" fmla="*/ 8955987 h 8975516"/>
              <a:gd name="connsiteX5" fmla="*/ 2611783 w 7131180"/>
              <a:gd name="connsiteY5" fmla="*/ 8775143 h 8975516"/>
              <a:gd name="connsiteX6" fmla="*/ 3239421 w 7131180"/>
              <a:gd name="connsiteY6" fmla="*/ 8964811 h 8975516"/>
              <a:gd name="connsiteX7" fmla="*/ 3939648 w 7131180"/>
              <a:gd name="connsiteY7" fmla="*/ 8371002 h 8975516"/>
              <a:gd name="connsiteX8" fmla="*/ 4498183 w 7131180"/>
              <a:gd name="connsiteY8" fmla="*/ 8590785 h 8975516"/>
              <a:gd name="connsiteX9" fmla="*/ 5213307 w 7131180"/>
              <a:gd name="connsiteY9" fmla="*/ 8106083 h 8975516"/>
              <a:gd name="connsiteX10" fmla="*/ 5726129 w 7131180"/>
              <a:gd name="connsiteY10" fmla="*/ 7487673 h 8975516"/>
              <a:gd name="connsiteX11" fmla="*/ 6499091 w 7131180"/>
              <a:gd name="connsiteY11" fmla="*/ 7448957 h 8975516"/>
              <a:gd name="connsiteX12" fmla="*/ 7131180 w 7131180"/>
              <a:gd name="connsiteY12" fmla="*/ 7750174 h 8975516"/>
              <a:gd name="connsiteX0" fmla="*/ 0 w 7131180"/>
              <a:gd name="connsiteY0" fmla="*/ 19 h 8975179"/>
              <a:gd name="connsiteX1" fmla="*/ 657454 w 7131180"/>
              <a:gd name="connsiteY1" fmla="*/ 2788735 h 8975179"/>
              <a:gd name="connsiteX2" fmla="*/ 1219540 w 7131180"/>
              <a:gd name="connsiteY2" fmla="*/ 6492227 h 8975179"/>
              <a:gd name="connsiteX3" fmla="*/ 1333278 w 7131180"/>
              <a:gd name="connsiteY3" fmla="*/ 8210450 h 8975179"/>
              <a:gd name="connsiteX4" fmla="*/ 1949779 w 7131180"/>
              <a:gd name="connsiteY4" fmla="*/ 8955650 h 8975179"/>
              <a:gd name="connsiteX5" fmla="*/ 2611783 w 7131180"/>
              <a:gd name="connsiteY5" fmla="*/ 8774806 h 8975179"/>
              <a:gd name="connsiteX6" fmla="*/ 3239421 w 7131180"/>
              <a:gd name="connsiteY6" fmla="*/ 8964474 h 8975179"/>
              <a:gd name="connsiteX7" fmla="*/ 3939648 w 7131180"/>
              <a:gd name="connsiteY7" fmla="*/ 8370665 h 8975179"/>
              <a:gd name="connsiteX8" fmla="*/ 4498183 w 7131180"/>
              <a:gd name="connsiteY8" fmla="*/ 8590448 h 8975179"/>
              <a:gd name="connsiteX9" fmla="*/ 5213307 w 7131180"/>
              <a:gd name="connsiteY9" fmla="*/ 8105746 h 8975179"/>
              <a:gd name="connsiteX10" fmla="*/ 5726129 w 7131180"/>
              <a:gd name="connsiteY10" fmla="*/ 7487336 h 8975179"/>
              <a:gd name="connsiteX11" fmla="*/ 6499091 w 7131180"/>
              <a:gd name="connsiteY11" fmla="*/ 7448620 h 8975179"/>
              <a:gd name="connsiteX12" fmla="*/ 7131180 w 7131180"/>
              <a:gd name="connsiteY12" fmla="*/ 7749837 h 8975179"/>
              <a:gd name="connsiteX0" fmla="*/ 0 w 7131180"/>
              <a:gd name="connsiteY0" fmla="*/ 13 h 9043585"/>
              <a:gd name="connsiteX1" fmla="*/ 657454 w 7131180"/>
              <a:gd name="connsiteY1" fmla="*/ 2788729 h 9043585"/>
              <a:gd name="connsiteX2" fmla="*/ 1271960 w 7131180"/>
              <a:gd name="connsiteY2" fmla="*/ 1029697 h 9043585"/>
              <a:gd name="connsiteX3" fmla="*/ 1333278 w 7131180"/>
              <a:gd name="connsiteY3" fmla="*/ 8210444 h 9043585"/>
              <a:gd name="connsiteX4" fmla="*/ 1949779 w 7131180"/>
              <a:gd name="connsiteY4" fmla="*/ 8955644 h 9043585"/>
              <a:gd name="connsiteX5" fmla="*/ 2611783 w 7131180"/>
              <a:gd name="connsiteY5" fmla="*/ 8774800 h 9043585"/>
              <a:gd name="connsiteX6" fmla="*/ 3239421 w 7131180"/>
              <a:gd name="connsiteY6" fmla="*/ 8964468 h 9043585"/>
              <a:gd name="connsiteX7" fmla="*/ 3939648 w 7131180"/>
              <a:gd name="connsiteY7" fmla="*/ 8370659 h 9043585"/>
              <a:gd name="connsiteX8" fmla="*/ 4498183 w 7131180"/>
              <a:gd name="connsiteY8" fmla="*/ 8590442 h 9043585"/>
              <a:gd name="connsiteX9" fmla="*/ 5213307 w 7131180"/>
              <a:gd name="connsiteY9" fmla="*/ 8105740 h 9043585"/>
              <a:gd name="connsiteX10" fmla="*/ 5726129 w 7131180"/>
              <a:gd name="connsiteY10" fmla="*/ 7487330 h 9043585"/>
              <a:gd name="connsiteX11" fmla="*/ 6499091 w 7131180"/>
              <a:gd name="connsiteY11" fmla="*/ 7448614 h 9043585"/>
              <a:gd name="connsiteX12" fmla="*/ 7131180 w 7131180"/>
              <a:gd name="connsiteY12" fmla="*/ 7749831 h 9043585"/>
              <a:gd name="connsiteX0" fmla="*/ 0 w 7131180"/>
              <a:gd name="connsiteY0" fmla="*/ 13 h 9127955"/>
              <a:gd name="connsiteX1" fmla="*/ 657454 w 7131180"/>
              <a:gd name="connsiteY1" fmla="*/ 2788729 h 9127955"/>
              <a:gd name="connsiteX2" fmla="*/ 1271960 w 7131180"/>
              <a:gd name="connsiteY2" fmla="*/ 1029697 h 9127955"/>
              <a:gd name="connsiteX3" fmla="*/ 1927365 w 7131180"/>
              <a:gd name="connsiteY3" fmla="*/ 5926115 h 9127955"/>
              <a:gd name="connsiteX4" fmla="*/ 1949779 w 7131180"/>
              <a:gd name="connsiteY4" fmla="*/ 8955644 h 9127955"/>
              <a:gd name="connsiteX5" fmla="*/ 2611783 w 7131180"/>
              <a:gd name="connsiteY5" fmla="*/ 8774800 h 9127955"/>
              <a:gd name="connsiteX6" fmla="*/ 3239421 w 7131180"/>
              <a:gd name="connsiteY6" fmla="*/ 8964468 h 9127955"/>
              <a:gd name="connsiteX7" fmla="*/ 3939648 w 7131180"/>
              <a:gd name="connsiteY7" fmla="*/ 8370659 h 9127955"/>
              <a:gd name="connsiteX8" fmla="*/ 4498183 w 7131180"/>
              <a:gd name="connsiteY8" fmla="*/ 8590442 h 9127955"/>
              <a:gd name="connsiteX9" fmla="*/ 5213307 w 7131180"/>
              <a:gd name="connsiteY9" fmla="*/ 8105740 h 9127955"/>
              <a:gd name="connsiteX10" fmla="*/ 5726129 w 7131180"/>
              <a:gd name="connsiteY10" fmla="*/ 7487330 h 9127955"/>
              <a:gd name="connsiteX11" fmla="*/ 6499091 w 7131180"/>
              <a:gd name="connsiteY11" fmla="*/ 7448614 h 9127955"/>
              <a:gd name="connsiteX12" fmla="*/ 7131180 w 7131180"/>
              <a:gd name="connsiteY12" fmla="*/ 7749831 h 9127955"/>
              <a:gd name="connsiteX0" fmla="*/ 0 w 7131180"/>
              <a:gd name="connsiteY0" fmla="*/ 13 h 9074919"/>
              <a:gd name="connsiteX1" fmla="*/ 657454 w 7131180"/>
              <a:gd name="connsiteY1" fmla="*/ 2788729 h 9074919"/>
              <a:gd name="connsiteX2" fmla="*/ 1271960 w 7131180"/>
              <a:gd name="connsiteY2" fmla="*/ 1029697 h 9074919"/>
              <a:gd name="connsiteX3" fmla="*/ 1927365 w 7131180"/>
              <a:gd name="connsiteY3" fmla="*/ 5926115 h 9074919"/>
              <a:gd name="connsiteX4" fmla="*/ 2561339 w 7131180"/>
              <a:gd name="connsiteY4" fmla="*/ 5777443 h 9074919"/>
              <a:gd name="connsiteX5" fmla="*/ 2611783 w 7131180"/>
              <a:gd name="connsiteY5" fmla="*/ 8774800 h 9074919"/>
              <a:gd name="connsiteX6" fmla="*/ 3239421 w 7131180"/>
              <a:gd name="connsiteY6" fmla="*/ 8964468 h 9074919"/>
              <a:gd name="connsiteX7" fmla="*/ 3939648 w 7131180"/>
              <a:gd name="connsiteY7" fmla="*/ 8370659 h 9074919"/>
              <a:gd name="connsiteX8" fmla="*/ 4498183 w 7131180"/>
              <a:gd name="connsiteY8" fmla="*/ 8590442 h 9074919"/>
              <a:gd name="connsiteX9" fmla="*/ 5213307 w 7131180"/>
              <a:gd name="connsiteY9" fmla="*/ 8105740 h 9074919"/>
              <a:gd name="connsiteX10" fmla="*/ 5726129 w 7131180"/>
              <a:gd name="connsiteY10" fmla="*/ 7487330 h 9074919"/>
              <a:gd name="connsiteX11" fmla="*/ 6499091 w 7131180"/>
              <a:gd name="connsiteY11" fmla="*/ 7448614 h 9074919"/>
              <a:gd name="connsiteX12" fmla="*/ 7131180 w 7131180"/>
              <a:gd name="connsiteY12" fmla="*/ 7749831 h 9074919"/>
              <a:gd name="connsiteX0" fmla="*/ 0 w 7131180"/>
              <a:gd name="connsiteY0" fmla="*/ 13 h 8964656"/>
              <a:gd name="connsiteX1" fmla="*/ 657454 w 7131180"/>
              <a:gd name="connsiteY1" fmla="*/ 2788729 h 8964656"/>
              <a:gd name="connsiteX2" fmla="*/ 1271960 w 7131180"/>
              <a:gd name="connsiteY2" fmla="*/ 1029697 h 8964656"/>
              <a:gd name="connsiteX3" fmla="*/ 1927365 w 7131180"/>
              <a:gd name="connsiteY3" fmla="*/ 5926115 h 8964656"/>
              <a:gd name="connsiteX4" fmla="*/ 2561339 w 7131180"/>
              <a:gd name="connsiteY4" fmla="*/ 5777443 h 8964656"/>
              <a:gd name="connsiteX5" fmla="*/ 3229167 w 7131180"/>
              <a:gd name="connsiteY5" fmla="*/ 6093200 h 8964656"/>
              <a:gd name="connsiteX6" fmla="*/ 3239421 w 7131180"/>
              <a:gd name="connsiteY6" fmla="*/ 8964468 h 8964656"/>
              <a:gd name="connsiteX7" fmla="*/ 3939648 w 7131180"/>
              <a:gd name="connsiteY7" fmla="*/ 8370659 h 8964656"/>
              <a:gd name="connsiteX8" fmla="*/ 4498183 w 7131180"/>
              <a:gd name="connsiteY8" fmla="*/ 8590442 h 8964656"/>
              <a:gd name="connsiteX9" fmla="*/ 5213307 w 7131180"/>
              <a:gd name="connsiteY9" fmla="*/ 8105740 h 8964656"/>
              <a:gd name="connsiteX10" fmla="*/ 5726129 w 7131180"/>
              <a:gd name="connsiteY10" fmla="*/ 7487330 h 8964656"/>
              <a:gd name="connsiteX11" fmla="*/ 6499091 w 7131180"/>
              <a:gd name="connsiteY11" fmla="*/ 7448614 h 8964656"/>
              <a:gd name="connsiteX12" fmla="*/ 7131180 w 7131180"/>
              <a:gd name="connsiteY12" fmla="*/ 7749831 h 8964656"/>
              <a:gd name="connsiteX0" fmla="*/ 0 w 7131180"/>
              <a:gd name="connsiteY0" fmla="*/ 13 h 8611471"/>
              <a:gd name="connsiteX1" fmla="*/ 657454 w 7131180"/>
              <a:gd name="connsiteY1" fmla="*/ 2788729 h 8611471"/>
              <a:gd name="connsiteX2" fmla="*/ 1271960 w 7131180"/>
              <a:gd name="connsiteY2" fmla="*/ 1029697 h 8611471"/>
              <a:gd name="connsiteX3" fmla="*/ 1927365 w 7131180"/>
              <a:gd name="connsiteY3" fmla="*/ 5926115 h 8611471"/>
              <a:gd name="connsiteX4" fmla="*/ 2561339 w 7131180"/>
              <a:gd name="connsiteY4" fmla="*/ 5777443 h 8611471"/>
              <a:gd name="connsiteX5" fmla="*/ 3229167 w 7131180"/>
              <a:gd name="connsiteY5" fmla="*/ 6093200 h 8611471"/>
              <a:gd name="connsiteX6" fmla="*/ 3926697 w 7131180"/>
              <a:gd name="connsiteY6" fmla="*/ 6481503 h 8611471"/>
              <a:gd name="connsiteX7" fmla="*/ 3939648 w 7131180"/>
              <a:gd name="connsiteY7" fmla="*/ 8370659 h 8611471"/>
              <a:gd name="connsiteX8" fmla="*/ 4498183 w 7131180"/>
              <a:gd name="connsiteY8" fmla="*/ 8590442 h 8611471"/>
              <a:gd name="connsiteX9" fmla="*/ 5213307 w 7131180"/>
              <a:gd name="connsiteY9" fmla="*/ 8105740 h 8611471"/>
              <a:gd name="connsiteX10" fmla="*/ 5726129 w 7131180"/>
              <a:gd name="connsiteY10" fmla="*/ 7487330 h 8611471"/>
              <a:gd name="connsiteX11" fmla="*/ 6499091 w 7131180"/>
              <a:gd name="connsiteY11" fmla="*/ 7448614 h 8611471"/>
              <a:gd name="connsiteX12" fmla="*/ 7131180 w 7131180"/>
              <a:gd name="connsiteY12" fmla="*/ 7749831 h 8611471"/>
              <a:gd name="connsiteX0" fmla="*/ 0 w 7131180"/>
              <a:gd name="connsiteY0" fmla="*/ 13 h 8590443"/>
              <a:gd name="connsiteX1" fmla="*/ 657454 w 7131180"/>
              <a:gd name="connsiteY1" fmla="*/ 2788729 h 8590443"/>
              <a:gd name="connsiteX2" fmla="*/ 1271960 w 7131180"/>
              <a:gd name="connsiteY2" fmla="*/ 1029697 h 8590443"/>
              <a:gd name="connsiteX3" fmla="*/ 1927365 w 7131180"/>
              <a:gd name="connsiteY3" fmla="*/ 5926115 h 8590443"/>
              <a:gd name="connsiteX4" fmla="*/ 2561339 w 7131180"/>
              <a:gd name="connsiteY4" fmla="*/ 5777443 h 8590443"/>
              <a:gd name="connsiteX5" fmla="*/ 3229167 w 7131180"/>
              <a:gd name="connsiteY5" fmla="*/ 6093200 h 8590443"/>
              <a:gd name="connsiteX6" fmla="*/ 3926697 w 7131180"/>
              <a:gd name="connsiteY6" fmla="*/ 6481503 h 8590443"/>
              <a:gd name="connsiteX7" fmla="*/ 4463842 w 7131180"/>
              <a:gd name="connsiteY7" fmla="*/ 6086330 h 8590443"/>
              <a:gd name="connsiteX8" fmla="*/ 4498183 w 7131180"/>
              <a:gd name="connsiteY8" fmla="*/ 8590442 h 8590443"/>
              <a:gd name="connsiteX9" fmla="*/ 5213307 w 7131180"/>
              <a:gd name="connsiteY9" fmla="*/ 8105740 h 8590443"/>
              <a:gd name="connsiteX10" fmla="*/ 5726129 w 7131180"/>
              <a:gd name="connsiteY10" fmla="*/ 7487330 h 8590443"/>
              <a:gd name="connsiteX11" fmla="*/ 6499091 w 7131180"/>
              <a:gd name="connsiteY11" fmla="*/ 7448614 h 8590443"/>
              <a:gd name="connsiteX12" fmla="*/ 7131180 w 7131180"/>
              <a:gd name="connsiteY12" fmla="*/ 7749831 h 8590443"/>
              <a:gd name="connsiteX0" fmla="*/ 0 w 7131180"/>
              <a:gd name="connsiteY0" fmla="*/ 13 h 8144950"/>
              <a:gd name="connsiteX1" fmla="*/ 657454 w 7131180"/>
              <a:gd name="connsiteY1" fmla="*/ 2788729 h 8144950"/>
              <a:gd name="connsiteX2" fmla="*/ 1271960 w 7131180"/>
              <a:gd name="connsiteY2" fmla="*/ 1029697 h 8144950"/>
              <a:gd name="connsiteX3" fmla="*/ 1927365 w 7131180"/>
              <a:gd name="connsiteY3" fmla="*/ 5926115 h 8144950"/>
              <a:gd name="connsiteX4" fmla="*/ 2561339 w 7131180"/>
              <a:gd name="connsiteY4" fmla="*/ 5777443 h 8144950"/>
              <a:gd name="connsiteX5" fmla="*/ 3229167 w 7131180"/>
              <a:gd name="connsiteY5" fmla="*/ 6093200 h 8144950"/>
              <a:gd name="connsiteX6" fmla="*/ 3926697 w 7131180"/>
              <a:gd name="connsiteY6" fmla="*/ 6481503 h 8144950"/>
              <a:gd name="connsiteX7" fmla="*/ 4463842 w 7131180"/>
              <a:gd name="connsiteY7" fmla="*/ 6086330 h 8144950"/>
              <a:gd name="connsiteX8" fmla="*/ 5039850 w 7131180"/>
              <a:gd name="connsiteY8" fmla="*/ 6206792 h 8144950"/>
              <a:gd name="connsiteX9" fmla="*/ 5213307 w 7131180"/>
              <a:gd name="connsiteY9" fmla="*/ 8105740 h 8144950"/>
              <a:gd name="connsiteX10" fmla="*/ 5726129 w 7131180"/>
              <a:gd name="connsiteY10" fmla="*/ 7487330 h 8144950"/>
              <a:gd name="connsiteX11" fmla="*/ 6499091 w 7131180"/>
              <a:gd name="connsiteY11" fmla="*/ 7448614 h 8144950"/>
              <a:gd name="connsiteX12" fmla="*/ 7131180 w 7131180"/>
              <a:gd name="connsiteY12" fmla="*/ 7749831 h 8144950"/>
              <a:gd name="connsiteX0" fmla="*/ 0 w 7131180"/>
              <a:gd name="connsiteY0" fmla="*/ 13 h 7749833"/>
              <a:gd name="connsiteX1" fmla="*/ 657454 w 7131180"/>
              <a:gd name="connsiteY1" fmla="*/ 2788729 h 7749833"/>
              <a:gd name="connsiteX2" fmla="*/ 1271960 w 7131180"/>
              <a:gd name="connsiteY2" fmla="*/ 1029697 h 7749833"/>
              <a:gd name="connsiteX3" fmla="*/ 1927365 w 7131180"/>
              <a:gd name="connsiteY3" fmla="*/ 5926115 h 7749833"/>
              <a:gd name="connsiteX4" fmla="*/ 2561339 w 7131180"/>
              <a:gd name="connsiteY4" fmla="*/ 5777443 h 7749833"/>
              <a:gd name="connsiteX5" fmla="*/ 3229167 w 7131180"/>
              <a:gd name="connsiteY5" fmla="*/ 6093200 h 7749833"/>
              <a:gd name="connsiteX6" fmla="*/ 3926697 w 7131180"/>
              <a:gd name="connsiteY6" fmla="*/ 6481503 h 7749833"/>
              <a:gd name="connsiteX7" fmla="*/ 4463842 w 7131180"/>
              <a:gd name="connsiteY7" fmla="*/ 6086330 h 7749833"/>
              <a:gd name="connsiteX8" fmla="*/ 5039850 w 7131180"/>
              <a:gd name="connsiteY8" fmla="*/ 6206792 h 7749833"/>
              <a:gd name="connsiteX9" fmla="*/ 5778272 w 7131180"/>
              <a:gd name="connsiteY9" fmla="*/ 6020048 h 7749833"/>
              <a:gd name="connsiteX10" fmla="*/ 5726129 w 7131180"/>
              <a:gd name="connsiteY10" fmla="*/ 7487330 h 7749833"/>
              <a:gd name="connsiteX11" fmla="*/ 6499091 w 7131180"/>
              <a:gd name="connsiteY11" fmla="*/ 7448614 h 7749833"/>
              <a:gd name="connsiteX12" fmla="*/ 7131180 w 7131180"/>
              <a:gd name="connsiteY12" fmla="*/ 7749831 h 7749833"/>
              <a:gd name="connsiteX0" fmla="*/ 0 w 7131180"/>
              <a:gd name="connsiteY0" fmla="*/ 13 h 7749833"/>
              <a:gd name="connsiteX1" fmla="*/ 657454 w 7131180"/>
              <a:gd name="connsiteY1" fmla="*/ 2788729 h 7749833"/>
              <a:gd name="connsiteX2" fmla="*/ 1271960 w 7131180"/>
              <a:gd name="connsiteY2" fmla="*/ 1029697 h 7749833"/>
              <a:gd name="connsiteX3" fmla="*/ 1927365 w 7131180"/>
              <a:gd name="connsiteY3" fmla="*/ 5926115 h 7749833"/>
              <a:gd name="connsiteX4" fmla="*/ 2561339 w 7131180"/>
              <a:gd name="connsiteY4" fmla="*/ 5777443 h 7749833"/>
              <a:gd name="connsiteX5" fmla="*/ 3229167 w 7131180"/>
              <a:gd name="connsiteY5" fmla="*/ 6093200 h 7749833"/>
              <a:gd name="connsiteX6" fmla="*/ 3926697 w 7131180"/>
              <a:gd name="connsiteY6" fmla="*/ 6481503 h 7749833"/>
              <a:gd name="connsiteX7" fmla="*/ 4463842 w 7131180"/>
              <a:gd name="connsiteY7" fmla="*/ 6086330 h 7749833"/>
              <a:gd name="connsiteX8" fmla="*/ 5039850 w 7131180"/>
              <a:gd name="connsiteY8" fmla="*/ 6206792 h 7749833"/>
              <a:gd name="connsiteX9" fmla="*/ 5778272 w 7131180"/>
              <a:gd name="connsiteY9" fmla="*/ 6020048 h 7749833"/>
              <a:gd name="connsiteX10" fmla="*/ 6419230 w 7131180"/>
              <a:gd name="connsiteY10" fmla="*/ 5848573 h 7749833"/>
              <a:gd name="connsiteX11" fmla="*/ 6499091 w 7131180"/>
              <a:gd name="connsiteY11" fmla="*/ 7448614 h 7749833"/>
              <a:gd name="connsiteX12" fmla="*/ 7131180 w 7131180"/>
              <a:gd name="connsiteY12" fmla="*/ 7749831 h 7749833"/>
              <a:gd name="connsiteX0" fmla="*/ 0 w 7139184"/>
              <a:gd name="connsiteY0" fmla="*/ 13 h 7749833"/>
              <a:gd name="connsiteX1" fmla="*/ 657454 w 7139184"/>
              <a:gd name="connsiteY1" fmla="*/ 2788729 h 7749833"/>
              <a:gd name="connsiteX2" fmla="*/ 1271960 w 7139184"/>
              <a:gd name="connsiteY2" fmla="*/ 1029697 h 7749833"/>
              <a:gd name="connsiteX3" fmla="*/ 1927365 w 7139184"/>
              <a:gd name="connsiteY3" fmla="*/ 5926115 h 7749833"/>
              <a:gd name="connsiteX4" fmla="*/ 2561339 w 7139184"/>
              <a:gd name="connsiteY4" fmla="*/ 5777443 h 7749833"/>
              <a:gd name="connsiteX5" fmla="*/ 3229167 w 7139184"/>
              <a:gd name="connsiteY5" fmla="*/ 6093200 h 7749833"/>
              <a:gd name="connsiteX6" fmla="*/ 3926697 w 7139184"/>
              <a:gd name="connsiteY6" fmla="*/ 6481503 h 7749833"/>
              <a:gd name="connsiteX7" fmla="*/ 4463842 w 7139184"/>
              <a:gd name="connsiteY7" fmla="*/ 6086330 h 7749833"/>
              <a:gd name="connsiteX8" fmla="*/ 5039850 w 7139184"/>
              <a:gd name="connsiteY8" fmla="*/ 6206792 h 7749833"/>
              <a:gd name="connsiteX9" fmla="*/ 5778272 w 7139184"/>
              <a:gd name="connsiteY9" fmla="*/ 6020048 h 7749833"/>
              <a:gd name="connsiteX10" fmla="*/ 6419230 w 7139184"/>
              <a:gd name="connsiteY10" fmla="*/ 5848573 h 7749833"/>
              <a:gd name="connsiteX11" fmla="*/ 7093178 w 7139184"/>
              <a:gd name="connsiteY11" fmla="*/ 5760194 h 7749833"/>
              <a:gd name="connsiteX12" fmla="*/ 7131180 w 7139184"/>
              <a:gd name="connsiteY12" fmla="*/ 7749831 h 7749833"/>
              <a:gd name="connsiteX0" fmla="*/ 0 w 7093178"/>
              <a:gd name="connsiteY0" fmla="*/ 13 h 6481779"/>
              <a:gd name="connsiteX1" fmla="*/ 657454 w 7093178"/>
              <a:gd name="connsiteY1" fmla="*/ 2788729 h 6481779"/>
              <a:gd name="connsiteX2" fmla="*/ 1271960 w 7093178"/>
              <a:gd name="connsiteY2" fmla="*/ 1029697 h 6481779"/>
              <a:gd name="connsiteX3" fmla="*/ 1927365 w 7093178"/>
              <a:gd name="connsiteY3" fmla="*/ 5926115 h 6481779"/>
              <a:gd name="connsiteX4" fmla="*/ 2561339 w 7093178"/>
              <a:gd name="connsiteY4" fmla="*/ 5777443 h 6481779"/>
              <a:gd name="connsiteX5" fmla="*/ 3229167 w 7093178"/>
              <a:gd name="connsiteY5" fmla="*/ 6093200 h 6481779"/>
              <a:gd name="connsiteX6" fmla="*/ 3926697 w 7093178"/>
              <a:gd name="connsiteY6" fmla="*/ 6481503 h 6481779"/>
              <a:gd name="connsiteX7" fmla="*/ 4463842 w 7093178"/>
              <a:gd name="connsiteY7" fmla="*/ 6086330 h 6481779"/>
              <a:gd name="connsiteX8" fmla="*/ 5039850 w 7093178"/>
              <a:gd name="connsiteY8" fmla="*/ 6206792 h 6481779"/>
              <a:gd name="connsiteX9" fmla="*/ 5778272 w 7093178"/>
              <a:gd name="connsiteY9" fmla="*/ 6020048 h 6481779"/>
              <a:gd name="connsiteX10" fmla="*/ 6419230 w 7093178"/>
              <a:gd name="connsiteY10" fmla="*/ 5848573 h 6481779"/>
              <a:gd name="connsiteX11" fmla="*/ 7093178 w 7093178"/>
              <a:gd name="connsiteY11" fmla="*/ 5760194 h 6481779"/>
              <a:gd name="connsiteX0" fmla="*/ 0 w 7093178"/>
              <a:gd name="connsiteY0" fmla="*/ 13 h 6481779"/>
              <a:gd name="connsiteX1" fmla="*/ 657454 w 7093178"/>
              <a:gd name="connsiteY1" fmla="*/ 2788729 h 6481779"/>
              <a:gd name="connsiteX2" fmla="*/ 1271960 w 7093178"/>
              <a:gd name="connsiteY2" fmla="*/ 1029697 h 6481779"/>
              <a:gd name="connsiteX3" fmla="*/ 1863297 w 7093178"/>
              <a:gd name="connsiteY3" fmla="*/ 4188038 h 6481779"/>
              <a:gd name="connsiteX4" fmla="*/ 2561339 w 7093178"/>
              <a:gd name="connsiteY4" fmla="*/ 5777443 h 6481779"/>
              <a:gd name="connsiteX5" fmla="*/ 3229167 w 7093178"/>
              <a:gd name="connsiteY5" fmla="*/ 6093200 h 6481779"/>
              <a:gd name="connsiteX6" fmla="*/ 3926697 w 7093178"/>
              <a:gd name="connsiteY6" fmla="*/ 6481503 h 6481779"/>
              <a:gd name="connsiteX7" fmla="*/ 4463842 w 7093178"/>
              <a:gd name="connsiteY7" fmla="*/ 6086330 h 6481779"/>
              <a:gd name="connsiteX8" fmla="*/ 5039850 w 7093178"/>
              <a:gd name="connsiteY8" fmla="*/ 6206792 h 6481779"/>
              <a:gd name="connsiteX9" fmla="*/ 5778272 w 7093178"/>
              <a:gd name="connsiteY9" fmla="*/ 6020048 h 6481779"/>
              <a:gd name="connsiteX10" fmla="*/ 6419230 w 7093178"/>
              <a:gd name="connsiteY10" fmla="*/ 5848573 h 6481779"/>
              <a:gd name="connsiteX11" fmla="*/ 7093178 w 7093178"/>
              <a:gd name="connsiteY11" fmla="*/ 5760194 h 6481779"/>
              <a:gd name="connsiteX0" fmla="*/ 0 w 7093178"/>
              <a:gd name="connsiteY0" fmla="*/ 13 h 6481779"/>
              <a:gd name="connsiteX1" fmla="*/ 657454 w 7093178"/>
              <a:gd name="connsiteY1" fmla="*/ 2788729 h 6481779"/>
              <a:gd name="connsiteX2" fmla="*/ 1271960 w 7093178"/>
              <a:gd name="connsiteY2" fmla="*/ 1029697 h 6481779"/>
              <a:gd name="connsiteX3" fmla="*/ 1863297 w 7093178"/>
              <a:gd name="connsiteY3" fmla="*/ 4188038 h 6481779"/>
              <a:gd name="connsiteX4" fmla="*/ 2561339 w 7093178"/>
              <a:gd name="connsiteY4" fmla="*/ 5777443 h 6481779"/>
              <a:gd name="connsiteX5" fmla="*/ 3229167 w 7093178"/>
              <a:gd name="connsiteY5" fmla="*/ 6093200 h 6481779"/>
              <a:gd name="connsiteX6" fmla="*/ 3926697 w 7093178"/>
              <a:gd name="connsiteY6" fmla="*/ 6481503 h 6481779"/>
              <a:gd name="connsiteX7" fmla="*/ 4463842 w 7093178"/>
              <a:gd name="connsiteY7" fmla="*/ 6086330 h 6481779"/>
              <a:gd name="connsiteX8" fmla="*/ 5039850 w 7093178"/>
              <a:gd name="connsiteY8" fmla="*/ 6206792 h 6481779"/>
              <a:gd name="connsiteX9" fmla="*/ 5778272 w 7093178"/>
              <a:gd name="connsiteY9" fmla="*/ 6020048 h 6481779"/>
              <a:gd name="connsiteX10" fmla="*/ 6419230 w 7093178"/>
              <a:gd name="connsiteY10" fmla="*/ 5848573 h 6481779"/>
              <a:gd name="connsiteX11" fmla="*/ 7093178 w 7093178"/>
              <a:gd name="connsiteY11" fmla="*/ 5760194 h 6481779"/>
              <a:gd name="connsiteX0" fmla="*/ 0 w 7093178"/>
              <a:gd name="connsiteY0" fmla="*/ 13 h 6481779"/>
              <a:gd name="connsiteX1" fmla="*/ 657454 w 7093178"/>
              <a:gd name="connsiteY1" fmla="*/ 2788729 h 6481779"/>
              <a:gd name="connsiteX2" fmla="*/ 1271960 w 7093178"/>
              <a:gd name="connsiteY2" fmla="*/ 1029697 h 6481779"/>
              <a:gd name="connsiteX3" fmla="*/ 1944839 w 7093178"/>
              <a:gd name="connsiteY3" fmla="*/ 3294166 h 6481779"/>
              <a:gd name="connsiteX4" fmla="*/ 2561339 w 7093178"/>
              <a:gd name="connsiteY4" fmla="*/ 5777443 h 6481779"/>
              <a:gd name="connsiteX5" fmla="*/ 3229167 w 7093178"/>
              <a:gd name="connsiteY5" fmla="*/ 6093200 h 6481779"/>
              <a:gd name="connsiteX6" fmla="*/ 3926697 w 7093178"/>
              <a:gd name="connsiteY6" fmla="*/ 6481503 h 6481779"/>
              <a:gd name="connsiteX7" fmla="*/ 4463842 w 7093178"/>
              <a:gd name="connsiteY7" fmla="*/ 6086330 h 6481779"/>
              <a:gd name="connsiteX8" fmla="*/ 5039850 w 7093178"/>
              <a:gd name="connsiteY8" fmla="*/ 6206792 h 6481779"/>
              <a:gd name="connsiteX9" fmla="*/ 5778272 w 7093178"/>
              <a:gd name="connsiteY9" fmla="*/ 6020048 h 6481779"/>
              <a:gd name="connsiteX10" fmla="*/ 6419230 w 7093178"/>
              <a:gd name="connsiteY10" fmla="*/ 5848573 h 6481779"/>
              <a:gd name="connsiteX11" fmla="*/ 7093178 w 7093178"/>
              <a:gd name="connsiteY11" fmla="*/ 5760194 h 6481779"/>
              <a:gd name="connsiteX0" fmla="*/ 0 w 7093178"/>
              <a:gd name="connsiteY0" fmla="*/ 13 h 6481779"/>
              <a:gd name="connsiteX1" fmla="*/ 657454 w 7093178"/>
              <a:gd name="connsiteY1" fmla="*/ 2788729 h 6481779"/>
              <a:gd name="connsiteX2" fmla="*/ 1271960 w 7093178"/>
              <a:gd name="connsiteY2" fmla="*/ 1029697 h 6481779"/>
              <a:gd name="connsiteX3" fmla="*/ 1909893 w 7093178"/>
              <a:gd name="connsiteY3" fmla="*/ 2946552 h 6481779"/>
              <a:gd name="connsiteX4" fmla="*/ 2561339 w 7093178"/>
              <a:gd name="connsiteY4" fmla="*/ 5777443 h 6481779"/>
              <a:gd name="connsiteX5" fmla="*/ 3229167 w 7093178"/>
              <a:gd name="connsiteY5" fmla="*/ 6093200 h 6481779"/>
              <a:gd name="connsiteX6" fmla="*/ 3926697 w 7093178"/>
              <a:gd name="connsiteY6" fmla="*/ 6481503 h 6481779"/>
              <a:gd name="connsiteX7" fmla="*/ 4463842 w 7093178"/>
              <a:gd name="connsiteY7" fmla="*/ 6086330 h 6481779"/>
              <a:gd name="connsiteX8" fmla="*/ 5039850 w 7093178"/>
              <a:gd name="connsiteY8" fmla="*/ 6206792 h 6481779"/>
              <a:gd name="connsiteX9" fmla="*/ 5778272 w 7093178"/>
              <a:gd name="connsiteY9" fmla="*/ 6020048 h 6481779"/>
              <a:gd name="connsiteX10" fmla="*/ 6419230 w 7093178"/>
              <a:gd name="connsiteY10" fmla="*/ 5848573 h 6481779"/>
              <a:gd name="connsiteX11" fmla="*/ 7093178 w 7093178"/>
              <a:gd name="connsiteY11" fmla="*/ 5760194 h 6481779"/>
              <a:gd name="connsiteX0" fmla="*/ 0 w 7093178"/>
              <a:gd name="connsiteY0" fmla="*/ 2551510 h 9431347"/>
              <a:gd name="connsiteX1" fmla="*/ 657454 w 7093178"/>
              <a:gd name="connsiteY1" fmla="*/ 5340226 h 9431347"/>
              <a:gd name="connsiteX2" fmla="*/ 1271960 w 7093178"/>
              <a:gd name="connsiteY2" fmla="*/ 3581194 h 9431347"/>
              <a:gd name="connsiteX3" fmla="*/ 1909893 w 7093178"/>
              <a:gd name="connsiteY3" fmla="*/ 5498049 h 9431347"/>
              <a:gd name="connsiteX4" fmla="*/ 2543866 w 7093178"/>
              <a:gd name="connsiteY4" fmla="*/ 35837 h 9431347"/>
              <a:gd name="connsiteX5" fmla="*/ 3229167 w 7093178"/>
              <a:gd name="connsiteY5" fmla="*/ 8644697 h 9431347"/>
              <a:gd name="connsiteX6" fmla="*/ 3926697 w 7093178"/>
              <a:gd name="connsiteY6" fmla="*/ 9033000 h 9431347"/>
              <a:gd name="connsiteX7" fmla="*/ 4463842 w 7093178"/>
              <a:gd name="connsiteY7" fmla="*/ 8637827 h 9431347"/>
              <a:gd name="connsiteX8" fmla="*/ 5039850 w 7093178"/>
              <a:gd name="connsiteY8" fmla="*/ 8758289 h 9431347"/>
              <a:gd name="connsiteX9" fmla="*/ 5778272 w 7093178"/>
              <a:gd name="connsiteY9" fmla="*/ 8571545 h 9431347"/>
              <a:gd name="connsiteX10" fmla="*/ 6419230 w 7093178"/>
              <a:gd name="connsiteY10" fmla="*/ 8400070 h 9431347"/>
              <a:gd name="connsiteX11" fmla="*/ 7093178 w 7093178"/>
              <a:gd name="connsiteY11" fmla="*/ 8311691 h 9431347"/>
              <a:gd name="connsiteX0" fmla="*/ 0 w 7093178"/>
              <a:gd name="connsiteY0" fmla="*/ 2515724 h 9395561"/>
              <a:gd name="connsiteX1" fmla="*/ 657454 w 7093178"/>
              <a:gd name="connsiteY1" fmla="*/ 5304440 h 9395561"/>
              <a:gd name="connsiteX2" fmla="*/ 1271960 w 7093178"/>
              <a:gd name="connsiteY2" fmla="*/ 3545408 h 9395561"/>
              <a:gd name="connsiteX3" fmla="*/ 1909893 w 7093178"/>
              <a:gd name="connsiteY3" fmla="*/ 5462263 h 9395561"/>
              <a:gd name="connsiteX4" fmla="*/ 2543866 w 7093178"/>
              <a:gd name="connsiteY4" fmla="*/ 51 h 9395561"/>
              <a:gd name="connsiteX5" fmla="*/ 3229167 w 7093178"/>
              <a:gd name="connsiteY5" fmla="*/ 8608911 h 9395561"/>
              <a:gd name="connsiteX6" fmla="*/ 3926697 w 7093178"/>
              <a:gd name="connsiteY6" fmla="*/ 8997214 h 9395561"/>
              <a:gd name="connsiteX7" fmla="*/ 4463842 w 7093178"/>
              <a:gd name="connsiteY7" fmla="*/ 8602041 h 9395561"/>
              <a:gd name="connsiteX8" fmla="*/ 5039850 w 7093178"/>
              <a:gd name="connsiteY8" fmla="*/ 8722503 h 9395561"/>
              <a:gd name="connsiteX9" fmla="*/ 5778272 w 7093178"/>
              <a:gd name="connsiteY9" fmla="*/ 8535759 h 9395561"/>
              <a:gd name="connsiteX10" fmla="*/ 6419230 w 7093178"/>
              <a:gd name="connsiteY10" fmla="*/ 8364284 h 9395561"/>
              <a:gd name="connsiteX11" fmla="*/ 7093178 w 7093178"/>
              <a:gd name="connsiteY11" fmla="*/ 8275905 h 9395561"/>
              <a:gd name="connsiteX0" fmla="*/ 0 w 7093178"/>
              <a:gd name="connsiteY0" fmla="*/ 14 h 6541111"/>
              <a:gd name="connsiteX1" fmla="*/ 657454 w 7093178"/>
              <a:gd name="connsiteY1" fmla="*/ 2788730 h 6541111"/>
              <a:gd name="connsiteX2" fmla="*/ 1271960 w 7093178"/>
              <a:gd name="connsiteY2" fmla="*/ 1029698 h 6541111"/>
              <a:gd name="connsiteX3" fmla="*/ 1909893 w 7093178"/>
              <a:gd name="connsiteY3" fmla="*/ 2946553 h 6541111"/>
              <a:gd name="connsiteX4" fmla="*/ 2561339 w 7093178"/>
              <a:gd name="connsiteY4" fmla="*/ 2499935 h 6541111"/>
              <a:gd name="connsiteX5" fmla="*/ 3229167 w 7093178"/>
              <a:gd name="connsiteY5" fmla="*/ 6093201 h 6541111"/>
              <a:gd name="connsiteX6" fmla="*/ 3926697 w 7093178"/>
              <a:gd name="connsiteY6" fmla="*/ 6481504 h 6541111"/>
              <a:gd name="connsiteX7" fmla="*/ 4463842 w 7093178"/>
              <a:gd name="connsiteY7" fmla="*/ 6086331 h 6541111"/>
              <a:gd name="connsiteX8" fmla="*/ 5039850 w 7093178"/>
              <a:gd name="connsiteY8" fmla="*/ 6206793 h 6541111"/>
              <a:gd name="connsiteX9" fmla="*/ 5778272 w 7093178"/>
              <a:gd name="connsiteY9" fmla="*/ 6020049 h 6541111"/>
              <a:gd name="connsiteX10" fmla="*/ 6419230 w 7093178"/>
              <a:gd name="connsiteY10" fmla="*/ 5848574 h 6541111"/>
              <a:gd name="connsiteX11" fmla="*/ 7093178 w 7093178"/>
              <a:gd name="connsiteY11" fmla="*/ 5760195 h 6541111"/>
              <a:gd name="connsiteX0" fmla="*/ 0 w 7093178"/>
              <a:gd name="connsiteY0" fmla="*/ 14 h 6481779"/>
              <a:gd name="connsiteX1" fmla="*/ 657454 w 7093178"/>
              <a:gd name="connsiteY1" fmla="*/ 2788730 h 6481779"/>
              <a:gd name="connsiteX2" fmla="*/ 1271960 w 7093178"/>
              <a:gd name="connsiteY2" fmla="*/ 1029698 h 6481779"/>
              <a:gd name="connsiteX3" fmla="*/ 1909893 w 7093178"/>
              <a:gd name="connsiteY3" fmla="*/ 2946553 h 6481779"/>
              <a:gd name="connsiteX4" fmla="*/ 2561339 w 7093178"/>
              <a:gd name="connsiteY4" fmla="*/ 2499935 h 6481779"/>
              <a:gd name="connsiteX5" fmla="*/ 3205870 w 7093178"/>
              <a:gd name="connsiteY5" fmla="*/ 2617049 h 6481779"/>
              <a:gd name="connsiteX6" fmla="*/ 3926697 w 7093178"/>
              <a:gd name="connsiteY6" fmla="*/ 6481504 h 6481779"/>
              <a:gd name="connsiteX7" fmla="*/ 4463842 w 7093178"/>
              <a:gd name="connsiteY7" fmla="*/ 6086331 h 6481779"/>
              <a:gd name="connsiteX8" fmla="*/ 5039850 w 7093178"/>
              <a:gd name="connsiteY8" fmla="*/ 6206793 h 6481779"/>
              <a:gd name="connsiteX9" fmla="*/ 5778272 w 7093178"/>
              <a:gd name="connsiteY9" fmla="*/ 6020049 h 6481779"/>
              <a:gd name="connsiteX10" fmla="*/ 6419230 w 7093178"/>
              <a:gd name="connsiteY10" fmla="*/ 5848574 h 6481779"/>
              <a:gd name="connsiteX11" fmla="*/ 7093178 w 7093178"/>
              <a:gd name="connsiteY11" fmla="*/ 5760195 h 6481779"/>
              <a:gd name="connsiteX0" fmla="*/ 0 w 7093178"/>
              <a:gd name="connsiteY0" fmla="*/ 14 h 6481779"/>
              <a:gd name="connsiteX1" fmla="*/ 657454 w 7093178"/>
              <a:gd name="connsiteY1" fmla="*/ 2788730 h 6481779"/>
              <a:gd name="connsiteX2" fmla="*/ 1271960 w 7093178"/>
              <a:gd name="connsiteY2" fmla="*/ 1029698 h 6481779"/>
              <a:gd name="connsiteX3" fmla="*/ 1909893 w 7093178"/>
              <a:gd name="connsiteY3" fmla="*/ 2946553 h 6481779"/>
              <a:gd name="connsiteX4" fmla="*/ 2561339 w 7093178"/>
              <a:gd name="connsiteY4" fmla="*/ 2499935 h 6481779"/>
              <a:gd name="connsiteX5" fmla="*/ 3205870 w 7093178"/>
              <a:gd name="connsiteY5" fmla="*/ 2617049 h 6481779"/>
              <a:gd name="connsiteX6" fmla="*/ 3926697 w 7093178"/>
              <a:gd name="connsiteY6" fmla="*/ 6481504 h 6481779"/>
              <a:gd name="connsiteX7" fmla="*/ 4463842 w 7093178"/>
              <a:gd name="connsiteY7" fmla="*/ 6086331 h 6481779"/>
              <a:gd name="connsiteX8" fmla="*/ 5039850 w 7093178"/>
              <a:gd name="connsiteY8" fmla="*/ 6206793 h 6481779"/>
              <a:gd name="connsiteX9" fmla="*/ 5778272 w 7093178"/>
              <a:gd name="connsiteY9" fmla="*/ 6020049 h 6481779"/>
              <a:gd name="connsiteX10" fmla="*/ 6419230 w 7093178"/>
              <a:gd name="connsiteY10" fmla="*/ 5848574 h 6481779"/>
              <a:gd name="connsiteX11" fmla="*/ 7093178 w 7093178"/>
              <a:gd name="connsiteY11" fmla="*/ 5760195 h 6481779"/>
              <a:gd name="connsiteX0" fmla="*/ 0 w 7093178"/>
              <a:gd name="connsiteY0" fmla="*/ 2407529 h 9162931"/>
              <a:gd name="connsiteX1" fmla="*/ 657454 w 7093178"/>
              <a:gd name="connsiteY1" fmla="*/ 5196245 h 9162931"/>
              <a:gd name="connsiteX2" fmla="*/ 1271960 w 7093178"/>
              <a:gd name="connsiteY2" fmla="*/ 3437213 h 9162931"/>
              <a:gd name="connsiteX3" fmla="*/ 1909893 w 7093178"/>
              <a:gd name="connsiteY3" fmla="*/ 5354068 h 9162931"/>
              <a:gd name="connsiteX4" fmla="*/ 2561339 w 7093178"/>
              <a:gd name="connsiteY4" fmla="*/ 4907450 h 9162931"/>
              <a:gd name="connsiteX5" fmla="*/ 3205870 w 7093178"/>
              <a:gd name="connsiteY5" fmla="*/ 5024564 h 9162931"/>
              <a:gd name="connsiteX6" fmla="*/ 3856804 w 7093178"/>
              <a:gd name="connsiteY6" fmla="*/ 0 h 9162931"/>
              <a:gd name="connsiteX7" fmla="*/ 4463842 w 7093178"/>
              <a:gd name="connsiteY7" fmla="*/ 8493846 h 9162931"/>
              <a:gd name="connsiteX8" fmla="*/ 5039850 w 7093178"/>
              <a:gd name="connsiteY8" fmla="*/ 8614308 h 9162931"/>
              <a:gd name="connsiteX9" fmla="*/ 5778272 w 7093178"/>
              <a:gd name="connsiteY9" fmla="*/ 8427564 h 9162931"/>
              <a:gd name="connsiteX10" fmla="*/ 6419230 w 7093178"/>
              <a:gd name="connsiteY10" fmla="*/ 8256089 h 9162931"/>
              <a:gd name="connsiteX11" fmla="*/ 7093178 w 7093178"/>
              <a:gd name="connsiteY11" fmla="*/ 8167710 h 9162931"/>
              <a:gd name="connsiteX0" fmla="*/ 0 w 7093178"/>
              <a:gd name="connsiteY0" fmla="*/ 8743646 h 14950424"/>
              <a:gd name="connsiteX1" fmla="*/ 657454 w 7093178"/>
              <a:gd name="connsiteY1" fmla="*/ 11532362 h 14950424"/>
              <a:gd name="connsiteX2" fmla="*/ 1271960 w 7093178"/>
              <a:gd name="connsiteY2" fmla="*/ 9773330 h 14950424"/>
              <a:gd name="connsiteX3" fmla="*/ 1909893 w 7093178"/>
              <a:gd name="connsiteY3" fmla="*/ 11690185 h 14950424"/>
              <a:gd name="connsiteX4" fmla="*/ 2561339 w 7093178"/>
              <a:gd name="connsiteY4" fmla="*/ 11243567 h 14950424"/>
              <a:gd name="connsiteX5" fmla="*/ 3205870 w 7093178"/>
              <a:gd name="connsiteY5" fmla="*/ 11360681 h 14950424"/>
              <a:gd name="connsiteX6" fmla="*/ 3856804 w 7093178"/>
              <a:gd name="connsiteY6" fmla="*/ 6336117 h 14950424"/>
              <a:gd name="connsiteX7" fmla="*/ 4510438 w 7093178"/>
              <a:gd name="connsiteY7" fmla="*/ 180456 h 14950424"/>
              <a:gd name="connsiteX8" fmla="*/ 5039850 w 7093178"/>
              <a:gd name="connsiteY8" fmla="*/ 14950425 h 14950424"/>
              <a:gd name="connsiteX9" fmla="*/ 5778272 w 7093178"/>
              <a:gd name="connsiteY9" fmla="*/ 14763681 h 14950424"/>
              <a:gd name="connsiteX10" fmla="*/ 6419230 w 7093178"/>
              <a:gd name="connsiteY10" fmla="*/ 14592206 h 14950424"/>
              <a:gd name="connsiteX11" fmla="*/ 7093178 w 7093178"/>
              <a:gd name="connsiteY11" fmla="*/ 14503827 h 14950424"/>
              <a:gd name="connsiteX0" fmla="*/ 0 w 7093178"/>
              <a:gd name="connsiteY0" fmla="*/ 8563340 h 14770118"/>
              <a:gd name="connsiteX1" fmla="*/ 657454 w 7093178"/>
              <a:gd name="connsiteY1" fmla="*/ 11352056 h 14770118"/>
              <a:gd name="connsiteX2" fmla="*/ 1271960 w 7093178"/>
              <a:gd name="connsiteY2" fmla="*/ 9593024 h 14770118"/>
              <a:gd name="connsiteX3" fmla="*/ 1909893 w 7093178"/>
              <a:gd name="connsiteY3" fmla="*/ 11509879 h 14770118"/>
              <a:gd name="connsiteX4" fmla="*/ 2561339 w 7093178"/>
              <a:gd name="connsiteY4" fmla="*/ 11063261 h 14770118"/>
              <a:gd name="connsiteX5" fmla="*/ 3205870 w 7093178"/>
              <a:gd name="connsiteY5" fmla="*/ 11180375 h 14770118"/>
              <a:gd name="connsiteX6" fmla="*/ 3856804 w 7093178"/>
              <a:gd name="connsiteY6" fmla="*/ 6155811 h 14770118"/>
              <a:gd name="connsiteX7" fmla="*/ 4510438 w 7093178"/>
              <a:gd name="connsiteY7" fmla="*/ 150 h 14770118"/>
              <a:gd name="connsiteX8" fmla="*/ 5039850 w 7093178"/>
              <a:gd name="connsiteY8" fmla="*/ 14770119 h 14770118"/>
              <a:gd name="connsiteX9" fmla="*/ 5778272 w 7093178"/>
              <a:gd name="connsiteY9" fmla="*/ 14583375 h 14770118"/>
              <a:gd name="connsiteX10" fmla="*/ 6419230 w 7093178"/>
              <a:gd name="connsiteY10" fmla="*/ 14411900 h 14770118"/>
              <a:gd name="connsiteX11" fmla="*/ 7093178 w 7093178"/>
              <a:gd name="connsiteY11" fmla="*/ 14323521 h 14770118"/>
              <a:gd name="connsiteX0" fmla="*/ 0 w 7093178"/>
              <a:gd name="connsiteY0" fmla="*/ 10400715 h 16607493"/>
              <a:gd name="connsiteX1" fmla="*/ 657454 w 7093178"/>
              <a:gd name="connsiteY1" fmla="*/ 13189431 h 16607493"/>
              <a:gd name="connsiteX2" fmla="*/ 1271960 w 7093178"/>
              <a:gd name="connsiteY2" fmla="*/ 11430399 h 16607493"/>
              <a:gd name="connsiteX3" fmla="*/ 1909893 w 7093178"/>
              <a:gd name="connsiteY3" fmla="*/ 13347254 h 16607493"/>
              <a:gd name="connsiteX4" fmla="*/ 2561339 w 7093178"/>
              <a:gd name="connsiteY4" fmla="*/ 12900636 h 16607493"/>
              <a:gd name="connsiteX5" fmla="*/ 3205870 w 7093178"/>
              <a:gd name="connsiteY5" fmla="*/ 13017750 h 16607493"/>
              <a:gd name="connsiteX6" fmla="*/ 3856804 w 7093178"/>
              <a:gd name="connsiteY6" fmla="*/ 7993186 h 16607493"/>
              <a:gd name="connsiteX7" fmla="*/ 4510438 w 7093178"/>
              <a:gd name="connsiteY7" fmla="*/ 131 h 16607493"/>
              <a:gd name="connsiteX8" fmla="*/ 5039850 w 7093178"/>
              <a:gd name="connsiteY8" fmla="*/ 16607494 h 16607493"/>
              <a:gd name="connsiteX9" fmla="*/ 5778272 w 7093178"/>
              <a:gd name="connsiteY9" fmla="*/ 16420750 h 16607493"/>
              <a:gd name="connsiteX10" fmla="*/ 6419230 w 7093178"/>
              <a:gd name="connsiteY10" fmla="*/ 16249275 h 16607493"/>
              <a:gd name="connsiteX11" fmla="*/ 7093178 w 7093178"/>
              <a:gd name="connsiteY11" fmla="*/ 16160896 h 16607493"/>
              <a:gd name="connsiteX0" fmla="*/ 0 w 7093178"/>
              <a:gd name="connsiteY0" fmla="*/ 10421831 h 17205993"/>
              <a:gd name="connsiteX1" fmla="*/ 657454 w 7093178"/>
              <a:gd name="connsiteY1" fmla="*/ 13210547 h 17205993"/>
              <a:gd name="connsiteX2" fmla="*/ 1271960 w 7093178"/>
              <a:gd name="connsiteY2" fmla="*/ 11451515 h 17205993"/>
              <a:gd name="connsiteX3" fmla="*/ 1909893 w 7093178"/>
              <a:gd name="connsiteY3" fmla="*/ 13368370 h 17205993"/>
              <a:gd name="connsiteX4" fmla="*/ 2561339 w 7093178"/>
              <a:gd name="connsiteY4" fmla="*/ 12921752 h 17205993"/>
              <a:gd name="connsiteX5" fmla="*/ 3205870 w 7093178"/>
              <a:gd name="connsiteY5" fmla="*/ 13038866 h 17205993"/>
              <a:gd name="connsiteX6" fmla="*/ 3856804 w 7093178"/>
              <a:gd name="connsiteY6" fmla="*/ 8014302 h 17205993"/>
              <a:gd name="connsiteX7" fmla="*/ 4510438 w 7093178"/>
              <a:gd name="connsiteY7" fmla="*/ 21247 h 17205993"/>
              <a:gd name="connsiteX8" fmla="*/ 5133040 w 7093178"/>
              <a:gd name="connsiteY8" fmla="*/ 5504918 h 17205993"/>
              <a:gd name="connsiteX9" fmla="*/ 5778272 w 7093178"/>
              <a:gd name="connsiteY9" fmla="*/ 16441866 h 17205993"/>
              <a:gd name="connsiteX10" fmla="*/ 6419230 w 7093178"/>
              <a:gd name="connsiteY10" fmla="*/ 16270391 h 17205993"/>
              <a:gd name="connsiteX11" fmla="*/ 7093178 w 7093178"/>
              <a:gd name="connsiteY11" fmla="*/ 16182012 h 17205993"/>
              <a:gd name="connsiteX0" fmla="*/ 0 w 7093178"/>
              <a:gd name="connsiteY0" fmla="*/ 10400665 h 17012341"/>
              <a:gd name="connsiteX1" fmla="*/ 657454 w 7093178"/>
              <a:gd name="connsiteY1" fmla="*/ 13189381 h 17012341"/>
              <a:gd name="connsiteX2" fmla="*/ 1271960 w 7093178"/>
              <a:gd name="connsiteY2" fmla="*/ 11430349 h 17012341"/>
              <a:gd name="connsiteX3" fmla="*/ 1909893 w 7093178"/>
              <a:gd name="connsiteY3" fmla="*/ 13347204 h 17012341"/>
              <a:gd name="connsiteX4" fmla="*/ 2561339 w 7093178"/>
              <a:gd name="connsiteY4" fmla="*/ 12900586 h 17012341"/>
              <a:gd name="connsiteX5" fmla="*/ 3205870 w 7093178"/>
              <a:gd name="connsiteY5" fmla="*/ 13017700 h 17012341"/>
              <a:gd name="connsiteX6" fmla="*/ 3856804 w 7093178"/>
              <a:gd name="connsiteY6" fmla="*/ 7993136 h 17012341"/>
              <a:gd name="connsiteX7" fmla="*/ 4510438 w 7093178"/>
              <a:gd name="connsiteY7" fmla="*/ 81 h 17012341"/>
              <a:gd name="connsiteX8" fmla="*/ 5144689 w 7093178"/>
              <a:gd name="connsiteY8" fmla="*/ 7817739 h 17012341"/>
              <a:gd name="connsiteX9" fmla="*/ 5778272 w 7093178"/>
              <a:gd name="connsiteY9" fmla="*/ 16420700 h 17012341"/>
              <a:gd name="connsiteX10" fmla="*/ 6419230 w 7093178"/>
              <a:gd name="connsiteY10" fmla="*/ 16249225 h 17012341"/>
              <a:gd name="connsiteX11" fmla="*/ 7093178 w 7093178"/>
              <a:gd name="connsiteY11" fmla="*/ 16160846 h 17012341"/>
              <a:gd name="connsiteX0" fmla="*/ 0 w 7093178"/>
              <a:gd name="connsiteY0" fmla="*/ 10400677 h 17012353"/>
              <a:gd name="connsiteX1" fmla="*/ 657454 w 7093178"/>
              <a:gd name="connsiteY1" fmla="*/ 13189393 h 17012353"/>
              <a:gd name="connsiteX2" fmla="*/ 1271960 w 7093178"/>
              <a:gd name="connsiteY2" fmla="*/ 11430361 h 17012353"/>
              <a:gd name="connsiteX3" fmla="*/ 1909893 w 7093178"/>
              <a:gd name="connsiteY3" fmla="*/ 13347216 h 17012353"/>
              <a:gd name="connsiteX4" fmla="*/ 2561339 w 7093178"/>
              <a:gd name="connsiteY4" fmla="*/ 12900598 h 17012353"/>
              <a:gd name="connsiteX5" fmla="*/ 3205870 w 7093178"/>
              <a:gd name="connsiteY5" fmla="*/ 13017712 h 17012353"/>
              <a:gd name="connsiteX6" fmla="*/ 3856804 w 7093178"/>
              <a:gd name="connsiteY6" fmla="*/ 7993148 h 17012353"/>
              <a:gd name="connsiteX7" fmla="*/ 4510438 w 7093178"/>
              <a:gd name="connsiteY7" fmla="*/ 93 h 17012353"/>
              <a:gd name="connsiteX8" fmla="*/ 5144689 w 7093178"/>
              <a:gd name="connsiteY8" fmla="*/ 7817751 h 17012353"/>
              <a:gd name="connsiteX9" fmla="*/ 5778272 w 7093178"/>
              <a:gd name="connsiteY9" fmla="*/ 16420712 h 17012353"/>
              <a:gd name="connsiteX10" fmla="*/ 6419230 w 7093178"/>
              <a:gd name="connsiteY10" fmla="*/ 16249237 h 17012353"/>
              <a:gd name="connsiteX11" fmla="*/ 7093178 w 7093178"/>
              <a:gd name="connsiteY11" fmla="*/ 16160858 h 17012353"/>
              <a:gd name="connsiteX0" fmla="*/ 0 w 7093178"/>
              <a:gd name="connsiteY0" fmla="*/ 10400677 h 17012353"/>
              <a:gd name="connsiteX1" fmla="*/ 657454 w 7093178"/>
              <a:gd name="connsiteY1" fmla="*/ 13189393 h 17012353"/>
              <a:gd name="connsiteX2" fmla="*/ 1271960 w 7093178"/>
              <a:gd name="connsiteY2" fmla="*/ 11430361 h 17012353"/>
              <a:gd name="connsiteX3" fmla="*/ 1909893 w 7093178"/>
              <a:gd name="connsiteY3" fmla="*/ 13347216 h 17012353"/>
              <a:gd name="connsiteX4" fmla="*/ 2561339 w 7093178"/>
              <a:gd name="connsiteY4" fmla="*/ 12900598 h 17012353"/>
              <a:gd name="connsiteX5" fmla="*/ 3205870 w 7093178"/>
              <a:gd name="connsiteY5" fmla="*/ 13017712 h 17012353"/>
              <a:gd name="connsiteX6" fmla="*/ 3856804 w 7093178"/>
              <a:gd name="connsiteY6" fmla="*/ 7993148 h 17012353"/>
              <a:gd name="connsiteX7" fmla="*/ 4510438 w 7093178"/>
              <a:gd name="connsiteY7" fmla="*/ 93 h 17012353"/>
              <a:gd name="connsiteX8" fmla="*/ 5144689 w 7093178"/>
              <a:gd name="connsiteY8" fmla="*/ 7817751 h 17012353"/>
              <a:gd name="connsiteX9" fmla="*/ 5778272 w 7093178"/>
              <a:gd name="connsiteY9" fmla="*/ 16420712 h 17012353"/>
              <a:gd name="connsiteX10" fmla="*/ 6419230 w 7093178"/>
              <a:gd name="connsiteY10" fmla="*/ 16249237 h 17012353"/>
              <a:gd name="connsiteX11" fmla="*/ 7093178 w 7093178"/>
              <a:gd name="connsiteY11" fmla="*/ 16160858 h 17012353"/>
              <a:gd name="connsiteX0" fmla="*/ 0 w 7093178"/>
              <a:gd name="connsiteY0" fmla="*/ 10400677 h 17012353"/>
              <a:gd name="connsiteX1" fmla="*/ 657454 w 7093178"/>
              <a:gd name="connsiteY1" fmla="*/ 13189393 h 17012353"/>
              <a:gd name="connsiteX2" fmla="*/ 1271960 w 7093178"/>
              <a:gd name="connsiteY2" fmla="*/ 11430361 h 17012353"/>
              <a:gd name="connsiteX3" fmla="*/ 1909893 w 7093178"/>
              <a:gd name="connsiteY3" fmla="*/ 13347216 h 17012353"/>
              <a:gd name="connsiteX4" fmla="*/ 2561339 w 7093178"/>
              <a:gd name="connsiteY4" fmla="*/ 12900598 h 17012353"/>
              <a:gd name="connsiteX5" fmla="*/ 3205870 w 7093178"/>
              <a:gd name="connsiteY5" fmla="*/ 13017712 h 17012353"/>
              <a:gd name="connsiteX6" fmla="*/ 3856804 w 7093178"/>
              <a:gd name="connsiteY6" fmla="*/ 7993148 h 17012353"/>
              <a:gd name="connsiteX7" fmla="*/ 4510438 w 7093178"/>
              <a:gd name="connsiteY7" fmla="*/ 93 h 17012353"/>
              <a:gd name="connsiteX8" fmla="*/ 5144689 w 7093178"/>
              <a:gd name="connsiteY8" fmla="*/ 7817751 h 17012353"/>
              <a:gd name="connsiteX9" fmla="*/ 5778272 w 7093178"/>
              <a:gd name="connsiteY9" fmla="*/ 16420712 h 17012353"/>
              <a:gd name="connsiteX10" fmla="*/ 6419230 w 7093178"/>
              <a:gd name="connsiteY10" fmla="*/ 16249237 h 17012353"/>
              <a:gd name="connsiteX11" fmla="*/ 7093178 w 7093178"/>
              <a:gd name="connsiteY11" fmla="*/ 16160858 h 17012353"/>
              <a:gd name="connsiteX0" fmla="*/ 0 w 7093178"/>
              <a:gd name="connsiteY0" fmla="*/ 10400665 h 17012341"/>
              <a:gd name="connsiteX1" fmla="*/ 657454 w 7093178"/>
              <a:gd name="connsiteY1" fmla="*/ 13189381 h 17012341"/>
              <a:gd name="connsiteX2" fmla="*/ 1271960 w 7093178"/>
              <a:gd name="connsiteY2" fmla="*/ 11430349 h 17012341"/>
              <a:gd name="connsiteX3" fmla="*/ 1909893 w 7093178"/>
              <a:gd name="connsiteY3" fmla="*/ 13347204 h 17012341"/>
              <a:gd name="connsiteX4" fmla="*/ 2561339 w 7093178"/>
              <a:gd name="connsiteY4" fmla="*/ 12900586 h 17012341"/>
              <a:gd name="connsiteX5" fmla="*/ 3205870 w 7093178"/>
              <a:gd name="connsiteY5" fmla="*/ 13017700 h 17012341"/>
              <a:gd name="connsiteX6" fmla="*/ 3856804 w 7093178"/>
              <a:gd name="connsiteY6" fmla="*/ 7993136 h 17012341"/>
              <a:gd name="connsiteX7" fmla="*/ 4510438 w 7093178"/>
              <a:gd name="connsiteY7" fmla="*/ 81 h 17012341"/>
              <a:gd name="connsiteX8" fmla="*/ 5144689 w 7093178"/>
              <a:gd name="connsiteY8" fmla="*/ 7817739 h 17012341"/>
              <a:gd name="connsiteX9" fmla="*/ 5778272 w 7093178"/>
              <a:gd name="connsiteY9" fmla="*/ 16420700 h 17012341"/>
              <a:gd name="connsiteX10" fmla="*/ 6419230 w 7093178"/>
              <a:gd name="connsiteY10" fmla="*/ 16249225 h 17012341"/>
              <a:gd name="connsiteX11" fmla="*/ 7093178 w 7093178"/>
              <a:gd name="connsiteY11" fmla="*/ 16160846 h 17012341"/>
              <a:gd name="connsiteX0" fmla="*/ 0 w 7093178"/>
              <a:gd name="connsiteY0" fmla="*/ 10406242 h 16893297"/>
              <a:gd name="connsiteX1" fmla="*/ 657454 w 7093178"/>
              <a:gd name="connsiteY1" fmla="*/ 13194958 h 16893297"/>
              <a:gd name="connsiteX2" fmla="*/ 1271960 w 7093178"/>
              <a:gd name="connsiteY2" fmla="*/ 11435926 h 16893297"/>
              <a:gd name="connsiteX3" fmla="*/ 1909893 w 7093178"/>
              <a:gd name="connsiteY3" fmla="*/ 13352781 h 16893297"/>
              <a:gd name="connsiteX4" fmla="*/ 2561339 w 7093178"/>
              <a:gd name="connsiteY4" fmla="*/ 12906163 h 16893297"/>
              <a:gd name="connsiteX5" fmla="*/ 3205870 w 7093178"/>
              <a:gd name="connsiteY5" fmla="*/ 13023277 h 16893297"/>
              <a:gd name="connsiteX6" fmla="*/ 3856804 w 7093178"/>
              <a:gd name="connsiteY6" fmla="*/ 7998713 h 16893297"/>
              <a:gd name="connsiteX7" fmla="*/ 4510438 w 7093178"/>
              <a:gd name="connsiteY7" fmla="*/ 5658 h 16893297"/>
              <a:gd name="connsiteX8" fmla="*/ 5121392 w 7093178"/>
              <a:gd name="connsiteY8" fmla="*/ 9511732 h 16893297"/>
              <a:gd name="connsiteX9" fmla="*/ 5778272 w 7093178"/>
              <a:gd name="connsiteY9" fmla="*/ 16426277 h 16893297"/>
              <a:gd name="connsiteX10" fmla="*/ 6419230 w 7093178"/>
              <a:gd name="connsiteY10" fmla="*/ 16254802 h 16893297"/>
              <a:gd name="connsiteX11" fmla="*/ 7093178 w 7093178"/>
              <a:gd name="connsiteY11" fmla="*/ 16166423 h 16893297"/>
              <a:gd name="connsiteX0" fmla="*/ 0 w 7093178"/>
              <a:gd name="connsiteY0" fmla="*/ 10406242 h 16893297"/>
              <a:gd name="connsiteX1" fmla="*/ 657454 w 7093178"/>
              <a:gd name="connsiteY1" fmla="*/ 13194958 h 16893297"/>
              <a:gd name="connsiteX2" fmla="*/ 1271960 w 7093178"/>
              <a:gd name="connsiteY2" fmla="*/ 11435926 h 16893297"/>
              <a:gd name="connsiteX3" fmla="*/ 1909893 w 7093178"/>
              <a:gd name="connsiteY3" fmla="*/ 13352781 h 16893297"/>
              <a:gd name="connsiteX4" fmla="*/ 2561339 w 7093178"/>
              <a:gd name="connsiteY4" fmla="*/ 12906163 h 16893297"/>
              <a:gd name="connsiteX5" fmla="*/ 3205870 w 7093178"/>
              <a:gd name="connsiteY5" fmla="*/ 13023277 h 16893297"/>
              <a:gd name="connsiteX6" fmla="*/ 3856804 w 7093178"/>
              <a:gd name="connsiteY6" fmla="*/ 7998713 h 16893297"/>
              <a:gd name="connsiteX7" fmla="*/ 4510438 w 7093178"/>
              <a:gd name="connsiteY7" fmla="*/ 5658 h 16893297"/>
              <a:gd name="connsiteX8" fmla="*/ 5121392 w 7093178"/>
              <a:gd name="connsiteY8" fmla="*/ 9511732 h 16893297"/>
              <a:gd name="connsiteX9" fmla="*/ 5778272 w 7093178"/>
              <a:gd name="connsiteY9" fmla="*/ 16426277 h 16893297"/>
              <a:gd name="connsiteX10" fmla="*/ 6419230 w 7093178"/>
              <a:gd name="connsiteY10" fmla="*/ 16254802 h 16893297"/>
              <a:gd name="connsiteX11" fmla="*/ 7093178 w 7093178"/>
              <a:gd name="connsiteY11" fmla="*/ 16166423 h 16893297"/>
              <a:gd name="connsiteX0" fmla="*/ 0 w 7093178"/>
              <a:gd name="connsiteY0" fmla="*/ 10406242 h 16893297"/>
              <a:gd name="connsiteX1" fmla="*/ 657454 w 7093178"/>
              <a:gd name="connsiteY1" fmla="*/ 13194958 h 16893297"/>
              <a:gd name="connsiteX2" fmla="*/ 1271960 w 7093178"/>
              <a:gd name="connsiteY2" fmla="*/ 11435926 h 16893297"/>
              <a:gd name="connsiteX3" fmla="*/ 1909893 w 7093178"/>
              <a:gd name="connsiteY3" fmla="*/ 13352781 h 16893297"/>
              <a:gd name="connsiteX4" fmla="*/ 2561339 w 7093178"/>
              <a:gd name="connsiteY4" fmla="*/ 12906163 h 16893297"/>
              <a:gd name="connsiteX5" fmla="*/ 3205870 w 7093178"/>
              <a:gd name="connsiteY5" fmla="*/ 13023277 h 16893297"/>
              <a:gd name="connsiteX6" fmla="*/ 3856804 w 7093178"/>
              <a:gd name="connsiteY6" fmla="*/ 7998713 h 16893297"/>
              <a:gd name="connsiteX7" fmla="*/ 4510438 w 7093178"/>
              <a:gd name="connsiteY7" fmla="*/ 5658 h 16893297"/>
              <a:gd name="connsiteX8" fmla="*/ 5121392 w 7093178"/>
              <a:gd name="connsiteY8" fmla="*/ 9511732 h 16893297"/>
              <a:gd name="connsiteX9" fmla="*/ 5778272 w 7093178"/>
              <a:gd name="connsiteY9" fmla="*/ 16426277 h 16893297"/>
              <a:gd name="connsiteX10" fmla="*/ 6419230 w 7093178"/>
              <a:gd name="connsiteY10" fmla="*/ 16254802 h 16893297"/>
              <a:gd name="connsiteX11" fmla="*/ 7093178 w 7093178"/>
              <a:gd name="connsiteY11" fmla="*/ 16166423 h 16893297"/>
              <a:gd name="connsiteX0" fmla="*/ 0 w 7093178"/>
              <a:gd name="connsiteY0" fmla="*/ 10406242 h 16601935"/>
              <a:gd name="connsiteX1" fmla="*/ 657454 w 7093178"/>
              <a:gd name="connsiteY1" fmla="*/ 13194958 h 16601935"/>
              <a:gd name="connsiteX2" fmla="*/ 1271960 w 7093178"/>
              <a:gd name="connsiteY2" fmla="*/ 11435926 h 16601935"/>
              <a:gd name="connsiteX3" fmla="*/ 1909893 w 7093178"/>
              <a:gd name="connsiteY3" fmla="*/ 13352781 h 16601935"/>
              <a:gd name="connsiteX4" fmla="*/ 2561339 w 7093178"/>
              <a:gd name="connsiteY4" fmla="*/ 12906163 h 16601935"/>
              <a:gd name="connsiteX5" fmla="*/ 3205870 w 7093178"/>
              <a:gd name="connsiteY5" fmla="*/ 13023277 h 16601935"/>
              <a:gd name="connsiteX6" fmla="*/ 3856804 w 7093178"/>
              <a:gd name="connsiteY6" fmla="*/ 7998713 h 16601935"/>
              <a:gd name="connsiteX7" fmla="*/ 4510438 w 7093178"/>
              <a:gd name="connsiteY7" fmla="*/ 5658 h 16601935"/>
              <a:gd name="connsiteX8" fmla="*/ 5121392 w 7093178"/>
              <a:gd name="connsiteY8" fmla="*/ 9511732 h 16601935"/>
              <a:gd name="connsiteX9" fmla="*/ 5766624 w 7093178"/>
              <a:gd name="connsiteY9" fmla="*/ 11162381 h 16601935"/>
              <a:gd name="connsiteX10" fmla="*/ 6419230 w 7093178"/>
              <a:gd name="connsiteY10" fmla="*/ 16254802 h 16601935"/>
              <a:gd name="connsiteX11" fmla="*/ 7093178 w 7093178"/>
              <a:gd name="connsiteY11" fmla="*/ 16166423 h 16601935"/>
              <a:gd name="connsiteX0" fmla="*/ 0 w 7093178"/>
              <a:gd name="connsiteY0" fmla="*/ 10406242 h 16601935"/>
              <a:gd name="connsiteX1" fmla="*/ 657454 w 7093178"/>
              <a:gd name="connsiteY1" fmla="*/ 13194958 h 16601935"/>
              <a:gd name="connsiteX2" fmla="*/ 1271960 w 7093178"/>
              <a:gd name="connsiteY2" fmla="*/ 11435926 h 16601935"/>
              <a:gd name="connsiteX3" fmla="*/ 1909893 w 7093178"/>
              <a:gd name="connsiteY3" fmla="*/ 13352781 h 16601935"/>
              <a:gd name="connsiteX4" fmla="*/ 2561339 w 7093178"/>
              <a:gd name="connsiteY4" fmla="*/ 12906163 h 16601935"/>
              <a:gd name="connsiteX5" fmla="*/ 3205870 w 7093178"/>
              <a:gd name="connsiteY5" fmla="*/ 13023277 h 16601935"/>
              <a:gd name="connsiteX6" fmla="*/ 3856804 w 7093178"/>
              <a:gd name="connsiteY6" fmla="*/ 7998713 h 16601935"/>
              <a:gd name="connsiteX7" fmla="*/ 4510438 w 7093178"/>
              <a:gd name="connsiteY7" fmla="*/ 5658 h 16601935"/>
              <a:gd name="connsiteX8" fmla="*/ 5121392 w 7093178"/>
              <a:gd name="connsiteY8" fmla="*/ 9511732 h 16601935"/>
              <a:gd name="connsiteX9" fmla="*/ 5766624 w 7093178"/>
              <a:gd name="connsiteY9" fmla="*/ 11162381 h 16601935"/>
              <a:gd name="connsiteX10" fmla="*/ 6419230 w 7093178"/>
              <a:gd name="connsiteY10" fmla="*/ 16254802 h 16601935"/>
              <a:gd name="connsiteX11" fmla="*/ 7093178 w 7093178"/>
              <a:gd name="connsiteY11" fmla="*/ 16166423 h 16601935"/>
              <a:gd name="connsiteX0" fmla="*/ 0 w 7093178"/>
              <a:gd name="connsiteY0" fmla="*/ 10406242 h 17156492"/>
              <a:gd name="connsiteX1" fmla="*/ 657454 w 7093178"/>
              <a:gd name="connsiteY1" fmla="*/ 13194958 h 17156492"/>
              <a:gd name="connsiteX2" fmla="*/ 1271960 w 7093178"/>
              <a:gd name="connsiteY2" fmla="*/ 11435926 h 17156492"/>
              <a:gd name="connsiteX3" fmla="*/ 1909893 w 7093178"/>
              <a:gd name="connsiteY3" fmla="*/ 13352781 h 17156492"/>
              <a:gd name="connsiteX4" fmla="*/ 2561339 w 7093178"/>
              <a:gd name="connsiteY4" fmla="*/ 12906163 h 17156492"/>
              <a:gd name="connsiteX5" fmla="*/ 3205870 w 7093178"/>
              <a:gd name="connsiteY5" fmla="*/ 13023277 h 17156492"/>
              <a:gd name="connsiteX6" fmla="*/ 3856804 w 7093178"/>
              <a:gd name="connsiteY6" fmla="*/ 7998713 h 17156492"/>
              <a:gd name="connsiteX7" fmla="*/ 4510438 w 7093178"/>
              <a:gd name="connsiteY7" fmla="*/ 5658 h 17156492"/>
              <a:gd name="connsiteX8" fmla="*/ 5121392 w 7093178"/>
              <a:gd name="connsiteY8" fmla="*/ 9511732 h 17156492"/>
              <a:gd name="connsiteX9" fmla="*/ 5784097 w 7093178"/>
              <a:gd name="connsiteY9" fmla="*/ 3663827 h 17156492"/>
              <a:gd name="connsiteX10" fmla="*/ 6419230 w 7093178"/>
              <a:gd name="connsiteY10" fmla="*/ 16254802 h 17156492"/>
              <a:gd name="connsiteX11" fmla="*/ 7093178 w 7093178"/>
              <a:gd name="connsiteY11" fmla="*/ 16166423 h 17156492"/>
              <a:gd name="connsiteX0" fmla="*/ 0 w 7093178"/>
              <a:gd name="connsiteY0" fmla="*/ 10406242 h 17156492"/>
              <a:gd name="connsiteX1" fmla="*/ 657454 w 7093178"/>
              <a:gd name="connsiteY1" fmla="*/ 13194958 h 17156492"/>
              <a:gd name="connsiteX2" fmla="*/ 1271960 w 7093178"/>
              <a:gd name="connsiteY2" fmla="*/ 11435926 h 17156492"/>
              <a:gd name="connsiteX3" fmla="*/ 1909893 w 7093178"/>
              <a:gd name="connsiteY3" fmla="*/ 13352781 h 17156492"/>
              <a:gd name="connsiteX4" fmla="*/ 2561339 w 7093178"/>
              <a:gd name="connsiteY4" fmla="*/ 12906163 h 17156492"/>
              <a:gd name="connsiteX5" fmla="*/ 3205870 w 7093178"/>
              <a:gd name="connsiteY5" fmla="*/ 13023277 h 17156492"/>
              <a:gd name="connsiteX6" fmla="*/ 3856804 w 7093178"/>
              <a:gd name="connsiteY6" fmla="*/ 7998713 h 17156492"/>
              <a:gd name="connsiteX7" fmla="*/ 4510438 w 7093178"/>
              <a:gd name="connsiteY7" fmla="*/ 5658 h 17156492"/>
              <a:gd name="connsiteX8" fmla="*/ 5121392 w 7093178"/>
              <a:gd name="connsiteY8" fmla="*/ 9511732 h 17156492"/>
              <a:gd name="connsiteX9" fmla="*/ 5784097 w 7093178"/>
              <a:gd name="connsiteY9" fmla="*/ 3663827 h 17156492"/>
              <a:gd name="connsiteX10" fmla="*/ 6419230 w 7093178"/>
              <a:gd name="connsiteY10" fmla="*/ 16254802 h 17156492"/>
              <a:gd name="connsiteX11" fmla="*/ 7093178 w 7093178"/>
              <a:gd name="connsiteY11" fmla="*/ 16166423 h 17156492"/>
              <a:gd name="connsiteX0" fmla="*/ 0 w 7093178"/>
              <a:gd name="connsiteY0" fmla="*/ 10406242 h 16166422"/>
              <a:gd name="connsiteX1" fmla="*/ 657454 w 7093178"/>
              <a:gd name="connsiteY1" fmla="*/ 13194958 h 16166422"/>
              <a:gd name="connsiteX2" fmla="*/ 1271960 w 7093178"/>
              <a:gd name="connsiteY2" fmla="*/ 11435926 h 16166422"/>
              <a:gd name="connsiteX3" fmla="*/ 1909893 w 7093178"/>
              <a:gd name="connsiteY3" fmla="*/ 13352781 h 16166422"/>
              <a:gd name="connsiteX4" fmla="*/ 2561339 w 7093178"/>
              <a:gd name="connsiteY4" fmla="*/ 12906163 h 16166422"/>
              <a:gd name="connsiteX5" fmla="*/ 3205870 w 7093178"/>
              <a:gd name="connsiteY5" fmla="*/ 13023277 h 16166422"/>
              <a:gd name="connsiteX6" fmla="*/ 3856804 w 7093178"/>
              <a:gd name="connsiteY6" fmla="*/ 7998713 h 16166422"/>
              <a:gd name="connsiteX7" fmla="*/ 4510438 w 7093178"/>
              <a:gd name="connsiteY7" fmla="*/ 5658 h 16166422"/>
              <a:gd name="connsiteX8" fmla="*/ 5121392 w 7093178"/>
              <a:gd name="connsiteY8" fmla="*/ 9511732 h 16166422"/>
              <a:gd name="connsiteX9" fmla="*/ 5784097 w 7093178"/>
              <a:gd name="connsiteY9" fmla="*/ 3663827 h 16166422"/>
              <a:gd name="connsiteX10" fmla="*/ 6436703 w 7093178"/>
              <a:gd name="connsiteY10" fmla="*/ 11040570 h 16166422"/>
              <a:gd name="connsiteX11" fmla="*/ 7093178 w 7093178"/>
              <a:gd name="connsiteY11" fmla="*/ 16166423 h 16166422"/>
              <a:gd name="connsiteX0" fmla="*/ 0 w 7093178"/>
              <a:gd name="connsiteY0" fmla="*/ 10406242 h 16166422"/>
              <a:gd name="connsiteX1" fmla="*/ 657454 w 7093178"/>
              <a:gd name="connsiteY1" fmla="*/ 13194958 h 16166422"/>
              <a:gd name="connsiteX2" fmla="*/ 1271960 w 7093178"/>
              <a:gd name="connsiteY2" fmla="*/ 11435926 h 16166422"/>
              <a:gd name="connsiteX3" fmla="*/ 1909893 w 7093178"/>
              <a:gd name="connsiteY3" fmla="*/ 13352781 h 16166422"/>
              <a:gd name="connsiteX4" fmla="*/ 2561339 w 7093178"/>
              <a:gd name="connsiteY4" fmla="*/ 12906163 h 16166422"/>
              <a:gd name="connsiteX5" fmla="*/ 3205870 w 7093178"/>
              <a:gd name="connsiteY5" fmla="*/ 13023277 h 16166422"/>
              <a:gd name="connsiteX6" fmla="*/ 3856804 w 7093178"/>
              <a:gd name="connsiteY6" fmla="*/ 7998713 h 16166422"/>
              <a:gd name="connsiteX7" fmla="*/ 4510438 w 7093178"/>
              <a:gd name="connsiteY7" fmla="*/ 5658 h 16166422"/>
              <a:gd name="connsiteX8" fmla="*/ 5121392 w 7093178"/>
              <a:gd name="connsiteY8" fmla="*/ 9511732 h 16166422"/>
              <a:gd name="connsiteX9" fmla="*/ 5784097 w 7093178"/>
              <a:gd name="connsiteY9" fmla="*/ 3663827 h 16166422"/>
              <a:gd name="connsiteX10" fmla="*/ 6436703 w 7093178"/>
              <a:gd name="connsiteY10" fmla="*/ 11040570 h 16166422"/>
              <a:gd name="connsiteX11" fmla="*/ 7093178 w 7093178"/>
              <a:gd name="connsiteY11" fmla="*/ 16166423 h 16166422"/>
              <a:gd name="connsiteX0" fmla="*/ 0 w 7116475"/>
              <a:gd name="connsiteY0" fmla="*/ 10406242 h 13408676"/>
              <a:gd name="connsiteX1" fmla="*/ 657454 w 7116475"/>
              <a:gd name="connsiteY1" fmla="*/ 13194958 h 13408676"/>
              <a:gd name="connsiteX2" fmla="*/ 1271960 w 7116475"/>
              <a:gd name="connsiteY2" fmla="*/ 11435926 h 13408676"/>
              <a:gd name="connsiteX3" fmla="*/ 1909893 w 7116475"/>
              <a:gd name="connsiteY3" fmla="*/ 13352781 h 13408676"/>
              <a:gd name="connsiteX4" fmla="*/ 2561339 w 7116475"/>
              <a:gd name="connsiteY4" fmla="*/ 12906163 h 13408676"/>
              <a:gd name="connsiteX5" fmla="*/ 3205870 w 7116475"/>
              <a:gd name="connsiteY5" fmla="*/ 13023277 h 13408676"/>
              <a:gd name="connsiteX6" fmla="*/ 3856804 w 7116475"/>
              <a:gd name="connsiteY6" fmla="*/ 7998713 h 13408676"/>
              <a:gd name="connsiteX7" fmla="*/ 4510438 w 7116475"/>
              <a:gd name="connsiteY7" fmla="*/ 5658 h 13408676"/>
              <a:gd name="connsiteX8" fmla="*/ 5121392 w 7116475"/>
              <a:gd name="connsiteY8" fmla="*/ 9511732 h 13408676"/>
              <a:gd name="connsiteX9" fmla="*/ 5784097 w 7116475"/>
              <a:gd name="connsiteY9" fmla="*/ 3663827 h 13408676"/>
              <a:gd name="connsiteX10" fmla="*/ 6436703 w 7116475"/>
              <a:gd name="connsiteY10" fmla="*/ 11040570 h 13408676"/>
              <a:gd name="connsiteX11" fmla="*/ 7116475 w 7116475"/>
              <a:gd name="connsiteY11" fmla="*/ 8816840 h 13408676"/>
              <a:gd name="connsiteX0" fmla="*/ 0 w 7023014"/>
              <a:gd name="connsiteY0" fmla="*/ 144423046 h 144423046"/>
              <a:gd name="connsiteX1" fmla="*/ 563993 w 7023014"/>
              <a:gd name="connsiteY1" fmla="*/ 13194958 h 144423046"/>
              <a:gd name="connsiteX2" fmla="*/ 1178499 w 7023014"/>
              <a:gd name="connsiteY2" fmla="*/ 11435926 h 144423046"/>
              <a:gd name="connsiteX3" fmla="*/ 1816432 w 7023014"/>
              <a:gd name="connsiteY3" fmla="*/ 13352781 h 144423046"/>
              <a:gd name="connsiteX4" fmla="*/ 2467878 w 7023014"/>
              <a:gd name="connsiteY4" fmla="*/ 12906163 h 144423046"/>
              <a:gd name="connsiteX5" fmla="*/ 3112409 w 7023014"/>
              <a:gd name="connsiteY5" fmla="*/ 13023277 h 144423046"/>
              <a:gd name="connsiteX6" fmla="*/ 3763343 w 7023014"/>
              <a:gd name="connsiteY6" fmla="*/ 7998713 h 144423046"/>
              <a:gd name="connsiteX7" fmla="*/ 4416977 w 7023014"/>
              <a:gd name="connsiteY7" fmla="*/ 5658 h 144423046"/>
              <a:gd name="connsiteX8" fmla="*/ 5027931 w 7023014"/>
              <a:gd name="connsiteY8" fmla="*/ 9511732 h 144423046"/>
              <a:gd name="connsiteX9" fmla="*/ 5690636 w 7023014"/>
              <a:gd name="connsiteY9" fmla="*/ 3663827 h 144423046"/>
              <a:gd name="connsiteX10" fmla="*/ 6343242 w 7023014"/>
              <a:gd name="connsiteY10" fmla="*/ 11040570 h 144423046"/>
              <a:gd name="connsiteX11" fmla="*/ 7023014 w 7023014"/>
              <a:gd name="connsiteY11" fmla="*/ 8816840 h 144423046"/>
              <a:gd name="connsiteX0" fmla="*/ 0 w 7023014"/>
              <a:gd name="connsiteY0" fmla="*/ 144423046 h 144423046"/>
              <a:gd name="connsiteX1" fmla="*/ 563993 w 7023014"/>
              <a:gd name="connsiteY1" fmla="*/ 13194958 h 144423046"/>
              <a:gd name="connsiteX2" fmla="*/ 1178499 w 7023014"/>
              <a:gd name="connsiteY2" fmla="*/ 11435926 h 144423046"/>
              <a:gd name="connsiteX3" fmla="*/ 1816432 w 7023014"/>
              <a:gd name="connsiteY3" fmla="*/ 13352781 h 144423046"/>
              <a:gd name="connsiteX4" fmla="*/ 2467878 w 7023014"/>
              <a:gd name="connsiteY4" fmla="*/ 12906163 h 144423046"/>
              <a:gd name="connsiteX5" fmla="*/ 3112409 w 7023014"/>
              <a:gd name="connsiteY5" fmla="*/ 13023277 h 144423046"/>
              <a:gd name="connsiteX6" fmla="*/ 3763343 w 7023014"/>
              <a:gd name="connsiteY6" fmla="*/ 7998713 h 144423046"/>
              <a:gd name="connsiteX7" fmla="*/ 4416977 w 7023014"/>
              <a:gd name="connsiteY7" fmla="*/ 5658 h 144423046"/>
              <a:gd name="connsiteX8" fmla="*/ 5027931 w 7023014"/>
              <a:gd name="connsiteY8" fmla="*/ 9511732 h 144423046"/>
              <a:gd name="connsiteX9" fmla="*/ 5690636 w 7023014"/>
              <a:gd name="connsiteY9" fmla="*/ 3663827 h 144423046"/>
              <a:gd name="connsiteX10" fmla="*/ 6343242 w 7023014"/>
              <a:gd name="connsiteY10" fmla="*/ 11040570 h 144423046"/>
              <a:gd name="connsiteX11" fmla="*/ 7023014 w 7023014"/>
              <a:gd name="connsiteY11" fmla="*/ 8816840 h 144423046"/>
              <a:gd name="connsiteX0" fmla="*/ 0 w 7023014"/>
              <a:gd name="connsiteY0" fmla="*/ 144423046 h 144423046"/>
              <a:gd name="connsiteX1" fmla="*/ 563993 w 7023014"/>
              <a:gd name="connsiteY1" fmla="*/ 13194958 h 144423046"/>
              <a:gd name="connsiteX2" fmla="*/ 1178499 w 7023014"/>
              <a:gd name="connsiteY2" fmla="*/ 11435926 h 144423046"/>
              <a:gd name="connsiteX3" fmla="*/ 1816432 w 7023014"/>
              <a:gd name="connsiteY3" fmla="*/ 13352781 h 144423046"/>
              <a:gd name="connsiteX4" fmla="*/ 2467878 w 7023014"/>
              <a:gd name="connsiteY4" fmla="*/ 12906163 h 144423046"/>
              <a:gd name="connsiteX5" fmla="*/ 3112409 w 7023014"/>
              <a:gd name="connsiteY5" fmla="*/ 13023277 h 144423046"/>
              <a:gd name="connsiteX6" fmla="*/ 3763343 w 7023014"/>
              <a:gd name="connsiteY6" fmla="*/ 7998713 h 144423046"/>
              <a:gd name="connsiteX7" fmla="*/ 4416977 w 7023014"/>
              <a:gd name="connsiteY7" fmla="*/ 5658 h 144423046"/>
              <a:gd name="connsiteX8" fmla="*/ 5027931 w 7023014"/>
              <a:gd name="connsiteY8" fmla="*/ 9511732 h 144423046"/>
              <a:gd name="connsiteX9" fmla="*/ 5690636 w 7023014"/>
              <a:gd name="connsiteY9" fmla="*/ 3663827 h 144423046"/>
              <a:gd name="connsiteX10" fmla="*/ 6343242 w 7023014"/>
              <a:gd name="connsiteY10" fmla="*/ 11040570 h 144423046"/>
              <a:gd name="connsiteX11" fmla="*/ 7023014 w 7023014"/>
              <a:gd name="connsiteY11" fmla="*/ 8816840 h 144423046"/>
              <a:gd name="connsiteX0" fmla="*/ 0 w 7023014"/>
              <a:gd name="connsiteY0" fmla="*/ 157954085 h 371228885"/>
              <a:gd name="connsiteX1" fmla="*/ 652261 w 7023014"/>
              <a:gd name="connsiteY1" fmla="*/ 369808625 h 371228885"/>
              <a:gd name="connsiteX2" fmla="*/ 1178499 w 7023014"/>
              <a:gd name="connsiteY2" fmla="*/ 24966965 h 371228885"/>
              <a:gd name="connsiteX3" fmla="*/ 1816432 w 7023014"/>
              <a:gd name="connsiteY3" fmla="*/ 26883820 h 371228885"/>
              <a:gd name="connsiteX4" fmla="*/ 2467878 w 7023014"/>
              <a:gd name="connsiteY4" fmla="*/ 26437202 h 371228885"/>
              <a:gd name="connsiteX5" fmla="*/ 3112409 w 7023014"/>
              <a:gd name="connsiteY5" fmla="*/ 26554316 h 371228885"/>
              <a:gd name="connsiteX6" fmla="*/ 3763343 w 7023014"/>
              <a:gd name="connsiteY6" fmla="*/ 21529752 h 371228885"/>
              <a:gd name="connsiteX7" fmla="*/ 4416977 w 7023014"/>
              <a:gd name="connsiteY7" fmla="*/ 13536697 h 371228885"/>
              <a:gd name="connsiteX8" fmla="*/ 5027931 w 7023014"/>
              <a:gd name="connsiteY8" fmla="*/ 23042771 h 371228885"/>
              <a:gd name="connsiteX9" fmla="*/ 5690636 w 7023014"/>
              <a:gd name="connsiteY9" fmla="*/ 17194866 h 371228885"/>
              <a:gd name="connsiteX10" fmla="*/ 6343242 w 7023014"/>
              <a:gd name="connsiteY10" fmla="*/ 24571609 h 371228885"/>
              <a:gd name="connsiteX11" fmla="*/ 7023014 w 7023014"/>
              <a:gd name="connsiteY11" fmla="*/ 22347879 h 371228885"/>
              <a:gd name="connsiteX0" fmla="*/ 0 w 7023014"/>
              <a:gd name="connsiteY0" fmla="*/ 157954085 h 369863227"/>
              <a:gd name="connsiteX1" fmla="*/ 652261 w 7023014"/>
              <a:gd name="connsiteY1" fmla="*/ 369808625 h 369863227"/>
              <a:gd name="connsiteX2" fmla="*/ 1178499 w 7023014"/>
              <a:gd name="connsiteY2" fmla="*/ 24966965 h 369863227"/>
              <a:gd name="connsiteX3" fmla="*/ 1816432 w 7023014"/>
              <a:gd name="connsiteY3" fmla="*/ 26883820 h 369863227"/>
              <a:gd name="connsiteX4" fmla="*/ 2467878 w 7023014"/>
              <a:gd name="connsiteY4" fmla="*/ 26437202 h 369863227"/>
              <a:gd name="connsiteX5" fmla="*/ 3112409 w 7023014"/>
              <a:gd name="connsiteY5" fmla="*/ 26554316 h 369863227"/>
              <a:gd name="connsiteX6" fmla="*/ 3763343 w 7023014"/>
              <a:gd name="connsiteY6" fmla="*/ 21529752 h 369863227"/>
              <a:gd name="connsiteX7" fmla="*/ 4416977 w 7023014"/>
              <a:gd name="connsiteY7" fmla="*/ 13536697 h 369863227"/>
              <a:gd name="connsiteX8" fmla="*/ 5027931 w 7023014"/>
              <a:gd name="connsiteY8" fmla="*/ 23042771 h 369863227"/>
              <a:gd name="connsiteX9" fmla="*/ 5690636 w 7023014"/>
              <a:gd name="connsiteY9" fmla="*/ 17194866 h 369863227"/>
              <a:gd name="connsiteX10" fmla="*/ 6343242 w 7023014"/>
              <a:gd name="connsiteY10" fmla="*/ 24571609 h 369863227"/>
              <a:gd name="connsiteX11" fmla="*/ 7023014 w 7023014"/>
              <a:gd name="connsiteY11" fmla="*/ 22347879 h 369863227"/>
              <a:gd name="connsiteX0" fmla="*/ 0 w 7023014"/>
              <a:gd name="connsiteY0" fmla="*/ 144423046 h 356992102"/>
              <a:gd name="connsiteX1" fmla="*/ 652261 w 7023014"/>
              <a:gd name="connsiteY1" fmla="*/ 356277586 h 356992102"/>
              <a:gd name="connsiteX2" fmla="*/ 1261575 w 7023014"/>
              <a:gd name="connsiteY2" fmla="*/ 52176934 h 356992102"/>
              <a:gd name="connsiteX3" fmla="*/ 1816432 w 7023014"/>
              <a:gd name="connsiteY3" fmla="*/ 13352781 h 356992102"/>
              <a:gd name="connsiteX4" fmla="*/ 2467878 w 7023014"/>
              <a:gd name="connsiteY4" fmla="*/ 12906163 h 356992102"/>
              <a:gd name="connsiteX5" fmla="*/ 3112409 w 7023014"/>
              <a:gd name="connsiteY5" fmla="*/ 1302327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61575 w 7023014"/>
              <a:gd name="connsiteY2" fmla="*/ 52176934 h 356992102"/>
              <a:gd name="connsiteX3" fmla="*/ 1816432 w 7023014"/>
              <a:gd name="connsiteY3" fmla="*/ 13352781 h 356992102"/>
              <a:gd name="connsiteX4" fmla="*/ 2467878 w 7023014"/>
              <a:gd name="connsiteY4" fmla="*/ 12906163 h 356992102"/>
              <a:gd name="connsiteX5" fmla="*/ 3112409 w 7023014"/>
              <a:gd name="connsiteY5" fmla="*/ 1302327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61575 w 7023014"/>
              <a:gd name="connsiteY2" fmla="*/ 52176934 h 356992102"/>
              <a:gd name="connsiteX3" fmla="*/ 1816432 w 7023014"/>
              <a:gd name="connsiteY3" fmla="*/ 13352781 h 356992102"/>
              <a:gd name="connsiteX4" fmla="*/ 2467878 w 7023014"/>
              <a:gd name="connsiteY4" fmla="*/ 12906163 h 356992102"/>
              <a:gd name="connsiteX5" fmla="*/ 3112409 w 7023014"/>
              <a:gd name="connsiteY5" fmla="*/ 1302327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92728 w 7023014"/>
              <a:gd name="connsiteY2" fmla="*/ 52176933 h 356992102"/>
              <a:gd name="connsiteX3" fmla="*/ 1816432 w 7023014"/>
              <a:gd name="connsiteY3" fmla="*/ 13352781 h 356992102"/>
              <a:gd name="connsiteX4" fmla="*/ 2467878 w 7023014"/>
              <a:gd name="connsiteY4" fmla="*/ 12906163 h 356992102"/>
              <a:gd name="connsiteX5" fmla="*/ 3112409 w 7023014"/>
              <a:gd name="connsiteY5" fmla="*/ 1302327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92728 w 7023014"/>
              <a:gd name="connsiteY2" fmla="*/ 52176933 h 356992102"/>
              <a:gd name="connsiteX3" fmla="*/ 1909894 w 7023014"/>
              <a:gd name="connsiteY3" fmla="*/ 155946361 h 356992102"/>
              <a:gd name="connsiteX4" fmla="*/ 2467878 w 7023014"/>
              <a:gd name="connsiteY4" fmla="*/ 12906163 h 356992102"/>
              <a:gd name="connsiteX5" fmla="*/ 3112409 w 7023014"/>
              <a:gd name="connsiteY5" fmla="*/ 1302327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92728 w 7023014"/>
              <a:gd name="connsiteY2" fmla="*/ 52176933 h 356992102"/>
              <a:gd name="connsiteX3" fmla="*/ 1909894 w 7023014"/>
              <a:gd name="connsiteY3" fmla="*/ 155946361 h 356992102"/>
              <a:gd name="connsiteX4" fmla="*/ 2467878 w 7023014"/>
              <a:gd name="connsiteY4" fmla="*/ 12906163 h 356992102"/>
              <a:gd name="connsiteX5" fmla="*/ 3112409 w 7023014"/>
              <a:gd name="connsiteY5" fmla="*/ 1302327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92728 w 7023014"/>
              <a:gd name="connsiteY2" fmla="*/ 52176933 h 356992102"/>
              <a:gd name="connsiteX3" fmla="*/ 1909894 w 7023014"/>
              <a:gd name="connsiteY3" fmla="*/ 155946361 h 356992102"/>
              <a:gd name="connsiteX4" fmla="*/ 2467878 w 7023014"/>
              <a:gd name="connsiteY4" fmla="*/ 12906163 h 356992102"/>
              <a:gd name="connsiteX5" fmla="*/ 3112409 w 7023014"/>
              <a:gd name="connsiteY5" fmla="*/ 1302327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92728 w 7023014"/>
              <a:gd name="connsiteY2" fmla="*/ 52176933 h 356992102"/>
              <a:gd name="connsiteX3" fmla="*/ 1909894 w 7023014"/>
              <a:gd name="connsiteY3" fmla="*/ 155946361 h 356992102"/>
              <a:gd name="connsiteX4" fmla="*/ 2592493 w 7023014"/>
              <a:gd name="connsiteY4" fmla="*/ 156571941 h 356992102"/>
              <a:gd name="connsiteX5" fmla="*/ 3112409 w 7023014"/>
              <a:gd name="connsiteY5" fmla="*/ 1302327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92728 w 7023014"/>
              <a:gd name="connsiteY2" fmla="*/ 52176933 h 356992102"/>
              <a:gd name="connsiteX3" fmla="*/ 1909894 w 7023014"/>
              <a:gd name="connsiteY3" fmla="*/ 155946361 h 356992102"/>
              <a:gd name="connsiteX4" fmla="*/ 2592493 w 7023014"/>
              <a:gd name="connsiteY4" fmla="*/ 156571941 h 356992102"/>
              <a:gd name="connsiteX5" fmla="*/ 3112409 w 7023014"/>
              <a:gd name="connsiteY5" fmla="*/ 1302327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92728 w 7023014"/>
              <a:gd name="connsiteY2" fmla="*/ 52176933 h 356992102"/>
              <a:gd name="connsiteX3" fmla="*/ 1909894 w 7023014"/>
              <a:gd name="connsiteY3" fmla="*/ 155946361 h 356992102"/>
              <a:gd name="connsiteX4" fmla="*/ 2592493 w 7023014"/>
              <a:gd name="connsiteY4" fmla="*/ 156571941 h 356992102"/>
              <a:gd name="connsiteX5" fmla="*/ 3112409 w 7023014"/>
              <a:gd name="connsiteY5" fmla="*/ 1302327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92728 w 7023014"/>
              <a:gd name="connsiteY2" fmla="*/ 52176933 h 356992102"/>
              <a:gd name="connsiteX3" fmla="*/ 1909894 w 7023014"/>
              <a:gd name="connsiteY3" fmla="*/ 155946361 h 356992102"/>
              <a:gd name="connsiteX4" fmla="*/ 2566531 w 7023014"/>
              <a:gd name="connsiteY4" fmla="*/ 157644169 h 356992102"/>
              <a:gd name="connsiteX5" fmla="*/ 3112409 w 7023014"/>
              <a:gd name="connsiteY5" fmla="*/ 1302327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92728 w 7023014"/>
              <a:gd name="connsiteY2" fmla="*/ 52176933 h 356992102"/>
              <a:gd name="connsiteX3" fmla="*/ 1909894 w 7023014"/>
              <a:gd name="connsiteY3" fmla="*/ 155946361 h 356992102"/>
              <a:gd name="connsiteX4" fmla="*/ 2566531 w 7023014"/>
              <a:gd name="connsiteY4" fmla="*/ 157644169 h 356992102"/>
              <a:gd name="connsiteX5" fmla="*/ 3195485 w 7023014"/>
              <a:gd name="connsiteY5" fmla="*/ 24245985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92728 w 7023014"/>
              <a:gd name="connsiteY2" fmla="*/ 52176933 h 356992102"/>
              <a:gd name="connsiteX3" fmla="*/ 1909894 w 7023014"/>
              <a:gd name="connsiteY3" fmla="*/ 155946361 h 356992102"/>
              <a:gd name="connsiteX4" fmla="*/ 2566531 w 7023014"/>
              <a:gd name="connsiteY4" fmla="*/ 157644169 h 356992102"/>
              <a:gd name="connsiteX5" fmla="*/ 3195485 w 7023014"/>
              <a:gd name="connsiteY5" fmla="*/ 24245985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92728 w 7023014"/>
              <a:gd name="connsiteY2" fmla="*/ 52176933 h 356992102"/>
              <a:gd name="connsiteX3" fmla="*/ 1909894 w 7023014"/>
              <a:gd name="connsiteY3" fmla="*/ 155946361 h 356992102"/>
              <a:gd name="connsiteX4" fmla="*/ 2566531 w 7023014"/>
              <a:gd name="connsiteY4" fmla="*/ 157644169 h 356992102"/>
              <a:gd name="connsiteX5" fmla="*/ 3195485 w 7023014"/>
              <a:gd name="connsiteY5" fmla="*/ 24245985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92728 w 7023014"/>
              <a:gd name="connsiteY2" fmla="*/ 52176933 h 356992102"/>
              <a:gd name="connsiteX3" fmla="*/ 1909894 w 7023014"/>
              <a:gd name="connsiteY3" fmla="*/ 155946361 h 356992102"/>
              <a:gd name="connsiteX4" fmla="*/ 2566531 w 7023014"/>
              <a:gd name="connsiteY4" fmla="*/ 157644169 h 356992102"/>
              <a:gd name="connsiteX5" fmla="*/ 3195485 w 7023014"/>
              <a:gd name="connsiteY5" fmla="*/ 24245985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92728 w 7023014"/>
              <a:gd name="connsiteY2" fmla="*/ 52176933 h 356992102"/>
              <a:gd name="connsiteX3" fmla="*/ 1909894 w 7023014"/>
              <a:gd name="connsiteY3" fmla="*/ 155946361 h 356992102"/>
              <a:gd name="connsiteX4" fmla="*/ 2566531 w 7023014"/>
              <a:gd name="connsiteY4" fmla="*/ 157644169 h 356992102"/>
              <a:gd name="connsiteX5" fmla="*/ 3195485 w 7023014"/>
              <a:gd name="connsiteY5" fmla="*/ 24245985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44423046 h 356992102"/>
              <a:gd name="connsiteX1" fmla="*/ 652261 w 7023014"/>
              <a:gd name="connsiteY1" fmla="*/ 356277586 h 356992102"/>
              <a:gd name="connsiteX2" fmla="*/ 1292728 w 7023014"/>
              <a:gd name="connsiteY2" fmla="*/ 52176933 h 356992102"/>
              <a:gd name="connsiteX3" fmla="*/ 1909894 w 7023014"/>
              <a:gd name="connsiteY3" fmla="*/ 155946361 h 356992102"/>
              <a:gd name="connsiteX4" fmla="*/ 2566531 w 7023014"/>
              <a:gd name="connsiteY4" fmla="*/ 157644169 h 356992102"/>
              <a:gd name="connsiteX5" fmla="*/ 3195485 w 7023014"/>
              <a:gd name="connsiteY5" fmla="*/ 242459857 h 356992102"/>
              <a:gd name="connsiteX6" fmla="*/ 3763343 w 7023014"/>
              <a:gd name="connsiteY6" fmla="*/ 7998713 h 356992102"/>
              <a:gd name="connsiteX7" fmla="*/ 4416977 w 7023014"/>
              <a:gd name="connsiteY7" fmla="*/ 5658 h 356992102"/>
              <a:gd name="connsiteX8" fmla="*/ 5027931 w 7023014"/>
              <a:gd name="connsiteY8" fmla="*/ 9511732 h 356992102"/>
              <a:gd name="connsiteX9" fmla="*/ 5690636 w 7023014"/>
              <a:gd name="connsiteY9" fmla="*/ 3663827 h 356992102"/>
              <a:gd name="connsiteX10" fmla="*/ 6343242 w 7023014"/>
              <a:gd name="connsiteY10" fmla="*/ 11040570 h 356992102"/>
              <a:gd name="connsiteX11" fmla="*/ 7023014 w 7023014"/>
              <a:gd name="connsiteY11" fmla="*/ 8816840 h 356992102"/>
              <a:gd name="connsiteX0" fmla="*/ 0 w 7023014"/>
              <a:gd name="connsiteY0" fmla="*/ 153524508 h 366093564"/>
              <a:gd name="connsiteX1" fmla="*/ 652261 w 7023014"/>
              <a:gd name="connsiteY1" fmla="*/ 365379048 h 366093564"/>
              <a:gd name="connsiteX2" fmla="*/ 1292728 w 7023014"/>
              <a:gd name="connsiteY2" fmla="*/ 61278395 h 366093564"/>
              <a:gd name="connsiteX3" fmla="*/ 1909894 w 7023014"/>
              <a:gd name="connsiteY3" fmla="*/ 165047823 h 366093564"/>
              <a:gd name="connsiteX4" fmla="*/ 2566531 w 7023014"/>
              <a:gd name="connsiteY4" fmla="*/ 166745631 h 366093564"/>
              <a:gd name="connsiteX5" fmla="*/ 3195485 w 7023014"/>
              <a:gd name="connsiteY5" fmla="*/ 251561319 h 366093564"/>
              <a:gd name="connsiteX6" fmla="*/ 3851612 w 7023014"/>
              <a:gd name="connsiteY6" fmla="*/ 166126706 h 366093564"/>
              <a:gd name="connsiteX7" fmla="*/ 4416977 w 7023014"/>
              <a:gd name="connsiteY7" fmla="*/ 9107120 h 366093564"/>
              <a:gd name="connsiteX8" fmla="*/ 5027931 w 7023014"/>
              <a:gd name="connsiteY8" fmla="*/ 18613194 h 366093564"/>
              <a:gd name="connsiteX9" fmla="*/ 5690636 w 7023014"/>
              <a:gd name="connsiteY9" fmla="*/ 12765289 h 366093564"/>
              <a:gd name="connsiteX10" fmla="*/ 6343242 w 7023014"/>
              <a:gd name="connsiteY10" fmla="*/ 20142032 h 366093564"/>
              <a:gd name="connsiteX11" fmla="*/ 7023014 w 7023014"/>
              <a:gd name="connsiteY11" fmla="*/ 17918302 h 366093564"/>
              <a:gd name="connsiteX0" fmla="*/ 0 w 7023014"/>
              <a:gd name="connsiteY0" fmla="*/ 140765764 h 366955249"/>
              <a:gd name="connsiteX1" fmla="*/ 652261 w 7023014"/>
              <a:gd name="connsiteY1" fmla="*/ 352620304 h 366955249"/>
              <a:gd name="connsiteX2" fmla="*/ 1292728 w 7023014"/>
              <a:gd name="connsiteY2" fmla="*/ 48519651 h 366955249"/>
              <a:gd name="connsiteX3" fmla="*/ 1909894 w 7023014"/>
              <a:gd name="connsiteY3" fmla="*/ 152289079 h 366955249"/>
              <a:gd name="connsiteX4" fmla="*/ 2566531 w 7023014"/>
              <a:gd name="connsiteY4" fmla="*/ 153986887 h 366955249"/>
              <a:gd name="connsiteX5" fmla="*/ 3195485 w 7023014"/>
              <a:gd name="connsiteY5" fmla="*/ 238802575 h 366955249"/>
              <a:gd name="connsiteX6" fmla="*/ 3851612 w 7023014"/>
              <a:gd name="connsiteY6" fmla="*/ 153367962 h 366955249"/>
              <a:gd name="connsiteX7" fmla="*/ 4494861 w 7023014"/>
              <a:gd name="connsiteY7" fmla="*/ 365162152 h 366955249"/>
              <a:gd name="connsiteX8" fmla="*/ 5027931 w 7023014"/>
              <a:gd name="connsiteY8" fmla="*/ 5854450 h 366955249"/>
              <a:gd name="connsiteX9" fmla="*/ 5690636 w 7023014"/>
              <a:gd name="connsiteY9" fmla="*/ 6545 h 366955249"/>
              <a:gd name="connsiteX10" fmla="*/ 6343242 w 7023014"/>
              <a:gd name="connsiteY10" fmla="*/ 7383288 h 366955249"/>
              <a:gd name="connsiteX11" fmla="*/ 7023014 w 7023014"/>
              <a:gd name="connsiteY11" fmla="*/ 5159558 h 366955249"/>
              <a:gd name="connsiteX0" fmla="*/ 0 w 7023014"/>
              <a:gd name="connsiteY0" fmla="*/ 140765764 h 365165631"/>
              <a:gd name="connsiteX1" fmla="*/ 652261 w 7023014"/>
              <a:gd name="connsiteY1" fmla="*/ 352620304 h 365165631"/>
              <a:gd name="connsiteX2" fmla="*/ 1292728 w 7023014"/>
              <a:gd name="connsiteY2" fmla="*/ 48519651 h 365165631"/>
              <a:gd name="connsiteX3" fmla="*/ 1909894 w 7023014"/>
              <a:gd name="connsiteY3" fmla="*/ 152289079 h 365165631"/>
              <a:gd name="connsiteX4" fmla="*/ 2566531 w 7023014"/>
              <a:gd name="connsiteY4" fmla="*/ 153986887 h 365165631"/>
              <a:gd name="connsiteX5" fmla="*/ 3195485 w 7023014"/>
              <a:gd name="connsiteY5" fmla="*/ 238802575 h 365165631"/>
              <a:gd name="connsiteX6" fmla="*/ 3851612 w 7023014"/>
              <a:gd name="connsiteY6" fmla="*/ 153367962 h 365165631"/>
              <a:gd name="connsiteX7" fmla="*/ 4494861 w 7023014"/>
              <a:gd name="connsiteY7" fmla="*/ 365162152 h 365165631"/>
              <a:gd name="connsiteX8" fmla="*/ 5027931 w 7023014"/>
              <a:gd name="connsiteY8" fmla="*/ 5854450 h 365165631"/>
              <a:gd name="connsiteX9" fmla="*/ 5690636 w 7023014"/>
              <a:gd name="connsiteY9" fmla="*/ 6545 h 365165631"/>
              <a:gd name="connsiteX10" fmla="*/ 6343242 w 7023014"/>
              <a:gd name="connsiteY10" fmla="*/ 7383288 h 365165631"/>
              <a:gd name="connsiteX11" fmla="*/ 7023014 w 7023014"/>
              <a:gd name="connsiteY11" fmla="*/ 5159558 h 365165631"/>
              <a:gd name="connsiteX0" fmla="*/ 0 w 7023014"/>
              <a:gd name="connsiteY0" fmla="*/ 142515905 h 367914492"/>
              <a:gd name="connsiteX1" fmla="*/ 652261 w 7023014"/>
              <a:gd name="connsiteY1" fmla="*/ 354370445 h 367914492"/>
              <a:gd name="connsiteX2" fmla="*/ 1292728 w 7023014"/>
              <a:gd name="connsiteY2" fmla="*/ 50269792 h 367914492"/>
              <a:gd name="connsiteX3" fmla="*/ 1909894 w 7023014"/>
              <a:gd name="connsiteY3" fmla="*/ 154039220 h 367914492"/>
              <a:gd name="connsiteX4" fmla="*/ 2566531 w 7023014"/>
              <a:gd name="connsiteY4" fmla="*/ 155737028 h 367914492"/>
              <a:gd name="connsiteX5" fmla="*/ 3195485 w 7023014"/>
              <a:gd name="connsiteY5" fmla="*/ 240552716 h 367914492"/>
              <a:gd name="connsiteX6" fmla="*/ 3851612 w 7023014"/>
              <a:gd name="connsiteY6" fmla="*/ 155118103 h 367914492"/>
              <a:gd name="connsiteX7" fmla="*/ 4494861 w 7023014"/>
              <a:gd name="connsiteY7" fmla="*/ 366912293 h 367914492"/>
              <a:gd name="connsiteX8" fmla="*/ 5121392 w 7023014"/>
              <a:gd name="connsiteY8" fmla="*/ 47273482 h 367914492"/>
              <a:gd name="connsiteX9" fmla="*/ 5690636 w 7023014"/>
              <a:gd name="connsiteY9" fmla="*/ 1756686 h 367914492"/>
              <a:gd name="connsiteX10" fmla="*/ 6343242 w 7023014"/>
              <a:gd name="connsiteY10" fmla="*/ 9133429 h 367914492"/>
              <a:gd name="connsiteX11" fmla="*/ 7023014 w 7023014"/>
              <a:gd name="connsiteY11" fmla="*/ 6909699 h 367914492"/>
              <a:gd name="connsiteX0" fmla="*/ 0 w 7023014"/>
              <a:gd name="connsiteY0" fmla="*/ 142515905 h 367914492"/>
              <a:gd name="connsiteX1" fmla="*/ 652261 w 7023014"/>
              <a:gd name="connsiteY1" fmla="*/ 354370445 h 367914492"/>
              <a:gd name="connsiteX2" fmla="*/ 1292728 w 7023014"/>
              <a:gd name="connsiteY2" fmla="*/ 50269792 h 367914492"/>
              <a:gd name="connsiteX3" fmla="*/ 1909894 w 7023014"/>
              <a:gd name="connsiteY3" fmla="*/ 154039220 h 367914492"/>
              <a:gd name="connsiteX4" fmla="*/ 2566531 w 7023014"/>
              <a:gd name="connsiteY4" fmla="*/ 155737028 h 367914492"/>
              <a:gd name="connsiteX5" fmla="*/ 3195485 w 7023014"/>
              <a:gd name="connsiteY5" fmla="*/ 240552716 h 367914492"/>
              <a:gd name="connsiteX6" fmla="*/ 3851612 w 7023014"/>
              <a:gd name="connsiteY6" fmla="*/ 155118103 h 367914492"/>
              <a:gd name="connsiteX7" fmla="*/ 4494861 w 7023014"/>
              <a:gd name="connsiteY7" fmla="*/ 366912293 h 367914492"/>
              <a:gd name="connsiteX8" fmla="*/ 5121392 w 7023014"/>
              <a:gd name="connsiteY8" fmla="*/ 47273482 h 367914492"/>
              <a:gd name="connsiteX9" fmla="*/ 5690636 w 7023014"/>
              <a:gd name="connsiteY9" fmla="*/ 1756686 h 367914492"/>
              <a:gd name="connsiteX10" fmla="*/ 6343242 w 7023014"/>
              <a:gd name="connsiteY10" fmla="*/ 9133429 h 367914492"/>
              <a:gd name="connsiteX11" fmla="*/ 7023014 w 7023014"/>
              <a:gd name="connsiteY11" fmla="*/ 6909699 h 367914492"/>
              <a:gd name="connsiteX0" fmla="*/ 0 w 7023014"/>
              <a:gd name="connsiteY0" fmla="*/ 142515905 h 367914492"/>
              <a:gd name="connsiteX1" fmla="*/ 652261 w 7023014"/>
              <a:gd name="connsiteY1" fmla="*/ 354370445 h 367914492"/>
              <a:gd name="connsiteX2" fmla="*/ 1292728 w 7023014"/>
              <a:gd name="connsiteY2" fmla="*/ 50269792 h 367914492"/>
              <a:gd name="connsiteX3" fmla="*/ 1909894 w 7023014"/>
              <a:gd name="connsiteY3" fmla="*/ 154039220 h 367914492"/>
              <a:gd name="connsiteX4" fmla="*/ 2566531 w 7023014"/>
              <a:gd name="connsiteY4" fmla="*/ 155737028 h 367914492"/>
              <a:gd name="connsiteX5" fmla="*/ 3195485 w 7023014"/>
              <a:gd name="connsiteY5" fmla="*/ 240552716 h 367914492"/>
              <a:gd name="connsiteX6" fmla="*/ 3851612 w 7023014"/>
              <a:gd name="connsiteY6" fmla="*/ 155118103 h 367914492"/>
              <a:gd name="connsiteX7" fmla="*/ 4494861 w 7023014"/>
              <a:gd name="connsiteY7" fmla="*/ 366912293 h 367914492"/>
              <a:gd name="connsiteX8" fmla="*/ 5121392 w 7023014"/>
              <a:gd name="connsiteY8" fmla="*/ 47273482 h 367914492"/>
              <a:gd name="connsiteX9" fmla="*/ 5690636 w 7023014"/>
              <a:gd name="connsiteY9" fmla="*/ 1756686 h 367914492"/>
              <a:gd name="connsiteX10" fmla="*/ 6343242 w 7023014"/>
              <a:gd name="connsiteY10" fmla="*/ 9133429 h 367914492"/>
              <a:gd name="connsiteX11" fmla="*/ 7023014 w 7023014"/>
              <a:gd name="connsiteY11" fmla="*/ 6909699 h 367914492"/>
              <a:gd name="connsiteX0" fmla="*/ 0 w 7023014"/>
              <a:gd name="connsiteY0" fmla="*/ 135606242 h 361004829"/>
              <a:gd name="connsiteX1" fmla="*/ 652261 w 7023014"/>
              <a:gd name="connsiteY1" fmla="*/ 347460782 h 361004829"/>
              <a:gd name="connsiteX2" fmla="*/ 1292728 w 7023014"/>
              <a:gd name="connsiteY2" fmla="*/ 43360129 h 361004829"/>
              <a:gd name="connsiteX3" fmla="*/ 1909894 w 7023014"/>
              <a:gd name="connsiteY3" fmla="*/ 147129557 h 361004829"/>
              <a:gd name="connsiteX4" fmla="*/ 2566531 w 7023014"/>
              <a:gd name="connsiteY4" fmla="*/ 148827365 h 361004829"/>
              <a:gd name="connsiteX5" fmla="*/ 3195485 w 7023014"/>
              <a:gd name="connsiteY5" fmla="*/ 233643053 h 361004829"/>
              <a:gd name="connsiteX6" fmla="*/ 3851612 w 7023014"/>
              <a:gd name="connsiteY6" fmla="*/ 148208440 h 361004829"/>
              <a:gd name="connsiteX7" fmla="*/ 4494861 w 7023014"/>
              <a:gd name="connsiteY7" fmla="*/ 360002630 h 361004829"/>
              <a:gd name="connsiteX8" fmla="*/ 5121392 w 7023014"/>
              <a:gd name="connsiteY8" fmla="*/ 40363819 h 361004829"/>
              <a:gd name="connsiteX9" fmla="*/ 5773712 w 7023014"/>
              <a:gd name="connsiteY9" fmla="*/ 143873547 h 361004829"/>
              <a:gd name="connsiteX10" fmla="*/ 6343242 w 7023014"/>
              <a:gd name="connsiteY10" fmla="*/ 2223766 h 361004829"/>
              <a:gd name="connsiteX11" fmla="*/ 7023014 w 7023014"/>
              <a:gd name="connsiteY11" fmla="*/ 36 h 361004829"/>
              <a:gd name="connsiteX0" fmla="*/ 0 w 7023014"/>
              <a:gd name="connsiteY0" fmla="*/ 135606242 h 361004829"/>
              <a:gd name="connsiteX1" fmla="*/ 652261 w 7023014"/>
              <a:gd name="connsiteY1" fmla="*/ 347460782 h 361004829"/>
              <a:gd name="connsiteX2" fmla="*/ 1292728 w 7023014"/>
              <a:gd name="connsiteY2" fmla="*/ 43360129 h 361004829"/>
              <a:gd name="connsiteX3" fmla="*/ 1909894 w 7023014"/>
              <a:gd name="connsiteY3" fmla="*/ 147129557 h 361004829"/>
              <a:gd name="connsiteX4" fmla="*/ 2566531 w 7023014"/>
              <a:gd name="connsiteY4" fmla="*/ 148827365 h 361004829"/>
              <a:gd name="connsiteX5" fmla="*/ 3195485 w 7023014"/>
              <a:gd name="connsiteY5" fmla="*/ 233643053 h 361004829"/>
              <a:gd name="connsiteX6" fmla="*/ 3851612 w 7023014"/>
              <a:gd name="connsiteY6" fmla="*/ 148208440 h 361004829"/>
              <a:gd name="connsiteX7" fmla="*/ 4494861 w 7023014"/>
              <a:gd name="connsiteY7" fmla="*/ 360002630 h 361004829"/>
              <a:gd name="connsiteX8" fmla="*/ 5121392 w 7023014"/>
              <a:gd name="connsiteY8" fmla="*/ 40363819 h 361004829"/>
              <a:gd name="connsiteX9" fmla="*/ 5773712 w 7023014"/>
              <a:gd name="connsiteY9" fmla="*/ 143873547 h 361004829"/>
              <a:gd name="connsiteX10" fmla="*/ 6343242 w 7023014"/>
              <a:gd name="connsiteY10" fmla="*/ 2223766 h 361004829"/>
              <a:gd name="connsiteX11" fmla="*/ 7023014 w 7023014"/>
              <a:gd name="connsiteY11" fmla="*/ 36 h 361004829"/>
              <a:gd name="connsiteX0" fmla="*/ 0 w 7023014"/>
              <a:gd name="connsiteY0" fmla="*/ 135606242 h 364513733"/>
              <a:gd name="connsiteX1" fmla="*/ 652261 w 7023014"/>
              <a:gd name="connsiteY1" fmla="*/ 347460782 h 364513733"/>
              <a:gd name="connsiteX2" fmla="*/ 1292728 w 7023014"/>
              <a:gd name="connsiteY2" fmla="*/ 43360129 h 364513733"/>
              <a:gd name="connsiteX3" fmla="*/ 1909894 w 7023014"/>
              <a:gd name="connsiteY3" fmla="*/ 147129557 h 364513733"/>
              <a:gd name="connsiteX4" fmla="*/ 2566531 w 7023014"/>
              <a:gd name="connsiteY4" fmla="*/ 148827365 h 364513733"/>
              <a:gd name="connsiteX5" fmla="*/ 3195485 w 7023014"/>
              <a:gd name="connsiteY5" fmla="*/ 233643053 h 364513733"/>
              <a:gd name="connsiteX6" fmla="*/ 3851612 w 7023014"/>
              <a:gd name="connsiteY6" fmla="*/ 148208440 h 364513733"/>
              <a:gd name="connsiteX7" fmla="*/ 4494861 w 7023014"/>
              <a:gd name="connsiteY7" fmla="*/ 360002630 h 364513733"/>
              <a:gd name="connsiteX8" fmla="*/ 5147353 w 7023014"/>
              <a:gd name="connsiteY8" fmla="*/ 297675754 h 364513733"/>
              <a:gd name="connsiteX9" fmla="*/ 5773712 w 7023014"/>
              <a:gd name="connsiteY9" fmla="*/ 143873547 h 364513733"/>
              <a:gd name="connsiteX10" fmla="*/ 6343242 w 7023014"/>
              <a:gd name="connsiteY10" fmla="*/ 2223766 h 364513733"/>
              <a:gd name="connsiteX11" fmla="*/ 7023014 w 7023014"/>
              <a:gd name="connsiteY11" fmla="*/ 36 h 364513733"/>
              <a:gd name="connsiteX0" fmla="*/ 0 w 7023014"/>
              <a:gd name="connsiteY0" fmla="*/ 135606242 h 364923022"/>
              <a:gd name="connsiteX1" fmla="*/ 652261 w 7023014"/>
              <a:gd name="connsiteY1" fmla="*/ 347460782 h 364923022"/>
              <a:gd name="connsiteX2" fmla="*/ 1292728 w 7023014"/>
              <a:gd name="connsiteY2" fmla="*/ 43360129 h 364923022"/>
              <a:gd name="connsiteX3" fmla="*/ 1909894 w 7023014"/>
              <a:gd name="connsiteY3" fmla="*/ 147129557 h 364923022"/>
              <a:gd name="connsiteX4" fmla="*/ 2566531 w 7023014"/>
              <a:gd name="connsiteY4" fmla="*/ 148827365 h 364923022"/>
              <a:gd name="connsiteX5" fmla="*/ 3195485 w 7023014"/>
              <a:gd name="connsiteY5" fmla="*/ 233643053 h 364923022"/>
              <a:gd name="connsiteX6" fmla="*/ 3851612 w 7023014"/>
              <a:gd name="connsiteY6" fmla="*/ 148208440 h 364923022"/>
              <a:gd name="connsiteX7" fmla="*/ 4494861 w 7023014"/>
              <a:gd name="connsiteY7" fmla="*/ 360002630 h 364923022"/>
              <a:gd name="connsiteX8" fmla="*/ 5147353 w 7023014"/>
              <a:gd name="connsiteY8" fmla="*/ 301964213 h 364923022"/>
              <a:gd name="connsiteX9" fmla="*/ 5773712 w 7023014"/>
              <a:gd name="connsiteY9" fmla="*/ 143873547 h 364923022"/>
              <a:gd name="connsiteX10" fmla="*/ 6343242 w 7023014"/>
              <a:gd name="connsiteY10" fmla="*/ 2223766 h 364923022"/>
              <a:gd name="connsiteX11" fmla="*/ 7023014 w 7023014"/>
              <a:gd name="connsiteY11" fmla="*/ 36 h 364923022"/>
              <a:gd name="connsiteX0" fmla="*/ 0 w 7023014"/>
              <a:gd name="connsiteY0" fmla="*/ 135606242 h 364923022"/>
              <a:gd name="connsiteX1" fmla="*/ 652261 w 7023014"/>
              <a:gd name="connsiteY1" fmla="*/ 347460782 h 364923022"/>
              <a:gd name="connsiteX2" fmla="*/ 1292728 w 7023014"/>
              <a:gd name="connsiteY2" fmla="*/ 43360129 h 364923022"/>
              <a:gd name="connsiteX3" fmla="*/ 1909894 w 7023014"/>
              <a:gd name="connsiteY3" fmla="*/ 147129557 h 364923022"/>
              <a:gd name="connsiteX4" fmla="*/ 2566531 w 7023014"/>
              <a:gd name="connsiteY4" fmla="*/ 148827365 h 364923022"/>
              <a:gd name="connsiteX5" fmla="*/ 3195485 w 7023014"/>
              <a:gd name="connsiteY5" fmla="*/ 233643053 h 364923022"/>
              <a:gd name="connsiteX6" fmla="*/ 3851612 w 7023014"/>
              <a:gd name="connsiteY6" fmla="*/ 148208440 h 364923022"/>
              <a:gd name="connsiteX7" fmla="*/ 4494861 w 7023014"/>
              <a:gd name="connsiteY7" fmla="*/ 360002630 h 364923022"/>
              <a:gd name="connsiteX8" fmla="*/ 5147353 w 7023014"/>
              <a:gd name="connsiteY8" fmla="*/ 301964213 h 364923022"/>
              <a:gd name="connsiteX9" fmla="*/ 5773712 w 7023014"/>
              <a:gd name="connsiteY9" fmla="*/ 143873547 h 364923022"/>
              <a:gd name="connsiteX10" fmla="*/ 6431511 w 7023014"/>
              <a:gd name="connsiteY10" fmla="*/ 299204613 h 364923022"/>
              <a:gd name="connsiteX11" fmla="*/ 7023014 w 7023014"/>
              <a:gd name="connsiteY11" fmla="*/ 36 h 364923022"/>
              <a:gd name="connsiteX0" fmla="*/ 0 w 7064552"/>
              <a:gd name="connsiteY0" fmla="*/ 92248231 h 321565011"/>
              <a:gd name="connsiteX1" fmla="*/ 652261 w 7064552"/>
              <a:gd name="connsiteY1" fmla="*/ 304102771 h 321565011"/>
              <a:gd name="connsiteX2" fmla="*/ 1292728 w 7064552"/>
              <a:gd name="connsiteY2" fmla="*/ 2118 h 321565011"/>
              <a:gd name="connsiteX3" fmla="*/ 1909894 w 7064552"/>
              <a:gd name="connsiteY3" fmla="*/ 103771546 h 321565011"/>
              <a:gd name="connsiteX4" fmla="*/ 2566531 w 7064552"/>
              <a:gd name="connsiteY4" fmla="*/ 105469354 h 321565011"/>
              <a:gd name="connsiteX5" fmla="*/ 3195485 w 7064552"/>
              <a:gd name="connsiteY5" fmla="*/ 190285042 h 321565011"/>
              <a:gd name="connsiteX6" fmla="*/ 3851612 w 7064552"/>
              <a:gd name="connsiteY6" fmla="*/ 104850429 h 321565011"/>
              <a:gd name="connsiteX7" fmla="*/ 4494861 w 7064552"/>
              <a:gd name="connsiteY7" fmla="*/ 316644619 h 321565011"/>
              <a:gd name="connsiteX8" fmla="*/ 5147353 w 7064552"/>
              <a:gd name="connsiteY8" fmla="*/ 258606202 h 321565011"/>
              <a:gd name="connsiteX9" fmla="*/ 5773712 w 7064552"/>
              <a:gd name="connsiteY9" fmla="*/ 100515536 h 321565011"/>
              <a:gd name="connsiteX10" fmla="*/ 6431511 w 7064552"/>
              <a:gd name="connsiteY10" fmla="*/ 255846602 h 321565011"/>
              <a:gd name="connsiteX11" fmla="*/ 7064552 w 7064552"/>
              <a:gd name="connsiteY11" fmla="*/ 1671642 h 321565011"/>
              <a:gd name="connsiteX0" fmla="*/ 0 w 7064552"/>
              <a:gd name="connsiteY0" fmla="*/ 92248231 h 321565011"/>
              <a:gd name="connsiteX1" fmla="*/ 652261 w 7064552"/>
              <a:gd name="connsiteY1" fmla="*/ 304102771 h 321565011"/>
              <a:gd name="connsiteX2" fmla="*/ 1292728 w 7064552"/>
              <a:gd name="connsiteY2" fmla="*/ 2118 h 321565011"/>
              <a:gd name="connsiteX3" fmla="*/ 1909894 w 7064552"/>
              <a:gd name="connsiteY3" fmla="*/ 103771546 h 321565011"/>
              <a:gd name="connsiteX4" fmla="*/ 2566531 w 7064552"/>
              <a:gd name="connsiteY4" fmla="*/ 105469354 h 321565011"/>
              <a:gd name="connsiteX5" fmla="*/ 3195485 w 7064552"/>
              <a:gd name="connsiteY5" fmla="*/ 190285042 h 321565011"/>
              <a:gd name="connsiteX6" fmla="*/ 3851612 w 7064552"/>
              <a:gd name="connsiteY6" fmla="*/ 104850429 h 321565011"/>
              <a:gd name="connsiteX7" fmla="*/ 4494861 w 7064552"/>
              <a:gd name="connsiteY7" fmla="*/ 316644619 h 321565011"/>
              <a:gd name="connsiteX8" fmla="*/ 5147353 w 7064552"/>
              <a:gd name="connsiteY8" fmla="*/ 258606202 h 321565011"/>
              <a:gd name="connsiteX9" fmla="*/ 5773712 w 7064552"/>
              <a:gd name="connsiteY9" fmla="*/ 100515536 h 321565011"/>
              <a:gd name="connsiteX10" fmla="*/ 6431511 w 7064552"/>
              <a:gd name="connsiteY10" fmla="*/ 255846602 h 321565011"/>
              <a:gd name="connsiteX11" fmla="*/ 7064552 w 7064552"/>
              <a:gd name="connsiteY11" fmla="*/ 1671642 h 32156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64552" h="321565011">
                <a:moveTo>
                  <a:pt x="0" y="92248231"/>
                </a:moveTo>
                <a:cubicBezTo>
                  <a:pt x="183723" y="81520352"/>
                  <a:pt x="436806" y="319477123"/>
                  <a:pt x="652261" y="304102771"/>
                </a:cubicBezTo>
                <a:cubicBezTo>
                  <a:pt x="867716" y="288728419"/>
                  <a:pt x="1083123" y="-917497"/>
                  <a:pt x="1292728" y="2118"/>
                </a:cubicBezTo>
                <a:cubicBezTo>
                  <a:pt x="1502333" y="921733"/>
                  <a:pt x="1666440" y="90482057"/>
                  <a:pt x="1909894" y="103771546"/>
                </a:cubicBezTo>
                <a:cubicBezTo>
                  <a:pt x="2153348" y="117061035"/>
                  <a:pt x="2352266" y="104988220"/>
                  <a:pt x="2566531" y="105469354"/>
                </a:cubicBezTo>
                <a:cubicBezTo>
                  <a:pt x="2780796" y="105950488"/>
                  <a:pt x="2981305" y="190388196"/>
                  <a:pt x="3195485" y="190285042"/>
                </a:cubicBezTo>
                <a:cubicBezTo>
                  <a:pt x="3409665" y="190181888"/>
                  <a:pt x="3657812" y="104857793"/>
                  <a:pt x="3851612" y="104850429"/>
                </a:cubicBezTo>
                <a:cubicBezTo>
                  <a:pt x="4166939" y="104862117"/>
                  <a:pt x="4278904" y="291018657"/>
                  <a:pt x="4494861" y="316644619"/>
                </a:cubicBezTo>
                <a:cubicBezTo>
                  <a:pt x="4710818" y="342270581"/>
                  <a:pt x="4979039" y="259501465"/>
                  <a:pt x="5147353" y="258606202"/>
                </a:cubicBezTo>
                <a:cubicBezTo>
                  <a:pt x="5368740" y="258626470"/>
                  <a:pt x="5559686" y="100975469"/>
                  <a:pt x="5773712" y="100515536"/>
                </a:cubicBezTo>
                <a:cubicBezTo>
                  <a:pt x="5987738" y="100055603"/>
                  <a:pt x="6209448" y="254987766"/>
                  <a:pt x="6431511" y="255846602"/>
                </a:cubicBezTo>
                <a:cubicBezTo>
                  <a:pt x="6653574" y="256705438"/>
                  <a:pt x="6883971" y="52052150"/>
                  <a:pt x="7064552" y="1671642"/>
                </a:cubicBezTo>
              </a:path>
            </a:pathLst>
          </a:custGeom>
          <a:noFill/>
          <a:ln w="136525" cap="rnd" cmpd="sng" algn="ctr">
            <a:solidFill>
              <a:srgbClr val="43B02A">
                <a:alpha val="50000"/>
              </a:srgb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153" name="Freeform 42">
            <a:extLst>
              <a:ext uri="{FF2B5EF4-FFF2-40B4-BE49-F238E27FC236}">
                <a16:creationId xmlns:a16="http://schemas.microsoft.com/office/drawing/2014/main" id="{E7AB1AC2-F76A-4AC2-9582-220750685182}"/>
              </a:ext>
            </a:extLst>
          </p:cNvPr>
          <p:cNvSpPr/>
          <p:nvPr/>
        </p:nvSpPr>
        <p:spPr bwMode="auto">
          <a:xfrm>
            <a:off x="1180640" y="2995860"/>
            <a:ext cx="9639350" cy="2357748"/>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774244 w 7136640"/>
              <a:gd name="connsiteY1" fmla="*/ 285534 h 308134"/>
              <a:gd name="connsiteX2" fmla="*/ 1317807 w 7136640"/>
              <a:gd name="connsiteY2" fmla="*/ 54363 h 308134"/>
              <a:gd name="connsiteX3" fmla="*/ 1992056 w 7136640"/>
              <a:gd name="connsiteY3" fmla="*/ 307577 h 308134"/>
              <a:gd name="connsiteX4" fmla="*/ 2642777 w 7136640"/>
              <a:gd name="connsiteY4" fmla="*/ 124402 h 308134"/>
              <a:gd name="connsiteX5" fmla="*/ 3302093 w 7136640"/>
              <a:gd name="connsiteY5" fmla="*/ 189711 h 308134"/>
              <a:gd name="connsiteX6" fmla="*/ 3964644 w 7136640"/>
              <a:gd name="connsiteY6" fmla="*/ 417 h 308134"/>
              <a:gd name="connsiteX7" fmla="*/ 4578995 w 7136640"/>
              <a:gd name="connsiteY7" fmla="*/ 255894 h 308134"/>
              <a:gd name="connsiteX8" fmla="*/ 5236906 w 7136640"/>
              <a:gd name="connsiteY8" fmla="*/ 128120 h 308134"/>
              <a:gd name="connsiteX9" fmla="*/ 5843222 w 7136640"/>
              <a:gd name="connsiteY9" fmla="*/ 271154 h 308134"/>
              <a:gd name="connsiteX10" fmla="*/ 6486411 w 7136640"/>
              <a:gd name="connsiteY10" fmla="*/ 18281 h 308134"/>
              <a:gd name="connsiteX11" fmla="*/ 7136640 w 7136640"/>
              <a:gd name="connsiteY11" fmla="*/ 141032 h 308134"/>
              <a:gd name="connsiteX0" fmla="*/ 0 w 7136640"/>
              <a:gd name="connsiteY0" fmla="*/ 50651 h 285535"/>
              <a:gd name="connsiteX1" fmla="*/ 774244 w 7136640"/>
              <a:gd name="connsiteY1" fmla="*/ 285534 h 285535"/>
              <a:gd name="connsiteX2" fmla="*/ 1317807 w 7136640"/>
              <a:gd name="connsiteY2" fmla="*/ 54363 h 285535"/>
              <a:gd name="connsiteX3" fmla="*/ 2187898 w 7136640"/>
              <a:gd name="connsiteY3" fmla="*/ 56160 h 285535"/>
              <a:gd name="connsiteX4" fmla="*/ 2642777 w 7136640"/>
              <a:gd name="connsiteY4" fmla="*/ 124402 h 285535"/>
              <a:gd name="connsiteX5" fmla="*/ 3302093 w 7136640"/>
              <a:gd name="connsiteY5" fmla="*/ 189711 h 285535"/>
              <a:gd name="connsiteX6" fmla="*/ 3964644 w 7136640"/>
              <a:gd name="connsiteY6" fmla="*/ 417 h 285535"/>
              <a:gd name="connsiteX7" fmla="*/ 4578995 w 7136640"/>
              <a:gd name="connsiteY7" fmla="*/ 255894 h 285535"/>
              <a:gd name="connsiteX8" fmla="*/ 5236906 w 7136640"/>
              <a:gd name="connsiteY8" fmla="*/ 128120 h 285535"/>
              <a:gd name="connsiteX9" fmla="*/ 5843222 w 7136640"/>
              <a:gd name="connsiteY9" fmla="*/ 271154 h 285535"/>
              <a:gd name="connsiteX10" fmla="*/ 6486411 w 7136640"/>
              <a:gd name="connsiteY10" fmla="*/ 18281 h 285535"/>
              <a:gd name="connsiteX11" fmla="*/ 7136640 w 7136640"/>
              <a:gd name="connsiteY11" fmla="*/ 141032 h 285535"/>
              <a:gd name="connsiteX0" fmla="*/ 0 w 7136640"/>
              <a:gd name="connsiteY0" fmla="*/ 50651 h 285535"/>
              <a:gd name="connsiteX1" fmla="*/ 774244 w 7136640"/>
              <a:gd name="connsiteY1" fmla="*/ 285534 h 285535"/>
              <a:gd name="connsiteX2" fmla="*/ 1317807 w 7136640"/>
              <a:gd name="connsiteY2" fmla="*/ 54363 h 285535"/>
              <a:gd name="connsiteX3" fmla="*/ 2187898 w 7136640"/>
              <a:gd name="connsiteY3" fmla="*/ 56160 h 285535"/>
              <a:gd name="connsiteX4" fmla="*/ 2685618 w 7136640"/>
              <a:gd name="connsiteY4" fmla="*/ 166611 h 285535"/>
              <a:gd name="connsiteX5" fmla="*/ 3302093 w 7136640"/>
              <a:gd name="connsiteY5" fmla="*/ 189711 h 285535"/>
              <a:gd name="connsiteX6" fmla="*/ 3964644 w 7136640"/>
              <a:gd name="connsiteY6" fmla="*/ 417 h 285535"/>
              <a:gd name="connsiteX7" fmla="*/ 4578995 w 7136640"/>
              <a:gd name="connsiteY7" fmla="*/ 255894 h 285535"/>
              <a:gd name="connsiteX8" fmla="*/ 5236906 w 7136640"/>
              <a:gd name="connsiteY8" fmla="*/ 128120 h 285535"/>
              <a:gd name="connsiteX9" fmla="*/ 5843222 w 7136640"/>
              <a:gd name="connsiteY9" fmla="*/ 271154 h 285535"/>
              <a:gd name="connsiteX10" fmla="*/ 6486411 w 7136640"/>
              <a:gd name="connsiteY10" fmla="*/ 18281 h 285535"/>
              <a:gd name="connsiteX11" fmla="*/ 7136640 w 7136640"/>
              <a:gd name="connsiteY11" fmla="*/ 141032 h 285535"/>
              <a:gd name="connsiteX0" fmla="*/ 0 w 7136640"/>
              <a:gd name="connsiteY0" fmla="*/ 50651 h 285535"/>
              <a:gd name="connsiteX1" fmla="*/ 774244 w 7136640"/>
              <a:gd name="connsiteY1" fmla="*/ 285534 h 285535"/>
              <a:gd name="connsiteX2" fmla="*/ 1317807 w 7136640"/>
              <a:gd name="connsiteY2" fmla="*/ 54363 h 285535"/>
              <a:gd name="connsiteX3" fmla="*/ 1985936 w 7136640"/>
              <a:gd name="connsiteY3" fmla="*/ 157094 h 285535"/>
              <a:gd name="connsiteX4" fmla="*/ 2685618 w 7136640"/>
              <a:gd name="connsiteY4" fmla="*/ 166611 h 285535"/>
              <a:gd name="connsiteX5" fmla="*/ 3302093 w 7136640"/>
              <a:gd name="connsiteY5" fmla="*/ 189711 h 285535"/>
              <a:gd name="connsiteX6" fmla="*/ 3964644 w 7136640"/>
              <a:gd name="connsiteY6" fmla="*/ 417 h 285535"/>
              <a:gd name="connsiteX7" fmla="*/ 4578995 w 7136640"/>
              <a:gd name="connsiteY7" fmla="*/ 255894 h 285535"/>
              <a:gd name="connsiteX8" fmla="*/ 5236906 w 7136640"/>
              <a:gd name="connsiteY8" fmla="*/ 128120 h 285535"/>
              <a:gd name="connsiteX9" fmla="*/ 5843222 w 7136640"/>
              <a:gd name="connsiteY9" fmla="*/ 271154 h 285535"/>
              <a:gd name="connsiteX10" fmla="*/ 6486411 w 7136640"/>
              <a:gd name="connsiteY10" fmla="*/ 18281 h 285535"/>
              <a:gd name="connsiteX11" fmla="*/ 7136640 w 7136640"/>
              <a:gd name="connsiteY11" fmla="*/ 141032 h 285535"/>
              <a:gd name="connsiteX0" fmla="*/ 0 w 7178503"/>
              <a:gd name="connsiteY0" fmla="*/ 20460092 h 20460092"/>
              <a:gd name="connsiteX1" fmla="*/ 816107 w 7178503"/>
              <a:gd name="connsiteY1" fmla="*/ 1480429 h 20460092"/>
              <a:gd name="connsiteX2" fmla="*/ 1359670 w 7178503"/>
              <a:gd name="connsiteY2" fmla="*/ 1249258 h 20460092"/>
              <a:gd name="connsiteX3" fmla="*/ 2027799 w 7178503"/>
              <a:gd name="connsiteY3" fmla="*/ 1351989 h 20460092"/>
              <a:gd name="connsiteX4" fmla="*/ 2727481 w 7178503"/>
              <a:gd name="connsiteY4" fmla="*/ 1361506 h 20460092"/>
              <a:gd name="connsiteX5" fmla="*/ 3343956 w 7178503"/>
              <a:gd name="connsiteY5" fmla="*/ 1384606 h 20460092"/>
              <a:gd name="connsiteX6" fmla="*/ 4006507 w 7178503"/>
              <a:gd name="connsiteY6" fmla="*/ 1195312 h 20460092"/>
              <a:gd name="connsiteX7" fmla="*/ 4620858 w 7178503"/>
              <a:gd name="connsiteY7" fmla="*/ 1450789 h 20460092"/>
              <a:gd name="connsiteX8" fmla="*/ 5278769 w 7178503"/>
              <a:gd name="connsiteY8" fmla="*/ 1323015 h 20460092"/>
              <a:gd name="connsiteX9" fmla="*/ 5885085 w 7178503"/>
              <a:gd name="connsiteY9" fmla="*/ 1466049 h 20460092"/>
              <a:gd name="connsiteX10" fmla="*/ 6528274 w 7178503"/>
              <a:gd name="connsiteY10" fmla="*/ 1213176 h 20460092"/>
              <a:gd name="connsiteX11" fmla="*/ 7178503 w 7178503"/>
              <a:gd name="connsiteY11" fmla="*/ 1335927 h 20460092"/>
              <a:gd name="connsiteX0" fmla="*/ 0 w 7178503"/>
              <a:gd name="connsiteY0" fmla="*/ 19696781 h 19696781"/>
              <a:gd name="connsiteX1" fmla="*/ 1039375 w 7178503"/>
              <a:gd name="connsiteY1" fmla="*/ 7439236 h 19696781"/>
              <a:gd name="connsiteX2" fmla="*/ 1359670 w 7178503"/>
              <a:gd name="connsiteY2" fmla="*/ 485947 h 19696781"/>
              <a:gd name="connsiteX3" fmla="*/ 2027799 w 7178503"/>
              <a:gd name="connsiteY3" fmla="*/ 588678 h 19696781"/>
              <a:gd name="connsiteX4" fmla="*/ 2727481 w 7178503"/>
              <a:gd name="connsiteY4" fmla="*/ 598195 h 19696781"/>
              <a:gd name="connsiteX5" fmla="*/ 3343956 w 7178503"/>
              <a:gd name="connsiteY5" fmla="*/ 621295 h 19696781"/>
              <a:gd name="connsiteX6" fmla="*/ 4006507 w 7178503"/>
              <a:gd name="connsiteY6" fmla="*/ 432001 h 19696781"/>
              <a:gd name="connsiteX7" fmla="*/ 4620858 w 7178503"/>
              <a:gd name="connsiteY7" fmla="*/ 687478 h 19696781"/>
              <a:gd name="connsiteX8" fmla="*/ 5278769 w 7178503"/>
              <a:gd name="connsiteY8" fmla="*/ 559704 h 19696781"/>
              <a:gd name="connsiteX9" fmla="*/ 5885085 w 7178503"/>
              <a:gd name="connsiteY9" fmla="*/ 702738 h 19696781"/>
              <a:gd name="connsiteX10" fmla="*/ 6528274 w 7178503"/>
              <a:gd name="connsiteY10" fmla="*/ 449865 h 19696781"/>
              <a:gd name="connsiteX11" fmla="*/ 7178503 w 7178503"/>
              <a:gd name="connsiteY11" fmla="*/ 572616 h 19696781"/>
              <a:gd name="connsiteX0" fmla="*/ 0 w 7178503"/>
              <a:gd name="connsiteY0" fmla="*/ 19696781 h 19696781"/>
              <a:gd name="connsiteX1" fmla="*/ 1039375 w 7178503"/>
              <a:gd name="connsiteY1" fmla="*/ 7439236 h 19696781"/>
              <a:gd name="connsiteX2" fmla="*/ 1359670 w 7178503"/>
              <a:gd name="connsiteY2" fmla="*/ 485947 h 19696781"/>
              <a:gd name="connsiteX3" fmla="*/ 2027799 w 7178503"/>
              <a:gd name="connsiteY3" fmla="*/ 588678 h 19696781"/>
              <a:gd name="connsiteX4" fmla="*/ 2727481 w 7178503"/>
              <a:gd name="connsiteY4" fmla="*/ 598195 h 19696781"/>
              <a:gd name="connsiteX5" fmla="*/ 3343956 w 7178503"/>
              <a:gd name="connsiteY5" fmla="*/ 621295 h 19696781"/>
              <a:gd name="connsiteX6" fmla="*/ 4006507 w 7178503"/>
              <a:gd name="connsiteY6" fmla="*/ 432001 h 19696781"/>
              <a:gd name="connsiteX7" fmla="*/ 4620858 w 7178503"/>
              <a:gd name="connsiteY7" fmla="*/ 687478 h 19696781"/>
              <a:gd name="connsiteX8" fmla="*/ 5278769 w 7178503"/>
              <a:gd name="connsiteY8" fmla="*/ 559704 h 19696781"/>
              <a:gd name="connsiteX9" fmla="*/ 5885085 w 7178503"/>
              <a:gd name="connsiteY9" fmla="*/ 702738 h 19696781"/>
              <a:gd name="connsiteX10" fmla="*/ 6528274 w 7178503"/>
              <a:gd name="connsiteY10" fmla="*/ 449865 h 19696781"/>
              <a:gd name="connsiteX11" fmla="*/ 7178503 w 7178503"/>
              <a:gd name="connsiteY11" fmla="*/ 572616 h 19696781"/>
              <a:gd name="connsiteX0" fmla="*/ 0 w 7178503"/>
              <a:gd name="connsiteY0" fmla="*/ 20282334 h 20282334"/>
              <a:gd name="connsiteX1" fmla="*/ 669588 w 7178503"/>
              <a:gd name="connsiteY1" fmla="*/ 15936661 h 20282334"/>
              <a:gd name="connsiteX2" fmla="*/ 1359670 w 7178503"/>
              <a:gd name="connsiteY2" fmla="*/ 1071500 h 20282334"/>
              <a:gd name="connsiteX3" fmla="*/ 2027799 w 7178503"/>
              <a:gd name="connsiteY3" fmla="*/ 1174231 h 20282334"/>
              <a:gd name="connsiteX4" fmla="*/ 2727481 w 7178503"/>
              <a:gd name="connsiteY4" fmla="*/ 1183748 h 20282334"/>
              <a:gd name="connsiteX5" fmla="*/ 3343956 w 7178503"/>
              <a:gd name="connsiteY5" fmla="*/ 1206848 h 20282334"/>
              <a:gd name="connsiteX6" fmla="*/ 4006507 w 7178503"/>
              <a:gd name="connsiteY6" fmla="*/ 1017554 h 20282334"/>
              <a:gd name="connsiteX7" fmla="*/ 4620858 w 7178503"/>
              <a:gd name="connsiteY7" fmla="*/ 1273031 h 20282334"/>
              <a:gd name="connsiteX8" fmla="*/ 5278769 w 7178503"/>
              <a:gd name="connsiteY8" fmla="*/ 1145257 h 20282334"/>
              <a:gd name="connsiteX9" fmla="*/ 5885085 w 7178503"/>
              <a:gd name="connsiteY9" fmla="*/ 1288291 h 20282334"/>
              <a:gd name="connsiteX10" fmla="*/ 6528274 w 7178503"/>
              <a:gd name="connsiteY10" fmla="*/ 1035418 h 20282334"/>
              <a:gd name="connsiteX11" fmla="*/ 7178503 w 7178503"/>
              <a:gd name="connsiteY11" fmla="*/ 1158169 h 20282334"/>
              <a:gd name="connsiteX0" fmla="*/ 0 w 7178503"/>
              <a:gd name="connsiteY0" fmla="*/ 20326383 h 20326383"/>
              <a:gd name="connsiteX1" fmla="*/ 697496 w 7178503"/>
              <a:gd name="connsiteY1" fmla="*/ 16575588 h 20326383"/>
              <a:gd name="connsiteX2" fmla="*/ 1359670 w 7178503"/>
              <a:gd name="connsiteY2" fmla="*/ 1115549 h 20326383"/>
              <a:gd name="connsiteX3" fmla="*/ 2027799 w 7178503"/>
              <a:gd name="connsiteY3" fmla="*/ 1218280 h 20326383"/>
              <a:gd name="connsiteX4" fmla="*/ 2727481 w 7178503"/>
              <a:gd name="connsiteY4" fmla="*/ 1227797 h 20326383"/>
              <a:gd name="connsiteX5" fmla="*/ 3343956 w 7178503"/>
              <a:gd name="connsiteY5" fmla="*/ 1250897 h 20326383"/>
              <a:gd name="connsiteX6" fmla="*/ 4006507 w 7178503"/>
              <a:gd name="connsiteY6" fmla="*/ 1061603 h 20326383"/>
              <a:gd name="connsiteX7" fmla="*/ 4620858 w 7178503"/>
              <a:gd name="connsiteY7" fmla="*/ 1317080 h 20326383"/>
              <a:gd name="connsiteX8" fmla="*/ 5278769 w 7178503"/>
              <a:gd name="connsiteY8" fmla="*/ 1189306 h 20326383"/>
              <a:gd name="connsiteX9" fmla="*/ 5885085 w 7178503"/>
              <a:gd name="connsiteY9" fmla="*/ 1332340 h 20326383"/>
              <a:gd name="connsiteX10" fmla="*/ 6528274 w 7178503"/>
              <a:gd name="connsiteY10" fmla="*/ 1079467 h 20326383"/>
              <a:gd name="connsiteX11" fmla="*/ 7178503 w 7178503"/>
              <a:gd name="connsiteY11" fmla="*/ 1202218 h 20326383"/>
              <a:gd name="connsiteX0" fmla="*/ 0 w 7178503"/>
              <a:gd name="connsiteY0" fmla="*/ 20098806 h 20098806"/>
              <a:gd name="connsiteX1" fmla="*/ 697496 w 7178503"/>
              <a:gd name="connsiteY1" fmla="*/ 16348011 h 20098806"/>
              <a:gd name="connsiteX2" fmla="*/ 1359670 w 7178503"/>
              <a:gd name="connsiteY2" fmla="*/ 14391691 h 20098806"/>
              <a:gd name="connsiteX3" fmla="*/ 2027799 w 7178503"/>
              <a:gd name="connsiteY3" fmla="*/ 990703 h 20098806"/>
              <a:gd name="connsiteX4" fmla="*/ 2727481 w 7178503"/>
              <a:gd name="connsiteY4" fmla="*/ 1000220 h 20098806"/>
              <a:gd name="connsiteX5" fmla="*/ 3343956 w 7178503"/>
              <a:gd name="connsiteY5" fmla="*/ 1023320 h 20098806"/>
              <a:gd name="connsiteX6" fmla="*/ 4006507 w 7178503"/>
              <a:gd name="connsiteY6" fmla="*/ 834026 h 20098806"/>
              <a:gd name="connsiteX7" fmla="*/ 4620858 w 7178503"/>
              <a:gd name="connsiteY7" fmla="*/ 1089503 h 20098806"/>
              <a:gd name="connsiteX8" fmla="*/ 5278769 w 7178503"/>
              <a:gd name="connsiteY8" fmla="*/ 961729 h 20098806"/>
              <a:gd name="connsiteX9" fmla="*/ 5885085 w 7178503"/>
              <a:gd name="connsiteY9" fmla="*/ 1104763 h 20098806"/>
              <a:gd name="connsiteX10" fmla="*/ 6528274 w 7178503"/>
              <a:gd name="connsiteY10" fmla="*/ 851890 h 20098806"/>
              <a:gd name="connsiteX11" fmla="*/ 7178503 w 7178503"/>
              <a:gd name="connsiteY11" fmla="*/ 974641 h 20098806"/>
              <a:gd name="connsiteX0" fmla="*/ 0 w 7178503"/>
              <a:gd name="connsiteY0" fmla="*/ 20098806 h 20098806"/>
              <a:gd name="connsiteX1" fmla="*/ 697496 w 7178503"/>
              <a:gd name="connsiteY1" fmla="*/ 16348011 h 20098806"/>
              <a:gd name="connsiteX2" fmla="*/ 1359670 w 7178503"/>
              <a:gd name="connsiteY2" fmla="*/ 14391691 h 20098806"/>
              <a:gd name="connsiteX3" fmla="*/ 2027799 w 7178503"/>
              <a:gd name="connsiteY3" fmla="*/ 990703 h 20098806"/>
              <a:gd name="connsiteX4" fmla="*/ 2727481 w 7178503"/>
              <a:gd name="connsiteY4" fmla="*/ 1000220 h 20098806"/>
              <a:gd name="connsiteX5" fmla="*/ 3343956 w 7178503"/>
              <a:gd name="connsiteY5" fmla="*/ 1023320 h 20098806"/>
              <a:gd name="connsiteX6" fmla="*/ 4006507 w 7178503"/>
              <a:gd name="connsiteY6" fmla="*/ 834026 h 20098806"/>
              <a:gd name="connsiteX7" fmla="*/ 4620858 w 7178503"/>
              <a:gd name="connsiteY7" fmla="*/ 1089503 h 20098806"/>
              <a:gd name="connsiteX8" fmla="*/ 5278769 w 7178503"/>
              <a:gd name="connsiteY8" fmla="*/ 961729 h 20098806"/>
              <a:gd name="connsiteX9" fmla="*/ 5885085 w 7178503"/>
              <a:gd name="connsiteY9" fmla="*/ 1104763 h 20098806"/>
              <a:gd name="connsiteX10" fmla="*/ 6528274 w 7178503"/>
              <a:gd name="connsiteY10" fmla="*/ 851890 h 20098806"/>
              <a:gd name="connsiteX11" fmla="*/ 7178503 w 7178503"/>
              <a:gd name="connsiteY11" fmla="*/ 974641 h 20098806"/>
              <a:gd name="connsiteX0" fmla="*/ 0 w 7178503"/>
              <a:gd name="connsiteY0" fmla="*/ 20098806 h 20098806"/>
              <a:gd name="connsiteX1" fmla="*/ 697496 w 7178503"/>
              <a:gd name="connsiteY1" fmla="*/ 16348011 h 20098806"/>
              <a:gd name="connsiteX2" fmla="*/ 1429441 w 7178503"/>
              <a:gd name="connsiteY2" fmla="*/ 14391691 h 20098806"/>
              <a:gd name="connsiteX3" fmla="*/ 2027799 w 7178503"/>
              <a:gd name="connsiteY3" fmla="*/ 990703 h 20098806"/>
              <a:gd name="connsiteX4" fmla="*/ 2727481 w 7178503"/>
              <a:gd name="connsiteY4" fmla="*/ 1000220 h 20098806"/>
              <a:gd name="connsiteX5" fmla="*/ 3343956 w 7178503"/>
              <a:gd name="connsiteY5" fmla="*/ 1023320 h 20098806"/>
              <a:gd name="connsiteX6" fmla="*/ 4006507 w 7178503"/>
              <a:gd name="connsiteY6" fmla="*/ 834026 h 20098806"/>
              <a:gd name="connsiteX7" fmla="*/ 4620858 w 7178503"/>
              <a:gd name="connsiteY7" fmla="*/ 1089503 h 20098806"/>
              <a:gd name="connsiteX8" fmla="*/ 5278769 w 7178503"/>
              <a:gd name="connsiteY8" fmla="*/ 961729 h 20098806"/>
              <a:gd name="connsiteX9" fmla="*/ 5885085 w 7178503"/>
              <a:gd name="connsiteY9" fmla="*/ 1104763 h 20098806"/>
              <a:gd name="connsiteX10" fmla="*/ 6528274 w 7178503"/>
              <a:gd name="connsiteY10" fmla="*/ 851890 h 20098806"/>
              <a:gd name="connsiteX11" fmla="*/ 7178503 w 7178503"/>
              <a:gd name="connsiteY11" fmla="*/ 974641 h 20098806"/>
              <a:gd name="connsiteX0" fmla="*/ 0 w 7178503"/>
              <a:gd name="connsiteY0" fmla="*/ 20235406 h 20235406"/>
              <a:gd name="connsiteX1" fmla="*/ 697496 w 7178503"/>
              <a:gd name="connsiteY1" fmla="*/ 16484611 h 20235406"/>
              <a:gd name="connsiteX2" fmla="*/ 1422464 w 7178503"/>
              <a:gd name="connsiteY2" fmla="*/ 16372411 h 20235406"/>
              <a:gd name="connsiteX3" fmla="*/ 2027799 w 7178503"/>
              <a:gd name="connsiteY3" fmla="*/ 1127303 h 20235406"/>
              <a:gd name="connsiteX4" fmla="*/ 2727481 w 7178503"/>
              <a:gd name="connsiteY4" fmla="*/ 1136820 h 20235406"/>
              <a:gd name="connsiteX5" fmla="*/ 3343956 w 7178503"/>
              <a:gd name="connsiteY5" fmla="*/ 1159920 h 20235406"/>
              <a:gd name="connsiteX6" fmla="*/ 4006507 w 7178503"/>
              <a:gd name="connsiteY6" fmla="*/ 970626 h 20235406"/>
              <a:gd name="connsiteX7" fmla="*/ 4620858 w 7178503"/>
              <a:gd name="connsiteY7" fmla="*/ 1226103 h 20235406"/>
              <a:gd name="connsiteX8" fmla="*/ 5278769 w 7178503"/>
              <a:gd name="connsiteY8" fmla="*/ 1098329 h 20235406"/>
              <a:gd name="connsiteX9" fmla="*/ 5885085 w 7178503"/>
              <a:gd name="connsiteY9" fmla="*/ 1241363 h 20235406"/>
              <a:gd name="connsiteX10" fmla="*/ 6528274 w 7178503"/>
              <a:gd name="connsiteY10" fmla="*/ 988490 h 20235406"/>
              <a:gd name="connsiteX11" fmla="*/ 7178503 w 7178503"/>
              <a:gd name="connsiteY11" fmla="*/ 1111241 h 20235406"/>
              <a:gd name="connsiteX0" fmla="*/ 0 w 7178503"/>
              <a:gd name="connsiteY0" fmla="*/ 20235406 h 20235406"/>
              <a:gd name="connsiteX1" fmla="*/ 697496 w 7178503"/>
              <a:gd name="connsiteY1" fmla="*/ 16484611 h 20235406"/>
              <a:gd name="connsiteX2" fmla="*/ 1422464 w 7178503"/>
              <a:gd name="connsiteY2" fmla="*/ 16372411 h 20235406"/>
              <a:gd name="connsiteX3" fmla="*/ 2027799 w 7178503"/>
              <a:gd name="connsiteY3" fmla="*/ 1127303 h 20235406"/>
              <a:gd name="connsiteX4" fmla="*/ 2727481 w 7178503"/>
              <a:gd name="connsiteY4" fmla="*/ 1136820 h 20235406"/>
              <a:gd name="connsiteX5" fmla="*/ 3343956 w 7178503"/>
              <a:gd name="connsiteY5" fmla="*/ 1159920 h 20235406"/>
              <a:gd name="connsiteX6" fmla="*/ 4006507 w 7178503"/>
              <a:gd name="connsiteY6" fmla="*/ 970626 h 20235406"/>
              <a:gd name="connsiteX7" fmla="*/ 4620858 w 7178503"/>
              <a:gd name="connsiteY7" fmla="*/ 1226103 h 20235406"/>
              <a:gd name="connsiteX8" fmla="*/ 5278769 w 7178503"/>
              <a:gd name="connsiteY8" fmla="*/ 1098329 h 20235406"/>
              <a:gd name="connsiteX9" fmla="*/ 5885085 w 7178503"/>
              <a:gd name="connsiteY9" fmla="*/ 1241363 h 20235406"/>
              <a:gd name="connsiteX10" fmla="*/ 6528274 w 7178503"/>
              <a:gd name="connsiteY10" fmla="*/ 988490 h 20235406"/>
              <a:gd name="connsiteX11" fmla="*/ 7178503 w 7178503"/>
              <a:gd name="connsiteY11" fmla="*/ 1111241 h 20235406"/>
              <a:gd name="connsiteX0" fmla="*/ 0 w 7178503"/>
              <a:gd name="connsiteY0" fmla="*/ 19613024 h 19613024"/>
              <a:gd name="connsiteX1" fmla="*/ 697496 w 7178503"/>
              <a:gd name="connsiteY1" fmla="*/ 15862229 h 19613024"/>
              <a:gd name="connsiteX2" fmla="*/ 1422464 w 7178503"/>
              <a:gd name="connsiteY2" fmla="*/ 15750029 h 19613024"/>
              <a:gd name="connsiteX3" fmla="*/ 2181296 w 7178503"/>
              <a:gd name="connsiteY3" fmla="*/ 7583962 h 19613024"/>
              <a:gd name="connsiteX4" fmla="*/ 2727481 w 7178503"/>
              <a:gd name="connsiteY4" fmla="*/ 514438 h 19613024"/>
              <a:gd name="connsiteX5" fmla="*/ 3343956 w 7178503"/>
              <a:gd name="connsiteY5" fmla="*/ 537538 h 19613024"/>
              <a:gd name="connsiteX6" fmla="*/ 4006507 w 7178503"/>
              <a:gd name="connsiteY6" fmla="*/ 348244 h 19613024"/>
              <a:gd name="connsiteX7" fmla="*/ 4620858 w 7178503"/>
              <a:gd name="connsiteY7" fmla="*/ 603721 h 19613024"/>
              <a:gd name="connsiteX8" fmla="*/ 5278769 w 7178503"/>
              <a:gd name="connsiteY8" fmla="*/ 475947 h 19613024"/>
              <a:gd name="connsiteX9" fmla="*/ 5885085 w 7178503"/>
              <a:gd name="connsiteY9" fmla="*/ 618981 h 19613024"/>
              <a:gd name="connsiteX10" fmla="*/ 6528274 w 7178503"/>
              <a:gd name="connsiteY10" fmla="*/ 366108 h 19613024"/>
              <a:gd name="connsiteX11" fmla="*/ 7178503 w 7178503"/>
              <a:gd name="connsiteY11" fmla="*/ 488859 h 19613024"/>
              <a:gd name="connsiteX0" fmla="*/ 0 w 7178503"/>
              <a:gd name="connsiteY0" fmla="*/ 19613024 h 19613024"/>
              <a:gd name="connsiteX1" fmla="*/ 697496 w 7178503"/>
              <a:gd name="connsiteY1" fmla="*/ 15862229 h 19613024"/>
              <a:gd name="connsiteX2" fmla="*/ 1422464 w 7178503"/>
              <a:gd name="connsiteY2" fmla="*/ 15750029 h 19613024"/>
              <a:gd name="connsiteX3" fmla="*/ 2181296 w 7178503"/>
              <a:gd name="connsiteY3" fmla="*/ 7583962 h 19613024"/>
              <a:gd name="connsiteX4" fmla="*/ 2727481 w 7178503"/>
              <a:gd name="connsiteY4" fmla="*/ 514438 h 19613024"/>
              <a:gd name="connsiteX5" fmla="*/ 3343956 w 7178503"/>
              <a:gd name="connsiteY5" fmla="*/ 537538 h 19613024"/>
              <a:gd name="connsiteX6" fmla="*/ 4006507 w 7178503"/>
              <a:gd name="connsiteY6" fmla="*/ 348244 h 19613024"/>
              <a:gd name="connsiteX7" fmla="*/ 4620858 w 7178503"/>
              <a:gd name="connsiteY7" fmla="*/ 603721 h 19613024"/>
              <a:gd name="connsiteX8" fmla="*/ 5278769 w 7178503"/>
              <a:gd name="connsiteY8" fmla="*/ 475947 h 19613024"/>
              <a:gd name="connsiteX9" fmla="*/ 5885085 w 7178503"/>
              <a:gd name="connsiteY9" fmla="*/ 618981 h 19613024"/>
              <a:gd name="connsiteX10" fmla="*/ 6528274 w 7178503"/>
              <a:gd name="connsiteY10" fmla="*/ 366108 h 19613024"/>
              <a:gd name="connsiteX11" fmla="*/ 7178503 w 7178503"/>
              <a:gd name="connsiteY11" fmla="*/ 488859 h 19613024"/>
              <a:gd name="connsiteX0" fmla="*/ 0 w 7178503"/>
              <a:gd name="connsiteY0" fmla="*/ 19899408 h 19899408"/>
              <a:gd name="connsiteX1" fmla="*/ 697496 w 7178503"/>
              <a:gd name="connsiteY1" fmla="*/ 16148613 h 19899408"/>
              <a:gd name="connsiteX2" fmla="*/ 1422464 w 7178503"/>
              <a:gd name="connsiteY2" fmla="*/ 16036413 h 19899408"/>
              <a:gd name="connsiteX3" fmla="*/ 2167342 w 7178503"/>
              <a:gd name="connsiteY3" fmla="*/ 11737050 h 19899408"/>
              <a:gd name="connsiteX4" fmla="*/ 2727481 w 7178503"/>
              <a:gd name="connsiteY4" fmla="*/ 800822 h 19899408"/>
              <a:gd name="connsiteX5" fmla="*/ 3343956 w 7178503"/>
              <a:gd name="connsiteY5" fmla="*/ 823922 h 19899408"/>
              <a:gd name="connsiteX6" fmla="*/ 4006507 w 7178503"/>
              <a:gd name="connsiteY6" fmla="*/ 634628 h 19899408"/>
              <a:gd name="connsiteX7" fmla="*/ 4620858 w 7178503"/>
              <a:gd name="connsiteY7" fmla="*/ 890105 h 19899408"/>
              <a:gd name="connsiteX8" fmla="*/ 5278769 w 7178503"/>
              <a:gd name="connsiteY8" fmla="*/ 762331 h 19899408"/>
              <a:gd name="connsiteX9" fmla="*/ 5885085 w 7178503"/>
              <a:gd name="connsiteY9" fmla="*/ 905365 h 19899408"/>
              <a:gd name="connsiteX10" fmla="*/ 6528274 w 7178503"/>
              <a:gd name="connsiteY10" fmla="*/ 652492 h 19899408"/>
              <a:gd name="connsiteX11" fmla="*/ 7178503 w 7178503"/>
              <a:gd name="connsiteY11" fmla="*/ 775243 h 19899408"/>
              <a:gd name="connsiteX0" fmla="*/ 0 w 7178503"/>
              <a:gd name="connsiteY0" fmla="*/ 20013968 h 20013968"/>
              <a:gd name="connsiteX1" fmla="*/ 697496 w 7178503"/>
              <a:gd name="connsiteY1" fmla="*/ 16263173 h 20013968"/>
              <a:gd name="connsiteX2" fmla="*/ 1422464 w 7178503"/>
              <a:gd name="connsiteY2" fmla="*/ 16150973 h 20013968"/>
              <a:gd name="connsiteX3" fmla="*/ 2013846 w 7178503"/>
              <a:gd name="connsiteY3" fmla="*/ 13398292 h 20013968"/>
              <a:gd name="connsiteX4" fmla="*/ 2727481 w 7178503"/>
              <a:gd name="connsiteY4" fmla="*/ 915382 h 20013968"/>
              <a:gd name="connsiteX5" fmla="*/ 3343956 w 7178503"/>
              <a:gd name="connsiteY5" fmla="*/ 938482 h 20013968"/>
              <a:gd name="connsiteX6" fmla="*/ 4006507 w 7178503"/>
              <a:gd name="connsiteY6" fmla="*/ 749188 h 20013968"/>
              <a:gd name="connsiteX7" fmla="*/ 4620858 w 7178503"/>
              <a:gd name="connsiteY7" fmla="*/ 1004665 h 20013968"/>
              <a:gd name="connsiteX8" fmla="*/ 5278769 w 7178503"/>
              <a:gd name="connsiteY8" fmla="*/ 876891 h 20013968"/>
              <a:gd name="connsiteX9" fmla="*/ 5885085 w 7178503"/>
              <a:gd name="connsiteY9" fmla="*/ 1019925 h 20013968"/>
              <a:gd name="connsiteX10" fmla="*/ 6528274 w 7178503"/>
              <a:gd name="connsiteY10" fmla="*/ 767052 h 20013968"/>
              <a:gd name="connsiteX11" fmla="*/ 7178503 w 7178503"/>
              <a:gd name="connsiteY11" fmla="*/ 889803 h 20013968"/>
              <a:gd name="connsiteX0" fmla="*/ 0 w 7178503"/>
              <a:gd name="connsiteY0" fmla="*/ 20124125 h 20124125"/>
              <a:gd name="connsiteX1" fmla="*/ 697496 w 7178503"/>
              <a:gd name="connsiteY1" fmla="*/ 16373330 h 20124125"/>
              <a:gd name="connsiteX2" fmla="*/ 1422464 w 7178503"/>
              <a:gd name="connsiteY2" fmla="*/ 16261130 h 20124125"/>
              <a:gd name="connsiteX3" fmla="*/ 1978961 w 7178503"/>
              <a:gd name="connsiteY3" fmla="*/ 14995643 h 20124125"/>
              <a:gd name="connsiteX4" fmla="*/ 2727481 w 7178503"/>
              <a:gd name="connsiteY4" fmla="*/ 1025539 h 20124125"/>
              <a:gd name="connsiteX5" fmla="*/ 3343956 w 7178503"/>
              <a:gd name="connsiteY5" fmla="*/ 1048639 h 20124125"/>
              <a:gd name="connsiteX6" fmla="*/ 4006507 w 7178503"/>
              <a:gd name="connsiteY6" fmla="*/ 859345 h 20124125"/>
              <a:gd name="connsiteX7" fmla="*/ 4620858 w 7178503"/>
              <a:gd name="connsiteY7" fmla="*/ 1114822 h 20124125"/>
              <a:gd name="connsiteX8" fmla="*/ 5278769 w 7178503"/>
              <a:gd name="connsiteY8" fmla="*/ 987048 h 20124125"/>
              <a:gd name="connsiteX9" fmla="*/ 5885085 w 7178503"/>
              <a:gd name="connsiteY9" fmla="*/ 1130082 h 20124125"/>
              <a:gd name="connsiteX10" fmla="*/ 6528274 w 7178503"/>
              <a:gd name="connsiteY10" fmla="*/ 877209 h 20124125"/>
              <a:gd name="connsiteX11" fmla="*/ 7178503 w 7178503"/>
              <a:gd name="connsiteY11" fmla="*/ 999960 h 20124125"/>
              <a:gd name="connsiteX0" fmla="*/ 0 w 7178503"/>
              <a:gd name="connsiteY0" fmla="*/ 20124125 h 20124125"/>
              <a:gd name="connsiteX1" fmla="*/ 697496 w 7178503"/>
              <a:gd name="connsiteY1" fmla="*/ 16373330 h 20124125"/>
              <a:gd name="connsiteX2" fmla="*/ 1422464 w 7178503"/>
              <a:gd name="connsiteY2" fmla="*/ 16261130 h 20124125"/>
              <a:gd name="connsiteX3" fmla="*/ 1978961 w 7178503"/>
              <a:gd name="connsiteY3" fmla="*/ 14995643 h 20124125"/>
              <a:gd name="connsiteX4" fmla="*/ 2727481 w 7178503"/>
              <a:gd name="connsiteY4" fmla="*/ 1025539 h 20124125"/>
              <a:gd name="connsiteX5" fmla="*/ 3343956 w 7178503"/>
              <a:gd name="connsiteY5" fmla="*/ 1048639 h 20124125"/>
              <a:gd name="connsiteX6" fmla="*/ 4006507 w 7178503"/>
              <a:gd name="connsiteY6" fmla="*/ 859345 h 20124125"/>
              <a:gd name="connsiteX7" fmla="*/ 4620858 w 7178503"/>
              <a:gd name="connsiteY7" fmla="*/ 1114822 h 20124125"/>
              <a:gd name="connsiteX8" fmla="*/ 5278769 w 7178503"/>
              <a:gd name="connsiteY8" fmla="*/ 987048 h 20124125"/>
              <a:gd name="connsiteX9" fmla="*/ 5885085 w 7178503"/>
              <a:gd name="connsiteY9" fmla="*/ 1130082 h 20124125"/>
              <a:gd name="connsiteX10" fmla="*/ 6528274 w 7178503"/>
              <a:gd name="connsiteY10" fmla="*/ 877209 h 20124125"/>
              <a:gd name="connsiteX11" fmla="*/ 7178503 w 7178503"/>
              <a:gd name="connsiteY11" fmla="*/ 999960 h 20124125"/>
              <a:gd name="connsiteX0" fmla="*/ 0 w 7178503"/>
              <a:gd name="connsiteY0" fmla="*/ 20119716 h 20119716"/>
              <a:gd name="connsiteX1" fmla="*/ 697496 w 7178503"/>
              <a:gd name="connsiteY1" fmla="*/ 16368921 h 20119716"/>
              <a:gd name="connsiteX2" fmla="*/ 1422464 w 7178503"/>
              <a:gd name="connsiteY2" fmla="*/ 16256721 h 20119716"/>
              <a:gd name="connsiteX3" fmla="*/ 2027801 w 7178503"/>
              <a:gd name="connsiteY3" fmla="*/ 14931746 h 20119716"/>
              <a:gd name="connsiteX4" fmla="*/ 2727481 w 7178503"/>
              <a:gd name="connsiteY4" fmla="*/ 1021130 h 20119716"/>
              <a:gd name="connsiteX5" fmla="*/ 3343956 w 7178503"/>
              <a:gd name="connsiteY5" fmla="*/ 1044230 h 20119716"/>
              <a:gd name="connsiteX6" fmla="*/ 4006507 w 7178503"/>
              <a:gd name="connsiteY6" fmla="*/ 854936 h 20119716"/>
              <a:gd name="connsiteX7" fmla="*/ 4620858 w 7178503"/>
              <a:gd name="connsiteY7" fmla="*/ 1110413 h 20119716"/>
              <a:gd name="connsiteX8" fmla="*/ 5278769 w 7178503"/>
              <a:gd name="connsiteY8" fmla="*/ 982639 h 20119716"/>
              <a:gd name="connsiteX9" fmla="*/ 5885085 w 7178503"/>
              <a:gd name="connsiteY9" fmla="*/ 1125673 h 20119716"/>
              <a:gd name="connsiteX10" fmla="*/ 6528274 w 7178503"/>
              <a:gd name="connsiteY10" fmla="*/ 872800 h 20119716"/>
              <a:gd name="connsiteX11" fmla="*/ 7178503 w 7178503"/>
              <a:gd name="connsiteY11" fmla="*/ 995551 h 20119716"/>
              <a:gd name="connsiteX0" fmla="*/ 0 w 7178503"/>
              <a:gd name="connsiteY0" fmla="*/ 20516289 h 20828248"/>
              <a:gd name="connsiteX1" fmla="*/ 697496 w 7178503"/>
              <a:gd name="connsiteY1" fmla="*/ 16765494 h 20828248"/>
              <a:gd name="connsiteX2" fmla="*/ 1422464 w 7178503"/>
              <a:gd name="connsiteY2" fmla="*/ 16653294 h 20828248"/>
              <a:gd name="connsiteX3" fmla="*/ 2013847 w 7178503"/>
              <a:gd name="connsiteY3" fmla="*/ 20682218 h 20828248"/>
              <a:gd name="connsiteX4" fmla="*/ 2727481 w 7178503"/>
              <a:gd name="connsiteY4" fmla="*/ 1417703 h 20828248"/>
              <a:gd name="connsiteX5" fmla="*/ 3343956 w 7178503"/>
              <a:gd name="connsiteY5" fmla="*/ 1440803 h 20828248"/>
              <a:gd name="connsiteX6" fmla="*/ 4006507 w 7178503"/>
              <a:gd name="connsiteY6" fmla="*/ 1251509 h 20828248"/>
              <a:gd name="connsiteX7" fmla="*/ 4620858 w 7178503"/>
              <a:gd name="connsiteY7" fmla="*/ 1506986 h 20828248"/>
              <a:gd name="connsiteX8" fmla="*/ 5278769 w 7178503"/>
              <a:gd name="connsiteY8" fmla="*/ 1379212 h 20828248"/>
              <a:gd name="connsiteX9" fmla="*/ 5885085 w 7178503"/>
              <a:gd name="connsiteY9" fmla="*/ 1522246 h 20828248"/>
              <a:gd name="connsiteX10" fmla="*/ 6528274 w 7178503"/>
              <a:gd name="connsiteY10" fmla="*/ 1269373 h 20828248"/>
              <a:gd name="connsiteX11" fmla="*/ 7178503 w 7178503"/>
              <a:gd name="connsiteY11" fmla="*/ 1392124 h 20828248"/>
              <a:gd name="connsiteX0" fmla="*/ 0 w 7178503"/>
              <a:gd name="connsiteY0" fmla="*/ 20516289 h 20729295"/>
              <a:gd name="connsiteX1" fmla="*/ 697496 w 7178503"/>
              <a:gd name="connsiteY1" fmla="*/ 16765494 h 20729295"/>
              <a:gd name="connsiteX2" fmla="*/ 1422464 w 7178503"/>
              <a:gd name="connsiteY2" fmla="*/ 16653294 h 20729295"/>
              <a:gd name="connsiteX3" fmla="*/ 2013847 w 7178503"/>
              <a:gd name="connsiteY3" fmla="*/ 20682218 h 20729295"/>
              <a:gd name="connsiteX4" fmla="*/ 2727481 w 7178503"/>
              <a:gd name="connsiteY4" fmla="*/ 1417703 h 20729295"/>
              <a:gd name="connsiteX5" fmla="*/ 3343956 w 7178503"/>
              <a:gd name="connsiteY5" fmla="*/ 1440803 h 20729295"/>
              <a:gd name="connsiteX6" fmla="*/ 4006507 w 7178503"/>
              <a:gd name="connsiteY6" fmla="*/ 1251509 h 20729295"/>
              <a:gd name="connsiteX7" fmla="*/ 4620858 w 7178503"/>
              <a:gd name="connsiteY7" fmla="*/ 1506986 h 20729295"/>
              <a:gd name="connsiteX8" fmla="*/ 5278769 w 7178503"/>
              <a:gd name="connsiteY8" fmla="*/ 1379212 h 20729295"/>
              <a:gd name="connsiteX9" fmla="*/ 5885085 w 7178503"/>
              <a:gd name="connsiteY9" fmla="*/ 1522246 h 20729295"/>
              <a:gd name="connsiteX10" fmla="*/ 6528274 w 7178503"/>
              <a:gd name="connsiteY10" fmla="*/ 1269373 h 20729295"/>
              <a:gd name="connsiteX11" fmla="*/ 7178503 w 7178503"/>
              <a:gd name="connsiteY11" fmla="*/ 1392124 h 20729295"/>
              <a:gd name="connsiteX0" fmla="*/ 0 w 7178503"/>
              <a:gd name="connsiteY0" fmla="*/ 19265197 h 19480208"/>
              <a:gd name="connsiteX1" fmla="*/ 697496 w 7178503"/>
              <a:gd name="connsiteY1" fmla="*/ 15514402 h 19480208"/>
              <a:gd name="connsiteX2" fmla="*/ 1422464 w 7178503"/>
              <a:gd name="connsiteY2" fmla="*/ 15402202 h 19480208"/>
              <a:gd name="connsiteX3" fmla="*/ 2013847 w 7178503"/>
              <a:gd name="connsiteY3" fmla="*/ 19431126 h 19480208"/>
              <a:gd name="connsiteX4" fmla="*/ 2769344 w 7178503"/>
              <a:gd name="connsiteY4" fmla="*/ 16347279 h 19480208"/>
              <a:gd name="connsiteX5" fmla="*/ 3343956 w 7178503"/>
              <a:gd name="connsiteY5" fmla="*/ 189711 h 19480208"/>
              <a:gd name="connsiteX6" fmla="*/ 4006507 w 7178503"/>
              <a:gd name="connsiteY6" fmla="*/ 417 h 19480208"/>
              <a:gd name="connsiteX7" fmla="*/ 4620858 w 7178503"/>
              <a:gd name="connsiteY7" fmla="*/ 255894 h 19480208"/>
              <a:gd name="connsiteX8" fmla="*/ 5278769 w 7178503"/>
              <a:gd name="connsiteY8" fmla="*/ 128120 h 19480208"/>
              <a:gd name="connsiteX9" fmla="*/ 5885085 w 7178503"/>
              <a:gd name="connsiteY9" fmla="*/ 271154 h 19480208"/>
              <a:gd name="connsiteX10" fmla="*/ 6528274 w 7178503"/>
              <a:gd name="connsiteY10" fmla="*/ 18281 h 19480208"/>
              <a:gd name="connsiteX11" fmla="*/ 7178503 w 7178503"/>
              <a:gd name="connsiteY11" fmla="*/ 141032 h 19480208"/>
              <a:gd name="connsiteX0" fmla="*/ 0 w 7178503"/>
              <a:gd name="connsiteY0" fmla="*/ 19265197 h 19443666"/>
              <a:gd name="connsiteX1" fmla="*/ 697496 w 7178503"/>
              <a:gd name="connsiteY1" fmla="*/ 15514402 h 19443666"/>
              <a:gd name="connsiteX2" fmla="*/ 1422464 w 7178503"/>
              <a:gd name="connsiteY2" fmla="*/ 15402202 h 19443666"/>
              <a:gd name="connsiteX3" fmla="*/ 2013847 w 7178503"/>
              <a:gd name="connsiteY3" fmla="*/ 19431126 h 19443666"/>
              <a:gd name="connsiteX4" fmla="*/ 2769344 w 7178503"/>
              <a:gd name="connsiteY4" fmla="*/ 16347279 h 19443666"/>
              <a:gd name="connsiteX5" fmla="*/ 3343956 w 7178503"/>
              <a:gd name="connsiteY5" fmla="*/ 189711 h 19443666"/>
              <a:gd name="connsiteX6" fmla="*/ 4006507 w 7178503"/>
              <a:gd name="connsiteY6" fmla="*/ 417 h 19443666"/>
              <a:gd name="connsiteX7" fmla="*/ 4620858 w 7178503"/>
              <a:gd name="connsiteY7" fmla="*/ 255894 h 19443666"/>
              <a:gd name="connsiteX8" fmla="*/ 5278769 w 7178503"/>
              <a:gd name="connsiteY8" fmla="*/ 128120 h 19443666"/>
              <a:gd name="connsiteX9" fmla="*/ 5885085 w 7178503"/>
              <a:gd name="connsiteY9" fmla="*/ 271154 h 19443666"/>
              <a:gd name="connsiteX10" fmla="*/ 6528274 w 7178503"/>
              <a:gd name="connsiteY10" fmla="*/ 18281 h 19443666"/>
              <a:gd name="connsiteX11" fmla="*/ 7178503 w 7178503"/>
              <a:gd name="connsiteY11" fmla="*/ 141032 h 19443666"/>
              <a:gd name="connsiteX0" fmla="*/ 0 w 7178503"/>
              <a:gd name="connsiteY0" fmla="*/ 19265197 h 19466905"/>
              <a:gd name="connsiteX1" fmla="*/ 697496 w 7178503"/>
              <a:gd name="connsiteY1" fmla="*/ 15514402 h 19466905"/>
              <a:gd name="connsiteX2" fmla="*/ 1422464 w 7178503"/>
              <a:gd name="connsiteY2" fmla="*/ 15402202 h 19466905"/>
              <a:gd name="connsiteX3" fmla="*/ 2013847 w 7178503"/>
              <a:gd name="connsiteY3" fmla="*/ 19431126 h 19466905"/>
              <a:gd name="connsiteX4" fmla="*/ 2650733 w 7178503"/>
              <a:gd name="connsiteY4" fmla="*/ 16823182 h 19466905"/>
              <a:gd name="connsiteX5" fmla="*/ 3343956 w 7178503"/>
              <a:gd name="connsiteY5" fmla="*/ 189711 h 19466905"/>
              <a:gd name="connsiteX6" fmla="*/ 4006507 w 7178503"/>
              <a:gd name="connsiteY6" fmla="*/ 417 h 19466905"/>
              <a:gd name="connsiteX7" fmla="*/ 4620858 w 7178503"/>
              <a:gd name="connsiteY7" fmla="*/ 255894 h 19466905"/>
              <a:gd name="connsiteX8" fmla="*/ 5278769 w 7178503"/>
              <a:gd name="connsiteY8" fmla="*/ 128120 h 19466905"/>
              <a:gd name="connsiteX9" fmla="*/ 5885085 w 7178503"/>
              <a:gd name="connsiteY9" fmla="*/ 271154 h 19466905"/>
              <a:gd name="connsiteX10" fmla="*/ 6528274 w 7178503"/>
              <a:gd name="connsiteY10" fmla="*/ 18281 h 19466905"/>
              <a:gd name="connsiteX11" fmla="*/ 7178503 w 7178503"/>
              <a:gd name="connsiteY11" fmla="*/ 141032 h 19466905"/>
              <a:gd name="connsiteX0" fmla="*/ 0 w 7178503"/>
              <a:gd name="connsiteY0" fmla="*/ 19265197 h 19460135"/>
              <a:gd name="connsiteX1" fmla="*/ 697496 w 7178503"/>
              <a:gd name="connsiteY1" fmla="*/ 15514402 h 19460135"/>
              <a:gd name="connsiteX2" fmla="*/ 1422464 w 7178503"/>
              <a:gd name="connsiteY2" fmla="*/ 15402202 h 19460135"/>
              <a:gd name="connsiteX3" fmla="*/ 2013847 w 7178503"/>
              <a:gd name="connsiteY3" fmla="*/ 19431126 h 19460135"/>
              <a:gd name="connsiteX4" fmla="*/ 2650733 w 7178503"/>
              <a:gd name="connsiteY4" fmla="*/ 16823182 h 19460135"/>
              <a:gd name="connsiteX5" fmla="*/ 3343956 w 7178503"/>
              <a:gd name="connsiteY5" fmla="*/ 189711 h 19460135"/>
              <a:gd name="connsiteX6" fmla="*/ 4006507 w 7178503"/>
              <a:gd name="connsiteY6" fmla="*/ 417 h 19460135"/>
              <a:gd name="connsiteX7" fmla="*/ 4620858 w 7178503"/>
              <a:gd name="connsiteY7" fmla="*/ 255894 h 19460135"/>
              <a:gd name="connsiteX8" fmla="*/ 5278769 w 7178503"/>
              <a:gd name="connsiteY8" fmla="*/ 128120 h 19460135"/>
              <a:gd name="connsiteX9" fmla="*/ 5885085 w 7178503"/>
              <a:gd name="connsiteY9" fmla="*/ 271154 h 19460135"/>
              <a:gd name="connsiteX10" fmla="*/ 6528274 w 7178503"/>
              <a:gd name="connsiteY10" fmla="*/ 18281 h 19460135"/>
              <a:gd name="connsiteX11" fmla="*/ 7178503 w 7178503"/>
              <a:gd name="connsiteY11" fmla="*/ 141032 h 19460135"/>
              <a:gd name="connsiteX0" fmla="*/ 0 w 7178503"/>
              <a:gd name="connsiteY0" fmla="*/ 20344414 h 20527979"/>
              <a:gd name="connsiteX1" fmla="*/ 697496 w 7178503"/>
              <a:gd name="connsiteY1" fmla="*/ 16593619 h 20527979"/>
              <a:gd name="connsiteX2" fmla="*/ 1422464 w 7178503"/>
              <a:gd name="connsiteY2" fmla="*/ 16481419 h 20527979"/>
              <a:gd name="connsiteX3" fmla="*/ 2013847 w 7178503"/>
              <a:gd name="connsiteY3" fmla="*/ 20510343 h 20527979"/>
              <a:gd name="connsiteX4" fmla="*/ 2650733 w 7178503"/>
              <a:gd name="connsiteY4" fmla="*/ 17902399 h 20527979"/>
              <a:gd name="connsiteX5" fmla="*/ 3260230 w 7178503"/>
              <a:gd name="connsiteY5" fmla="*/ 16735745 h 20527979"/>
              <a:gd name="connsiteX6" fmla="*/ 4006507 w 7178503"/>
              <a:gd name="connsiteY6" fmla="*/ 1079634 h 20527979"/>
              <a:gd name="connsiteX7" fmla="*/ 4620858 w 7178503"/>
              <a:gd name="connsiteY7" fmla="*/ 1335111 h 20527979"/>
              <a:gd name="connsiteX8" fmla="*/ 5278769 w 7178503"/>
              <a:gd name="connsiteY8" fmla="*/ 1207337 h 20527979"/>
              <a:gd name="connsiteX9" fmla="*/ 5885085 w 7178503"/>
              <a:gd name="connsiteY9" fmla="*/ 1350371 h 20527979"/>
              <a:gd name="connsiteX10" fmla="*/ 6528274 w 7178503"/>
              <a:gd name="connsiteY10" fmla="*/ 1097498 h 20527979"/>
              <a:gd name="connsiteX11" fmla="*/ 7178503 w 7178503"/>
              <a:gd name="connsiteY11" fmla="*/ 1220249 h 20527979"/>
              <a:gd name="connsiteX0" fmla="*/ 0 w 7178503"/>
              <a:gd name="connsiteY0" fmla="*/ 20410335 h 20592882"/>
              <a:gd name="connsiteX1" fmla="*/ 697496 w 7178503"/>
              <a:gd name="connsiteY1" fmla="*/ 16659540 h 20592882"/>
              <a:gd name="connsiteX2" fmla="*/ 1422464 w 7178503"/>
              <a:gd name="connsiteY2" fmla="*/ 16547340 h 20592882"/>
              <a:gd name="connsiteX3" fmla="*/ 2013847 w 7178503"/>
              <a:gd name="connsiteY3" fmla="*/ 20576264 h 20592882"/>
              <a:gd name="connsiteX4" fmla="*/ 2650733 w 7178503"/>
              <a:gd name="connsiteY4" fmla="*/ 17968320 h 20592882"/>
              <a:gd name="connsiteX5" fmla="*/ 3295116 w 7178503"/>
              <a:gd name="connsiteY5" fmla="*/ 17693983 h 20592882"/>
              <a:gd name="connsiteX6" fmla="*/ 4006507 w 7178503"/>
              <a:gd name="connsiteY6" fmla="*/ 1145555 h 20592882"/>
              <a:gd name="connsiteX7" fmla="*/ 4620858 w 7178503"/>
              <a:gd name="connsiteY7" fmla="*/ 1401032 h 20592882"/>
              <a:gd name="connsiteX8" fmla="*/ 5278769 w 7178503"/>
              <a:gd name="connsiteY8" fmla="*/ 1273258 h 20592882"/>
              <a:gd name="connsiteX9" fmla="*/ 5885085 w 7178503"/>
              <a:gd name="connsiteY9" fmla="*/ 1416292 h 20592882"/>
              <a:gd name="connsiteX10" fmla="*/ 6528274 w 7178503"/>
              <a:gd name="connsiteY10" fmla="*/ 1163419 h 20592882"/>
              <a:gd name="connsiteX11" fmla="*/ 7178503 w 7178503"/>
              <a:gd name="connsiteY11" fmla="*/ 1286170 h 20592882"/>
              <a:gd name="connsiteX0" fmla="*/ 0 w 7178503"/>
              <a:gd name="connsiteY0" fmla="*/ 20423519 h 20605879"/>
              <a:gd name="connsiteX1" fmla="*/ 697496 w 7178503"/>
              <a:gd name="connsiteY1" fmla="*/ 16672724 h 20605879"/>
              <a:gd name="connsiteX2" fmla="*/ 1422464 w 7178503"/>
              <a:gd name="connsiteY2" fmla="*/ 16560524 h 20605879"/>
              <a:gd name="connsiteX3" fmla="*/ 2013847 w 7178503"/>
              <a:gd name="connsiteY3" fmla="*/ 20589448 h 20605879"/>
              <a:gd name="connsiteX4" fmla="*/ 2650733 w 7178503"/>
              <a:gd name="connsiteY4" fmla="*/ 17981504 h 20605879"/>
              <a:gd name="connsiteX5" fmla="*/ 3295116 w 7178503"/>
              <a:gd name="connsiteY5" fmla="*/ 17885630 h 20605879"/>
              <a:gd name="connsiteX6" fmla="*/ 4006507 w 7178503"/>
              <a:gd name="connsiteY6" fmla="*/ 1158739 h 20605879"/>
              <a:gd name="connsiteX7" fmla="*/ 4620858 w 7178503"/>
              <a:gd name="connsiteY7" fmla="*/ 1414216 h 20605879"/>
              <a:gd name="connsiteX8" fmla="*/ 5278769 w 7178503"/>
              <a:gd name="connsiteY8" fmla="*/ 1286442 h 20605879"/>
              <a:gd name="connsiteX9" fmla="*/ 5885085 w 7178503"/>
              <a:gd name="connsiteY9" fmla="*/ 1429476 h 20605879"/>
              <a:gd name="connsiteX10" fmla="*/ 6528274 w 7178503"/>
              <a:gd name="connsiteY10" fmla="*/ 1176603 h 20605879"/>
              <a:gd name="connsiteX11" fmla="*/ 7178503 w 7178503"/>
              <a:gd name="connsiteY11" fmla="*/ 1299354 h 20605879"/>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92553 w 7178503"/>
              <a:gd name="connsiteY6" fmla="*/ 13664604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92553 w 7178503"/>
              <a:gd name="connsiteY6" fmla="*/ 13664604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92553 w 7178503"/>
              <a:gd name="connsiteY6" fmla="*/ 13664604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36736 w 7178503"/>
              <a:gd name="connsiteY6" fmla="*/ 13724092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36736 w 7178503"/>
              <a:gd name="connsiteY6" fmla="*/ 14616408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36736 w 7178503"/>
              <a:gd name="connsiteY6" fmla="*/ 14616408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36736 w 7178503"/>
              <a:gd name="connsiteY6" fmla="*/ 14616408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20057037 h 20239397"/>
              <a:gd name="connsiteX1" fmla="*/ 697496 w 7178503"/>
              <a:gd name="connsiteY1" fmla="*/ 16306242 h 20239397"/>
              <a:gd name="connsiteX2" fmla="*/ 1422464 w 7178503"/>
              <a:gd name="connsiteY2" fmla="*/ 16194042 h 20239397"/>
              <a:gd name="connsiteX3" fmla="*/ 2013847 w 7178503"/>
              <a:gd name="connsiteY3" fmla="*/ 20222966 h 20239397"/>
              <a:gd name="connsiteX4" fmla="*/ 2650733 w 7178503"/>
              <a:gd name="connsiteY4" fmla="*/ 17615022 h 20239397"/>
              <a:gd name="connsiteX5" fmla="*/ 3295116 w 7178503"/>
              <a:gd name="connsiteY5" fmla="*/ 17519148 h 20239397"/>
              <a:gd name="connsiteX6" fmla="*/ 3936736 w 7178503"/>
              <a:gd name="connsiteY6" fmla="*/ 15426247 h 20239397"/>
              <a:gd name="connsiteX7" fmla="*/ 4613881 w 7178503"/>
              <a:gd name="connsiteY7" fmla="*/ 14016065 h 20239397"/>
              <a:gd name="connsiteX8" fmla="*/ 5278769 w 7178503"/>
              <a:gd name="connsiteY8" fmla="*/ 919960 h 20239397"/>
              <a:gd name="connsiteX9" fmla="*/ 5885085 w 7178503"/>
              <a:gd name="connsiteY9" fmla="*/ 1062994 h 20239397"/>
              <a:gd name="connsiteX10" fmla="*/ 6528274 w 7178503"/>
              <a:gd name="connsiteY10" fmla="*/ 810121 h 20239397"/>
              <a:gd name="connsiteX11" fmla="*/ 7178503 w 7178503"/>
              <a:gd name="connsiteY11" fmla="*/ 932872 h 20239397"/>
              <a:gd name="connsiteX0" fmla="*/ 0 w 7178503"/>
              <a:gd name="connsiteY0" fmla="*/ 20114233 h 20296593"/>
              <a:gd name="connsiteX1" fmla="*/ 697496 w 7178503"/>
              <a:gd name="connsiteY1" fmla="*/ 16363438 h 20296593"/>
              <a:gd name="connsiteX2" fmla="*/ 1422464 w 7178503"/>
              <a:gd name="connsiteY2" fmla="*/ 16251238 h 20296593"/>
              <a:gd name="connsiteX3" fmla="*/ 2013847 w 7178503"/>
              <a:gd name="connsiteY3" fmla="*/ 20280162 h 20296593"/>
              <a:gd name="connsiteX4" fmla="*/ 2650733 w 7178503"/>
              <a:gd name="connsiteY4" fmla="*/ 17672218 h 20296593"/>
              <a:gd name="connsiteX5" fmla="*/ 3295116 w 7178503"/>
              <a:gd name="connsiteY5" fmla="*/ 17576344 h 20296593"/>
              <a:gd name="connsiteX6" fmla="*/ 3936736 w 7178503"/>
              <a:gd name="connsiteY6" fmla="*/ 15483443 h 20296593"/>
              <a:gd name="connsiteX7" fmla="*/ 4578996 w 7178503"/>
              <a:gd name="connsiteY7" fmla="*/ 14846602 h 20296593"/>
              <a:gd name="connsiteX8" fmla="*/ 5278769 w 7178503"/>
              <a:gd name="connsiteY8" fmla="*/ 977156 h 20296593"/>
              <a:gd name="connsiteX9" fmla="*/ 5885085 w 7178503"/>
              <a:gd name="connsiteY9" fmla="*/ 1120190 h 20296593"/>
              <a:gd name="connsiteX10" fmla="*/ 6528274 w 7178503"/>
              <a:gd name="connsiteY10" fmla="*/ 867317 h 20296593"/>
              <a:gd name="connsiteX11" fmla="*/ 7178503 w 7178503"/>
              <a:gd name="connsiteY11" fmla="*/ 990068 h 20296593"/>
              <a:gd name="connsiteX0" fmla="*/ 0 w 7178503"/>
              <a:gd name="connsiteY0" fmla="*/ 19978476 h 20160836"/>
              <a:gd name="connsiteX1" fmla="*/ 697496 w 7178503"/>
              <a:gd name="connsiteY1" fmla="*/ 16227681 h 20160836"/>
              <a:gd name="connsiteX2" fmla="*/ 1422464 w 7178503"/>
              <a:gd name="connsiteY2" fmla="*/ 16115481 h 20160836"/>
              <a:gd name="connsiteX3" fmla="*/ 2013847 w 7178503"/>
              <a:gd name="connsiteY3" fmla="*/ 20144405 h 20160836"/>
              <a:gd name="connsiteX4" fmla="*/ 2650733 w 7178503"/>
              <a:gd name="connsiteY4" fmla="*/ 17536461 h 20160836"/>
              <a:gd name="connsiteX5" fmla="*/ 3295116 w 7178503"/>
              <a:gd name="connsiteY5" fmla="*/ 17440587 h 20160836"/>
              <a:gd name="connsiteX6" fmla="*/ 3936736 w 7178503"/>
              <a:gd name="connsiteY6" fmla="*/ 15347686 h 20160836"/>
              <a:gd name="connsiteX7" fmla="*/ 4578996 w 7178503"/>
              <a:gd name="connsiteY7" fmla="*/ 14710845 h 20160836"/>
              <a:gd name="connsiteX8" fmla="*/ 5278769 w 7178503"/>
              <a:gd name="connsiteY8" fmla="*/ 13036388 h 20160836"/>
              <a:gd name="connsiteX9" fmla="*/ 5885085 w 7178503"/>
              <a:gd name="connsiteY9" fmla="*/ 984433 h 20160836"/>
              <a:gd name="connsiteX10" fmla="*/ 6528274 w 7178503"/>
              <a:gd name="connsiteY10" fmla="*/ 731560 h 20160836"/>
              <a:gd name="connsiteX11" fmla="*/ 7178503 w 7178503"/>
              <a:gd name="connsiteY11" fmla="*/ 854311 h 20160836"/>
              <a:gd name="connsiteX0" fmla="*/ 0 w 7178503"/>
              <a:gd name="connsiteY0" fmla="*/ 19978476 h 20160836"/>
              <a:gd name="connsiteX1" fmla="*/ 697496 w 7178503"/>
              <a:gd name="connsiteY1" fmla="*/ 16227681 h 20160836"/>
              <a:gd name="connsiteX2" fmla="*/ 1422464 w 7178503"/>
              <a:gd name="connsiteY2" fmla="*/ 16115481 h 20160836"/>
              <a:gd name="connsiteX3" fmla="*/ 2013847 w 7178503"/>
              <a:gd name="connsiteY3" fmla="*/ 20144405 h 20160836"/>
              <a:gd name="connsiteX4" fmla="*/ 2650733 w 7178503"/>
              <a:gd name="connsiteY4" fmla="*/ 17536461 h 20160836"/>
              <a:gd name="connsiteX5" fmla="*/ 3295116 w 7178503"/>
              <a:gd name="connsiteY5" fmla="*/ 17440587 h 20160836"/>
              <a:gd name="connsiteX6" fmla="*/ 3936736 w 7178503"/>
              <a:gd name="connsiteY6" fmla="*/ 15347686 h 20160836"/>
              <a:gd name="connsiteX7" fmla="*/ 4578996 w 7178503"/>
              <a:gd name="connsiteY7" fmla="*/ 14710845 h 20160836"/>
              <a:gd name="connsiteX8" fmla="*/ 5278769 w 7178503"/>
              <a:gd name="connsiteY8" fmla="*/ 13036388 h 20160836"/>
              <a:gd name="connsiteX9" fmla="*/ 5885085 w 7178503"/>
              <a:gd name="connsiteY9" fmla="*/ 984433 h 20160836"/>
              <a:gd name="connsiteX10" fmla="*/ 6528274 w 7178503"/>
              <a:gd name="connsiteY10" fmla="*/ 731560 h 20160836"/>
              <a:gd name="connsiteX11" fmla="*/ 7178503 w 7178503"/>
              <a:gd name="connsiteY11" fmla="*/ 854311 h 20160836"/>
              <a:gd name="connsiteX0" fmla="*/ 0 w 7178503"/>
              <a:gd name="connsiteY0" fmla="*/ 19987232 h 20169592"/>
              <a:gd name="connsiteX1" fmla="*/ 697496 w 7178503"/>
              <a:gd name="connsiteY1" fmla="*/ 16236437 h 20169592"/>
              <a:gd name="connsiteX2" fmla="*/ 1422464 w 7178503"/>
              <a:gd name="connsiteY2" fmla="*/ 16124237 h 20169592"/>
              <a:gd name="connsiteX3" fmla="*/ 2013847 w 7178503"/>
              <a:gd name="connsiteY3" fmla="*/ 20153161 h 20169592"/>
              <a:gd name="connsiteX4" fmla="*/ 2650733 w 7178503"/>
              <a:gd name="connsiteY4" fmla="*/ 17545217 h 20169592"/>
              <a:gd name="connsiteX5" fmla="*/ 3295116 w 7178503"/>
              <a:gd name="connsiteY5" fmla="*/ 17449343 h 20169592"/>
              <a:gd name="connsiteX6" fmla="*/ 3936736 w 7178503"/>
              <a:gd name="connsiteY6" fmla="*/ 15356442 h 20169592"/>
              <a:gd name="connsiteX7" fmla="*/ 4578996 w 7178503"/>
              <a:gd name="connsiteY7" fmla="*/ 14719601 h 20169592"/>
              <a:gd name="connsiteX8" fmla="*/ 5243884 w 7178503"/>
              <a:gd name="connsiteY8" fmla="*/ 13164120 h 20169592"/>
              <a:gd name="connsiteX9" fmla="*/ 5885085 w 7178503"/>
              <a:gd name="connsiteY9" fmla="*/ 993189 h 20169592"/>
              <a:gd name="connsiteX10" fmla="*/ 6528274 w 7178503"/>
              <a:gd name="connsiteY10" fmla="*/ 740316 h 20169592"/>
              <a:gd name="connsiteX11" fmla="*/ 7178503 w 7178503"/>
              <a:gd name="connsiteY11" fmla="*/ 863067 h 20169592"/>
              <a:gd name="connsiteX0" fmla="*/ 0 w 7178503"/>
              <a:gd name="connsiteY0" fmla="*/ 19987232 h 20169592"/>
              <a:gd name="connsiteX1" fmla="*/ 697496 w 7178503"/>
              <a:gd name="connsiteY1" fmla="*/ 16236437 h 20169592"/>
              <a:gd name="connsiteX2" fmla="*/ 1422464 w 7178503"/>
              <a:gd name="connsiteY2" fmla="*/ 16124237 h 20169592"/>
              <a:gd name="connsiteX3" fmla="*/ 2013847 w 7178503"/>
              <a:gd name="connsiteY3" fmla="*/ 20153161 h 20169592"/>
              <a:gd name="connsiteX4" fmla="*/ 2650733 w 7178503"/>
              <a:gd name="connsiteY4" fmla="*/ 17545217 h 20169592"/>
              <a:gd name="connsiteX5" fmla="*/ 3295116 w 7178503"/>
              <a:gd name="connsiteY5" fmla="*/ 17449343 h 20169592"/>
              <a:gd name="connsiteX6" fmla="*/ 3936736 w 7178503"/>
              <a:gd name="connsiteY6" fmla="*/ 15356442 h 20169592"/>
              <a:gd name="connsiteX7" fmla="*/ 4578996 w 7178503"/>
              <a:gd name="connsiteY7" fmla="*/ 14719601 h 20169592"/>
              <a:gd name="connsiteX8" fmla="*/ 5243884 w 7178503"/>
              <a:gd name="connsiteY8" fmla="*/ 13164120 h 20169592"/>
              <a:gd name="connsiteX9" fmla="*/ 5885085 w 7178503"/>
              <a:gd name="connsiteY9" fmla="*/ 993189 h 20169592"/>
              <a:gd name="connsiteX10" fmla="*/ 6528274 w 7178503"/>
              <a:gd name="connsiteY10" fmla="*/ 740316 h 20169592"/>
              <a:gd name="connsiteX11" fmla="*/ 7178503 w 7178503"/>
              <a:gd name="connsiteY11" fmla="*/ 863067 h 20169592"/>
              <a:gd name="connsiteX0" fmla="*/ 0 w 7178503"/>
              <a:gd name="connsiteY0" fmla="*/ 19246923 h 19429283"/>
              <a:gd name="connsiteX1" fmla="*/ 697496 w 7178503"/>
              <a:gd name="connsiteY1" fmla="*/ 15496128 h 19429283"/>
              <a:gd name="connsiteX2" fmla="*/ 1422464 w 7178503"/>
              <a:gd name="connsiteY2" fmla="*/ 15383928 h 19429283"/>
              <a:gd name="connsiteX3" fmla="*/ 2013847 w 7178503"/>
              <a:gd name="connsiteY3" fmla="*/ 19412852 h 19429283"/>
              <a:gd name="connsiteX4" fmla="*/ 2650733 w 7178503"/>
              <a:gd name="connsiteY4" fmla="*/ 16804908 h 19429283"/>
              <a:gd name="connsiteX5" fmla="*/ 3295116 w 7178503"/>
              <a:gd name="connsiteY5" fmla="*/ 16709034 h 19429283"/>
              <a:gd name="connsiteX6" fmla="*/ 3936736 w 7178503"/>
              <a:gd name="connsiteY6" fmla="*/ 14616133 h 19429283"/>
              <a:gd name="connsiteX7" fmla="*/ 4578996 w 7178503"/>
              <a:gd name="connsiteY7" fmla="*/ 13979292 h 19429283"/>
              <a:gd name="connsiteX8" fmla="*/ 5243884 w 7178503"/>
              <a:gd name="connsiteY8" fmla="*/ 12423811 h 19429283"/>
              <a:gd name="connsiteX9" fmla="*/ 5906017 w 7178503"/>
              <a:gd name="connsiteY9" fmla="*/ 12507356 h 19429283"/>
              <a:gd name="connsiteX10" fmla="*/ 6528274 w 7178503"/>
              <a:gd name="connsiteY10" fmla="*/ 7 h 19429283"/>
              <a:gd name="connsiteX11" fmla="*/ 7178503 w 7178503"/>
              <a:gd name="connsiteY11" fmla="*/ 122758 h 19429283"/>
              <a:gd name="connsiteX0" fmla="*/ 0 w 7178503"/>
              <a:gd name="connsiteY0" fmla="*/ 19246923 h 19429283"/>
              <a:gd name="connsiteX1" fmla="*/ 697496 w 7178503"/>
              <a:gd name="connsiteY1" fmla="*/ 15496128 h 19429283"/>
              <a:gd name="connsiteX2" fmla="*/ 1422464 w 7178503"/>
              <a:gd name="connsiteY2" fmla="*/ 15383928 h 19429283"/>
              <a:gd name="connsiteX3" fmla="*/ 2013847 w 7178503"/>
              <a:gd name="connsiteY3" fmla="*/ 19412852 h 19429283"/>
              <a:gd name="connsiteX4" fmla="*/ 2650733 w 7178503"/>
              <a:gd name="connsiteY4" fmla="*/ 16804908 h 19429283"/>
              <a:gd name="connsiteX5" fmla="*/ 3295116 w 7178503"/>
              <a:gd name="connsiteY5" fmla="*/ 16709034 h 19429283"/>
              <a:gd name="connsiteX6" fmla="*/ 3936736 w 7178503"/>
              <a:gd name="connsiteY6" fmla="*/ 14616133 h 19429283"/>
              <a:gd name="connsiteX7" fmla="*/ 4578996 w 7178503"/>
              <a:gd name="connsiteY7" fmla="*/ 13979292 h 19429283"/>
              <a:gd name="connsiteX8" fmla="*/ 5243884 w 7178503"/>
              <a:gd name="connsiteY8" fmla="*/ 12423811 h 19429283"/>
              <a:gd name="connsiteX9" fmla="*/ 5906017 w 7178503"/>
              <a:gd name="connsiteY9" fmla="*/ 12507356 h 19429283"/>
              <a:gd name="connsiteX10" fmla="*/ 6528274 w 7178503"/>
              <a:gd name="connsiteY10" fmla="*/ 7 h 19429283"/>
              <a:gd name="connsiteX11" fmla="*/ 7178503 w 7178503"/>
              <a:gd name="connsiteY11" fmla="*/ 122758 h 19429283"/>
              <a:gd name="connsiteX0" fmla="*/ 0 w 7178503"/>
              <a:gd name="connsiteY0" fmla="*/ 19246923 h 19429283"/>
              <a:gd name="connsiteX1" fmla="*/ 697496 w 7178503"/>
              <a:gd name="connsiteY1" fmla="*/ 15496128 h 19429283"/>
              <a:gd name="connsiteX2" fmla="*/ 1422464 w 7178503"/>
              <a:gd name="connsiteY2" fmla="*/ 15383928 h 19429283"/>
              <a:gd name="connsiteX3" fmla="*/ 2013847 w 7178503"/>
              <a:gd name="connsiteY3" fmla="*/ 19412852 h 19429283"/>
              <a:gd name="connsiteX4" fmla="*/ 2650733 w 7178503"/>
              <a:gd name="connsiteY4" fmla="*/ 16804908 h 19429283"/>
              <a:gd name="connsiteX5" fmla="*/ 3295116 w 7178503"/>
              <a:gd name="connsiteY5" fmla="*/ 16709034 h 19429283"/>
              <a:gd name="connsiteX6" fmla="*/ 3936736 w 7178503"/>
              <a:gd name="connsiteY6" fmla="*/ 14616133 h 19429283"/>
              <a:gd name="connsiteX7" fmla="*/ 4578996 w 7178503"/>
              <a:gd name="connsiteY7" fmla="*/ 13979292 h 19429283"/>
              <a:gd name="connsiteX8" fmla="*/ 5243884 w 7178503"/>
              <a:gd name="connsiteY8" fmla="*/ 12423811 h 19429283"/>
              <a:gd name="connsiteX9" fmla="*/ 5857177 w 7178503"/>
              <a:gd name="connsiteY9" fmla="*/ 9592456 h 19429283"/>
              <a:gd name="connsiteX10" fmla="*/ 6528274 w 7178503"/>
              <a:gd name="connsiteY10" fmla="*/ 7 h 19429283"/>
              <a:gd name="connsiteX11" fmla="*/ 7178503 w 7178503"/>
              <a:gd name="connsiteY11" fmla="*/ 122758 h 19429283"/>
              <a:gd name="connsiteX0" fmla="*/ 0 w 7178503"/>
              <a:gd name="connsiteY0" fmla="*/ 19124169 h 19306529"/>
              <a:gd name="connsiteX1" fmla="*/ 697496 w 7178503"/>
              <a:gd name="connsiteY1" fmla="*/ 15373374 h 19306529"/>
              <a:gd name="connsiteX2" fmla="*/ 1422464 w 7178503"/>
              <a:gd name="connsiteY2" fmla="*/ 15261174 h 19306529"/>
              <a:gd name="connsiteX3" fmla="*/ 2013847 w 7178503"/>
              <a:gd name="connsiteY3" fmla="*/ 19290098 h 19306529"/>
              <a:gd name="connsiteX4" fmla="*/ 2650733 w 7178503"/>
              <a:gd name="connsiteY4" fmla="*/ 16682154 h 19306529"/>
              <a:gd name="connsiteX5" fmla="*/ 3295116 w 7178503"/>
              <a:gd name="connsiteY5" fmla="*/ 16586280 h 19306529"/>
              <a:gd name="connsiteX6" fmla="*/ 3936736 w 7178503"/>
              <a:gd name="connsiteY6" fmla="*/ 14493379 h 19306529"/>
              <a:gd name="connsiteX7" fmla="*/ 4578996 w 7178503"/>
              <a:gd name="connsiteY7" fmla="*/ 13856538 h 19306529"/>
              <a:gd name="connsiteX8" fmla="*/ 5243884 w 7178503"/>
              <a:gd name="connsiteY8" fmla="*/ 12301057 h 19306529"/>
              <a:gd name="connsiteX9" fmla="*/ 5857177 w 7178503"/>
              <a:gd name="connsiteY9" fmla="*/ 9469702 h 19306529"/>
              <a:gd name="connsiteX10" fmla="*/ 6563159 w 7178503"/>
              <a:gd name="connsiteY10" fmla="*/ 17783068 h 19306529"/>
              <a:gd name="connsiteX11" fmla="*/ 7178503 w 7178503"/>
              <a:gd name="connsiteY11" fmla="*/ 4 h 19306529"/>
              <a:gd name="connsiteX0" fmla="*/ 0 w 7178503"/>
              <a:gd name="connsiteY0" fmla="*/ 9825317 h 10007677"/>
              <a:gd name="connsiteX1" fmla="*/ 697496 w 7178503"/>
              <a:gd name="connsiteY1" fmla="*/ 6074522 h 10007677"/>
              <a:gd name="connsiteX2" fmla="*/ 1422464 w 7178503"/>
              <a:gd name="connsiteY2" fmla="*/ 5962322 h 10007677"/>
              <a:gd name="connsiteX3" fmla="*/ 2013847 w 7178503"/>
              <a:gd name="connsiteY3" fmla="*/ 9991246 h 10007677"/>
              <a:gd name="connsiteX4" fmla="*/ 2650733 w 7178503"/>
              <a:gd name="connsiteY4" fmla="*/ 7383302 h 10007677"/>
              <a:gd name="connsiteX5" fmla="*/ 3295116 w 7178503"/>
              <a:gd name="connsiteY5" fmla="*/ 7287428 h 10007677"/>
              <a:gd name="connsiteX6" fmla="*/ 3936736 w 7178503"/>
              <a:gd name="connsiteY6" fmla="*/ 5194527 h 10007677"/>
              <a:gd name="connsiteX7" fmla="*/ 4578996 w 7178503"/>
              <a:gd name="connsiteY7" fmla="*/ 4557686 h 10007677"/>
              <a:gd name="connsiteX8" fmla="*/ 5243884 w 7178503"/>
              <a:gd name="connsiteY8" fmla="*/ 3002205 h 10007677"/>
              <a:gd name="connsiteX9" fmla="*/ 5857177 w 7178503"/>
              <a:gd name="connsiteY9" fmla="*/ 170850 h 10007677"/>
              <a:gd name="connsiteX10" fmla="*/ 6563159 w 7178503"/>
              <a:gd name="connsiteY10" fmla="*/ 8484216 h 10007677"/>
              <a:gd name="connsiteX11" fmla="*/ 7178503 w 7178503"/>
              <a:gd name="connsiteY11" fmla="*/ 7060288 h 10007677"/>
              <a:gd name="connsiteX0" fmla="*/ 0 w 7178503"/>
              <a:gd name="connsiteY0" fmla="*/ 9825317 h 10007677"/>
              <a:gd name="connsiteX1" fmla="*/ 697496 w 7178503"/>
              <a:gd name="connsiteY1" fmla="*/ 6074522 h 10007677"/>
              <a:gd name="connsiteX2" fmla="*/ 1422464 w 7178503"/>
              <a:gd name="connsiteY2" fmla="*/ 5962322 h 10007677"/>
              <a:gd name="connsiteX3" fmla="*/ 2013847 w 7178503"/>
              <a:gd name="connsiteY3" fmla="*/ 9991246 h 10007677"/>
              <a:gd name="connsiteX4" fmla="*/ 2650733 w 7178503"/>
              <a:gd name="connsiteY4" fmla="*/ 7383302 h 10007677"/>
              <a:gd name="connsiteX5" fmla="*/ 3295116 w 7178503"/>
              <a:gd name="connsiteY5" fmla="*/ 7287428 h 10007677"/>
              <a:gd name="connsiteX6" fmla="*/ 3936736 w 7178503"/>
              <a:gd name="connsiteY6" fmla="*/ 5194527 h 10007677"/>
              <a:gd name="connsiteX7" fmla="*/ 4578996 w 7178503"/>
              <a:gd name="connsiteY7" fmla="*/ 4557686 h 10007677"/>
              <a:gd name="connsiteX8" fmla="*/ 5243884 w 7178503"/>
              <a:gd name="connsiteY8" fmla="*/ 3002205 h 10007677"/>
              <a:gd name="connsiteX9" fmla="*/ 5857177 w 7178503"/>
              <a:gd name="connsiteY9" fmla="*/ 170850 h 10007677"/>
              <a:gd name="connsiteX10" fmla="*/ 6563159 w 7178503"/>
              <a:gd name="connsiteY10" fmla="*/ 8484216 h 10007677"/>
              <a:gd name="connsiteX11" fmla="*/ 7178503 w 7178503"/>
              <a:gd name="connsiteY11" fmla="*/ 7000800 h 10007677"/>
              <a:gd name="connsiteX0" fmla="*/ 0 w 7178503"/>
              <a:gd name="connsiteY0" fmla="*/ 9825317 h 10007677"/>
              <a:gd name="connsiteX1" fmla="*/ 680751 w 7178503"/>
              <a:gd name="connsiteY1" fmla="*/ 9286860 h 10007677"/>
              <a:gd name="connsiteX2" fmla="*/ 1422464 w 7178503"/>
              <a:gd name="connsiteY2" fmla="*/ 5962322 h 10007677"/>
              <a:gd name="connsiteX3" fmla="*/ 2013847 w 7178503"/>
              <a:gd name="connsiteY3" fmla="*/ 9991246 h 10007677"/>
              <a:gd name="connsiteX4" fmla="*/ 2650733 w 7178503"/>
              <a:gd name="connsiteY4" fmla="*/ 7383302 h 10007677"/>
              <a:gd name="connsiteX5" fmla="*/ 3295116 w 7178503"/>
              <a:gd name="connsiteY5" fmla="*/ 7287428 h 10007677"/>
              <a:gd name="connsiteX6" fmla="*/ 3936736 w 7178503"/>
              <a:gd name="connsiteY6" fmla="*/ 5194527 h 10007677"/>
              <a:gd name="connsiteX7" fmla="*/ 4578996 w 7178503"/>
              <a:gd name="connsiteY7" fmla="*/ 4557686 h 10007677"/>
              <a:gd name="connsiteX8" fmla="*/ 5243884 w 7178503"/>
              <a:gd name="connsiteY8" fmla="*/ 3002205 h 10007677"/>
              <a:gd name="connsiteX9" fmla="*/ 5857177 w 7178503"/>
              <a:gd name="connsiteY9" fmla="*/ 170850 h 10007677"/>
              <a:gd name="connsiteX10" fmla="*/ 6563159 w 7178503"/>
              <a:gd name="connsiteY10" fmla="*/ 8484216 h 10007677"/>
              <a:gd name="connsiteX11" fmla="*/ 7178503 w 7178503"/>
              <a:gd name="connsiteY11" fmla="*/ 7000800 h 10007677"/>
              <a:gd name="connsiteX0" fmla="*/ 0 w 7178503"/>
              <a:gd name="connsiteY0" fmla="*/ 9825317 h 10053893"/>
              <a:gd name="connsiteX1" fmla="*/ 680751 w 7178503"/>
              <a:gd name="connsiteY1" fmla="*/ 9286860 h 10053893"/>
              <a:gd name="connsiteX2" fmla="*/ 1397346 w 7178503"/>
              <a:gd name="connsiteY2" fmla="*/ 9246046 h 10053893"/>
              <a:gd name="connsiteX3" fmla="*/ 2013847 w 7178503"/>
              <a:gd name="connsiteY3" fmla="*/ 9991246 h 10053893"/>
              <a:gd name="connsiteX4" fmla="*/ 2650733 w 7178503"/>
              <a:gd name="connsiteY4" fmla="*/ 7383302 h 10053893"/>
              <a:gd name="connsiteX5" fmla="*/ 3295116 w 7178503"/>
              <a:gd name="connsiteY5" fmla="*/ 7287428 h 10053893"/>
              <a:gd name="connsiteX6" fmla="*/ 3936736 w 7178503"/>
              <a:gd name="connsiteY6" fmla="*/ 5194527 h 10053893"/>
              <a:gd name="connsiteX7" fmla="*/ 4578996 w 7178503"/>
              <a:gd name="connsiteY7" fmla="*/ 4557686 h 10053893"/>
              <a:gd name="connsiteX8" fmla="*/ 5243884 w 7178503"/>
              <a:gd name="connsiteY8" fmla="*/ 3002205 h 10053893"/>
              <a:gd name="connsiteX9" fmla="*/ 5857177 w 7178503"/>
              <a:gd name="connsiteY9" fmla="*/ 170850 h 10053893"/>
              <a:gd name="connsiteX10" fmla="*/ 6563159 w 7178503"/>
              <a:gd name="connsiteY10" fmla="*/ 8484216 h 10053893"/>
              <a:gd name="connsiteX11" fmla="*/ 7178503 w 7178503"/>
              <a:gd name="connsiteY11" fmla="*/ 7000800 h 10053893"/>
              <a:gd name="connsiteX0" fmla="*/ 0 w 7178503"/>
              <a:gd name="connsiteY0" fmla="*/ 9825317 h 10105087"/>
              <a:gd name="connsiteX1" fmla="*/ 680751 w 7178503"/>
              <a:gd name="connsiteY1" fmla="*/ 9286860 h 10105087"/>
              <a:gd name="connsiteX2" fmla="*/ 1397346 w 7178503"/>
              <a:gd name="connsiteY2" fmla="*/ 9246046 h 10105087"/>
              <a:gd name="connsiteX3" fmla="*/ 2013847 w 7178503"/>
              <a:gd name="connsiteY3" fmla="*/ 9991246 h 10105087"/>
              <a:gd name="connsiteX4" fmla="*/ 2675851 w 7178503"/>
              <a:gd name="connsiteY4" fmla="*/ 9810402 h 10105087"/>
              <a:gd name="connsiteX5" fmla="*/ 3295116 w 7178503"/>
              <a:gd name="connsiteY5" fmla="*/ 7287428 h 10105087"/>
              <a:gd name="connsiteX6" fmla="*/ 3936736 w 7178503"/>
              <a:gd name="connsiteY6" fmla="*/ 5194527 h 10105087"/>
              <a:gd name="connsiteX7" fmla="*/ 4578996 w 7178503"/>
              <a:gd name="connsiteY7" fmla="*/ 4557686 h 10105087"/>
              <a:gd name="connsiteX8" fmla="*/ 5243884 w 7178503"/>
              <a:gd name="connsiteY8" fmla="*/ 3002205 h 10105087"/>
              <a:gd name="connsiteX9" fmla="*/ 5857177 w 7178503"/>
              <a:gd name="connsiteY9" fmla="*/ 170850 h 10105087"/>
              <a:gd name="connsiteX10" fmla="*/ 6563159 w 7178503"/>
              <a:gd name="connsiteY10" fmla="*/ 8484216 h 10105087"/>
              <a:gd name="connsiteX11" fmla="*/ 7178503 w 7178503"/>
              <a:gd name="connsiteY11" fmla="*/ 7000800 h 10105087"/>
              <a:gd name="connsiteX0" fmla="*/ 0 w 7178503"/>
              <a:gd name="connsiteY0" fmla="*/ 9825317 h 10010775"/>
              <a:gd name="connsiteX1" fmla="*/ 680751 w 7178503"/>
              <a:gd name="connsiteY1" fmla="*/ 9286860 h 10010775"/>
              <a:gd name="connsiteX2" fmla="*/ 1397346 w 7178503"/>
              <a:gd name="connsiteY2" fmla="*/ 9246046 h 10010775"/>
              <a:gd name="connsiteX3" fmla="*/ 2013847 w 7178503"/>
              <a:gd name="connsiteY3" fmla="*/ 9991246 h 10010775"/>
              <a:gd name="connsiteX4" fmla="*/ 2675851 w 7178503"/>
              <a:gd name="connsiteY4" fmla="*/ 9810402 h 10010775"/>
              <a:gd name="connsiteX5" fmla="*/ 3303489 w 7178503"/>
              <a:gd name="connsiteY5" fmla="*/ 10000070 h 10010775"/>
              <a:gd name="connsiteX6" fmla="*/ 3936736 w 7178503"/>
              <a:gd name="connsiteY6" fmla="*/ 5194527 h 10010775"/>
              <a:gd name="connsiteX7" fmla="*/ 4578996 w 7178503"/>
              <a:gd name="connsiteY7" fmla="*/ 4557686 h 10010775"/>
              <a:gd name="connsiteX8" fmla="*/ 5243884 w 7178503"/>
              <a:gd name="connsiteY8" fmla="*/ 3002205 h 10010775"/>
              <a:gd name="connsiteX9" fmla="*/ 5857177 w 7178503"/>
              <a:gd name="connsiteY9" fmla="*/ 170850 h 10010775"/>
              <a:gd name="connsiteX10" fmla="*/ 6563159 w 7178503"/>
              <a:gd name="connsiteY10" fmla="*/ 8484216 h 10010775"/>
              <a:gd name="connsiteX11" fmla="*/ 7178503 w 7178503"/>
              <a:gd name="connsiteY11" fmla="*/ 7000800 h 10010775"/>
              <a:gd name="connsiteX0" fmla="*/ 0 w 7178503"/>
              <a:gd name="connsiteY0" fmla="*/ 9825317 h 10057366"/>
              <a:gd name="connsiteX1" fmla="*/ 680751 w 7178503"/>
              <a:gd name="connsiteY1" fmla="*/ 9286860 h 10057366"/>
              <a:gd name="connsiteX2" fmla="*/ 1397346 w 7178503"/>
              <a:gd name="connsiteY2" fmla="*/ 9246046 h 10057366"/>
              <a:gd name="connsiteX3" fmla="*/ 2013847 w 7178503"/>
              <a:gd name="connsiteY3" fmla="*/ 9991246 h 10057366"/>
              <a:gd name="connsiteX4" fmla="*/ 2675851 w 7178503"/>
              <a:gd name="connsiteY4" fmla="*/ 9810402 h 10057366"/>
              <a:gd name="connsiteX5" fmla="*/ 3303489 w 7178503"/>
              <a:gd name="connsiteY5" fmla="*/ 10000070 h 10057366"/>
              <a:gd name="connsiteX6" fmla="*/ 4003716 w 7178503"/>
              <a:gd name="connsiteY6" fmla="*/ 9406261 h 10057366"/>
              <a:gd name="connsiteX7" fmla="*/ 4578996 w 7178503"/>
              <a:gd name="connsiteY7" fmla="*/ 4557686 h 10057366"/>
              <a:gd name="connsiteX8" fmla="*/ 5243884 w 7178503"/>
              <a:gd name="connsiteY8" fmla="*/ 3002205 h 10057366"/>
              <a:gd name="connsiteX9" fmla="*/ 5857177 w 7178503"/>
              <a:gd name="connsiteY9" fmla="*/ 170850 h 10057366"/>
              <a:gd name="connsiteX10" fmla="*/ 6563159 w 7178503"/>
              <a:gd name="connsiteY10" fmla="*/ 8484216 h 10057366"/>
              <a:gd name="connsiteX11" fmla="*/ 7178503 w 7178503"/>
              <a:gd name="connsiteY11" fmla="*/ 7000800 h 10057366"/>
              <a:gd name="connsiteX0" fmla="*/ 0 w 7178503"/>
              <a:gd name="connsiteY0" fmla="*/ 9871458 h 10056916"/>
              <a:gd name="connsiteX1" fmla="*/ 680751 w 7178503"/>
              <a:gd name="connsiteY1" fmla="*/ 9333001 h 10056916"/>
              <a:gd name="connsiteX2" fmla="*/ 1397346 w 7178503"/>
              <a:gd name="connsiteY2" fmla="*/ 9292187 h 10056916"/>
              <a:gd name="connsiteX3" fmla="*/ 2013847 w 7178503"/>
              <a:gd name="connsiteY3" fmla="*/ 10037387 h 10056916"/>
              <a:gd name="connsiteX4" fmla="*/ 2675851 w 7178503"/>
              <a:gd name="connsiteY4" fmla="*/ 9856543 h 10056916"/>
              <a:gd name="connsiteX5" fmla="*/ 3303489 w 7178503"/>
              <a:gd name="connsiteY5" fmla="*/ 10046211 h 10056916"/>
              <a:gd name="connsiteX6" fmla="*/ 4003716 w 7178503"/>
              <a:gd name="connsiteY6" fmla="*/ 9452402 h 10056916"/>
              <a:gd name="connsiteX7" fmla="*/ 4562251 w 7178503"/>
              <a:gd name="connsiteY7" fmla="*/ 9672185 h 10056916"/>
              <a:gd name="connsiteX8" fmla="*/ 5243884 w 7178503"/>
              <a:gd name="connsiteY8" fmla="*/ 3048346 h 10056916"/>
              <a:gd name="connsiteX9" fmla="*/ 5857177 w 7178503"/>
              <a:gd name="connsiteY9" fmla="*/ 216991 h 10056916"/>
              <a:gd name="connsiteX10" fmla="*/ 6563159 w 7178503"/>
              <a:gd name="connsiteY10" fmla="*/ 8530357 h 10056916"/>
              <a:gd name="connsiteX11" fmla="*/ 7178503 w 7178503"/>
              <a:gd name="connsiteY11" fmla="*/ 7046941 h 10056916"/>
              <a:gd name="connsiteX0" fmla="*/ 0 w 7178503"/>
              <a:gd name="connsiteY0" fmla="*/ 9655528 h 9840986"/>
              <a:gd name="connsiteX1" fmla="*/ 680751 w 7178503"/>
              <a:gd name="connsiteY1" fmla="*/ 9117071 h 9840986"/>
              <a:gd name="connsiteX2" fmla="*/ 1397346 w 7178503"/>
              <a:gd name="connsiteY2" fmla="*/ 9076257 h 9840986"/>
              <a:gd name="connsiteX3" fmla="*/ 2013847 w 7178503"/>
              <a:gd name="connsiteY3" fmla="*/ 9821457 h 9840986"/>
              <a:gd name="connsiteX4" fmla="*/ 2675851 w 7178503"/>
              <a:gd name="connsiteY4" fmla="*/ 9640613 h 9840986"/>
              <a:gd name="connsiteX5" fmla="*/ 3303489 w 7178503"/>
              <a:gd name="connsiteY5" fmla="*/ 9830281 h 9840986"/>
              <a:gd name="connsiteX6" fmla="*/ 4003716 w 7178503"/>
              <a:gd name="connsiteY6" fmla="*/ 9236472 h 9840986"/>
              <a:gd name="connsiteX7" fmla="*/ 4562251 w 7178503"/>
              <a:gd name="connsiteY7" fmla="*/ 9456255 h 9840986"/>
              <a:gd name="connsiteX8" fmla="*/ 5277375 w 7178503"/>
              <a:gd name="connsiteY8" fmla="*/ 8971553 h 9840986"/>
              <a:gd name="connsiteX9" fmla="*/ 5857177 w 7178503"/>
              <a:gd name="connsiteY9" fmla="*/ 1061 h 9840986"/>
              <a:gd name="connsiteX10" fmla="*/ 6563159 w 7178503"/>
              <a:gd name="connsiteY10" fmla="*/ 8314427 h 9840986"/>
              <a:gd name="connsiteX11" fmla="*/ 7178503 w 7178503"/>
              <a:gd name="connsiteY11" fmla="*/ 6831011 h 9840986"/>
              <a:gd name="connsiteX0" fmla="*/ 0 w 7178503"/>
              <a:gd name="connsiteY0" fmla="*/ 2824591 h 3010049"/>
              <a:gd name="connsiteX1" fmla="*/ 680751 w 7178503"/>
              <a:gd name="connsiteY1" fmla="*/ 2286134 h 3010049"/>
              <a:gd name="connsiteX2" fmla="*/ 1397346 w 7178503"/>
              <a:gd name="connsiteY2" fmla="*/ 2245320 h 3010049"/>
              <a:gd name="connsiteX3" fmla="*/ 2013847 w 7178503"/>
              <a:gd name="connsiteY3" fmla="*/ 2990520 h 3010049"/>
              <a:gd name="connsiteX4" fmla="*/ 2675851 w 7178503"/>
              <a:gd name="connsiteY4" fmla="*/ 2809676 h 3010049"/>
              <a:gd name="connsiteX5" fmla="*/ 3303489 w 7178503"/>
              <a:gd name="connsiteY5" fmla="*/ 2999344 h 3010049"/>
              <a:gd name="connsiteX6" fmla="*/ 4003716 w 7178503"/>
              <a:gd name="connsiteY6" fmla="*/ 2405535 h 3010049"/>
              <a:gd name="connsiteX7" fmla="*/ 4562251 w 7178503"/>
              <a:gd name="connsiteY7" fmla="*/ 2625318 h 3010049"/>
              <a:gd name="connsiteX8" fmla="*/ 5277375 w 7178503"/>
              <a:gd name="connsiteY8" fmla="*/ 2140616 h 3010049"/>
              <a:gd name="connsiteX9" fmla="*/ 5790197 w 7178503"/>
              <a:gd name="connsiteY9" fmla="*/ 1522206 h 3010049"/>
              <a:gd name="connsiteX10" fmla="*/ 6563159 w 7178503"/>
              <a:gd name="connsiteY10" fmla="*/ 1483490 h 3010049"/>
              <a:gd name="connsiteX11" fmla="*/ 7178503 w 7178503"/>
              <a:gd name="connsiteY11" fmla="*/ 74 h 3010049"/>
              <a:gd name="connsiteX0" fmla="*/ 0 w 7195248"/>
              <a:gd name="connsiteY0" fmla="*/ 1366819 h 1552277"/>
              <a:gd name="connsiteX1" fmla="*/ 680751 w 7195248"/>
              <a:gd name="connsiteY1" fmla="*/ 828362 h 1552277"/>
              <a:gd name="connsiteX2" fmla="*/ 1397346 w 7195248"/>
              <a:gd name="connsiteY2" fmla="*/ 787548 h 1552277"/>
              <a:gd name="connsiteX3" fmla="*/ 2013847 w 7195248"/>
              <a:gd name="connsiteY3" fmla="*/ 1532748 h 1552277"/>
              <a:gd name="connsiteX4" fmla="*/ 2675851 w 7195248"/>
              <a:gd name="connsiteY4" fmla="*/ 1351904 h 1552277"/>
              <a:gd name="connsiteX5" fmla="*/ 3303489 w 7195248"/>
              <a:gd name="connsiteY5" fmla="*/ 1541572 h 1552277"/>
              <a:gd name="connsiteX6" fmla="*/ 4003716 w 7195248"/>
              <a:gd name="connsiteY6" fmla="*/ 947763 h 1552277"/>
              <a:gd name="connsiteX7" fmla="*/ 4562251 w 7195248"/>
              <a:gd name="connsiteY7" fmla="*/ 1167546 h 1552277"/>
              <a:gd name="connsiteX8" fmla="*/ 5277375 w 7195248"/>
              <a:gd name="connsiteY8" fmla="*/ 682844 h 1552277"/>
              <a:gd name="connsiteX9" fmla="*/ 5790197 w 7195248"/>
              <a:gd name="connsiteY9" fmla="*/ 64434 h 1552277"/>
              <a:gd name="connsiteX10" fmla="*/ 6563159 w 7195248"/>
              <a:gd name="connsiteY10" fmla="*/ 25718 h 1552277"/>
              <a:gd name="connsiteX11" fmla="*/ 7195248 w 7195248"/>
              <a:gd name="connsiteY11" fmla="*/ 326935 h 1552277"/>
              <a:gd name="connsiteX0" fmla="*/ 0 w 7224369"/>
              <a:gd name="connsiteY0" fmla="*/ 25634086 h 25634086"/>
              <a:gd name="connsiteX1" fmla="*/ 709872 w 7224369"/>
              <a:gd name="connsiteY1" fmla="*/ 1805404 h 25634086"/>
              <a:gd name="connsiteX2" fmla="*/ 1426467 w 7224369"/>
              <a:gd name="connsiteY2" fmla="*/ 1764590 h 25634086"/>
              <a:gd name="connsiteX3" fmla="*/ 2042968 w 7224369"/>
              <a:gd name="connsiteY3" fmla="*/ 2509790 h 25634086"/>
              <a:gd name="connsiteX4" fmla="*/ 2704972 w 7224369"/>
              <a:gd name="connsiteY4" fmla="*/ 2328946 h 25634086"/>
              <a:gd name="connsiteX5" fmla="*/ 3332610 w 7224369"/>
              <a:gd name="connsiteY5" fmla="*/ 2518614 h 25634086"/>
              <a:gd name="connsiteX6" fmla="*/ 4032837 w 7224369"/>
              <a:gd name="connsiteY6" fmla="*/ 1924805 h 25634086"/>
              <a:gd name="connsiteX7" fmla="*/ 4591372 w 7224369"/>
              <a:gd name="connsiteY7" fmla="*/ 2144588 h 25634086"/>
              <a:gd name="connsiteX8" fmla="*/ 5306496 w 7224369"/>
              <a:gd name="connsiteY8" fmla="*/ 1659886 h 25634086"/>
              <a:gd name="connsiteX9" fmla="*/ 5819318 w 7224369"/>
              <a:gd name="connsiteY9" fmla="*/ 1041476 h 25634086"/>
              <a:gd name="connsiteX10" fmla="*/ 6592280 w 7224369"/>
              <a:gd name="connsiteY10" fmla="*/ 1002760 h 25634086"/>
              <a:gd name="connsiteX11" fmla="*/ 7224369 w 7224369"/>
              <a:gd name="connsiteY11" fmla="*/ 1303977 h 25634086"/>
              <a:gd name="connsiteX0" fmla="*/ 0 w 7236017"/>
              <a:gd name="connsiteY0" fmla="*/ 24407353 h 24407352"/>
              <a:gd name="connsiteX1" fmla="*/ 721520 w 7236017"/>
              <a:gd name="connsiteY1" fmla="*/ 1720835 h 24407352"/>
              <a:gd name="connsiteX2" fmla="*/ 1438115 w 7236017"/>
              <a:gd name="connsiteY2" fmla="*/ 1680021 h 24407352"/>
              <a:gd name="connsiteX3" fmla="*/ 2054616 w 7236017"/>
              <a:gd name="connsiteY3" fmla="*/ 2425221 h 24407352"/>
              <a:gd name="connsiteX4" fmla="*/ 2716620 w 7236017"/>
              <a:gd name="connsiteY4" fmla="*/ 2244377 h 24407352"/>
              <a:gd name="connsiteX5" fmla="*/ 3344258 w 7236017"/>
              <a:gd name="connsiteY5" fmla="*/ 2434045 h 24407352"/>
              <a:gd name="connsiteX6" fmla="*/ 4044485 w 7236017"/>
              <a:gd name="connsiteY6" fmla="*/ 1840236 h 24407352"/>
              <a:gd name="connsiteX7" fmla="*/ 4603020 w 7236017"/>
              <a:gd name="connsiteY7" fmla="*/ 2060019 h 24407352"/>
              <a:gd name="connsiteX8" fmla="*/ 5318144 w 7236017"/>
              <a:gd name="connsiteY8" fmla="*/ 1575317 h 24407352"/>
              <a:gd name="connsiteX9" fmla="*/ 5830966 w 7236017"/>
              <a:gd name="connsiteY9" fmla="*/ 956907 h 24407352"/>
              <a:gd name="connsiteX10" fmla="*/ 6603928 w 7236017"/>
              <a:gd name="connsiteY10" fmla="*/ 918191 h 24407352"/>
              <a:gd name="connsiteX11" fmla="*/ 7236017 w 7236017"/>
              <a:gd name="connsiteY11" fmla="*/ 1219408 h 24407352"/>
              <a:gd name="connsiteX0" fmla="*/ 0 w 7236017"/>
              <a:gd name="connsiteY0" fmla="*/ 23127282 h 23127282"/>
              <a:gd name="connsiteX1" fmla="*/ 721520 w 7236017"/>
              <a:gd name="connsiteY1" fmla="*/ 1632587 h 23127282"/>
              <a:gd name="connsiteX2" fmla="*/ 1438115 w 7236017"/>
              <a:gd name="connsiteY2" fmla="*/ 1591773 h 23127282"/>
              <a:gd name="connsiteX3" fmla="*/ 2054616 w 7236017"/>
              <a:gd name="connsiteY3" fmla="*/ 2336973 h 23127282"/>
              <a:gd name="connsiteX4" fmla="*/ 2716620 w 7236017"/>
              <a:gd name="connsiteY4" fmla="*/ 2156129 h 23127282"/>
              <a:gd name="connsiteX5" fmla="*/ 3344258 w 7236017"/>
              <a:gd name="connsiteY5" fmla="*/ 2345797 h 23127282"/>
              <a:gd name="connsiteX6" fmla="*/ 4044485 w 7236017"/>
              <a:gd name="connsiteY6" fmla="*/ 1751988 h 23127282"/>
              <a:gd name="connsiteX7" fmla="*/ 4603020 w 7236017"/>
              <a:gd name="connsiteY7" fmla="*/ 1971771 h 23127282"/>
              <a:gd name="connsiteX8" fmla="*/ 5318144 w 7236017"/>
              <a:gd name="connsiteY8" fmla="*/ 1487069 h 23127282"/>
              <a:gd name="connsiteX9" fmla="*/ 5830966 w 7236017"/>
              <a:gd name="connsiteY9" fmla="*/ 868659 h 23127282"/>
              <a:gd name="connsiteX10" fmla="*/ 6603928 w 7236017"/>
              <a:gd name="connsiteY10" fmla="*/ 829943 h 23127282"/>
              <a:gd name="connsiteX11" fmla="*/ 7236017 w 7236017"/>
              <a:gd name="connsiteY11" fmla="*/ 1131160 h 23127282"/>
              <a:gd name="connsiteX0" fmla="*/ 0 w 7236017"/>
              <a:gd name="connsiteY0" fmla="*/ 23096205 h 26633886"/>
              <a:gd name="connsiteX1" fmla="*/ 651628 w 7236017"/>
              <a:gd name="connsiteY1" fmla="*/ 25487643 h 26633886"/>
              <a:gd name="connsiteX2" fmla="*/ 1438115 w 7236017"/>
              <a:gd name="connsiteY2" fmla="*/ 1560696 h 26633886"/>
              <a:gd name="connsiteX3" fmla="*/ 2054616 w 7236017"/>
              <a:gd name="connsiteY3" fmla="*/ 2305896 h 26633886"/>
              <a:gd name="connsiteX4" fmla="*/ 2716620 w 7236017"/>
              <a:gd name="connsiteY4" fmla="*/ 2125052 h 26633886"/>
              <a:gd name="connsiteX5" fmla="*/ 3344258 w 7236017"/>
              <a:gd name="connsiteY5" fmla="*/ 2314720 h 26633886"/>
              <a:gd name="connsiteX6" fmla="*/ 4044485 w 7236017"/>
              <a:gd name="connsiteY6" fmla="*/ 1720911 h 26633886"/>
              <a:gd name="connsiteX7" fmla="*/ 4603020 w 7236017"/>
              <a:gd name="connsiteY7" fmla="*/ 1940694 h 26633886"/>
              <a:gd name="connsiteX8" fmla="*/ 5318144 w 7236017"/>
              <a:gd name="connsiteY8" fmla="*/ 1455992 h 26633886"/>
              <a:gd name="connsiteX9" fmla="*/ 5830966 w 7236017"/>
              <a:gd name="connsiteY9" fmla="*/ 837582 h 26633886"/>
              <a:gd name="connsiteX10" fmla="*/ 6603928 w 7236017"/>
              <a:gd name="connsiteY10" fmla="*/ 798866 h 26633886"/>
              <a:gd name="connsiteX11" fmla="*/ 7236017 w 7236017"/>
              <a:gd name="connsiteY11" fmla="*/ 1100083 h 26633886"/>
              <a:gd name="connsiteX0" fmla="*/ 0 w 7236017"/>
              <a:gd name="connsiteY0" fmla="*/ 23096205 h 25750226"/>
              <a:gd name="connsiteX1" fmla="*/ 651628 w 7236017"/>
              <a:gd name="connsiteY1" fmla="*/ 25487643 h 25750226"/>
              <a:gd name="connsiteX2" fmla="*/ 1438115 w 7236017"/>
              <a:gd name="connsiteY2" fmla="*/ 1560696 h 25750226"/>
              <a:gd name="connsiteX3" fmla="*/ 2054616 w 7236017"/>
              <a:gd name="connsiteY3" fmla="*/ 2305896 h 25750226"/>
              <a:gd name="connsiteX4" fmla="*/ 2716620 w 7236017"/>
              <a:gd name="connsiteY4" fmla="*/ 2125052 h 25750226"/>
              <a:gd name="connsiteX5" fmla="*/ 3344258 w 7236017"/>
              <a:gd name="connsiteY5" fmla="*/ 2314720 h 25750226"/>
              <a:gd name="connsiteX6" fmla="*/ 4044485 w 7236017"/>
              <a:gd name="connsiteY6" fmla="*/ 1720911 h 25750226"/>
              <a:gd name="connsiteX7" fmla="*/ 4603020 w 7236017"/>
              <a:gd name="connsiteY7" fmla="*/ 1940694 h 25750226"/>
              <a:gd name="connsiteX8" fmla="*/ 5318144 w 7236017"/>
              <a:gd name="connsiteY8" fmla="*/ 1455992 h 25750226"/>
              <a:gd name="connsiteX9" fmla="*/ 5830966 w 7236017"/>
              <a:gd name="connsiteY9" fmla="*/ 837582 h 25750226"/>
              <a:gd name="connsiteX10" fmla="*/ 6603928 w 7236017"/>
              <a:gd name="connsiteY10" fmla="*/ 798866 h 25750226"/>
              <a:gd name="connsiteX11" fmla="*/ 7236017 w 7236017"/>
              <a:gd name="connsiteY11" fmla="*/ 1100083 h 25750226"/>
              <a:gd name="connsiteX0" fmla="*/ 0 w 7311734"/>
              <a:gd name="connsiteY0" fmla="*/ 26721334 h 27733425"/>
              <a:gd name="connsiteX1" fmla="*/ 727345 w 7311734"/>
              <a:gd name="connsiteY1" fmla="*/ 25487643 h 27733425"/>
              <a:gd name="connsiteX2" fmla="*/ 1513832 w 7311734"/>
              <a:gd name="connsiteY2" fmla="*/ 1560696 h 27733425"/>
              <a:gd name="connsiteX3" fmla="*/ 2130333 w 7311734"/>
              <a:gd name="connsiteY3" fmla="*/ 2305896 h 27733425"/>
              <a:gd name="connsiteX4" fmla="*/ 2792337 w 7311734"/>
              <a:gd name="connsiteY4" fmla="*/ 2125052 h 27733425"/>
              <a:gd name="connsiteX5" fmla="*/ 3419975 w 7311734"/>
              <a:gd name="connsiteY5" fmla="*/ 2314720 h 27733425"/>
              <a:gd name="connsiteX6" fmla="*/ 4120202 w 7311734"/>
              <a:gd name="connsiteY6" fmla="*/ 1720911 h 27733425"/>
              <a:gd name="connsiteX7" fmla="*/ 4678737 w 7311734"/>
              <a:gd name="connsiteY7" fmla="*/ 1940694 h 27733425"/>
              <a:gd name="connsiteX8" fmla="*/ 5393861 w 7311734"/>
              <a:gd name="connsiteY8" fmla="*/ 1455992 h 27733425"/>
              <a:gd name="connsiteX9" fmla="*/ 5906683 w 7311734"/>
              <a:gd name="connsiteY9" fmla="*/ 837582 h 27733425"/>
              <a:gd name="connsiteX10" fmla="*/ 6679645 w 7311734"/>
              <a:gd name="connsiteY10" fmla="*/ 798866 h 27733425"/>
              <a:gd name="connsiteX11" fmla="*/ 7311734 w 7311734"/>
              <a:gd name="connsiteY11" fmla="*/ 1100083 h 27733425"/>
              <a:gd name="connsiteX0" fmla="*/ 0 w 7311734"/>
              <a:gd name="connsiteY0" fmla="*/ 26721334 h 27718511"/>
              <a:gd name="connsiteX1" fmla="*/ 727345 w 7311734"/>
              <a:gd name="connsiteY1" fmla="*/ 25487643 h 27718511"/>
              <a:gd name="connsiteX2" fmla="*/ 1513832 w 7311734"/>
              <a:gd name="connsiteY2" fmla="*/ 1560696 h 27718511"/>
              <a:gd name="connsiteX3" fmla="*/ 2130333 w 7311734"/>
              <a:gd name="connsiteY3" fmla="*/ 2305896 h 27718511"/>
              <a:gd name="connsiteX4" fmla="*/ 2792337 w 7311734"/>
              <a:gd name="connsiteY4" fmla="*/ 2125052 h 27718511"/>
              <a:gd name="connsiteX5" fmla="*/ 3419975 w 7311734"/>
              <a:gd name="connsiteY5" fmla="*/ 2314720 h 27718511"/>
              <a:gd name="connsiteX6" fmla="*/ 4120202 w 7311734"/>
              <a:gd name="connsiteY6" fmla="*/ 1720911 h 27718511"/>
              <a:gd name="connsiteX7" fmla="*/ 4678737 w 7311734"/>
              <a:gd name="connsiteY7" fmla="*/ 1940694 h 27718511"/>
              <a:gd name="connsiteX8" fmla="*/ 5393861 w 7311734"/>
              <a:gd name="connsiteY8" fmla="*/ 1455992 h 27718511"/>
              <a:gd name="connsiteX9" fmla="*/ 5906683 w 7311734"/>
              <a:gd name="connsiteY9" fmla="*/ 837582 h 27718511"/>
              <a:gd name="connsiteX10" fmla="*/ 6679645 w 7311734"/>
              <a:gd name="connsiteY10" fmla="*/ 798866 h 27718511"/>
              <a:gd name="connsiteX11" fmla="*/ 7311734 w 7311734"/>
              <a:gd name="connsiteY11" fmla="*/ 1100083 h 27718511"/>
              <a:gd name="connsiteX0" fmla="*/ 0 w 7311734"/>
              <a:gd name="connsiteY0" fmla="*/ 26721334 h 26721334"/>
              <a:gd name="connsiteX1" fmla="*/ 727345 w 7311734"/>
              <a:gd name="connsiteY1" fmla="*/ 25487643 h 26721334"/>
              <a:gd name="connsiteX2" fmla="*/ 1513832 w 7311734"/>
              <a:gd name="connsiteY2" fmla="*/ 1560696 h 26721334"/>
              <a:gd name="connsiteX3" fmla="*/ 2130333 w 7311734"/>
              <a:gd name="connsiteY3" fmla="*/ 2305896 h 26721334"/>
              <a:gd name="connsiteX4" fmla="*/ 2792337 w 7311734"/>
              <a:gd name="connsiteY4" fmla="*/ 2125052 h 26721334"/>
              <a:gd name="connsiteX5" fmla="*/ 3419975 w 7311734"/>
              <a:gd name="connsiteY5" fmla="*/ 2314720 h 26721334"/>
              <a:gd name="connsiteX6" fmla="*/ 4120202 w 7311734"/>
              <a:gd name="connsiteY6" fmla="*/ 1720911 h 26721334"/>
              <a:gd name="connsiteX7" fmla="*/ 4678737 w 7311734"/>
              <a:gd name="connsiteY7" fmla="*/ 1940694 h 26721334"/>
              <a:gd name="connsiteX8" fmla="*/ 5393861 w 7311734"/>
              <a:gd name="connsiteY8" fmla="*/ 1455992 h 26721334"/>
              <a:gd name="connsiteX9" fmla="*/ 5906683 w 7311734"/>
              <a:gd name="connsiteY9" fmla="*/ 837582 h 26721334"/>
              <a:gd name="connsiteX10" fmla="*/ 6679645 w 7311734"/>
              <a:gd name="connsiteY10" fmla="*/ 798866 h 26721334"/>
              <a:gd name="connsiteX11" fmla="*/ 7311734 w 7311734"/>
              <a:gd name="connsiteY11" fmla="*/ 1100083 h 26721334"/>
              <a:gd name="connsiteX0" fmla="*/ 0 w 7311734"/>
              <a:gd name="connsiteY0" fmla="*/ 26819862 h 27406814"/>
              <a:gd name="connsiteX1" fmla="*/ 785589 w 7311734"/>
              <a:gd name="connsiteY1" fmla="*/ 26926977 h 27406814"/>
              <a:gd name="connsiteX2" fmla="*/ 1513832 w 7311734"/>
              <a:gd name="connsiteY2" fmla="*/ 1659224 h 27406814"/>
              <a:gd name="connsiteX3" fmla="*/ 2130333 w 7311734"/>
              <a:gd name="connsiteY3" fmla="*/ 2404424 h 27406814"/>
              <a:gd name="connsiteX4" fmla="*/ 2792337 w 7311734"/>
              <a:gd name="connsiteY4" fmla="*/ 2223580 h 27406814"/>
              <a:gd name="connsiteX5" fmla="*/ 3419975 w 7311734"/>
              <a:gd name="connsiteY5" fmla="*/ 2413248 h 27406814"/>
              <a:gd name="connsiteX6" fmla="*/ 4120202 w 7311734"/>
              <a:gd name="connsiteY6" fmla="*/ 1819439 h 27406814"/>
              <a:gd name="connsiteX7" fmla="*/ 4678737 w 7311734"/>
              <a:gd name="connsiteY7" fmla="*/ 2039222 h 27406814"/>
              <a:gd name="connsiteX8" fmla="*/ 5393861 w 7311734"/>
              <a:gd name="connsiteY8" fmla="*/ 1554520 h 27406814"/>
              <a:gd name="connsiteX9" fmla="*/ 5906683 w 7311734"/>
              <a:gd name="connsiteY9" fmla="*/ 936110 h 27406814"/>
              <a:gd name="connsiteX10" fmla="*/ 6679645 w 7311734"/>
              <a:gd name="connsiteY10" fmla="*/ 897394 h 27406814"/>
              <a:gd name="connsiteX11" fmla="*/ 7311734 w 7311734"/>
              <a:gd name="connsiteY11" fmla="*/ 1198611 h 27406814"/>
              <a:gd name="connsiteX0" fmla="*/ 0 w 7311734"/>
              <a:gd name="connsiteY0" fmla="*/ 25948187 h 26898242"/>
              <a:gd name="connsiteX1" fmla="*/ 785589 w 7311734"/>
              <a:gd name="connsiteY1" fmla="*/ 26055302 h 26898242"/>
              <a:gd name="connsiteX2" fmla="*/ 1362398 w 7311734"/>
              <a:gd name="connsiteY2" fmla="*/ 14046587 h 26898242"/>
              <a:gd name="connsiteX3" fmla="*/ 2130333 w 7311734"/>
              <a:gd name="connsiteY3" fmla="*/ 1532749 h 26898242"/>
              <a:gd name="connsiteX4" fmla="*/ 2792337 w 7311734"/>
              <a:gd name="connsiteY4" fmla="*/ 1351905 h 26898242"/>
              <a:gd name="connsiteX5" fmla="*/ 3419975 w 7311734"/>
              <a:gd name="connsiteY5" fmla="*/ 1541573 h 26898242"/>
              <a:gd name="connsiteX6" fmla="*/ 4120202 w 7311734"/>
              <a:gd name="connsiteY6" fmla="*/ 947764 h 26898242"/>
              <a:gd name="connsiteX7" fmla="*/ 4678737 w 7311734"/>
              <a:gd name="connsiteY7" fmla="*/ 1167547 h 26898242"/>
              <a:gd name="connsiteX8" fmla="*/ 5393861 w 7311734"/>
              <a:gd name="connsiteY8" fmla="*/ 682845 h 26898242"/>
              <a:gd name="connsiteX9" fmla="*/ 5906683 w 7311734"/>
              <a:gd name="connsiteY9" fmla="*/ 64435 h 26898242"/>
              <a:gd name="connsiteX10" fmla="*/ 6679645 w 7311734"/>
              <a:gd name="connsiteY10" fmla="*/ 25719 h 26898242"/>
              <a:gd name="connsiteX11" fmla="*/ 7311734 w 7311734"/>
              <a:gd name="connsiteY11" fmla="*/ 326936 h 26898242"/>
              <a:gd name="connsiteX0" fmla="*/ 0 w 7311734"/>
              <a:gd name="connsiteY0" fmla="*/ 25948187 h 26898242"/>
              <a:gd name="connsiteX1" fmla="*/ 785589 w 7311734"/>
              <a:gd name="connsiteY1" fmla="*/ 26055302 h 26898242"/>
              <a:gd name="connsiteX2" fmla="*/ 1362398 w 7311734"/>
              <a:gd name="connsiteY2" fmla="*/ 14046587 h 26898242"/>
              <a:gd name="connsiteX3" fmla="*/ 2130333 w 7311734"/>
              <a:gd name="connsiteY3" fmla="*/ 1532749 h 26898242"/>
              <a:gd name="connsiteX4" fmla="*/ 2792337 w 7311734"/>
              <a:gd name="connsiteY4" fmla="*/ 1351905 h 26898242"/>
              <a:gd name="connsiteX5" fmla="*/ 3419975 w 7311734"/>
              <a:gd name="connsiteY5" fmla="*/ 1541573 h 26898242"/>
              <a:gd name="connsiteX6" fmla="*/ 4120202 w 7311734"/>
              <a:gd name="connsiteY6" fmla="*/ 947764 h 26898242"/>
              <a:gd name="connsiteX7" fmla="*/ 4678737 w 7311734"/>
              <a:gd name="connsiteY7" fmla="*/ 1167547 h 26898242"/>
              <a:gd name="connsiteX8" fmla="*/ 5393861 w 7311734"/>
              <a:gd name="connsiteY8" fmla="*/ 682845 h 26898242"/>
              <a:gd name="connsiteX9" fmla="*/ 5906683 w 7311734"/>
              <a:gd name="connsiteY9" fmla="*/ 64435 h 26898242"/>
              <a:gd name="connsiteX10" fmla="*/ 6679645 w 7311734"/>
              <a:gd name="connsiteY10" fmla="*/ 25719 h 26898242"/>
              <a:gd name="connsiteX11" fmla="*/ 7311734 w 7311734"/>
              <a:gd name="connsiteY11" fmla="*/ 326936 h 26898242"/>
              <a:gd name="connsiteX0" fmla="*/ 0 w 7311734"/>
              <a:gd name="connsiteY0" fmla="*/ 25948187 h 26934965"/>
              <a:gd name="connsiteX1" fmla="*/ 785589 w 7311734"/>
              <a:gd name="connsiteY1" fmla="*/ 26055302 h 26934965"/>
              <a:gd name="connsiteX2" fmla="*/ 1350749 w 7311734"/>
              <a:gd name="connsiteY2" fmla="*/ 13549994 h 26934965"/>
              <a:gd name="connsiteX3" fmla="*/ 2130333 w 7311734"/>
              <a:gd name="connsiteY3" fmla="*/ 1532749 h 26934965"/>
              <a:gd name="connsiteX4" fmla="*/ 2792337 w 7311734"/>
              <a:gd name="connsiteY4" fmla="*/ 1351905 h 26934965"/>
              <a:gd name="connsiteX5" fmla="*/ 3419975 w 7311734"/>
              <a:gd name="connsiteY5" fmla="*/ 1541573 h 26934965"/>
              <a:gd name="connsiteX6" fmla="*/ 4120202 w 7311734"/>
              <a:gd name="connsiteY6" fmla="*/ 947764 h 26934965"/>
              <a:gd name="connsiteX7" fmla="*/ 4678737 w 7311734"/>
              <a:gd name="connsiteY7" fmla="*/ 1167547 h 26934965"/>
              <a:gd name="connsiteX8" fmla="*/ 5393861 w 7311734"/>
              <a:gd name="connsiteY8" fmla="*/ 682845 h 26934965"/>
              <a:gd name="connsiteX9" fmla="*/ 5906683 w 7311734"/>
              <a:gd name="connsiteY9" fmla="*/ 64435 h 26934965"/>
              <a:gd name="connsiteX10" fmla="*/ 6679645 w 7311734"/>
              <a:gd name="connsiteY10" fmla="*/ 25719 h 26934965"/>
              <a:gd name="connsiteX11" fmla="*/ 7311734 w 7311734"/>
              <a:gd name="connsiteY11" fmla="*/ 326936 h 26934965"/>
              <a:gd name="connsiteX0" fmla="*/ 0 w 7311734"/>
              <a:gd name="connsiteY0" fmla="*/ 25948187 h 26934965"/>
              <a:gd name="connsiteX1" fmla="*/ 785589 w 7311734"/>
              <a:gd name="connsiteY1" fmla="*/ 26055302 h 26934965"/>
              <a:gd name="connsiteX2" fmla="*/ 1350749 w 7311734"/>
              <a:gd name="connsiteY2" fmla="*/ 13549994 h 26934965"/>
              <a:gd name="connsiteX3" fmla="*/ 2101211 w 7311734"/>
              <a:gd name="connsiteY3" fmla="*/ 17076121 h 26934965"/>
              <a:gd name="connsiteX4" fmla="*/ 2792337 w 7311734"/>
              <a:gd name="connsiteY4" fmla="*/ 1351905 h 26934965"/>
              <a:gd name="connsiteX5" fmla="*/ 3419975 w 7311734"/>
              <a:gd name="connsiteY5" fmla="*/ 1541573 h 26934965"/>
              <a:gd name="connsiteX6" fmla="*/ 4120202 w 7311734"/>
              <a:gd name="connsiteY6" fmla="*/ 947764 h 26934965"/>
              <a:gd name="connsiteX7" fmla="*/ 4678737 w 7311734"/>
              <a:gd name="connsiteY7" fmla="*/ 1167547 h 26934965"/>
              <a:gd name="connsiteX8" fmla="*/ 5393861 w 7311734"/>
              <a:gd name="connsiteY8" fmla="*/ 682845 h 26934965"/>
              <a:gd name="connsiteX9" fmla="*/ 5906683 w 7311734"/>
              <a:gd name="connsiteY9" fmla="*/ 64435 h 26934965"/>
              <a:gd name="connsiteX10" fmla="*/ 6679645 w 7311734"/>
              <a:gd name="connsiteY10" fmla="*/ 25719 h 26934965"/>
              <a:gd name="connsiteX11" fmla="*/ 7311734 w 7311734"/>
              <a:gd name="connsiteY11" fmla="*/ 326936 h 26934965"/>
              <a:gd name="connsiteX0" fmla="*/ 0 w 7311734"/>
              <a:gd name="connsiteY0" fmla="*/ 25948187 h 30252232"/>
              <a:gd name="connsiteX1" fmla="*/ 785589 w 7311734"/>
              <a:gd name="connsiteY1" fmla="*/ 26055302 h 30252232"/>
              <a:gd name="connsiteX2" fmla="*/ 1350749 w 7311734"/>
              <a:gd name="connsiteY2" fmla="*/ 13549994 h 30252232"/>
              <a:gd name="connsiteX3" fmla="*/ 2101211 w 7311734"/>
              <a:gd name="connsiteY3" fmla="*/ 17076121 h 30252232"/>
              <a:gd name="connsiteX4" fmla="*/ 2704971 w 7311734"/>
              <a:gd name="connsiteY4" fmla="*/ 29906017 h 30252232"/>
              <a:gd name="connsiteX5" fmla="*/ 3419975 w 7311734"/>
              <a:gd name="connsiteY5" fmla="*/ 1541573 h 30252232"/>
              <a:gd name="connsiteX6" fmla="*/ 4120202 w 7311734"/>
              <a:gd name="connsiteY6" fmla="*/ 947764 h 30252232"/>
              <a:gd name="connsiteX7" fmla="*/ 4678737 w 7311734"/>
              <a:gd name="connsiteY7" fmla="*/ 1167547 h 30252232"/>
              <a:gd name="connsiteX8" fmla="*/ 5393861 w 7311734"/>
              <a:gd name="connsiteY8" fmla="*/ 682845 h 30252232"/>
              <a:gd name="connsiteX9" fmla="*/ 5906683 w 7311734"/>
              <a:gd name="connsiteY9" fmla="*/ 64435 h 30252232"/>
              <a:gd name="connsiteX10" fmla="*/ 6679645 w 7311734"/>
              <a:gd name="connsiteY10" fmla="*/ 25719 h 30252232"/>
              <a:gd name="connsiteX11" fmla="*/ 7311734 w 7311734"/>
              <a:gd name="connsiteY11" fmla="*/ 326936 h 30252232"/>
              <a:gd name="connsiteX0" fmla="*/ 0 w 7311734"/>
              <a:gd name="connsiteY0" fmla="*/ 25948187 h 29934464"/>
              <a:gd name="connsiteX1" fmla="*/ 785589 w 7311734"/>
              <a:gd name="connsiteY1" fmla="*/ 26055302 h 29934464"/>
              <a:gd name="connsiteX2" fmla="*/ 1350749 w 7311734"/>
              <a:gd name="connsiteY2" fmla="*/ 13549994 h 29934464"/>
              <a:gd name="connsiteX3" fmla="*/ 2101211 w 7311734"/>
              <a:gd name="connsiteY3" fmla="*/ 17076121 h 29934464"/>
              <a:gd name="connsiteX4" fmla="*/ 2704971 w 7311734"/>
              <a:gd name="connsiteY4" fmla="*/ 29906017 h 29934464"/>
              <a:gd name="connsiteX5" fmla="*/ 3419975 w 7311734"/>
              <a:gd name="connsiteY5" fmla="*/ 1541573 h 29934464"/>
              <a:gd name="connsiteX6" fmla="*/ 4120202 w 7311734"/>
              <a:gd name="connsiteY6" fmla="*/ 947764 h 29934464"/>
              <a:gd name="connsiteX7" fmla="*/ 4678737 w 7311734"/>
              <a:gd name="connsiteY7" fmla="*/ 1167547 h 29934464"/>
              <a:gd name="connsiteX8" fmla="*/ 5393861 w 7311734"/>
              <a:gd name="connsiteY8" fmla="*/ 682845 h 29934464"/>
              <a:gd name="connsiteX9" fmla="*/ 5906683 w 7311734"/>
              <a:gd name="connsiteY9" fmla="*/ 64435 h 29934464"/>
              <a:gd name="connsiteX10" fmla="*/ 6679645 w 7311734"/>
              <a:gd name="connsiteY10" fmla="*/ 25719 h 29934464"/>
              <a:gd name="connsiteX11" fmla="*/ 7311734 w 7311734"/>
              <a:gd name="connsiteY11" fmla="*/ 326936 h 29934464"/>
              <a:gd name="connsiteX0" fmla="*/ 0 w 7311734"/>
              <a:gd name="connsiteY0" fmla="*/ 25948187 h 29934464"/>
              <a:gd name="connsiteX1" fmla="*/ 785589 w 7311734"/>
              <a:gd name="connsiteY1" fmla="*/ 26055302 h 29934464"/>
              <a:gd name="connsiteX2" fmla="*/ 1350749 w 7311734"/>
              <a:gd name="connsiteY2" fmla="*/ 13549994 h 29934464"/>
              <a:gd name="connsiteX3" fmla="*/ 2101211 w 7311734"/>
              <a:gd name="connsiteY3" fmla="*/ 17076121 h 29934464"/>
              <a:gd name="connsiteX4" fmla="*/ 2664201 w 7311734"/>
              <a:gd name="connsiteY4" fmla="*/ 29906016 h 29934464"/>
              <a:gd name="connsiteX5" fmla="*/ 3419975 w 7311734"/>
              <a:gd name="connsiteY5" fmla="*/ 1541573 h 29934464"/>
              <a:gd name="connsiteX6" fmla="*/ 4120202 w 7311734"/>
              <a:gd name="connsiteY6" fmla="*/ 947764 h 29934464"/>
              <a:gd name="connsiteX7" fmla="*/ 4678737 w 7311734"/>
              <a:gd name="connsiteY7" fmla="*/ 1167547 h 29934464"/>
              <a:gd name="connsiteX8" fmla="*/ 5393861 w 7311734"/>
              <a:gd name="connsiteY8" fmla="*/ 682845 h 29934464"/>
              <a:gd name="connsiteX9" fmla="*/ 5906683 w 7311734"/>
              <a:gd name="connsiteY9" fmla="*/ 64435 h 29934464"/>
              <a:gd name="connsiteX10" fmla="*/ 6679645 w 7311734"/>
              <a:gd name="connsiteY10" fmla="*/ 25719 h 29934464"/>
              <a:gd name="connsiteX11" fmla="*/ 7311734 w 7311734"/>
              <a:gd name="connsiteY11" fmla="*/ 326936 h 29934464"/>
              <a:gd name="connsiteX0" fmla="*/ 0 w 7311734"/>
              <a:gd name="connsiteY0" fmla="*/ 26692336 h 30817462"/>
              <a:gd name="connsiteX1" fmla="*/ 785589 w 7311734"/>
              <a:gd name="connsiteY1" fmla="*/ 26799451 h 30817462"/>
              <a:gd name="connsiteX2" fmla="*/ 1350749 w 7311734"/>
              <a:gd name="connsiteY2" fmla="*/ 14294143 h 30817462"/>
              <a:gd name="connsiteX3" fmla="*/ 2101211 w 7311734"/>
              <a:gd name="connsiteY3" fmla="*/ 17820270 h 30817462"/>
              <a:gd name="connsiteX4" fmla="*/ 2664201 w 7311734"/>
              <a:gd name="connsiteY4" fmla="*/ 30650165 h 30817462"/>
              <a:gd name="connsiteX5" fmla="*/ 3291839 w 7311734"/>
              <a:gd name="connsiteY5" fmla="*/ 25476625 h 30817462"/>
              <a:gd name="connsiteX6" fmla="*/ 4120202 w 7311734"/>
              <a:gd name="connsiteY6" fmla="*/ 1691913 h 30817462"/>
              <a:gd name="connsiteX7" fmla="*/ 4678737 w 7311734"/>
              <a:gd name="connsiteY7" fmla="*/ 1911696 h 30817462"/>
              <a:gd name="connsiteX8" fmla="*/ 5393861 w 7311734"/>
              <a:gd name="connsiteY8" fmla="*/ 1426994 h 30817462"/>
              <a:gd name="connsiteX9" fmla="*/ 5906683 w 7311734"/>
              <a:gd name="connsiteY9" fmla="*/ 808584 h 30817462"/>
              <a:gd name="connsiteX10" fmla="*/ 6679645 w 7311734"/>
              <a:gd name="connsiteY10" fmla="*/ 769868 h 30817462"/>
              <a:gd name="connsiteX11" fmla="*/ 7311734 w 7311734"/>
              <a:gd name="connsiteY11" fmla="*/ 1071085 h 30817462"/>
              <a:gd name="connsiteX0" fmla="*/ 0 w 7311734"/>
              <a:gd name="connsiteY0" fmla="*/ 26692336 h 30899577"/>
              <a:gd name="connsiteX1" fmla="*/ 785589 w 7311734"/>
              <a:gd name="connsiteY1" fmla="*/ 26799451 h 30899577"/>
              <a:gd name="connsiteX2" fmla="*/ 1350749 w 7311734"/>
              <a:gd name="connsiteY2" fmla="*/ 14294143 h 30899577"/>
              <a:gd name="connsiteX3" fmla="*/ 2101211 w 7311734"/>
              <a:gd name="connsiteY3" fmla="*/ 17820270 h 30899577"/>
              <a:gd name="connsiteX4" fmla="*/ 2664201 w 7311734"/>
              <a:gd name="connsiteY4" fmla="*/ 30650165 h 30899577"/>
              <a:gd name="connsiteX5" fmla="*/ 3291839 w 7311734"/>
              <a:gd name="connsiteY5" fmla="*/ 25476625 h 30899577"/>
              <a:gd name="connsiteX6" fmla="*/ 4120202 w 7311734"/>
              <a:gd name="connsiteY6" fmla="*/ 1691913 h 30899577"/>
              <a:gd name="connsiteX7" fmla="*/ 4678737 w 7311734"/>
              <a:gd name="connsiteY7" fmla="*/ 1911696 h 30899577"/>
              <a:gd name="connsiteX8" fmla="*/ 5393861 w 7311734"/>
              <a:gd name="connsiteY8" fmla="*/ 1426994 h 30899577"/>
              <a:gd name="connsiteX9" fmla="*/ 5906683 w 7311734"/>
              <a:gd name="connsiteY9" fmla="*/ 808584 h 30899577"/>
              <a:gd name="connsiteX10" fmla="*/ 6679645 w 7311734"/>
              <a:gd name="connsiteY10" fmla="*/ 769868 h 30899577"/>
              <a:gd name="connsiteX11" fmla="*/ 7311734 w 7311734"/>
              <a:gd name="connsiteY11" fmla="*/ 1071085 h 30899577"/>
              <a:gd name="connsiteX0" fmla="*/ 0 w 7311734"/>
              <a:gd name="connsiteY0" fmla="*/ 26692336 h 30899577"/>
              <a:gd name="connsiteX1" fmla="*/ 785589 w 7311734"/>
              <a:gd name="connsiteY1" fmla="*/ 26799451 h 30899577"/>
              <a:gd name="connsiteX2" fmla="*/ 1350749 w 7311734"/>
              <a:gd name="connsiteY2" fmla="*/ 14294143 h 30899577"/>
              <a:gd name="connsiteX3" fmla="*/ 2101211 w 7311734"/>
              <a:gd name="connsiteY3" fmla="*/ 17820270 h 30899577"/>
              <a:gd name="connsiteX4" fmla="*/ 2664201 w 7311734"/>
              <a:gd name="connsiteY4" fmla="*/ 30650165 h 30899577"/>
              <a:gd name="connsiteX5" fmla="*/ 3291839 w 7311734"/>
              <a:gd name="connsiteY5" fmla="*/ 25476625 h 30899577"/>
              <a:gd name="connsiteX6" fmla="*/ 4120202 w 7311734"/>
              <a:gd name="connsiteY6" fmla="*/ 1691913 h 30899577"/>
              <a:gd name="connsiteX7" fmla="*/ 4678737 w 7311734"/>
              <a:gd name="connsiteY7" fmla="*/ 1911696 h 30899577"/>
              <a:gd name="connsiteX8" fmla="*/ 5393861 w 7311734"/>
              <a:gd name="connsiteY8" fmla="*/ 1426994 h 30899577"/>
              <a:gd name="connsiteX9" fmla="*/ 5906683 w 7311734"/>
              <a:gd name="connsiteY9" fmla="*/ 808584 h 30899577"/>
              <a:gd name="connsiteX10" fmla="*/ 6679645 w 7311734"/>
              <a:gd name="connsiteY10" fmla="*/ 769868 h 30899577"/>
              <a:gd name="connsiteX11" fmla="*/ 7311734 w 7311734"/>
              <a:gd name="connsiteY11" fmla="*/ 1071085 h 30899577"/>
              <a:gd name="connsiteX0" fmla="*/ 0 w 7311734"/>
              <a:gd name="connsiteY0" fmla="*/ 25948187 h 30155428"/>
              <a:gd name="connsiteX1" fmla="*/ 785589 w 7311734"/>
              <a:gd name="connsiteY1" fmla="*/ 26055302 h 30155428"/>
              <a:gd name="connsiteX2" fmla="*/ 1350749 w 7311734"/>
              <a:gd name="connsiteY2" fmla="*/ 13549994 h 30155428"/>
              <a:gd name="connsiteX3" fmla="*/ 2101211 w 7311734"/>
              <a:gd name="connsiteY3" fmla="*/ 17076121 h 30155428"/>
              <a:gd name="connsiteX4" fmla="*/ 2664201 w 7311734"/>
              <a:gd name="connsiteY4" fmla="*/ 29906016 h 30155428"/>
              <a:gd name="connsiteX5" fmla="*/ 3291839 w 7311734"/>
              <a:gd name="connsiteY5" fmla="*/ 24732476 h 30155428"/>
              <a:gd name="connsiteX6" fmla="*/ 3904701 w 7311734"/>
              <a:gd name="connsiteY6" fmla="*/ 17335344 h 30155428"/>
              <a:gd name="connsiteX7" fmla="*/ 4678737 w 7311734"/>
              <a:gd name="connsiteY7" fmla="*/ 1167547 h 30155428"/>
              <a:gd name="connsiteX8" fmla="*/ 5393861 w 7311734"/>
              <a:gd name="connsiteY8" fmla="*/ 682845 h 30155428"/>
              <a:gd name="connsiteX9" fmla="*/ 5906683 w 7311734"/>
              <a:gd name="connsiteY9" fmla="*/ 64435 h 30155428"/>
              <a:gd name="connsiteX10" fmla="*/ 6679645 w 7311734"/>
              <a:gd name="connsiteY10" fmla="*/ 25719 h 30155428"/>
              <a:gd name="connsiteX11" fmla="*/ 7311734 w 7311734"/>
              <a:gd name="connsiteY11" fmla="*/ 326936 h 30155428"/>
              <a:gd name="connsiteX0" fmla="*/ 0 w 7311734"/>
              <a:gd name="connsiteY0" fmla="*/ 25948187 h 30155428"/>
              <a:gd name="connsiteX1" fmla="*/ 785589 w 7311734"/>
              <a:gd name="connsiteY1" fmla="*/ 26055302 h 30155428"/>
              <a:gd name="connsiteX2" fmla="*/ 1350749 w 7311734"/>
              <a:gd name="connsiteY2" fmla="*/ 13549994 h 30155428"/>
              <a:gd name="connsiteX3" fmla="*/ 2101211 w 7311734"/>
              <a:gd name="connsiteY3" fmla="*/ 17076121 h 30155428"/>
              <a:gd name="connsiteX4" fmla="*/ 2664201 w 7311734"/>
              <a:gd name="connsiteY4" fmla="*/ 29906016 h 30155428"/>
              <a:gd name="connsiteX5" fmla="*/ 3291839 w 7311734"/>
              <a:gd name="connsiteY5" fmla="*/ 24732476 h 30155428"/>
              <a:gd name="connsiteX6" fmla="*/ 3904701 w 7311734"/>
              <a:gd name="connsiteY6" fmla="*/ 16689772 h 30155428"/>
              <a:gd name="connsiteX7" fmla="*/ 4678737 w 7311734"/>
              <a:gd name="connsiteY7" fmla="*/ 1167547 h 30155428"/>
              <a:gd name="connsiteX8" fmla="*/ 5393861 w 7311734"/>
              <a:gd name="connsiteY8" fmla="*/ 682845 h 30155428"/>
              <a:gd name="connsiteX9" fmla="*/ 5906683 w 7311734"/>
              <a:gd name="connsiteY9" fmla="*/ 64435 h 30155428"/>
              <a:gd name="connsiteX10" fmla="*/ 6679645 w 7311734"/>
              <a:gd name="connsiteY10" fmla="*/ 25719 h 30155428"/>
              <a:gd name="connsiteX11" fmla="*/ 7311734 w 7311734"/>
              <a:gd name="connsiteY11" fmla="*/ 326936 h 30155428"/>
              <a:gd name="connsiteX0" fmla="*/ 0 w 7311734"/>
              <a:gd name="connsiteY0" fmla="*/ 26190847 h 30398088"/>
              <a:gd name="connsiteX1" fmla="*/ 785589 w 7311734"/>
              <a:gd name="connsiteY1" fmla="*/ 26297962 h 30398088"/>
              <a:gd name="connsiteX2" fmla="*/ 1350749 w 7311734"/>
              <a:gd name="connsiteY2" fmla="*/ 13792654 h 30398088"/>
              <a:gd name="connsiteX3" fmla="*/ 2101211 w 7311734"/>
              <a:gd name="connsiteY3" fmla="*/ 17318781 h 30398088"/>
              <a:gd name="connsiteX4" fmla="*/ 2664201 w 7311734"/>
              <a:gd name="connsiteY4" fmla="*/ 30148676 h 30398088"/>
              <a:gd name="connsiteX5" fmla="*/ 3291839 w 7311734"/>
              <a:gd name="connsiteY5" fmla="*/ 24975136 h 30398088"/>
              <a:gd name="connsiteX6" fmla="*/ 3904701 w 7311734"/>
              <a:gd name="connsiteY6" fmla="*/ 16932432 h 30398088"/>
              <a:gd name="connsiteX7" fmla="*/ 4585547 w 7311734"/>
              <a:gd name="connsiteY7" fmla="*/ 10547522 h 30398088"/>
              <a:gd name="connsiteX8" fmla="*/ 5393861 w 7311734"/>
              <a:gd name="connsiteY8" fmla="*/ 925505 h 30398088"/>
              <a:gd name="connsiteX9" fmla="*/ 5906683 w 7311734"/>
              <a:gd name="connsiteY9" fmla="*/ 307095 h 30398088"/>
              <a:gd name="connsiteX10" fmla="*/ 6679645 w 7311734"/>
              <a:gd name="connsiteY10" fmla="*/ 268379 h 30398088"/>
              <a:gd name="connsiteX11" fmla="*/ 7311734 w 7311734"/>
              <a:gd name="connsiteY11" fmla="*/ 569596 h 30398088"/>
              <a:gd name="connsiteX0" fmla="*/ 0 w 7311734"/>
              <a:gd name="connsiteY0" fmla="*/ 26978396 h 31185637"/>
              <a:gd name="connsiteX1" fmla="*/ 785589 w 7311734"/>
              <a:gd name="connsiteY1" fmla="*/ 27085511 h 31185637"/>
              <a:gd name="connsiteX2" fmla="*/ 1350749 w 7311734"/>
              <a:gd name="connsiteY2" fmla="*/ 14580203 h 31185637"/>
              <a:gd name="connsiteX3" fmla="*/ 2101211 w 7311734"/>
              <a:gd name="connsiteY3" fmla="*/ 18106330 h 31185637"/>
              <a:gd name="connsiteX4" fmla="*/ 2664201 w 7311734"/>
              <a:gd name="connsiteY4" fmla="*/ 30936225 h 31185637"/>
              <a:gd name="connsiteX5" fmla="*/ 3291839 w 7311734"/>
              <a:gd name="connsiteY5" fmla="*/ 25762685 h 31185637"/>
              <a:gd name="connsiteX6" fmla="*/ 3904701 w 7311734"/>
              <a:gd name="connsiteY6" fmla="*/ 17719981 h 31185637"/>
              <a:gd name="connsiteX7" fmla="*/ 4585547 w 7311734"/>
              <a:gd name="connsiteY7" fmla="*/ 11335071 h 31185637"/>
              <a:gd name="connsiteX8" fmla="*/ 5259901 w 7311734"/>
              <a:gd name="connsiteY8" fmla="*/ 15667327 h 31185637"/>
              <a:gd name="connsiteX9" fmla="*/ 5906683 w 7311734"/>
              <a:gd name="connsiteY9" fmla="*/ 1094644 h 31185637"/>
              <a:gd name="connsiteX10" fmla="*/ 6679645 w 7311734"/>
              <a:gd name="connsiteY10" fmla="*/ 1055928 h 31185637"/>
              <a:gd name="connsiteX11" fmla="*/ 7311734 w 7311734"/>
              <a:gd name="connsiteY11" fmla="*/ 1357145 h 31185637"/>
              <a:gd name="connsiteX0" fmla="*/ 0 w 7311734"/>
              <a:gd name="connsiteY0" fmla="*/ 26978396 h 31185637"/>
              <a:gd name="connsiteX1" fmla="*/ 785589 w 7311734"/>
              <a:gd name="connsiteY1" fmla="*/ 27085511 h 31185637"/>
              <a:gd name="connsiteX2" fmla="*/ 1350749 w 7311734"/>
              <a:gd name="connsiteY2" fmla="*/ 14580203 h 31185637"/>
              <a:gd name="connsiteX3" fmla="*/ 2101211 w 7311734"/>
              <a:gd name="connsiteY3" fmla="*/ 18106330 h 31185637"/>
              <a:gd name="connsiteX4" fmla="*/ 2664201 w 7311734"/>
              <a:gd name="connsiteY4" fmla="*/ 30936225 h 31185637"/>
              <a:gd name="connsiteX5" fmla="*/ 3291839 w 7311734"/>
              <a:gd name="connsiteY5" fmla="*/ 25762685 h 31185637"/>
              <a:gd name="connsiteX6" fmla="*/ 3904701 w 7311734"/>
              <a:gd name="connsiteY6" fmla="*/ 17719981 h 31185637"/>
              <a:gd name="connsiteX7" fmla="*/ 4585547 w 7311734"/>
              <a:gd name="connsiteY7" fmla="*/ 11335071 h 31185637"/>
              <a:gd name="connsiteX8" fmla="*/ 5259901 w 7311734"/>
              <a:gd name="connsiteY8" fmla="*/ 15667327 h 31185637"/>
              <a:gd name="connsiteX9" fmla="*/ 5906683 w 7311734"/>
              <a:gd name="connsiteY9" fmla="*/ 1094644 h 31185637"/>
              <a:gd name="connsiteX10" fmla="*/ 6679645 w 7311734"/>
              <a:gd name="connsiteY10" fmla="*/ 1055928 h 31185637"/>
              <a:gd name="connsiteX11" fmla="*/ 7311734 w 7311734"/>
              <a:gd name="connsiteY11" fmla="*/ 1357145 h 31185637"/>
              <a:gd name="connsiteX0" fmla="*/ 0 w 7311734"/>
              <a:gd name="connsiteY0" fmla="*/ 26978396 h 31185637"/>
              <a:gd name="connsiteX1" fmla="*/ 785589 w 7311734"/>
              <a:gd name="connsiteY1" fmla="*/ 27085511 h 31185637"/>
              <a:gd name="connsiteX2" fmla="*/ 1350749 w 7311734"/>
              <a:gd name="connsiteY2" fmla="*/ 14580203 h 31185637"/>
              <a:gd name="connsiteX3" fmla="*/ 2101211 w 7311734"/>
              <a:gd name="connsiteY3" fmla="*/ 18106330 h 31185637"/>
              <a:gd name="connsiteX4" fmla="*/ 2664201 w 7311734"/>
              <a:gd name="connsiteY4" fmla="*/ 30936225 h 31185637"/>
              <a:gd name="connsiteX5" fmla="*/ 3291839 w 7311734"/>
              <a:gd name="connsiteY5" fmla="*/ 25762685 h 31185637"/>
              <a:gd name="connsiteX6" fmla="*/ 3904701 w 7311734"/>
              <a:gd name="connsiteY6" fmla="*/ 17719981 h 31185637"/>
              <a:gd name="connsiteX7" fmla="*/ 4585547 w 7311734"/>
              <a:gd name="connsiteY7" fmla="*/ 11335071 h 31185637"/>
              <a:gd name="connsiteX8" fmla="*/ 5259901 w 7311734"/>
              <a:gd name="connsiteY8" fmla="*/ 15667327 h 31185637"/>
              <a:gd name="connsiteX9" fmla="*/ 5906683 w 7311734"/>
              <a:gd name="connsiteY9" fmla="*/ 1094644 h 31185637"/>
              <a:gd name="connsiteX10" fmla="*/ 6679645 w 7311734"/>
              <a:gd name="connsiteY10" fmla="*/ 1055928 h 31185637"/>
              <a:gd name="connsiteX11" fmla="*/ 7311734 w 7311734"/>
              <a:gd name="connsiteY11" fmla="*/ 1357145 h 31185637"/>
              <a:gd name="connsiteX0" fmla="*/ 0 w 7311734"/>
              <a:gd name="connsiteY0" fmla="*/ 25922475 h 30129716"/>
              <a:gd name="connsiteX1" fmla="*/ 785589 w 7311734"/>
              <a:gd name="connsiteY1" fmla="*/ 26029590 h 30129716"/>
              <a:gd name="connsiteX2" fmla="*/ 1350749 w 7311734"/>
              <a:gd name="connsiteY2" fmla="*/ 13524282 h 30129716"/>
              <a:gd name="connsiteX3" fmla="*/ 2101211 w 7311734"/>
              <a:gd name="connsiteY3" fmla="*/ 17050409 h 30129716"/>
              <a:gd name="connsiteX4" fmla="*/ 2664201 w 7311734"/>
              <a:gd name="connsiteY4" fmla="*/ 29880304 h 30129716"/>
              <a:gd name="connsiteX5" fmla="*/ 3291839 w 7311734"/>
              <a:gd name="connsiteY5" fmla="*/ 24706764 h 30129716"/>
              <a:gd name="connsiteX6" fmla="*/ 3904701 w 7311734"/>
              <a:gd name="connsiteY6" fmla="*/ 16664060 h 30129716"/>
              <a:gd name="connsiteX7" fmla="*/ 4585547 w 7311734"/>
              <a:gd name="connsiteY7" fmla="*/ 10279150 h 30129716"/>
              <a:gd name="connsiteX8" fmla="*/ 5259901 w 7311734"/>
              <a:gd name="connsiteY8" fmla="*/ 14611406 h 30129716"/>
              <a:gd name="connsiteX9" fmla="*/ 5871737 w 7311734"/>
              <a:gd name="connsiteY9" fmla="*/ 11857645 h 30129716"/>
              <a:gd name="connsiteX10" fmla="*/ 6679645 w 7311734"/>
              <a:gd name="connsiteY10" fmla="*/ 7 h 30129716"/>
              <a:gd name="connsiteX11" fmla="*/ 7311734 w 7311734"/>
              <a:gd name="connsiteY11" fmla="*/ 301224 h 30129716"/>
              <a:gd name="connsiteX0" fmla="*/ 0 w 7311734"/>
              <a:gd name="connsiteY0" fmla="*/ 25621258 h 29828499"/>
              <a:gd name="connsiteX1" fmla="*/ 785589 w 7311734"/>
              <a:gd name="connsiteY1" fmla="*/ 25728373 h 29828499"/>
              <a:gd name="connsiteX2" fmla="*/ 1350749 w 7311734"/>
              <a:gd name="connsiteY2" fmla="*/ 13223065 h 29828499"/>
              <a:gd name="connsiteX3" fmla="*/ 2101211 w 7311734"/>
              <a:gd name="connsiteY3" fmla="*/ 16749192 h 29828499"/>
              <a:gd name="connsiteX4" fmla="*/ 2664201 w 7311734"/>
              <a:gd name="connsiteY4" fmla="*/ 29579087 h 29828499"/>
              <a:gd name="connsiteX5" fmla="*/ 3291839 w 7311734"/>
              <a:gd name="connsiteY5" fmla="*/ 24405547 h 29828499"/>
              <a:gd name="connsiteX6" fmla="*/ 3904701 w 7311734"/>
              <a:gd name="connsiteY6" fmla="*/ 16362843 h 29828499"/>
              <a:gd name="connsiteX7" fmla="*/ 4585547 w 7311734"/>
              <a:gd name="connsiteY7" fmla="*/ 9977933 h 29828499"/>
              <a:gd name="connsiteX8" fmla="*/ 5259901 w 7311734"/>
              <a:gd name="connsiteY8" fmla="*/ 14310189 h 29828499"/>
              <a:gd name="connsiteX9" fmla="*/ 5871737 w 7311734"/>
              <a:gd name="connsiteY9" fmla="*/ 11556428 h 29828499"/>
              <a:gd name="connsiteX10" fmla="*/ 6522387 w 7311734"/>
              <a:gd name="connsiteY10" fmla="*/ 27905287 h 29828499"/>
              <a:gd name="connsiteX11" fmla="*/ 7311734 w 7311734"/>
              <a:gd name="connsiteY11" fmla="*/ 7 h 29828499"/>
              <a:gd name="connsiteX0" fmla="*/ 0 w 7311734"/>
              <a:gd name="connsiteY0" fmla="*/ 25621258 h 29828499"/>
              <a:gd name="connsiteX1" fmla="*/ 785589 w 7311734"/>
              <a:gd name="connsiteY1" fmla="*/ 25728373 h 29828499"/>
              <a:gd name="connsiteX2" fmla="*/ 1350749 w 7311734"/>
              <a:gd name="connsiteY2" fmla="*/ 13223065 h 29828499"/>
              <a:gd name="connsiteX3" fmla="*/ 2101211 w 7311734"/>
              <a:gd name="connsiteY3" fmla="*/ 16749192 h 29828499"/>
              <a:gd name="connsiteX4" fmla="*/ 2664201 w 7311734"/>
              <a:gd name="connsiteY4" fmla="*/ 29579087 h 29828499"/>
              <a:gd name="connsiteX5" fmla="*/ 3291839 w 7311734"/>
              <a:gd name="connsiteY5" fmla="*/ 24405547 h 29828499"/>
              <a:gd name="connsiteX6" fmla="*/ 3904701 w 7311734"/>
              <a:gd name="connsiteY6" fmla="*/ 16362843 h 29828499"/>
              <a:gd name="connsiteX7" fmla="*/ 4585547 w 7311734"/>
              <a:gd name="connsiteY7" fmla="*/ 9977933 h 29828499"/>
              <a:gd name="connsiteX8" fmla="*/ 5259901 w 7311734"/>
              <a:gd name="connsiteY8" fmla="*/ 14310189 h 29828499"/>
              <a:gd name="connsiteX9" fmla="*/ 5871737 w 7311734"/>
              <a:gd name="connsiteY9" fmla="*/ 11556428 h 29828499"/>
              <a:gd name="connsiteX10" fmla="*/ 6522387 w 7311734"/>
              <a:gd name="connsiteY10" fmla="*/ 29345409 h 29828499"/>
              <a:gd name="connsiteX11" fmla="*/ 7311734 w 7311734"/>
              <a:gd name="connsiteY11" fmla="*/ 7 h 29828499"/>
              <a:gd name="connsiteX0" fmla="*/ 0 w 7311734"/>
              <a:gd name="connsiteY0" fmla="*/ 25621258 h 29828499"/>
              <a:gd name="connsiteX1" fmla="*/ 785589 w 7311734"/>
              <a:gd name="connsiteY1" fmla="*/ 25728373 h 29828499"/>
              <a:gd name="connsiteX2" fmla="*/ 1350749 w 7311734"/>
              <a:gd name="connsiteY2" fmla="*/ 13223065 h 29828499"/>
              <a:gd name="connsiteX3" fmla="*/ 2101211 w 7311734"/>
              <a:gd name="connsiteY3" fmla="*/ 16749192 h 29828499"/>
              <a:gd name="connsiteX4" fmla="*/ 2664201 w 7311734"/>
              <a:gd name="connsiteY4" fmla="*/ 29579087 h 29828499"/>
              <a:gd name="connsiteX5" fmla="*/ 3291839 w 7311734"/>
              <a:gd name="connsiteY5" fmla="*/ 24405547 h 29828499"/>
              <a:gd name="connsiteX6" fmla="*/ 3904701 w 7311734"/>
              <a:gd name="connsiteY6" fmla="*/ 16362843 h 29828499"/>
              <a:gd name="connsiteX7" fmla="*/ 4585547 w 7311734"/>
              <a:gd name="connsiteY7" fmla="*/ 9977933 h 29828499"/>
              <a:gd name="connsiteX8" fmla="*/ 5259901 w 7311734"/>
              <a:gd name="connsiteY8" fmla="*/ 14310189 h 29828499"/>
              <a:gd name="connsiteX9" fmla="*/ 5871737 w 7311734"/>
              <a:gd name="connsiteY9" fmla="*/ 11556428 h 29828499"/>
              <a:gd name="connsiteX10" fmla="*/ 6539861 w 7311734"/>
              <a:gd name="connsiteY10" fmla="*/ 26465172 h 29828499"/>
              <a:gd name="connsiteX11" fmla="*/ 7311734 w 7311734"/>
              <a:gd name="connsiteY11" fmla="*/ 7 h 29828499"/>
              <a:gd name="connsiteX0" fmla="*/ 0 w 7201071"/>
              <a:gd name="connsiteY0" fmla="*/ 15643338 h 19850579"/>
              <a:gd name="connsiteX1" fmla="*/ 785589 w 7201071"/>
              <a:gd name="connsiteY1" fmla="*/ 15750453 h 19850579"/>
              <a:gd name="connsiteX2" fmla="*/ 1350749 w 7201071"/>
              <a:gd name="connsiteY2" fmla="*/ 3245145 h 19850579"/>
              <a:gd name="connsiteX3" fmla="*/ 2101211 w 7201071"/>
              <a:gd name="connsiteY3" fmla="*/ 6771272 h 19850579"/>
              <a:gd name="connsiteX4" fmla="*/ 2664201 w 7201071"/>
              <a:gd name="connsiteY4" fmla="*/ 19601167 h 19850579"/>
              <a:gd name="connsiteX5" fmla="*/ 3291839 w 7201071"/>
              <a:gd name="connsiteY5" fmla="*/ 14427627 h 19850579"/>
              <a:gd name="connsiteX6" fmla="*/ 3904701 w 7201071"/>
              <a:gd name="connsiteY6" fmla="*/ 6384923 h 19850579"/>
              <a:gd name="connsiteX7" fmla="*/ 4585547 w 7201071"/>
              <a:gd name="connsiteY7" fmla="*/ 13 h 19850579"/>
              <a:gd name="connsiteX8" fmla="*/ 5259901 w 7201071"/>
              <a:gd name="connsiteY8" fmla="*/ 4332269 h 19850579"/>
              <a:gd name="connsiteX9" fmla="*/ 5871737 w 7201071"/>
              <a:gd name="connsiteY9" fmla="*/ 1578508 h 19850579"/>
              <a:gd name="connsiteX10" fmla="*/ 6539861 w 7201071"/>
              <a:gd name="connsiteY10" fmla="*/ 16487252 h 19850579"/>
              <a:gd name="connsiteX11" fmla="*/ 7201071 w 7201071"/>
              <a:gd name="connsiteY11" fmla="*/ 1096117 h 19850579"/>
              <a:gd name="connsiteX0" fmla="*/ 0 w 7029726"/>
              <a:gd name="connsiteY0" fmla="*/ 0 h 434134481"/>
              <a:gd name="connsiteX1" fmla="*/ 614244 w 7029726"/>
              <a:gd name="connsiteY1" fmla="*/ 407519003 h 434134481"/>
              <a:gd name="connsiteX2" fmla="*/ 1179404 w 7029726"/>
              <a:gd name="connsiteY2" fmla="*/ 395013695 h 434134481"/>
              <a:gd name="connsiteX3" fmla="*/ 1929866 w 7029726"/>
              <a:gd name="connsiteY3" fmla="*/ 398539822 h 434134481"/>
              <a:gd name="connsiteX4" fmla="*/ 2492856 w 7029726"/>
              <a:gd name="connsiteY4" fmla="*/ 411369717 h 434134481"/>
              <a:gd name="connsiteX5" fmla="*/ 3120494 w 7029726"/>
              <a:gd name="connsiteY5" fmla="*/ 406196177 h 434134481"/>
              <a:gd name="connsiteX6" fmla="*/ 3733356 w 7029726"/>
              <a:gd name="connsiteY6" fmla="*/ 398153473 h 434134481"/>
              <a:gd name="connsiteX7" fmla="*/ 4414202 w 7029726"/>
              <a:gd name="connsiteY7" fmla="*/ 391768563 h 434134481"/>
              <a:gd name="connsiteX8" fmla="*/ 5088556 w 7029726"/>
              <a:gd name="connsiteY8" fmla="*/ 396100819 h 434134481"/>
              <a:gd name="connsiteX9" fmla="*/ 5700392 w 7029726"/>
              <a:gd name="connsiteY9" fmla="*/ 393347058 h 434134481"/>
              <a:gd name="connsiteX10" fmla="*/ 6368516 w 7029726"/>
              <a:gd name="connsiteY10" fmla="*/ 408255802 h 434134481"/>
              <a:gd name="connsiteX11" fmla="*/ 7029726 w 7029726"/>
              <a:gd name="connsiteY11" fmla="*/ 392864667 h 434134481"/>
              <a:gd name="connsiteX0" fmla="*/ 0 w 7060879"/>
              <a:gd name="connsiteY0" fmla="*/ 0 h 434134481"/>
              <a:gd name="connsiteX1" fmla="*/ 645397 w 7060879"/>
              <a:gd name="connsiteY1" fmla="*/ 407519003 h 434134481"/>
              <a:gd name="connsiteX2" fmla="*/ 1210557 w 7060879"/>
              <a:gd name="connsiteY2" fmla="*/ 395013695 h 434134481"/>
              <a:gd name="connsiteX3" fmla="*/ 1961019 w 7060879"/>
              <a:gd name="connsiteY3" fmla="*/ 398539822 h 434134481"/>
              <a:gd name="connsiteX4" fmla="*/ 2524009 w 7060879"/>
              <a:gd name="connsiteY4" fmla="*/ 411369717 h 434134481"/>
              <a:gd name="connsiteX5" fmla="*/ 3151647 w 7060879"/>
              <a:gd name="connsiteY5" fmla="*/ 406196177 h 434134481"/>
              <a:gd name="connsiteX6" fmla="*/ 3764509 w 7060879"/>
              <a:gd name="connsiteY6" fmla="*/ 398153473 h 434134481"/>
              <a:gd name="connsiteX7" fmla="*/ 4445355 w 7060879"/>
              <a:gd name="connsiteY7" fmla="*/ 391768563 h 434134481"/>
              <a:gd name="connsiteX8" fmla="*/ 5119709 w 7060879"/>
              <a:gd name="connsiteY8" fmla="*/ 396100819 h 434134481"/>
              <a:gd name="connsiteX9" fmla="*/ 5731545 w 7060879"/>
              <a:gd name="connsiteY9" fmla="*/ 393347058 h 434134481"/>
              <a:gd name="connsiteX10" fmla="*/ 6399669 w 7060879"/>
              <a:gd name="connsiteY10" fmla="*/ 408255802 h 434134481"/>
              <a:gd name="connsiteX11" fmla="*/ 7060879 w 7060879"/>
              <a:gd name="connsiteY11" fmla="*/ 392864667 h 434134481"/>
              <a:gd name="connsiteX0" fmla="*/ 0 w 7060879"/>
              <a:gd name="connsiteY0" fmla="*/ 29193469 h 454034066"/>
              <a:gd name="connsiteX1" fmla="*/ 635013 w 7060879"/>
              <a:gd name="connsiteY1" fmla="*/ 29300556 h 454034066"/>
              <a:gd name="connsiteX2" fmla="*/ 1210557 w 7060879"/>
              <a:gd name="connsiteY2" fmla="*/ 424207164 h 454034066"/>
              <a:gd name="connsiteX3" fmla="*/ 1961019 w 7060879"/>
              <a:gd name="connsiteY3" fmla="*/ 427733291 h 454034066"/>
              <a:gd name="connsiteX4" fmla="*/ 2524009 w 7060879"/>
              <a:gd name="connsiteY4" fmla="*/ 440563186 h 454034066"/>
              <a:gd name="connsiteX5" fmla="*/ 3151647 w 7060879"/>
              <a:gd name="connsiteY5" fmla="*/ 435389646 h 454034066"/>
              <a:gd name="connsiteX6" fmla="*/ 3764509 w 7060879"/>
              <a:gd name="connsiteY6" fmla="*/ 427346942 h 454034066"/>
              <a:gd name="connsiteX7" fmla="*/ 4445355 w 7060879"/>
              <a:gd name="connsiteY7" fmla="*/ 420962032 h 454034066"/>
              <a:gd name="connsiteX8" fmla="*/ 5119709 w 7060879"/>
              <a:gd name="connsiteY8" fmla="*/ 425294288 h 454034066"/>
              <a:gd name="connsiteX9" fmla="*/ 5731545 w 7060879"/>
              <a:gd name="connsiteY9" fmla="*/ 422540527 h 454034066"/>
              <a:gd name="connsiteX10" fmla="*/ 6399669 w 7060879"/>
              <a:gd name="connsiteY10" fmla="*/ 437449271 h 454034066"/>
              <a:gd name="connsiteX11" fmla="*/ 7060879 w 7060879"/>
              <a:gd name="connsiteY11" fmla="*/ 422058136 h 454034066"/>
              <a:gd name="connsiteX0" fmla="*/ 0 w 7060879"/>
              <a:gd name="connsiteY0" fmla="*/ 1557148 h 426397745"/>
              <a:gd name="connsiteX1" fmla="*/ 635013 w 7060879"/>
              <a:gd name="connsiteY1" fmla="*/ 1664235 h 426397745"/>
              <a:gd name="connsiteX2" fmla="*/ 1210557 w 7060879"/>
              <a:gd name="connsiteY2" fmla="*/ 396570843 h 426397745"/>
              <a:gd name="connsiteX3" fmla="*/ 1961019 w 7060879"/>
              <a:gd name="connsiteY3" fmla="*/ 400096970 h 426397745"/>
              <a:gd name="connsiteX4" fmla="*/ 2524009 w 7060879"/>
              <a:gd name="connsiteY4" fmla="*/ 412926865 h 426397745"/>
              <a:gd name="connsiteX5" fmla="*/ 3151647 w 7060879"/>
              <a:gd name="connsiteY5" fmla="*/ 407753325 h 426397745"/>
              <a:gd name="connsiteX6" fmla="*/ 3764509 w 7060879"/>
              <a:gd name="connsiteY6" fmla="*/ 399710621 h 426397745"/>
              <a:gd name="connsiteX7" fmla="*/ 4445355 w 7060879"/>
              <a:gd name="connsiteY7" fmla="*/ 393325711 h 426397745"/>
              <a:gd name="connsiteX8" fmla="*/ 5119709 w 7060879"/>
              <a:gd name="connsiteY8" fmla="*/ 397657967 h 426397745"/>
              <a:gd name="connsiteX9" fmla="*/ 5731545 w 7060879"/>
              <a:gd name="connsiteY9" fmla="*/ 394904206 h 426397745"/>
              <a:gd name="connsiteX10" fmla="*/ 6399669 w 7060879"/>
              <a:gd name="connsiteY10" fmla="*/ 409812950 h 426397745"/>
              <a:gd name="connsiteX11" fmla="*/ 7060879 w 7060879"/>
              <a:gd name="connsiteY11" fmla="*/ 394421815 h 426397745"/>
              <a:gd name="connsiteX0" fmla="*/ 0 w 7060879"/>
              <a:gd name="connsiteY0" fmla="*/ 2380720 h 427300725"/>
              <a:gd name="connsiteX1" fmla="*/ 635013 w 7060879"/>
              <a:gd name="connsiteY1" fmla="*/ 1415576 h 427300725"/>
              <a:gd name="connsiteX2" fmla="*/ 1210557 w 7060879"/>
              <a:gd name="connsiteY2" fmla="*/ 397394415 h 427300725"/>
              <a:gd name="connsiteX3" fmla="*/ 1961019 w 7060879"/>
              <a:gd name="connsiteY3" fmla="*/ 400920542 h 427300725"/>
              <a:gd name="connsiteX4" fmla="*/ 2524009 w 7060879"/>
              <a:gd name="connsiteY4" fmla="*/ 413750437 h 427300725"/>
              <a:gd name="connsiteX5" fmla="*/ 3151647 w 7060879"/>
              <a:gd name="connsiteY5" fmla="*/ 408576897 h 427300725"/>
              <a:gd name="connsiteX6" fmla="*/ 3764509 w 7060879"/>
              <a:gd name="connsiteY6" fmla="*/ 400534193 h 427300725"/>
              <a:gd name="connsiteX7" fmla="*/ 4445355 w 7060879"/>
              <a:gd name="connsiteY7" fmla="*/ 394149283 h 427300725"/>
              <a:gd name="connsiteX8" fmla="*/ 5119709 w 7060879"/>
              <a:gd name="connsiteY8" fmla="*/ 398481539 h 427300725"/>
              <a:gd name="connsiteX9" fmla="*/ 5731545 w 7060879"/>
              <a:gd name="connsiteY9" fmla="*/ 395727778 h 427300725"/>
              <a:gd name="connsiteX10" fmla="*/ 6399669 w 7060879"/>
              <a:gd name="connsiteY10" fmla="*/ 410636522 h 427300725"/>
              <a:gd name="connsiteX11" fmla="*/ 7060879 w 7060879"/>
              <a:gd name="connsiteY11" fmla="*/ 395245387 h 427300725"/>
              <a:gd name="connsiteX0" fmla="*/ 0 w 7060879"/>
              <a:gd name="connsiteY0" fmla="*/ 1459439 h 426379444"/>
              <a:gd name="connsiteX1" fmla="*/ 635013 w 7060879"/>
              <a:gd name="connsiteY1" fmla="*/ 494295 h 426379444"/>
              <a:gd name="connsiteX2" fmla="*/ 1210557 w 7060879"/>
              <a:gd name="connsiteY2" fmla="*/ 396473134 h 426379444"/>
              <a:gd name="connsiteX3" fmla="*/ 1961019 w 7060879"/>
              <a:gd name="connsiteY3" fmla="*/ 399999261 h 426379444"/>
              <a:gd name="connsiteX4" fmla="*/ 2524009 w 7060879"/>
              <a:gd name="connsiteY4" fmla="*/ 412829156 h 426379444"/>
              <a:gd name="connsiteX5" fmla="*/ 3151647 w 7060879"/>
              <a:gd name="connsiteY5" fmla="*/ 407655616 h 426379444"/>
              <a:gd name="connsiteX6" fmla="*/ 3764509 w 7060879"/>
              <a:gd name="connsiteY6" fmla="*/ 399612912 h 426379444"/>
              <a:gd name="connsiteX7" fmla="*/ 4445355 w 7060879"/>
              <a:gd name="connsiteY7" fmla="*/ 393228002 h 426379444"/>
              <a:gd name="connsiteX8" fmla="*/ 5119709 w 7060879"/>
              <a:gd name="connsiteY8" fmla="*/ 397560258 h 426379444"/>
              <a:gd name="connsiteX9" fmla="*/ 5731545 w 7060879"/>
              <a:gd name="connsiteY9" fmla="*/ 394806497 h 426379444"/>
              <a:gd name="connsiteX10" fmla="*/ 6399669 w 7060879"/>
              <a:gd name="connsiteY10" fmla="*/ 409715241 h 426379444"/>
              <a:gd name="connsiteX11" fmla="*/ 7060879 w 7060879"/>
              <a:gd name="connsiteY11" fmla="*/ 394324106 h 426379444"/>
              <a:gd name="connsiteX0" fmla="*/ 0 w 7060879"/>
              <a:gd name="connsiteY0" fmla="*/ 28658034 h 460938609"/>
              <a:gd name="connsiteX1" fmla="*/ 635013 w 7060879"/>
              <a:gd name="connsiteY1" fmla="*/ 27692890 h 460938609"/>
              <a:gd name="connsiteX2" fmla="*/ 1309210 w 7060879"/>
              <a:gd name="connsiteY2" fmla="*/ 30197486 h 460938609"/>
              <a:gd name="connsiteX3" fmla="*/ 1961019 w 7060879"/>
              <a:gd name="connsiteY3" fmla="*/ 427197856 h 460938609"/>
              <a:gd name="connsiteX4" fmla="*/ 2524009 w 7060879"/>
              <a:gd name="connsiteY4" fmla="*/ 440027751 h 460938609"/>
              <a:gd name="connsiteX5" fmla="*/ 3151647 w 7060879"/>
              <a:gd name="connsiteY5" fmla="*/ 434854211 h 460938609"/>
              <a:gd name="connsiteX6" fmla="*/ 3764509 w 7060879"/>
              <a:gd name="connsiteY6" fmla="*/ 426811507 h 460938609"/>
              <a:gd name="connsiteX7" fmla="*/ 4445355 w 7060879"/>
              <a:gd name="connsiteY7" fmla="*/ 420426597 h 460938609"/>
              <a:gd name="connsiteX8" fmla="*/ 5119709 w 7060879"/>
              <a:gd name="connsiteY8" fmla="*/ 424758853 h 460938609"/>
              <a:gd name="connsiteX9" fmla="*/ 5731545 w 7060879"/>
              <a:gd name="connsiteY9" fmla="*/ 422005092 h 460938609"/>
              <a:gd name="connsiteX10" fmla="*/ 6399669 w 7060879"/>
              <a:gd name="connsiteY10" fmla="*/ 436913836 h 460938609"/>
              <a:gd name="connsiteX11" fmla="*/ 7060879 w 7060879"/>
              <a:gd name="connsiteY11" fmla="*/ 421522701 h 460938609"/>
              <a:gd name="connsiteX0" fmla="*/ 0 w 7060879"/>
              <a:gd name="connsiteY0" fmla="*/ 1002050 h 433282625"/>
              <a:gd name="connsiteX1" fmla="*/ 635013 w 7060879"/>
              <a:gd name="connsiteY1" fmla="*/ 36906 h 433282625"/>
              <a:gd name="connsiteX2" fmla="*/ 1309210 w 7060879"/>
              <a:gd name="connsiteY2" fmla="*/ 2541502 h 433282625"/>
              <a:gd name="connsiteX3" fmla="*/ 1961019 w 7060879"/>
              <a:gd name="connsiteY3" fmla="*/ 399541872 h 433282625"/>
              <a:gd name="connsiteX4" fmla="*/ 2524009 w 7060879"/>
              <a:gd name="connsiteY4" fmla="*/ 412371767 h 433282625"/>
              <a:gd name="connsiteX5" fmla="*/ 3151647 w 7060879"/>
              <a:gd name="connsiteY5" fmla="*/ 407198227 h 433282625"/>
              <a:gd name="connsiteX6" fmla="*/ 3764509 w 7060879"/>
              <a:gd name="connsiteY6" fmla="*/ 399155523 h 433282625"/>
              <a:gd name="connsiteX7" fmla="*/ 4445355 w 7060879"/>
              <a:gd name="connsiteY7" fmla="*/ 392770613 h 433282625"/>
              <a:gd name="connsiteX8" fmla="*/ 5119709 w 7060879"/>
              <a:gd name="connsiteY8" fmla="*/ 397102869 h 433282625"/>
              <a:gd name="connsiteX9" fmla="*/ 5731545 w 7060879"/>
              <a:gd name="connsiteY9" fmla="*/ 394349108 h 433282625"/>
              <a:gd name="connsiteX10" fmla="*/ 6399669 w 7060879"/>
              <a:gd name="connsiteY10" fmla="*/ 409257852 h 433282625"/>
              <a:gd name="connsiteX11" fmla="*/ 7060879 w 7060879"/>
              <a:gd name="connsiteY11" fmla="*/ 393866717 h 433282625"/>
              <a:gd name="connsiteX0" fmla="*/ 0 w 7060879"/>
              <a:gd name="connsiteY0" fmla="*/ 1002050 h 433282625"/>
              <a:gd name="connsiteX1" fmla="*/ 635013 w 7060879"/>
              <a:gd name="connsiteY1" fmla="*/ 36906 h 433282625"/>
              <a:gd name="connsiteX2" fmla="*/ 1309210 w 7060879"/>
              <a:gd name="connsiteY2" fmla="*/ 2541502 h 433282625"/>
              <a:gd name="connsiteX3" fmla="*/ 1961019 w 7060879"/>
              <a:gd name="connsiteY3" fmla="*/ 399541872 h 433282625"/>
              <a:gd name="connsiteX4" fmla="*/ 2524009 w 7060879"/>
              <a:gd name="connsiteY4" fmla="*/ 412371767 h 433282625"/>
              <a:gd name="connsiteX5" fmla="*/ 3151647 w 7060879"/>
              <a:gd name="connsiteY5" fmla="*/ 407198227 h 433282625"/>
              <a:gd name="connsiteX6" fmla="*/ 3764509 w 7060879"/>
              <a:gd name="connsiteY6" fmla="*/ 399155523 h 433282625"/>
              <a:gd name="connsiteX7" fmla="*/ 4445355 w 7060879"/>
              <a:gd name="connsiteY7" fmla="*/ 392770613 h 433282625"/>
              <a:gd name="connsiteX8" fmla="*/ 5119709 w 7060879"/>
              <a:gd name="connsiteY8" fmla="*/ 397102869 h 433282625"/>
              <a:gd name="connsiteX9" fmla="*/ 5731545 w 7060879"/>
              <a:gd name="connsiteY9" fmla="*/ 394349108 h 433282625"/>
              <a:gd name="connsiteX10" fmla="*/ 6399669 w 7060879"/>
              <a:gd name="connsiteY10" fmla="*/ 409257852 h 433282625"/>
              <a:gd name="connsiteX11" fmla="*/ 7060879 w 7060879"/>
              <a:gd name="connsiteY11" fmla="*/ 393866717 h 433282625"/>
              <a:gd name="connsiteX0" fmla="*/ 0 w 7060879"/>
              <a:gd name="connsiteY0" fmla="*/ 1002050 h 433282625"/>
              <a:gd name="connsiteX1" fmla="*/ 635013 w 7060879"/>
              <a:gd name="connsiteY1" fmla="*/ 36906 h 433282625"/>
              <a:gd name="connsiteX2" fmla="*/ 1309210 w 7060879"/>
              <a:gd name="connsiteY2" fmla="*/ 2541502 h 433282625"/>
              <a:gd name="connsiteX3" fmla="*/ 1961019 w 7060879"/>
              <a:gd name="connsiteY3" fmla="*/ 399541872 h 433282625"/>
              <a:gd name="connsiteX4" fmla="*/ 2524009 w 7060879"/>
              <a:gd name="connsiteY4" fmla="*/ 412371767 h 433282625"/>
              <a:gd name="connsiteX5" fmla="*/ 3151647 w 7060879"/>
              <a:gd name="connsiteY5" fmla="*/ 407198227 h 433282625"/>
              <a:gd name="connsiteX6" fmla="*/ 3764509 w 7060879"/>
              <a:gd name="connsiteY6" fmla="*/ 399155523 h 433282625"/>
              <a:gd name="connsiteX7" fmla="*/ 4445355 w 7060879"/>
              <a:gd name="connsiteY7" fmla="*/ 392770613 h 433282625"/>
              <a:gd name="connsiteX8" fmla="*/ 5119709 w 7060879"/>
              <a:gd name="connsiteY8" fmla="*/ 397102869 h 433282625"/>
              <a:gd name="connsiteX9" fmla="*/ 5731545 w 7060879"/>
              <a:gd name="connsiteY9" fmla="*/ 394349108 h 433282625"/>
              <a:gd name="connsiteX10" fmla="*/ 6399669 w 7060879"/>
              <a:gd name="connsiteY10" fmla="*/ 409257852 h 433282625"/>
              <a:gd name="connsiteX11" fmla="*/ 7060879 w 7060879"/>
              <a:gd name="connsiteY11" fmla="*/ 393866717 h 433282625"/>
              <a:gd name="connsiteX0" fmla="*/ 0 w 7060879"/>
              <a:gd name="connsiteY0" fmla="*/ 1275515 h 433712939"/>
              <a:gd name="connsiteX1" fmla="*/ 635013 w 7060879"/>
              <a:gd name="connsiteY1" fmla="*/ 310371 h 433712939"/>
              <a:gd name="connsiteX2" fmla="*/ 1288441 w 7060879"/>
              <a:gd name="connsiteY2" fmla="*/ 670655 h 433712939"/>
              <a:gd name="connsiteX3" fmla="*/ 1961019 w 7060879"/>
              <a:gd name="connsiteY3" fmla="*/ 399815337 h 433712939"/>
              <a:gd name="connsiteX4" fmla="*/ 2524009 w 7060879"/>
              <a:gd name="connsiteY4" fmla="*/ 412645232 h 433712939"/>
              <a:gd name="connsiteX5" fmla="*/ 3151647 w 7060879"/>
              <a:gd name="connsiteY5" fmla="*/ 407471692 h 433712939"/>
              <a:gd name="connsiteX6" fmla="*/ 3764509 w 7060879"/>
              <a:gd name="connsiteY6" fmla="*/ 399428988 h 433712939"/>
              <a:gd name="connsiteX7" fmla="*/ 4445355 w 7060879"/>
              <a:gd name="connsiteY7" fmla="*/ 393044078 h 433712939"/>
              <a:gd name="connsiteX8" fmla="*/ 5119709 w 7060879"/>
              <a:gd name="connsiteY8" fmla="*/ 397376334 h 433712939"/>
              <a:gd name="connsiteX9" fmla="*/ 5731545 w 7060879"/>
              <a:gd name="connsiteY9" fmla="*/ 394622573 h 433712939"/>
              <a:gd name="connsiteX10" fmla="*/ 6399669 w 7060879"/>
              <a:gd name="connsiteY10" fmla="*/ 409531317 h 433712939"/>
              <a:gd name="connsiteX11" fmla="*/ 7060879 w 7060879"/>
              <a:gd name="connsiteY11" fmla="*/ 394140182 h 433712939"/>
              <a:gd name="connsiteX0" fmla="*/ 0 w 7060879"/>
              <a:gd name="connsiteY0" fmla="*/ 26752247 h 467081290"/>
              <a:gd name="connsiteX1" fmla="*/ 635013 w 7060879"/>
              <a:gd name="connsiteY1" fmla="*/ 25787103 h 467081290"/>
              <a:gd name="connsiteX2" fmla="*/ 1288441 w 7060879"/>
              <a:gd name="connsiteY2" fmla="*/ 26147387 h 467081290"/>
              <a:gd name="connsiteX3" fmla="*/ 1935057 w 7060879"/>
              <a:gd name="connsiteY3" fmla="*/ 31817858 h 467081290"/>
              <a:gd name="connsiteX4" fmla="*/ 2524009 w 7060879"/>
              <a:gd name="connsiteY4" fmla="*/ 438121964 h 467081290"/>
              <a:gd name="connsiteX5" fmla="*/ 3151647 w 7060879"/>
              <a:gd name="connsiteY5" fmla="*/ 432948424 h 467081290"/>
              <a:gd name="connsiteX6" fmla="*/ 3764509 w 7060879"/>
              <a:gd name="connsiteY6" fmla="*/ 424905720 h 467081290"/>
              <a:gd name="connsiteX7" fmla="*/ 4445355 w 7060879"/>
              <a:gd name="connsiteY7" fmla="*/ 418520810 h 467081290"/>
              <a:gd name="connsiteX8" fmla="*/ 5119709 w 7060879"/>
              <a:gd name="connsiteY8" fmla="*/ 422853066 h 467081290"/>
              <a:gd name="connsiteX9" fmla="*/ 5731545 w 7060879"/>
              <a:gd name="connsiteY9" fmla="*/ 420099305 h 467081290"/>
              <a:gd name="connsiteX10" fmla="*/ 6399669 w 7060879"/>
              <a:gd name="connsiteY10" fmla="*/ 435008049 h 467081290"/>
              <a:gd name="connsiteX11" fmla="*/ 7060879 w 7060879"/>
              <a:gd name="connsiteY11" fmla="*/ 419616914 h 467081290"/>
              <a:gd name="connsiteX0" fmla="*/ 0 w 7060879"/>
              <a:gd name="connsiteY0" fmla="*/ 1202460 h 441531503"/>
              <a:gd name="connsiteX1" fmla="*/ 635013 w 7060879"/>
              <a:gd name="connsiteY1" fmla="*/ 237316 h 441531503"/>
              <a:gd name="connsiteX2" fmla="*/ 1288441 w 7060879"/>
              <a:gd name="connsiteY2" fmla="*/ 597600 h 441531503"/>
              <a:gd name="connsiteX3" fmla="*/ 1935057 w 7060879"/>
              <a:gd name="connsiteY3" fmla="*/ 6268071 h 441531503"/>
              <a:gd name="connsiteX4" fmla="*/ 2524009 w 7060879"/>
              <a:gd name="connsiteY4" fmla="*/ 412572177 h 441531503"/>
              <a:gd name="connsiteX5" fmla="*/ 3151647 w 7060879"/>
              <a:gd name="connsiteY5" fmla="*/ 407398637 h 441531503"/>
              <a:gd name="connsiteX6" fmla="*/ 3764509 w 7060879"/>
              <a:gd name="connsiteY6" fmla="*/ 399355933 h 441531503"/>
              <a:gd name="connsiteX7" fmla="*/ 4445355 w 7060879"/>
              <a:gd name="connsiteY7" fmla="*/ 392971023 h 441531503"/>
              <a:gd name="connsiteX8" fmla="*/ 5119709 w 7060879"/>
              <a:gd name="connsiteY8" fmla="*/ 397303279 h 441531503"/>
              <a:gd name="connsiteX9" fmla="*/ 5731545 w 7060879"/>
              <a:gd name="connsiteY9" fmla="*/ 394549518 h 441531503"/>
              <a:gd name="connsiteX10" fmla="*/ 6399669 w 7060879"/>
              <a:gd name="connsiteY10" fmla="*/ 409458262 h 441531503"/>
              <a:gd name="connsiteX11" fmla="*/ 7060879 w 7060879"/>
              <a:gd name="connsiteY11" fmla="*/ 394067127 h 441531503"/>
              <a:gd name="connsiteX0" fmla="*/ 0 w 7060879"/>
              <a:gd name="connsiteY0" fmla="*/ 2333227 h 442821085"/>
              <a:gd name="connsiteX1" fmla="*/ 635013 w 7060879"/>
              <a:gd name="connsiteY1" fmla="*/ 1368083 h 442821085"/>
              <a:gd name="connsiteX2" fmla="*/ 1288441 w 7060879"/>
              <a:gd name="connsiteY2" fmla="*/ 1728367 h 442821085"/>
              <a:gd name="connsiteX3" fmla="*/ 1929865 w 7060879"/>
              <a:gd name="connsiteY3" fmla="*/ 5254525 h 442821085"/>
              <a:gd name="connsiteX4" fmla="*/ 2524009 w 7060879"/>
              <a:gd name="connsiteY4" fmla="*/ 413702944 h 442821085"/>
              <a:gd name="connsiteX5" fmla="*/ 3151647 w 7060879"/>
              <a:gd name="connsiteY5" fmla="*/ 408529404 h 442821085"/>
              <a:gd name="connsiteX6" fmla="*/ 3764509 w 7060879"/>
              <a:gd name="connsiteY6" fmla="*/ 400486700 h 442821085"/>
              <a:gd name="connsiteX7" fmla="*/ 4445355 w 7060879"/>
              <a:gd name="connsiteY7" fmla="*/ 394101790 h 442821085"/>
              <a:gd name="connsiteX8" fmla="*/ 5119709 w 7060879"/>
              <a:gd name="connsiteY8" fmla="*/ 398434046 h 442821085"/>
              <a:gd name="connsiteX9" fmla="*/ 5731545 w 7060879"/>
              <a:gd name="connsiteY9" fmla="*/ 395680285 h 442821085"/>
              <a:gd name="connsiteX10" fmla="*/ 6399669 w 7060879"/>
              <a:gd name="connsiteY10" fmla="*/ 410589029 h 442821085"/>
              <a:gd name="connsiteX11" fmla="*/ 7060879 w 7060879"/>
              <a:gd name="connsiteY11" fmla="*/ 395197894 h 442821085"/>
              <a:gd name="connsiteX0" fmla="*/ 0 w 7060879"/>
              <a:gd name="connsiteY0" fmla="*/ 1069660 h 441557518"/>
              <a:gd name="connsiteX1" fmla="*/ 635013 w 7060879"/>
              <a:gd name="connsiteY1" fmla="*/ 104516 h 441557518"/>
              <a:gd name="connsiteX2" fmla="*/ 1288441 w 7060879"/>
              <a:gd name="connsiteY2" fmla="*/ 464800 h 441557518"/>
              <a:gd name="connsiteX3" fmla="*/ 1929865 w 7060879"/>
              <a:gd name="connsiteY3" fmla="*/ 3990958 h 441557518"/>
              <a:gd name="connsiteX4" fmla="*/ 2524009 w 7060879"/>
              <a:gd name="connsiteY4" fmla="*/ 412439377 h 441557518"/>
              <a:gd name="connsiteX5" fmla="*/ 3151647 w 7060879"/>
              <a:gd name="connsiteY5" fmla="*/ 407265837 h 441557518"/>
              <a:gd name="connsiteX6" fmla="*/ 3764509 w 7060879"/>
              <a:gd name="connsiteY6" fmla="*/ 399223133 h 441557518"/>
              <a:gd name="connsiteX7" fmla="*/ 4445355 w 7060879"/>
              <a:gd name="connsiteY7" fmla="*/ 392838223 h 441557518"/>
              <a:gd name="connsiteX8" fmla="*/ 5119709 w 7060879"/>
              <a:gd name="connsiteY8" fmla="*/ 397170479 h 441557518"/>
              <a:gd name="connsiteX9" fmla="*/ 5731545 w 7060879"/>
              <a:gd name="connsiteY9" fmla="*/ 394416718 h 441557518"/>
              <a:gd name="connsiteX10" fmla="*/ 6399669 w 7060879"/>
              <a:gd name="connsiteY10" fmla="*/ 409325462 h 441557518"/>
              <a:gd name="connsiteX11" fmla="*/ 7060879 w 7060879"/>
              <a:gd name="connsiteY11" fmla="*/ 393934327 h 441557518"/>
              <a:gd name="connsiteX0" fmla="*/ 0 w 7060879"/>
              <a:gd name="connsiteY0" fmla="*/ 994336 h 441640858"/>
              <a:gd name="connsiteX1" fmla="*/ 635013 w 7060879"/>
              <a:gd name="connsiteY1" fmla="*/ 29192 h 441640858"/>
              <a:gd name="connsiteX2" fmla="*/ 1288441 w 7060879"/>
              <a:gd name="connsiteY2" fmla="*/ 389476 h 441640858"/>
              <a:gd name="connsiteX3" fmla="*/ 1898712 w 7060879"/>
              <a:gd name="connsiteY3" fmla="*/ 1771322 h 441640858"/>
              <a:gd name="connsiteX4" fmla="*/ 2524009 w 7060879"/>
              <a:gd name="connsiteY4" fmla="*/ 412364053 h 441640858"/>
              <a:gd name="connsiteX5" fmla="*/ 3151647 w 7060879"/>
              <a:gd name="connsiteY5" fmla="*/ 407190513 h 441640858"/>
              <a:gd name="connsiteX6" fmla="*/ 3764509 w 7060879"/>
              <a:gd name="connsiteY6" fmla="*/ 399147809 h 441640858"/>
              <a:gd name="connsiteX7" fmla="*/ 4445355 w 7060879"/>
              <a:gd name="connsiteY7" fmla="*/ 392762899 h 441640858"/>
              <a:gd name="connsiteX8" fmla="*/ 5119709 w 7060879"/>
              <a:gd name="connsiteY8" fmla="*/ 397095155 h 441640858"/>
              <a:gd name="connsiteX9" fmla="*/ 5731545 w 7060879"/>
              <a:gd name="connsiteY9" fmla="*/ 394341394 h 441640858"/>
              <a:gd name="connsiteX10" fmla="*/ 6399669 w 7060879"/>
              <a:gd name="connsiteY10" fmla="*/ 409250138 h 441640858"/>
              <a:gd name="connsiteX11" fmla="*/ 7060879 w 7060879"/>
              <a:gd name="connsiteY11" fmla="*/ 393859003 h 441640858"/>
              <a:gd name="connsiteX0" fmla="*/ 0 w 7060879"/>
              <a:gd name="connsiteY0" fmla="*/ 994336 h 441640858"/>
              <a:gd name="connsiteX1" fmla="*/ 635013 w 7060879"/>
              <a:gd name="connsiteY1" fmla="*/ 29192 h 441640858"/>
              <a:gd name="connsiteX2" fmla="*/ 1288441 w 7060879"/>
              <a:gd name="connsiteY2" fmla="*/ 389476 h 441640858"/>
              <a:gd name="connsiteX3" fmla="*/ 1898712 w 7060879"/>
              <a:gd name="connsiteY3" fmla="*/ 1771322 h 441640858"/>
              <a:gd name="connsiteX4" fmla="*/ 2524009 w 7060879"/>
              <a:gd name="connsiteY4" fmla="*/ 412364053 h 441640858"/>
              <a:gd name="connsiteX5" fmla="*/ 3151647 w 7060879"/>
              <a:gd name="connsiteY5" fmla="*/ 407190513 h 441640858"/>
              <a:gd name="connsiteX6" fmla="*/ 3764509 w 7060879"/>
              <a:gd name="connsiteY6" fmla="*/ 399147809 h 441640858"/>
              <a:gd name="connsiteX7" fmla="*/ 4445355 w 7060879"/>
              <a:gd name="connsiteY7" fmla="*/ 392762899 h 441640858"/>
              <a:gd name="connsiteX8" fmla="*/ 5119709 w 7060879"/>
              <a:gd name="connsiteY8" fmla="*/ 397095155 h 441640858"/>
              <a:gd name="connsiteX9" fmla="*/ 5731545 w 7060879"/>
              <a:gd name="connsiteY9" fmla="*/ 394341394 h 441640858"/>
              <a:gd name="connsiteX10" fmla="*/ 6399669 w 7060879"/>
              <a:gd name="connsiteY10" fmla="*/ 409250138 h 441640858"/>
              <a:gd name="connsiteX11" fmla="*/ 7060879 w 7060879"/>
              <a:gd name="connsiteY11" fmla="*/ 393859003 h 441640858"/>
              <a:gd name="connsiteX0" fmla="*/ 0 w 7060879"/>
              <a:gd name="connsiteY0" fmla="*/ 994336 h 441640858"/>
              <a:gd name="connsiteX1" fmla="*/ 635013 w 7060879"/>
              <a:gd name="connsiteY1" fmla="*/ 29192 h 441640858"/>
              <a:gd name="connsiteX2" fmla="*/ 1288441 w 7060879"/>
              <a:gd name="connsiteY2" fmla="*/ 389476 h 441640858"/>
              <a:gd name="connsiteX3" fmla="*/ 1903904 w 7060879"/>
              <a:gd name="connsiteY3" fmla="*/ 1771322 h 441640858"/>
              <a:gd name="connsiteX4" fmla="*/ 2524009 w 7060879"/>
              <a:gd name="connsiteY4" fmla="*/ 412364053 h 441640858"/>
              <a:gd name="connsiteX5" fmla="*/ 3151647 w 7060879"/>
              <a:gd name="connsiteY5" fmla="*/ 407190513 h 441640858"/>
              <a:gd name="connsiteX6" fmla="*/ 3764509 w 7060879"/>
              <a:gd name="connsiteY6" fmla="*/ 399147809 h 441640858"/>
              <a:gd name="connsiteX7" fmla="*/ 4445355 w 7060879"/>
              <a:gd name="connsiteY7" fmla="*/ 392762899 h 441640858"/>
              <a:gd name="connsiteX8" fmla="*/ 5119709 w 7060879"/>
              <a:gd name="connsiteY8" fmla="*/ 397095155 h 441640858"/>
              <a:gd name="connsiteX9" fmla="*/ 5731545 w 7060879"/>
              <a:gd name="connsiteY9" fmla="*/ 394341394 h 441640858"/>
              <a:gd name="connsiteX10" fmla="*/ 6399669 w 7060879"/>
              <a:gd name="connsiteY10" fmla="*/ 409250138 h 441640858"/>
              <a:gd name="connsiteX11" fmla="*/ 7060879 w 7060879"/>
              <a:gd name="connsiteY11" fmla="*/ 393859003 h 441640858"/>
              <a:gd name="connsiteX0" fmla="*/ 0 w 7060879"/>
              <a:gd name="connsiteY0" fmla="*/ 66803858 h 475059728"/>
              <a:gd name="connsiteX1" fmla="*/ 635013 w 7060879"/>
              <a:gd name="connsiteY1" fmla="*/ 65838714 h 475059728"/>
              <a:gd name="connsiteX2" fmla="*/ 1288441 w 7060879"/>
              <a:gd name="connsiteY2" fmla="*/ 66198998 h 475059728"/>
              <a:gd name="connsiteX3" fmla="*/ 1903904 w 7060879"/>
              <a:gd name="connsiteY3" fmla="*/ 67580844 h 475059728"/>
              <a:gd name="connsiteX4" fmla="*/ 2607085 w 7060879"/>
              <a:gd name="connsiteY4" fmla="*/ 22515503 h 475059728"/>
              <a:gd name="connsiteX5" fmla="*/ 3151647 w 7060879"/>
              <a:gd name="connsiteY5" fmla="*/ 473000035 h 475059728"/>
              <a:gd name="connsiteX6" fmla="*/ 3764509 w 7060879"/>
              <a:gd name="connsiteY6" fmla="*/ 464957331 h 475059728"/>
              <a:gd name="connsiteX7" fmla="*/ 4445355 w 7060879"/>
              <a:gd name="connsiteY7" fmla="*/ 458572421 h 475059728"/>
              <a:gd name="connsiteX8" fmla="*/ 5119709 w 7060879"/>
              <a:gd name="connsiteY8" fmla="*/ 462904677 h 475059728"/>
              <a:gd name="connsiteX9" fmla="*/ 5731545 w 7060879"/>
              <a:gd name="connsiteY9" fmla="*/ 460150916 h 475059728"/>
              <a:gd name="connsiteX10" fmla="*/ 6399669 w 7060879"/>
              <a:gd name="connsiteY10" fmla="*/ 475059660 h 475059728"/>
              <a:gd name="connsiteX11" fmla="*/ 7060879 w 7060879"/>
              <a:gd name="connsiteY11" fmla="*/ 459668525 h 475059728"/>
              <a:gd name="connsiteX0" fmla="*/ 0 w 7060879"/>
              <a:gd name="connsiteY0" fmla="*/ 44470463 h 452726333"/>
              <a:gd name="connsiteX1" fmla="*/ 635013 w 7060879"/>
              <a:gd name="connsiteY1" fmla="*/ 43505319 h 452726333"/>
              <a:gd name="connsiteX2" fmla="*/ 1288441 w 7060879"/>
              <a:gd name="connsiteY2" fmla="*/ 43865603 h 452726333"/>
              <a:gd name="connsiteX3" fmla="*/ 1903904 w 7060879"/>
              <a:gd name="connsiteY3" fmla="*/ 45247449 h 452726333"/>
              <a:gd name="connsiteX4" fmla="*/ 2607085 w 7060879"/>
              <a:gd name="connsiteY4" fmla="*/ 182108 h 452726333"/>
              <a:gd name="connsiteX5" fmla="*/ 3151647 w 7060879"/>
              <a:gd name="connsiteY5" fmla="*/ 450666640 h 452726333"/>
              <a:gd name="connsiteX6" fmla="*/ 3764509 w 7060879"/>
              <a:gd name="connsiteY6" fmla="*/ 442623936 h 452726333"/>
              <a:gd name="connsiteX7" fmla="*/ 4445355 w 7060879"/>
              <a:gd name="connsiteY7" fmla="*/ 436239026 h 452726333"/>
              <a:gd name="connsiteX8" fmla="*/ 5119709 w 7060879"/>
              <a:gd name="connsiteY8" fmla="*/ 440571282 h 452726333"/>
              <a:gd name="connsiteX9" fmla="*/ 5731545 w 7060879"/>
              <a:gd name="connsiteY9" fmla="*/ 437817521 h 452726333"/>
              <a:gd name="connsiteX10" fmla="*/ 6399669 w 7060879"/>
              <a:gd name="connsiteY10" fmla="*/ 452726265 h 452726333"/>
              <a:gd name="connsiteX11" fmla="*/ 7060879 w 7060879"/>
              <a:gd name="connsiteY11" fmla="*/ 437335130 h 452726333"/>
              <a:gd name="connsiteX0" fmla="*/ 0 w 7060879"/>
              <a:gd name="connsiteY0" fmla="*/ 44290170 h 452546040"/>
              <a:gd name="connsiteX1" fmla="*/ 635013 w 7060879"/>
              <a:gd name="connsiteY1" fmla="*/ 43325026 h 452546040"/>
              <a:gd name="connsiteX2" fmla="*/ 1288441 w 7060879"/>
              <a:gd name="connsiteY2" fmla="*/ 43685310 h 452546040"/>
              <a:gd name="connsiteX3" fmla="*/ 1903904 w 7060879"/>
              <a:gd name="connsiteY3" fmla="*/ 45067156 h 452546040"/>
              <a:gd name="connsiteX4" fmla="*/ 2607085 w 7060879"/>
              <a:gd name="connsiteY4" fmla="*/ 1815 h 452546040"/>
              <a:gd name="connsiteX5" fmla="*/ 3151647 w 7060879"/>
              <a:gd name="connsiteY5" fmla="*/ 450486347 h 452546040"/>
              <a:gd name="connsiteX6" fmla="*/ 3764509 w 7060879"/>
              <a:gd name="connsiteY6" fmla="*/ 442443643 h 452546040"/>
              <a:gd name="connsiteX7" fmla="*/ 4445355 w 7060879"/>
              <a:gd name="connsiteY7" fmla="*/ 436058733 h 452546040"/>
              <a:gd name="connsiteX8" fmla="*/ 5119709 w 7060879"/>
              <a:gd name="connsiteY8" fmla="*/ 440390989 h 452546040"/>
              <a:gd name="connsiteX9" fmla="*/ 5731545 w 7060879"/>
              <a:gd name="connsiteY9" fmla="*/ 437637228 h 452546040"/>
              <a:gd name="connsiteX10" fmla="*/ 6399669 w 7060879"/>
              <a:gd name="connsiteY10" fmla="*/ 452545972 h 452546040"/>
              <a:gd name="connsiteX11" fmla="*/ 7060879 w 7060879"/>
              <a:gd name="connsiteY11" fmla="*/ 437154837 h 452546040"/>
              <a:gd name="connsiteX0" fmla="*/ 0 w 7060879"/>
              <a:gd name="connsiteY0" fmla="*/ 58227971 h 466483841"/>
              <a:gd name="connsiteX1" fmla="*/ 635013 w 7060879"/>
              <a:gd name="connsiteY1" fmla="*/ 57262827 h 466483841"/>
              <a:gd name="connsiteX2" fmla="*/ 1288441 w 7060879"/>
              <a:gd name="connsiteY2" fmla="*/ 57623111 h 466483841"/>
              <a:gd name="connsiteX3" fmla="*/ 1903904 w 7060879"/>
              <a:gd name="connsiteY3" fmla="*/ 59004957 h 466483841"/>
              <a:gd name="connsiteX4" fmla="*/ 2591509 w 7060879"/>
              <a:gd name="connsiteY4" fmla="*/ 1815 h 466483841"/>
              <a:gd name="connsiteX5" fmla="*/ 3151647 w 7060879"/>
              <a:gd name="connsiteY5" fmla="*/ 464424148 h 466483841"/>
              <a:gd name="connsiteX6" fmla="*/ 3764509 w 7060879"/>
              <a:gd name="connsiteY6" fmla="*/ 456381444 h 466483841"/>
              <a:gd name="connsiteX7" fmla="*/ 4445355 w 7060879"/>
              <a:gd name="connsiteY7" fmla="*/ 449996534 h 466483841"/>
              <a:gd name="connsiteX8" fmla="*/ 5119709 w 7060879"/>
              <a:gd name="connsiteY8" fmla="*/ 454328790 h 466483841"/>
              <a:gd name="connsiteX9" fmla="*/ 5731545 w 7060879"/>
              <a:gd name="connsiteY9" fmla="*/ 451575029 h 466483841"/>
              <a:gd name="connsiteX10" fmla="*/ 6399669 w 7060879"/>
              <a:gd name="connsiteY10" fmla="*/ 466483773 h 466483841"/>
              <a:gd name="connsiteX11" fmla="*/ 7060879 w 7060879"/>
              <a:gd name="connsiteY11" fmla="*/ 451092638 h 466483841"/>
              <a:gd name="connsiteX0" fmla="*/ 0 w 7060879"/>
              <a:gd name="connsiteY0" fmla="*/ 58264574 h 483087626"/>
              <a:gd name="connsiteX1" fmla="*/ 635013 w 7060879"/>
              <a:gd name="connsiteY1" fmla="*/ 57299430 h 483087626"/>
              <a:gd name="connsiteX2" fmla="*/ 1288441 w 7060879"/>
              <a:gd name="connsiteY2" fmla="*/ 57659714 h 483087626"/>
              <a:gd name="connsiteX3" fmla="*/ 1903904 w 7060879"/>
              <a:gd name="connsiteY3" fmla="*/ 59041560 h 483087626"/>
              <a:gd name="connsiteX4" fmla="*/ 2591509 w 7060879"/>
              <a:gd name="connsiteY4" fmla="*/ 38418 h 483087626"/>
              <a:gd name="connsiteX5" fmla="*/ 3229531 w 7060879"/>
              <a:gd name="connsiteY5" fmla="*/ 68842445 h 483087626"/>
              <a:gd name="connsiteX6" fmla="*/ 3764509 w 7060879"/>
              <a:gd name="connsiteY6" fmla="*/ 456418047 h 483087626"/>
              <a:gd name="connsiteX7" fmla="*/ 4445355 w 7060879"/>
              <a:gd name="connsiteY7" fmla="*/ 450033137 h 483087626"/>
              <a:gd name="connsiteX8" fmla="*/ 5119709 w 7060879"/>
              <a:gd name="connsiteY8" fmla="*/ 454365393 h 483087626"/>
              <a:gd name="connsiteX9" fmla="*/ 5731545 w 7060879"/>
              <a:gd name="connsiteY9" fmla="*/ 451611632 h 483087626"/>
              <a:gd name="connsiteX10" fmla="*/ 6399669 w 7060879"/>
              <a:gd name="connsiteY10" fmla="*/ 466520376 h 483087626"/>
              <a:gd name="connsiteX11" fmla="*/ 7060879 w 7060879"/>
              <a:gd name="connsiteY11" fmla="*/ 451129241 h 483087626"/>
              <a:gd name="connsiteX0" fmla="*/ 0 w 7060879"/>
              <a:gd name="connsiteY0" fmla="*/ 58264574 h 483087626"/>
              <a:gd name="connsiteX1" fmla="*/ 635013 w 7060879"/>
              <a:gd name="connsiteY1" fmla="*/ 57299430 h 483087626"/>
              <a:gd name="connsiteX2" fmla="*/ 1288441 w 7060879"/>
              <a:gd name="connsiteY2" fmla="*/ 57659714 h 483087626"/>
              <a:gd name="connsiteX3" fmla="*/ 1903904 w 7060879"/>
              <a:gd name="connsiteY3" fmla="*/ 59041560 h 483087626"/>
              <a:gd name="connsiteX4" fmla="*/ 2591509 w 7060879"/>
              <a:gd name="connsiteY4" fmla="*/ 38418 h 483087626"/>
              <a:gd name="connsiteX5" fmla="*/ 3229531 w 7060879"/>
              <a:gd name="connsiteY5" fmla="*/ 68842445 h 483087626"/>
              <a:gd name="connsiteX6" fmla="*/ 3764509 w 7060879"/>
              <a:gd name="connsiteY6" fmla="*/ 456418047 h 483087626"/>
              <a:gd name="connsiteX7" fmla="*/ 4445355 w 7060879"/>
              <a:gd name="connsiteY7" fmla="*/ 450033137 h 483087626"/>
              <a:gd name="connsiteX8" fmla="*/ 5119709 w 7060879"/>
              <a:gd name="connsiteY8" fmla="*/ 454365393 h 483087626"/>
              <a:gd name="connsiteX9" fmla="*/ 5731545 w 7060879"/>
              <a:gd name="connsiteY9" fmla="*/ 451611632 h 483087626"/>
              <a:gd name="connsiteX10" fmla="*/ 6399669 w 7060879"/>
              <a:gd name="connsiteY10" fmla="*/ 466520376 h 483087626"/>
              <a:gd name="connsiteX11" fmla="*/ 7060879 w 7060879"/>
              <a:gd name="connsiteY11" fmla="*/ 451129241 h 483087626"/>
              <a:gd name="connsiteX0" fmla="*/ 0 w 7060879"/>
              <a:gd name="connsiteY0" fmla="*/ 58264574 h 483087626"/>
              <a:gd name="connsiteX1" fmla="*/ 635013 w 7060879"/>
              <a:gd name="connsiteY1" fmla="*/ 57299430 h 483087626"/>
              <a:gd name="connsiteX2" fmla="*/ 1288441 w 7060879"/>
              <a:gd name="connsiteY2" fmla="*/ 57659714 h 483087626"/>
              <a:gd name="connsiteX3" fmla="*/ 1903904 w 7060879"/>
              <a:gd name="connsiteY3" fmla="*/ 59041560 h 483087626"/>
              <a:gd name="connsiteX4" fmla="*/ 2591509 w 7060879"/>
              <a:gd name="connsiteY4" fmla="*/ 38418 h 483087626"/>
              <a:gd name="connsiteX5" fmla="*/ 3208762 w 7060879"/>
              <a:gd name="connsiteY5" fmla="*/ 68842445 h 483087626"/>
              <a:gd name="connsiteX6" fmla="*/ 3764509 w 7060879"/>
              <a:gd name="connsiteY6" fmla="*/ 456418047 h 483087626"/>
              <a:gd name="connsiteX7" fmla="*/ 4445355 w 7060879"/>
              <a:gd name="connsiteY7" fmla="*/ 450033137 h 483087626"/>
              <a:gd name="connsiteX8" fmla="*/ 5119709 w 7060879"/>
              <a:gd name="connsiteY8" fmla="*/ 454365393 h 483087626"/>
              <a:gd name="connsiteX9" fmla="*/ 5731545 w 7060879"/>
              <a:gd name="connsiteY9" fmla="*/ 451611632 h 483087626"/>
              <a:gd name="connsiteX10" fmla="*/ 6399669 w 7060879"/>
              <a:gd name="connsiteY10" fmla="*/ 466520376 h 483087626"/>
              <a:gd name="connsiteX11" fmla="*/ 7060879 w 7060879"/>
              <a:gd name="connsiteY11" fmla="*/ 451129241 h 483087626"/>
              <a:gd name="connsiteX0" fmla="*/ 0 w 7060879"/>
              <a:gd name="connsiteY0" fmla="*/ 58264574 h 466520445"/>
              <a:gd name="connsiteX1" fmla="*/ 635013 w 7060879"/>
              <a:gd name="connsiteY1" fmla="*/ 57299430 h 466520445"/>
              <a:gd name="connsiteX2" fmla="*/ 1288441 w 7060879"/>
              <a:gd name="connsiteY2" fmla="*/ 57659714 h 466520445"/>
              <a:gd name="connsiteX3" fmla="*/ 1903904 w 7060879"/>
              <a:gd name="connsiteY3" fmla="*/ 59041560 h 466520445"/>
              <a:gd name="connsiteX4" fmla="*/ 2591509 w 7060879"/>
              <a:gd name="connsiteY4" fmla="*/ 38418 h 466520445"/>
              <a:gd name="connsiteX5" fmla="*/ 3208762 w 7060879"/>
              <a:gd name="connsiteY5" fmla="*/ 68842445 h 466520445"/>
              <a:gd name="connsiteX6" fmla="*/ 3883931 w 7060879"/>
              <a:gd name="connsiteY6" fmla="*/ 195888964 h 466520445"/>
              <a:gd name="connsiteX7" fmla="*/ 4445355 w 7060879"/>
              <a:gd name="connsiteY7" fmla="*/ 450033137 h 466520445"/>
              <a:gd name="connsiteX8" fmla="*/ 5119709 w 7060879"/>
              <a:gd name="connsiteY8" fmla="*/ 454365393 h 466520445"/>
              <a:gd name="connsiteX9" fmla="*/ 5731545 w 7060879"/>
              <a:gd name="connsiteY9" fmla="*/ 451611632 h 466520445"/>
              <a:gd name="connsiteX10" fmla="*/ 6399669 w 7060879"/>
              <a:gd name="connsiteY10" fmla="*/ 466520376 h 466520445"/>
              <a:gd name="connsiteX11" fmla="*/ 7060879 w 7060879"/>
              <a:gd name="connsiteY11" fmla="*/ 451129241 h 466520445"/>
              <a:gd name="connsiteX0" fmla="*/ 0 w 7060879"/>
              <a:gd name="connsiteY0" fmla="*/ 65579163 h 473835034"/>
              <a:gd name="connsiteX1" fmla="*/ 635013 w 7060879"/>
              <a:gd name="connsiteY1" fmla="*/ 64614019 h 473835034"/>
              <a:gd name="connsiteX2" fmla="*/ 1288441 w 7060879"/>
              <a:gd name="connsiteY2" fmla="*/ 64974303 h 473835034"/>
              <a:gd name="connsiteX3" fmla="*/ 1903904 w 7060879"/>
              <a:gd name="connsiteY3" fmla="*/ 66356149 h 473835034"/>
              <a:gd name="connsiteX4" fmla="*/ 2591509 w 7060879"/>
              <a:gd name="connsiteY4" fmla="*/ 7353007 h 473835034"/>
              <a:gd name="connsiteX5" fmla="*/ 3208762 w 7060879"/>
              <a:gd name="connsiteY5" fmla="*/ 76157034 h 473835034"/>
              <a:gd name="connsiteX6" fmla="*/ 3863163 w 7060879"/>
              <a:gd name="connsiteY6" fmla="*/ 18796044 h 473835034"/>
              <a:gd name="connsiteX7" fmla="*/ 4445355 w 7060879"/>
              <a:gd name="connsiteY7" fmla="*/ 457347726 h 473835034"/>
              <a:gd name="connsiteX8" fmla="*/ 5119709 w 7060879"/>
              <a:gd name="connsiteY8" fmla="*/ 461679982 h 473835034"/>
              <a:gd name="connsiteX9" fmla="*/ 5731545 w 7060879"/>
              <a:gd name="connsiteY9" fmla="*/ 458926221 h 473835034"/>
              <a:gd name="connsiteX10" fmla="*/ 6399669 w 7060879"/>
              <a:gd name="connsiteY10" fmla="*/ 473834965 h 473835034"/>
              <a:gd name="connsiteX11" fmla="*/ 7060879 w 7060879"/>
              <a:gd name="connsiteY11" fmla="*/ 458443830 h 473835034"/>
              <a:gd name="connsiteX0" fmla="*/ 0 w 7060879"/>
              <a:gd name="connsiteY0" fmla="*/ 58264574 h 466520445"/>
              <a:gd name="connsiteX1" fmla="*/ 635013 w 7060879"/>
              <a:gd name="connsiteY1" fmla="*/ 57299430 h 466520445"/>
              <a:gd name="connsiteX2" fmla="*/ 1288441 w 7060879"/>
              <a:gd name="connsiteY2" fmla="*/ 57659714 h 466520445"/>
              <a:gd name="connsiteX3" fmla="*/ 1903904 w 7060879"/>
              <a:gd name="connsiteY3" fmla="*/ 59041560 h 466520445"/>
              <a:gd name="connsiteX4" fmla="*/ 2591509 w 7060879"/>
              <a:gd name="connsiteY4" fmla="*/ 38418 h 466520445"/>
              <a:gd name="connsiteX5" fmla="*/ 3208762 w 7060879"/>
              <a:gd name="connsiteY5" fmla="*/ 68842445 h 466520445"/>
              <a:gd name="connsiteX6" fmla="*/ 3863163 w 7060879"/>
              <a:gd name="connsiteY6" fmla="*/ 11481455 h 466520445"/>
              <a:gd name="connsiteX7" fmla="*/ 4445355 w 7060879"/>
              <a:gd name="connsiteY7" fmla="*/ 450033137 h 466520445"/>
              <a:gd name="connsiteX8" fmla="*/ 5119709 w 7060879"/>
              <a:gd name="connsiteY8" fmla="*/ 454365393 h 466520445"/>
              <a:gd name="connsiteX9" fmla="*/ 5731545 w 7060879"/>
              <a:gd name="connsiteY9" fmla="*/ 451611632 h 466520445"/>
              <a:gd name="connsiteX10" fmla="*/ 6399669 w 7060879"/>
              <a:gd name="connsiteY10" fmla="*/ 466520376 h 466520445"/>
              <a:gd name="connsiteX11" fmla="*/ 7060879 w 7060879"/>
              <a:gd name="connsiteY11" fmla="*/ 451129241 h 466520445"/>
              <a:gd name="connsiteX0" fmla="*/ 0 w 7060879"/>
              <a:gd name="connsiteY0" fmla="*/ 58264574 h 466520445"/>
              <a:gd name="connsiteX1" fmla="*/ 635013 w 7060879"/>
              <a:gd name="connsiteY1" fmla="*/ 57299430 h 466520445"/>
              <a:gd name="connsiteX2" fmla="*/ 1288441 w 7060879"/>
              <a:gd name="connsiteY2" fmla="*/ 57659714 h 466520445"/>
              <a:gd name="connsiteX3" fmla="*/ 1903904 w 7060879"/>
              <a:gd name="connsiteY3" fmla="*/ 59041560 h 466520445"/>
              <a:gd name="connsiteX4" fmla="*/ 2591509 w 7060879"/>
              <a:gd name="connsiteY4" fmla="*/ 38418 h 466520445"/>
              <a:gd name="connsiteX5" fmla="*/ 3208762 w 7060879"/>
              <a:gd name="connsiteY5" fmla="*/ 68842445 h 466520445"/>
              <a:gd name="connsiteX6" fmla="*/ 3852779 w 7060879"/>
              <a:gd name="connsiteY6" fmla="*/ 3976589 h 466520445"/>
              <a:gd name="connsiteX7" fmla="*/ 4445355 w 7060879"/>
              <a:gd name="connsiteY7" fmla="*/ 450033137 h 466520445"/>
              <a:gd name="connsiteX8" fmla="*/ 5119709 w 7060879"/>
              <a:gd name="connsiteY8" fmla="*/ 454365393 h 466520445"/>
              <a:gd name="connsiteX9" fmla="*/ 5731545 w 7060879"/>
              <a:gd name="connsiteY9" fmla="*/ 451611632 h 466520445"/>
              <a:gd name="connsiteX10" fmla="*/ 6399669 w 7060879"/>
              <a:gd name="connsiteY10" fmla="*/ 466520376 h 466520445"/>
              <a:gd name="connsiteX11" fmla="*/ 7060879 w 7060879"/>
              <a:gd name="connsiteY11" fmla="*/ 451129241 h 466520445"/>
              <a:gd name="connsiteX0" fmla="*/ 0 w 7060879"/>
              <a:gd name="connsiteY0" fmla="*/ 58264574 h 466520445"/>
              <a:gd name="connsiteX1" fmla="*/ 635013 w 7060879"/>
              <a:gd name="connsiteY1" fmla="*/ 57299430 h 466520445"/>
              <a:gd name="connsiteX2" fmla="*/ 1288441 w 7060879"/>
              <a:gd name="connsiteY2" fmla="*/ 57659714 h 466520445"/>
              <a:gd name="connsiteX3" fmla="*/ 1903904 w 7060879"/>
              <a:gd name="connsiteY3" fmla="*/ 59041560 h 466520445"/>
              <a:gd name="connsiteX4" fmla="*/ 2591509 w 7060879"/>
              <a:gd name="connsiteY4" fmla="*/ 38418 h 466520445"/>
              <a:gd name="connsiteX5" fmla="*/ 3208762 w 7060879"/>
              <a:gd name="connsiteY5" fmla="*/ 68842445 h 466520445"/>
              <a:gd name="connsiteX6" fmla="*/ 3852779 w 7060879"/>
              <a:gd name="connsiteY6" fmla="*/ 3976589 h 466520445"/>
              <a:gd name="connsiteX7" fmla="*/ 4445355 w 7060879"/>
              <a:gd name="connsiteY7" fmla="*/ 450033137 h 466520445"/>
              <a:gd name="connsiteX8" fmla="*/ 5119709 w 7060879"/>
              <a:gd name="connsiteY8" fmla="*/ 454365393 h 466520445"/>
              <a:gd name="connsiteX9" fmla="*/ 5731545 w 7060879"/>
              <a:gd name="connsiteY9" fmla="*/ 451611632 h 466520445"/>
              <a:gd name="connsiteX10" fmla="*/ 6399669 w 7060879"/>
              <a:gd name="connsiteY10" fmla="*/ 466520376 h 466520445"/>
              <a:gd name="connsiteX11" fmla="*/ 7060879 w 7060879"/>
              <a:gd name="connsiteY11" fmla="*/ 451129241 h 466520445"/>
              <a:gd name="connsiteX0" fmla="*/ 0 w 7060879"/>
              <a:gd name="connsiteY0" fmla="*/ 58264574 h 466520445"/>
              <a:gd name="connsiteX1" fmla="*/ 635013 w 7060879"/>
              <a:gd name="connsiteY1" fmla="*/ 57299430 h 466520445"/>
              <a:gd name="connsiteX2" fmla="*/ 1288441 w 7060879"/>
              <a:gd name="connsiteY2" fmla="*/ 57659714 h 466520445"/>
              <a:gd name="connsiteX3" fmla="*/ 1903904 w 7060879"/>
              <a:gd name="connsiteY3" fmla="*/ 59041560 h 466520445"/>
              <a:gd name="connsiteX4" fmla="*/ 2591509 w 7060879"/>
              <a:gd name="connsiteY4" fmla="*/ 38418 h 466520445"/>
              <a:gd name="connsiteX5" fmla="*/ 3208762 w 7060879"/>
              <a:gd name="connsiteY5" fmla="*/ 68842445 h 466520445"/>
              <a:gd name="connsiteX6" fmla="*/ 3832011 w 7060879"/>
              <a:gd name="connsiteY6" fmla="*/ 66160429 h 466520445"/>
              <a:gd name="connsiteX7" fmla="*/ 4445355 w 7060879"/>
              <a:gd name="connsiteY7" fmla="*/ 450033137 h 466520445"/>
              <a:gd name="connsiteX8" fmla="*/ 5119709 w 7060879"/>
              <a:gd name="connsiteY8" fmla="*/ 454365393 h 466520445"/>
              <a:gd name="connsiteX9" fmla="*/ 5731545 w 7060879"/>
              <a:gd name="connsiteY9" fmla="*/ 451611632 h 466520445"/>
              <a:gd name="connsiteX10" fmla="*/ 6399669 w 7060879"/>
              <a:gd name="connsiteY10" fmla="*/ 466520376 h 466520445"/>
              <a:gd name="connsiteX11" fmla="*/ 7060879 w 7060879"/>
              <a:gd name="connsiteY11" fmla="*/ 451129241 h 466520445"/>
              <a:gd name="connsiteX0" fmla="*/ 0 w 7060879"/>
              <a:gd name="connsiteY0" fmla="*/ 58264574 h 466520445"/>
              <a:gd name="connsiteX1" fmla="*/ 635013 w 7060879"/>
              <a:gd name="connsiteY1" fmla="*/ 57299430 h 466520445"/>
              <a:gd name="connsiteX2" fmla="*/ 1288441 w 7060879"/>
              <a:gd name="connsiteY2" fmla="*/ 57659714 h 466520445"/>
              <a:gd name="connsiteX3" fmla="*/ 1903904 w 7060879"/>
              <a:gd name="connsiteY3" fmla="*/ 59041560 h 466520445"/>
              <a:gd name="connsiteX4" fmla="*/ 2591509 w 7060879"/>
              <a:gd name="connsiteY4" fmla="*/ 38418 h 466520445"/>
              <a:gd name="connsiteX5" fmla="*/ 3208762 w 7060879"/>
              <a:gd name="connsiteY5" fmla="*/ 68842445 h 466520445"/>
              <a:gd name="connsiteX6" fmla="*/ 3832011 w 7060879"/>
              <a:gd name="connsiteY6" fmla="*/ 66160429 h 466520445"/>
              <a:gd name="connsiteX7" fmla="*/ 4502470 w 7060879"/>
              <a:gd name="connsiteY7" fmla="*/ 308510949 h 466520445"/>
              <a:gd name="connsiteX8" fmla="*/ 5119709 w 7060879"/>
              <a:gd name="connsiteY8" fmla="*/ 454365393 h 466520445"/>
              <a:gd name="connsiteX9" fmla="*/ 5731545 w 7060879"/>
              <a:gd name="connsiteY9" fmla="*/ 451611632 h 466520445"/>
              <a:gd name="connsiteX10" fmla="*/ 6399669 w 7060879"/>
              <a:gd name="connsiteY10" fmla="*/ 466520376 h 466520445"/>
              <a:gd name="connsiteX11" fmla="*/ 7060879 w 7060879"/>
              <a:gd name="connsiteY11" fmla="*/ 451129241 h 466520445"/>
              <a:gd name="connsiteX0" fmla="*/ 0 w 7060879"/>
              <a:gd name="connsiteY0" fmla="*/ 58264574 h 489739426"/>
              <a:gd name="connsiteX1" fmla="*/ 635013 w 7060879"/>
              <a:gd name="connsiteY1" fmla="*/ 57299430 h 489739426"/>
              <a:gd name="connsiteX2" fmla="*/ 1288441 w 7060879"/>
              <a:gd name="connsiteY2" fmla="*/ 57659714 h 489739426"/>
              <a:gd name="connsiteX3" fmla="*/ 1903904 w 7060879"/>
              <a:gd name="connsiteY3" fmla="*/ 59041560 h 489739426"/>
              <a:gd name="connsiteX4" fmla="*/ 2591509 w 7060879"/>
              <a:gd name="connsiteY4" fmla="*/ 38418 h 489739426"/>
              <a:gd name="connsiteX5" fmla="*/ 3208762 w 7060879"/>
              <a:gd name="connsiteY5" fmla="*/ 68842445 h 489739426"/>
              <a:gd name="connsiteX6" fmla="*/ 3832011 w 7060879"/>
              <a:gd name="connsiteY6" fmla="*/ 66160429 h 489739426"/>
              <a:gd name="connsiteX7" fmla="*/ 4502470 w 7060879"/>
              <a:gd name="connsiteY7" fmla="*/ 308510949 h 489739426"/>
              <a:gd name="connsiteX8" fmla="*/ 5150864 w 7060879"/>
              <a:gd name="connsiteY8" fmla="*/ 10500882 h 489739426"/>
              <a:gd name="connsiteX9" fmla="*/ 5731545 w 7060879"/>
              <a:gd name="connsiteY9" fmla="*/ 451611632 h 489739426"/>
              <a:gd name="connsiteX10" fmla="*/ 6399669 w 7060879"/>
              <a:gd name="connsiteY10" fmla="*/ 466520376 h 489739426"/>
              <a:gd name="connsiteX11" fmla="*/ 7060879 w 7060879"/>
              <a:gd name="connsiteY11" fmla="*/ 451129241 h 489739426"/>
              <a:gd name="connsiteX0" fmla="*/ 0 w 7060879"/>
              <a:gd name="connsiteY0" fmla="*/ 58264574 h 489739426"/>
              <a:gd name="connsiteX1" fmla="*/ 635013 w 7060879"/>
              <a:gd name="connsiteY1" fmla="*/ 57299430 h 489739426"/>
              <a:gd name="connsiteX2" fmla="*/ 1288441 w 7060879"/>
              <a:gd name="connsiteY2" fmla="*/ 57659714 h 489739426"/>
              <a:gd name="connsiteX3" fmla="*/ 1903904 w 7060879"/>
              <a:gd name="connsiteY3" fmla="*/ 59041560 h 489739426"/>
              <a:gd name="connsiteX4" fmla="*/ 2591509 w 7060879"/>
              <a:gd name="connsiteY4" fmla="*/ 38418 h 489739426"/>
              <a:gd name="connsiteX5" fmla="*/ 3208762 w 7060879"/>
              <a:gd name="connsiteY5" fmla="*/ 68842445 h 489739426"/>
              <a:gd name="connsiteX6" fmla="*/ 3832011 w 7060879"/>
              <a:gd name="connsiteY6" fmla="*/ 66160429 h 489739426"/>
              <a:gd name="connsiteX7" fmla="*/ 4502470 w 7060879"/>
              <a:gd name="connsiteY7" fmla="*/ 308510949 h 489739426"/>
              <a:gd name="connsiteX8" fmla="*/ 5150864 w 7060879"/>
              <a:gd name="connsiteY8" fmla="*/ 10500882 h 489739426"/>
              <a:gd name="connsiteX9" fmla="*/ 5731545 w 7060879"/>
              <a:gd name="connsiteY9" fmla="*/ 451611632 h 489739426"/>
              <a:gd name="connsiteX10" fmla="*/ 6399669 w 7060879"/>
              <a:gd name="connsiteY10" fmla="*/ 466520376 h 489739426"/>
              <a:gd name="connsiteX11" fmla="*/ 7060879 w 7060879"/>
              <a:gd name="connsiteY11" fmla="*/ 451129241 h 489739426"/>
              <a:gd name="connsiteX0" fmla="*/ 0 w 7060879"/>
              <a:gd name="connsiteY0" fmla="*/ 86790413 h 495046284"/>
              <a:gd name="connsiteX1" fmla="*/ 635013 w 7060879"/>
              <a:gd name="connsiteY1" fmla="*/ 85825269 h 495046284"/>
              <a:gd name="connsiteX2" fmla="*/ 1288441 w 7060879"/>
              <a:gd name="connsiteY2" fmla="*/ 86185553 h 495046284"/>
              <a:gd name="connsiteX3" fmla="*/ 1903904 w 7060879"/>
              <a:gd name="connsiteY3" fmla="*/ 87567399 h 495046284"/>
              <a:gd name="connsiteX4" fmla="*/ 2591509 w 7060879"/>
              <a:gd name="connsiteY4" fmla="*/ 28564257 h 495046284"/>
              <a:gd name="connsiteX5" fmla="*/ 3208762 w 7060879"/>
              <a:gd name="connsiteY5" fmla="*/ 97368284 h 495046284"/>
              <a:gd name="connsiteX6" fmla="*/ 3832011 w 7060879"/>
              <a:gd name="connsiteY6" fmla="*/ 94686268 h 495046284"/>
              <a:gd name="connsiteX7" fmla="*/ 4502470 w 7060879"/>
              <a:gd name="connsiteY7" fmla="*/ 337036788 h 495046284"/>
              <a:gd name="connsiteX8" fmla="*/ 5150864 w 7060879"/>
              <a:gd name="connsiteY8" fmla="*/ 39026721 h 495046284"/>
              <a:gd name="connsiteX9" fmla="*/ 5731545 w 7060879"/>
              <a:gd name="connsiteY9" fmla="*/ 53427054 h 495046284"/>
              <a:gd name="connsiteX10" fmla="*/ 6399669 w 7060879"/>
              <a:gd name="connsiteY10" fmla="*/ 495046215 h 495046284"/>
              <a:gd name="connsiteX11" fmla="*/ 7060879 w 7060879"/>
              <a:gd name="connsiteY11" fmla="*/ 479655080 h 495046284"/>
              <a:gd name="connsiteX0" fmla="*/ 0 w 7060879"/>
              <a:gd name="connsiteY0" fmla="*/ 65223568 h 473479439"/>
              <a:gd name="connsiteX1" fmla="*/ 635013 w 7060879"/>
              <a:gd name="connsiteY1" fmla="*/ 64258424 h 473479439"/>
              <a:gd name="connsiteX2" fmla="*/ 1288441 w 7060879"/>
              <a:gd name="connsiteY2" fmla="*/ 64618708 h 473479439"/>
              <a:gd name="connsiteX3" fmla="*/ 1903904 w 7060879"/>
              <a:gd name="connsiteY3" fmla="*/ 66000554 h 473479439"/>
              <a:gd name="connsiteX4" fmla="*/ 2591509 w 7060879"/>
              <a:gd name="connsiteY4" fmla="*/ 6997412 h 473479439"/>
              <a:gd name="connsiteX5" fmla="*/ 3208762 w 7060879"/>
              <a:gd name="connsiteY5" fmla="*/ 75801439 h 473479439"/>
              <a:gd name="connsiteX6" fmla="*/ 3832011 w 7060879"/>
              <a:gd name="connsiteY6" fmla="*/ 73119423 h 473479439"/>
              <a:gd name="connsiteX7" fmla="*/ 4502470 w 7060879"/>
              <a:gd name="connsiteY7" fmla="*/ 315469943 h 473479439"/>
              <a:gd name="connsiteX8" fmla="*/ 5150864 w 7060879"/>
              <a:gd name="connsiteY8" fmla="*/ 17459876 h 473479439"/>
              <a:gd name="connsiteX9" fmla="*/ 5731545 w 7060879"/>
              <a:gd name="connsiteY9" fmla="*/ 31860209 h 473479439"/>
              <a:gd name="connsiteX10" fmla="*/ 6399669 w 7060879"/>
              <a:gd name="connsiteY10" fmla="*/ 473479370 h 473479439"/>
              <a:gd name="connsiteX11" fmla="*/ 7060879 w 7060879"/>
              <a:gd name="connsiteY11" fmla="*/ 458088235 h 473479439"/>
              <a:gd name="connsiteX0" fmla="*/ 0 w 7060879"/>
              <a:gd name="connsiteY0" fmla="*/ 68520427 h 476776298"/>
              <a:gd name="connsiteX1" fmla="*/ 635013 w 7060879"/>
              <a:gd name="connsiteY1" fmla="*/ 67555283 h 476776298"/>
              <a:gd name="connsiteX2" fmla="*/ 1288441 w 7060879"/>
              <a:gd name="connsiteY2" fmla="*/ 67915567 h 476776298"/>
              <a:gd name="connsiteX3" fmla="*/ 1903904 w 7060879"/>
              <a:gd name="connsiteY3" fmla="*/ 69297413 h 476776298"/>
              <a:gd name="connsiteX4" fmla="*/ 2591509 w 7060879"/>
              <a:gd name="connsiteY4" fmla="*/ 10294271 h 476776298"/>
              <a:gd name="connsiteX5" fmla="*/ 3208762 w 7060879"/>
              <a:gd name="connsiteY5" fmla="*/ 79098298 h 476776298"/>
              <a:gd name="connsiteX6" fmla="*/ 3832011 w 7060879"/>
              <a:gd name="connsiteY6" fmla="*/ 76416282 h 476776298"/>
              <a:gd name="connsiteX7" fmla="*/ 4502470 w 7060879"/>
              <a:gd name="connsiteY7" fmla="*/ 318766802 h 476776298"/>
              <a:gd name="connsiteX8" fmla="*/ 5150864 w 7060879"/>
              <a:gd name="connsiteY8" fmla="*/ 20756735 h 476776298"/>
              <a:gd name="connsiteX9" fmla="*/ 5773083 w 7060879"/>
              <a:gd name="connsiteY9" fmla="*/ 23363578 h 476776298"/>
              <a:gd name="connsiteX10" fmla="*/ 6399669 w 7060879"/>
              <a:gd name="connsiteY10" fmla="*/ 476776229 h 476776298"/>
              <a:gd name="connsiteX11" fmla="*/ 7060879 w 7060879"/>
              <a:gd name="connsiteY11" fmla="*/ 461385094 h 476776298"/>
              <a:gd name="connsiteX0" fmla="*/ 0 w 7060879"/>
              <a:gd name="connsiteY0" fmla="*/ 68964505 h 477220376"/>
              <a:gd name="connsiteX1" fmla="*/ 635013 w 7060879"/>
              <a:gd name="connsiteY1" fmla="*/ 67999361 h 477220376"/>
              <a:gd name="connsiteX2" fmla="*/ 1288441 w 7060879"/>
              <a:gd name="connsiteY2" fmla="*/ 68359645 h 477220376"/>
              <a:gd name="connsiteX3" fmla="*/ 1903904 w 7060879"/>
              <a:gd name="connsiteY3" fmla="*/ 69741491 h 477220376"/>
              <a:gd name="connsiteX4" fmla="*/ 2591509 w 7060879"/>
              <a:gd name="connsiteY4" fmla="*/ 10738349 h 477220376"/>
              <a:gd name="connsiteX5" fmla="*/ 3208762 w 7060879"/>
              <a:gd name="connsiteY5" fmla="*/ 79542376 h 477220376"/>
              <a:gd name="connsiteX6" fmla="*/ 3832011 w 7060879"/>
              <a:gd name="connsiteY6" fmla="*/ 76860360 h 477220376"/>
              <a:gd name="connsiteX7" fmla="*/ 4502470 w 7060879"/>
              <a:gd name="connsiteY7" fmla="*/ 319210880 h 477220376"/>
              <a:gd name="connsiteX8" fmla="*/ 5150864 w 7060879"/>
              <a:gd name="connsiteY8" fmla="*/ 21200813 h 477220376"/>
              <a:gd name="connsiteX9" fmla="*/ 5773083 w 7060879"/>
              <a:gd name="connsiteY9" fmla="*/ 23807656 h 477220376"/>
              <a:gd name="connsiteX10" fmla="*/ 6399669 w 7060879"/>
              <a:gd name="connsiteY10" fmla="*/ 477220307 h 477220376"/>
              <a:gd name="connsiteX11" fmla="*/ 7060879 w 7060879"/>
              <a:gd name="connsiteY11" fmla="*/ 461829172 h 477220376"/>
              <a:gd name="connsiteX0" fmla="*/ 0 w 7060879"/>
              <a:gd name="connsiteY0" fmla="*/ 58264574 h 466520445"/>
              <a:gd name="connsiteX1" fmla="*/ 635013 w 7060879"/>
              <a:gd name="connsiteY1" fmla="*/ 57299430 h 466520445"/>
              <a:gd name="connsiteX2" fmla="*/ 1288441 w 7060879"/>
              <a:gd name="connsiteY2" fmla="*/ 57659714 h 466520445"/>
              <a:gd name="connsiteX3" fmla="*/ 1903904 w 7060879"/>
              <a:gd name="connsiteY3" fmla="*/ 59041560 h 466520445"/>
              <a:gd name="connsiteX4" fmla="*/ 2591509 w 7060879"/>
              <a:gd name="connsiteY4" fmla="*/ 38418 h 466520445"/>
              <a:gd name="connsiteX5" fmla="*/ 3208762 w 7060879"/>
              <a:gd name="connsiteY5" fmla="*/ 68842445 h 466520445"/>
              <a:gd name="connsiteX6" fmla="*/ 3832011 w 7060879"/>
              <a:gd name="connsiteY6" fmla="*/ 66160429 h 466520445"/>
              <a:gd name="connsiteX7" fmla="*/ 4502470 w 7060879"/>
              <a:gd name="connsiteY7" fmla="*/ 308510949 h 466520445"/>
              <a:gd name="connsiteX8" fmla="*/ 5150864 w 7060879"/>
              <a:gd name="connsiteY8" fmla="*/ 10500882 h 466520445"/>
              <a:gd name="connsiteX9" fmla="*/ 5773083 w 7060879"/>
              <a:gd name="connsiteY9" fmla="*/ 13107725 h 466520445"/>
              <a:gd name="connsiteX10" fmla="*/ 6399669 w 7060879"/>
              <a:gd name="connsiteY10" fmla="*/ 466520376 h 466520445"/>
              <a:gd name="connsiteX11" fmla="*/ 7060879 w 7060879"/>
              <a:gd name="connsiteY11" fmla="*/ 451129241 h 466520445"/>
              <a:gd name="connsiteX0" fmla="*/ 0 w 7060879"/>
              <a:gd name="connsiteY0" fmla="*/ 69308454 h 477564325"/>
              <a:gd name="connsiteX1" fmla="*/ 635013 w 7060879"/>
              <a:gd name="connsiteY1" fmla="*/ 68343310 h 477564325"/>
              <a:gd name="connsiteX2" fmla="*/ 1288441 w 7060879"/>
              <a:gd name="connsiteY2" fmla="*/ 68703594 h 477564325"/>
              <a:gd name="connsiteX3" fmla="*/ 1903904 w 7060879"/>
              <a:gd name="connsiteY3" fmla="*/ 70085440 h 477564325"/>
              <a:gd name="connsiteX4" fmla="*/ 2591509 w 7060879"/>
              <a:gd name="connsiteY4" fmla="*/ 11082298 h 477564325"/>
              <a:gd name="connsiteX5" fmla="*/ 3208762 w 7060879"/>
              <a:gd name="connsiteY5" fmla="*/ 79886325 h 477564325"/>
              <a:gd name="connsiteX6" fmla="*/ 3832011 w 7060879"/>
              <a:gd name="connsiteY6" fmla="*/ 77204309 h 477564325"/>
              <a:gd name="connsiteX7" fmla="*/ 4502470 w 7060879"/>
              <a:gd name="connsiteY7" fmla="*/ 319554829 h 477564325"/>
              <a:gd name="connsiteX8" fmla="*/ 5150864 w 7060879"/>
              <a:gd name="connsiteY8" fmla="*/ 21544762 h 477564325"/>
              <a:gd name="connsiteX9" fmla="*/ 5773083 w 7060879"/>
              <a:gd name="connsiteY9" fmla="*/ 23079374 h 477564325"/>
              <a:gd name="connsiteX10" fmla="*/ 6399669 w 7060879"/>
              <a:gd name="connsiteY10" fmla="*/ 477564256 h 477564325"/>
              <a:gd name="connsiteX11" fmla="*/ 7060879 w 7060879"/>
              <a:gd name="connsiteY11" fmla="*/ 462173121 h 477564325"/>
              <a:gd name="connsiteX0" fmla="*/ 0 w 7060879"/>
              <a:gd name="connsiteY0" fmla="*/ 58264574 h 466520445"/>
              <a:gd name="connsiteX1" fmla="*/ 635013 w 7060879"/>
              <a:gd name="connsiteY1" fmla="*/ 57299430 h 466520445"/>
              <a:gd name="connsiteX2" fmla="*/ 1288441 w 7060879"/>
              <a:gd name="connsiteY2" fmla="*/ 57659714 h 466520445"/>
              <a:gd name="connsiteX3" fmla="*/ 1903904 w 7060879"/>
              <a:gd name="connsiteY3" fmla="*/ 59041560 h 466520445"/>
              <a:gd name="connsiteX4" fmla="*/ 2591509 w 7060879"/>
              <a:gd name="connsiteY4" fmla="*/ 38418 h 466520445"/>
              <a:gd name="connsiteX5" fmla="*/ 3208762 w 7060879"/>
              <a:gd name="connsiteY5" fmla="*/ 68842445 h 466520445"/>
              <a:gd name="connsiteX6" fmla="*/ 3832011 w 7060879"/>
              <a:gd name="connsiteY6" fmla="*/ 66160429 h 466520445"/>
              <a:gd name="connsiteX7" fmla="*/ 4502470 w 7060879"/>
              <a:gd name="connsiteY7" fmla="*/ 308510949 h 466520445"/>
              <a:gd name="connsiteX8" fmla="*/ 5150864 w 7060879"/>
              <a:gd name="connsiteY8" fmla="*/ 10500882 h 466520445"/>
              <a:gd name="connsiteX9" fmla="*/ 5773083 w 7060879"/>
              <a:gd name="connsiteY9" fmla="*/ 12035494 h 466520445"/>
              <a:gd name="connsiteX10" fmla="*/ 6399669 w 7060879"/>
              <a:gd name="connsiteY10" fmla="*/ 466520376 h 466520445"/>
              <a:gd name="connsiteX11" fmla="*/ 7060879 w 7060879"/>
              <a:gd name="connsiteY11" fmla="*/ 451129241 h 466520445"/>
              <a:gd name="connsiteX0" fmla="*/ 0 w 7060879"/>
              <a:gd name="connsiteY0" fmla="*/ 96720467 h 489585148"/>
              <a:gd name="connsiteX1" fmla="*/ 635013 w 7060879"/>
              <a:gd name="connsiteY1" fmla="*/ 95755323 h 489585148"/>
              <a:gd name="connsiteX2" fmla="*/ 1288441 w 7060879"/>
              <a:gd name="connsiteY2" fmla="*/ 96115607 h 489585148"/>
              <a:gd name="connsiteX3" fmla="*/ 1903904 w 7060879"/>
              <a:gd name="connsiteY3" fmla="*/ 97497453 h 489585148"/>
              <a:gd name="connsiteX4" fmla="*/ 2591509 w 7060879"/>
              <a:gd name="connsiteY4" fmla="*/ 38494311 h 489585148"/>
              <a:gd name="connsiteX5" fmla="*/ 3208762 w 7060879"/>
              <a:gd name="connsiteY5" fmla="*/ 107298338 h 489585148"/>
              <a:gd name="connsiteX6" fmla="*/ 3832011 w 7060879"/>
              <a:gd name="connsiteY6" fmla="*/ 104616322 h 489585148"/>
              <a:gd name="connsiteX7" fmla="*/ 4502470 w 7060879"/>
              <a:gd name="connsiteY7" fmla="*/ 346966842 h 489585148"/>
              <a:gd name="connsiteX8" fmla="*/ 5150864 w 7060879"/>
              <a:gd name="connsiteY8" fmla="*/ 48956775 h 489585148"/>
              <a:gd name="connsiteX9" fmla="*/ 5773083 w 7060879"/>
              <a:gd name="connsiteY9" fmla="*/ 50491387 h 489585148"/>
              <a:gd name="connsiteX10" fmla="*/ 6436015 w 7060879"/>
              <a:gd name="connsiteY10" fmla="*/ 0 h 489585148"/>
              <a:gd name="connsiteX11" fmla="*/ 7060879 w 7060879"/>
              <a:gd name="connsiteY11" fmla="*/ 489585134 h 489585148"/>
              <a:gd name="connsiteX0" fmla="*/ 0 w 7060879"/>
              <a:gd name="connsiteY0" fmla="*/ 106369796 h 499234477"/>
              <a:gd name="connsiteX1" fmla="*/ 635013 w 7060879"/>
              <a:gd name="connsiteY1" fmla="*/ 105404652 h 499234477"/>
              <a:gd name="connsiteX2" fmla="*/ 1288441 w 7060879"/>
              <a:gd name="connsiteY2" fmla="*/ 105764936 h 499234477"/>
              <a:gd name="connsiteX3" fmla="*/ 1903904 w 7060879"/>
              <a:gd name="connsiteY3" fmla="*/ 107146782 h 499234477"/>
              <a:gd name="connsiteX4" fmla="*/ 2591509 w 7060879"/>
              <a:gd name="connsiteY4" fmla="*/ 48143640 h 499234477"/>
              <a:gd name="connsiteX5" fmla="*/ 3208762 w 7060879"/>
              <a:gd name="connsiteY5" fmla="*/ 116947667 h 499234477"/>
              <a:gd name="connsiteX6" fmla="*/ 3832011 w 7060879"/>
              <a:gd name="connsiteY6" fmla="*/ 114265651 h 499234477"/>
              <a:gd name="connsiteX7" fmla="*/ 4502470 w 7060879"/>
              <a:gd name="connsiteY7" fmla="*/ 356616171 h 499234477"/>
              <a:gd name="connsiteX8" fmla="*/ 5150864 w 7060879"/>
              <a:gd name="connsiteY8" fmla="*/ 58606104 h 499234477"/>
              <a:gd name="connsiteX9" fmla="*/ 5773083 w 7060879"/>
              <a:gd name="connsiteY9" fmla="*/ 60140716 h 499234477"/>
              <a:gd name="connsiteX10" fmla="*/ 6467168 w 7060879"/>
              <a:gd name="connsiteY10" fmla="*/ 0 h 499234477"/>
              <a:gd name="connsiteX11" fmla="*/ 7060879 w 7060879"/>
              <a:gd name="connsiteY11" fmla="*/ 499234463 h 499234477"/>
              <a:gd name="connsiteX0" fmla="*/ 0 w 7060879"/>
              <a:gd name="connsiteY0" fmla="*/ 106369796 h 499234477"/>
              <a:gd name="connsiteX1" fmla="*/ 635013 w 7060879"/>
              <a:gd name="connsiteY1" fmla="*/ 105404652 h 499234477"/>
              <a:gd name="connsiteX2" fmla="*/ 1288441 w 7060879"/>
              <a:gd name="connsiteY2" fmla="*/ 105764936 h 499234477"/>
              <a:gd name="connsiteX3" fmla="*/ 1903904 w 7060879"/>
              <a:gd name="connsiteY3" fmla="*/ 107146782 h 499234477"/>
              <a:gd name="connsiteX4" fmla="*/ 2591509 w 7060879"/>
              <a:gd name="connsiteY4" fmla="*/ 48143640 h 499234477"/>
              <a:gd name="connsiteX5" fmla="*/ 3208762 w 7060879"/>
              <a:gd name="connsiteY5" fmla="*/ 116947667 h 499234477"/>
              <a:gd name="connsiteX6" fmla="*/ 3832011 w 7060879"/>
              <a:gd name="connsiteY6" fmla="*/ 114265651 h 499234477"/>
              <a:gd name="connsiteX7" fmla="*/ 4502470 w 7060879"/>
              <a:gd name="connsiteY7" fmla="*/ 356616171 h 499234477"/>
              <a:gd name="connsiteX8" fmla="*/ 5150864 w 7060879"/>
              <a:gd name="connsiteY8" fmla="*/ 58606104 h 499234477"/>
              <a:gd name="connsiteX9" fmla="*/ 5773083 w 7060879"/>
              <a:gd name="connsiteY9" fmla="*/ 60140716 h 499234477"/>
              <a:gd name="connsiteX10" fmla="*/ 6436014 w 7060879"/>
              <a:gd name="connsiteY10" fmla="*/ 0 h 499234477"/>
              <a:gd name="connsiteX11" fmla="*/ 7060879 w 7060879"/>
              <a:gd name="connsiteY11" fmla="*/ 499234463 h 499234477"/>
              <a:gd name="connsiteX0" fmla="*/ 0 w 7029726"/>
              <a:gd name="connsiteY0" fmla="*/ 106369796 h 356616172"/>
              <a:gd name="connsiteX1" fmla="*/ 635013 w 7029726"/>
              <a:gd name="connsiteY1" fmla="*/ 105404652 h 356616172"/>
              <a:gd name="connsiteX2" fmla="*/ 1288441 w 7029726"/>
              <a:gd name="connsiteY2" fmla="*/ 105764936 h 356616172"/>
              <a:gd name="connsiteX3" fmla="*/ 1903904 w 7029726"/>
              <a:gd name="connsiteY3" fmla="*/ 107146782 h 356616172"/>
              <a:gd name="connsiteX4" fmla="*/ 2591509 w 7029726"/>
              <a:gd name="connsiteY4" fmla="*/ 48143640 h 356616172"/>
              <a:gd name="connsiteX5" fmla="*/ 3208762 w 7029726"/>
              <a:gd name="connsiteY5" fmla="*/ 116947667 h 356616172"/>
              <a:gd name="connsiteX6" fmla="*/ 3832011 w 7029726"/>
              <a:gd name="connsiteY6" fmla="*/ 114265651 h 356616172"/>
              <a:gd name="connsiteX7" fmla="*/ 4502470 w 7029726"/>
              <a:gd name="connsiteY7" fmla="*/ 356616171 h 356616172"/>
              <a:gd name="connsiteX8" fmla="*/ 5150864 w 7029726"/>
              <a:gd name="connsiteY8" fmla="*/ 58606104 h 356616172"/>
              <a:gd name="connsiteX9" fmla="*/ 5773083 w 7029726"/>
              <a:gd name="connsiteY9" fmla="*/ 60140716 h 356616172"/>
              <a:gd name="connsiteX10" fmla="*/ 6436014 w 7029726"/>
              <a:gd name="connsiteY10" fmla="*/ 0 h 356616172"/>
              <a:gd name="connsiteX11" fmla="*/ 7029726 w 7029726"/>
              <a:gd name="connsiteY11" fmla="*/ 52153505 h 356616172"/>
              <a:gd name="connsiteX0" fmla="*/ 0 w 7029726"/>
              <a:gd name="connsiteY0" fmla="*/ 106369796 h 356616172"/>
              <a:gd name="connsiteX1" fmla="*/ 635013 w 7029726"/>
              <a:gd name="connsiteY1" fmla="*/ 105404652 h 356616172"/>
              <a:gd name="connsiteX2" fmla="*/ 1288441 w 7029726"/>
              <a:gd name="connsiteY2" fmla="*/ 105764936 h 356616172"/>
              <a:gd name="connsiteX3" fmla="*/ 1903904 w 7029726"/>
              <a:gd name="connsiteY3" fmla="*/ 107146782 h 356616172"/>
              <a:gd name="connsiteX4" fmla="*/ 2591509 w 7029726"/>
              <a:gd name="connsiteY4" fmla="*/ 48143640 h 356616172"/>
              <a:gd name="connsiteX5" fmla="*/ 3208762 w 7029726"/>
              <a:gd name="connsiteY5" fmla="*/ 116947667 h 356616172"/>
              <a:gd name="connsiteX6" fmla="*/ 3832011 w 7029726"/>
              <a:gd name="connsiteY6" fmla="*/ 114265651 h 356616172"/>
              <a:gd name="connsiteX7" fmla="*/ 4502470 w 7029726"/>
              <a:gd name="connsiteY7" fmla="*/ 356616171 h 356616172"/>
              <a:gd name="connsiteX8" fmla="*/ 5150864 w 7029726"/>
              <a:gd name="connsiteY8" fmla="*/ 58606104 h 356616172"/>
              <a:gd name="connsiteX9" fmla="*/ 5773083 w 7029726"/>
              <a:gd name="connsiteY9" fmla="*/ 60140716 h 356616172"/>
              <a:gd name="connsiteX10" fmla="*/ 6436014 w 7029726"/>
              <a:gd name="connsiteY10" fmla="*/ 0 h 356616172"/>
              <a:gd name="connsiteX11" fmla="*/ 7029726 w 7029726"/>
              <a:gd name="connsiteY11" fmla="*/ 52153505 h 356616172"/>
              <a:gd name="connsiteX0" fmla="*/ 0 w 7060879"/>
              <a:gd name="connsiteY0" fmla="*/ 106369796 h 356616172"/>
              <a:gd name="connsiteX1" fmla="*/ 635013 w 7060879"/>
              <a:gd name="connsiteY1" fmla="*/ 105404652 h 356616172"/>
              <a:gd name="connsiteX2" fmla="*/ 1288441 w 7060879"/>
              <a:gd name="connsiteY2" fmla="*/ 105764936 h 356616172"/>
              <a:gd name="connsiteX3" fmla="*/ 1903904 w 7060879"/>
              <a:gd name="connsiteY3" fmla="*/ 107146782 h 356616172"/>
              <a:gd name="connsiteX4" fmla="*/ 2591509 w 7060879"/>
              <a:gd name="connsiteY4" fmla="*/ 48143640 h 356616172"/>
              <a:gd name="connsiteX5" fmla="*/ 3208762 w 7060879"/>
              <a:gd name="connsiteY5" fmla="*/ 116947667 h 356616172"/>
              <a:gd name="connsiteX6" fmla="*/ 3832011 w 7060879"/>
              <a:gd name="connsiteY6" fmla="*/ 114265651 h 356616172"/>
              <a:gd name="connsiteX7" fmla="*/ 4502470 w 7060879"/>
              <a:gd name="connsiteY7" fmla="*/ 356616171 h 356616172"/>
              <a:gd name="connsiteX8" fmla="*/ 5150864 w 7060879"/>
              <a:gd name="connsiteY8" fmla="*/ 58606104 h 356616172"/>
              <a:gd name="connsiteX9" fmla="*/ 5773083 w 7060879"/>
              <a:gd name="connsiteY9" fmla="*/ 60140716 h 356616172"/>
              <a:gd name="connsiteX10" fmla="*/ 6436014 w 7060879"/>
              <a:gd name="connsiteY10" fmla="*/ 0 h 356616172"/>
              <a:gd name="connsiteX11" fmla="*/ 7060879 w 7060879"/>
              <a:gd name="connsiteY11" fmla="*/ 52153505 h 356616172"/>
              <a:gd name="connsiteX0" fmla="*/ 0 w 7060879"/>
              <a:gd name="connsiteY0" fmla="*/ 106369796 h 356616172"/>
              <a:gd name="connsiteX1" fmla="*/ 635013 w 7060879"/>
              <a:gd name="connsiteY1" fmla="*/ 105404652 h 356616172"/>
              <a:gd name="connsiteX2" fmla="*/ 1288441 w 7060879"/>
              <a:gd name="connsiteY2" fmla="*/ 105764936 h 356616172"/>
              <a:gd name="connsiteX3" fmla="*/ 1903904 w 7060879"/>
              <a:gd name="connsiteY3" fmla="*/ 107146782 h 356616172"/>
              <a:gd name="connsiteX4" fmla="*/ 2591509 w 7060879"/>
              <a:gd name="connsiteY4" fmla="*/ 48143640 h 356616172"/>
              <a:gd name="connsiteX5" fmla="*/ 3208762 w 7060879"/>
              <a:gd name="connsiteY5" fmla="*/ 116947667 h 356616172"/>
              <a:gd name="connsiteX6" fmla="*/ 3832011 w 7060879"/>
              <a:gd name="connsiteY6" fmla="*/ 114265651 h 356616172"/>
              <a:gd name="connsiteX7" fmla="*/ 4502470 w 7060879"/>
              <a:gd name="connsiteY7" fmla="*/ 356616171 h 356616172"/>
              <a:gd name="connsiteX8" fmla="*/ 5150864 w 7060879"/>
              <a:gd name="connsiteY8" fmla="*/ 58606104 h 356616172"/>
              <a:gd name="connsiteX9" fmla="*/ 5773083 w 7060879"/>
              <a:gd name="connsiteY9" fmla="*/ 60140716 h 356616172"/>
              <a:gd name="connsiteX10" fmla="*/ 6436014 w 7060879"/>
              <a:gd name="connsiteY10" fmla="*/ 0 h 356616172"/>
              <a:gd name="connsiteX11" fmla="*/ 7060879 w 7060879"/>
              <a:gd name="connsiteY11" fmla="*/ 52153505 h 35661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60879" h="356616172">
                <a:moveTo>
                  <a:pt x="0" y="106369796"/>
                </a:moveTo>
                <a:cubicBezTo>
                  <a:pt x="512868" y="106313562"/>
                  <a:pt x="420273" y="105505462"/>
                  <a:pt x="635013" y="105404652"/>
                </a:cubicBezTo>
                <a:cubicBezTo>
                  <a:pt x="849753" y="105303842"/>
                  <a:pt x="1076959" y="105474581"/>
                  <a:pt x="1288441" y="105764936"/>
                </a:cubicBezTo>
                <a:cubicBezTo>
                  <a:pt x="1499923" y="106055291"/>
                  <a:pt x="1686726" y="116750331"/>
                  <a:pt x="1903904" y="107146782"/>
                </a:cubicBezTo>
                <a:cubicBezTo>
                  <a:pt x="2121082" y="97543233"/>
                  <a:pt x="2374033" y="46510159"/>
                  <a:pt x="2591509" y="48143640"/>
                </a:cubicBezTo>
                <a:cubicBezTo>
                  <a:pt x="2808985" y="49777121"/>
                  <a:pt x="2956718" y="119487659"/>
                  <a:pt x="3208762" y="116947667"/>
                </a:cubicBezTo>
                <a:cubicBezTo>
                  <a:pt x="3465846" y="113681815"/>
                  <a:pt x="3616393" y="74320900"/>
                  <a:pt x="3832011" y="114265651"/>
                </a:cubicBezTo>
                <a:cubicBezTo>
                  <a:pt x="4047629" y="154210402"/>
                  <a:pt x="4236766" y="356608676"/>
                  <a:pt x="4502470" y="356616171"/>
                </a:cubicBezTo>
                <a:cubicBezTo>
                  <a:pt x="4848336" y="356616200"/>
                  <a:pt x="4965056" y="57628405"/>
                  <a:pt x="5150864" y="58606104"/>
                </a:cubicBezTo>
                <a:cubicBezTo>
                  <a:pt x="5336672" y="59583803"/>
                  <a:pt x="5558891" y="69908400"/>
                  <a:pt x="5773083" y="60140716"/>
                </a:cubicBezTo>
                <a:cubicBezTo>
                  <a:pt x="5987275" y="50373032"/>
                  <a:pt x="6234664" y="-9686"/>
                  <a:pt x="6436014" y="0"/>
                </a:cubicBezTo>
                <a:cubicBezTo>
                  <a:pt x="6608582" y="6355"/>
                  <a:pt x="6808408" y="33914979"/>
                  <a:pt x="7060879" y="52153505"/>
                </a:cubicBezTo>
              </a:path>
            </a:pathLst>
          </a:custGeom>
          <a:noFill/>
          <a:ln w="136525" cap="rnd" cmpd="sng" algn="ctr">
            <a:solidFill>
              <a:srgbClr val="FFCD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154" name="Freeform 42">
            <a:extLst>
              <a:ext uri="{FF2B5EF4-FFF2-40B4-BE49-F238E27FC236}">
                <a16:creationId xmlns:a16="http://schemas.microsoft.com/office/drawing/2014/main" id="{6DF3A54B-6E24-4886-9A69-3998CD0BBC4A}"/>
              </a:ext>
            </a:extLst>
          </p:cNvPr>
          <p:cNvSpPr/>
          <p:nvPr/>
        </p:nvSpPr>
        <p:spPr bwMode="auto">
          <a:xfrm>
            <a:off x="1157346" y="3009776"/>
            <a:ext cx="9685028" cy="2321202"/>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774244 w 7136640"/>
              <a:gd name="connsiteY1" fmla="*/ 285534 h 308134"/>
              <a:gd name="connsiteX2" fmla="*/ 1317807 w 7136640"/>
              <a:gd name="connsiteY2" fmla="*/ 54363 h 308134"/>
              <a:gd name="connsiteX3" fmla="*/ 1992056 w 7136640"/>
              <a:gd name="connsiteY3" fmla="*/ 307577 h 308134"/>
              <a:gd name="connsiteX4" fmla="*/ 2642777 w 7136640"/>
              <a:gd name="connsiteY4" fmla="*/ 124402 h 308134"/>
              <a:gd name="connsiteX5" fmla="*/ 3302093 w 7136640"/>
              <a:gd name="connsiteY5" fmla="*/ 189711 h 308134"/>
              <a:gd name="connsiteX6" fmla="*/ 3964644 w 7136640"/>
              <a:gd name="connsiteY6" fmla="*/ 417 h 308134"/>
              <a:gd name="connsiteX7" fmla="*/ 4578995 w 7136640"/>
              <a:gd name="connsiteY7" fmla="*/ 255894 h 308134"/>
              <a:gd name="connsiteX8" fmla="*/ 5236906 w 7136640"/>
              <a:gd name="connsiteY8" fmla="*/ 128120 h 308134"/>
              <a:gd name="connsiteX9" fmla="*/ 5843222 w 7136640"/>
              <a:gd name="connsiteY9" fmla="*/ 271154 h 308134"/>
              <a:gd name="connsiteX10" fmla="*/ 6486411 w 7136640"/>
              <a:gd name="connsiteY10" fmla="*/ 18281 h 308134"/>
              <a:gd name="connsiteX11" fmla="*/ 7136640 w 7136640"/>
              <a:gd name="connsiteY11" fmla="*/ 141032 h 308134"/>
              <a:gd name="connsiteX0" fmla="*/ 0 w 7136640"/>
              <a:gd name="connsiteY0" fmla="*/ 50651 h 285535"/>
              <a:gd name="connsiteX1" fmla="*/ 774244 w 7136640"/>
              <a:gd name="connsiteY1" fmla="*/ 285534 h 285535"/>
              <a:gd name="connsiteX2" fmla="*/ 1317807 w 7136640"/>
              <a:gd name="connsiteY2" fmla="*/ 54363 h 285535"/>
              <a:gd name="connsiteX3" fmla="*/ 2187898 w 7136640"/>
              <a:gd name="connsiteY3" fmla="*/ 56160 h 285535"/>
              <a:gd name="connsiteX4" fmla="*/ 2642777 w 7136640"/>
              <a:gd name="connsiteY4" fmla="*/ 124402 h 285535"/>
              <a:gd name="connsiteX5" fmla="*/ 3302093 w 7136640"/>
              <a:gd name="connsiteY5" fmla="*/ 189711 h 285535"/>
              <a:gd name="connsiteX6" fmla="*/ 3964644 w 7136640"/>
              <a:gd name="connsiteY6" fmla="*/ 417 h 285535"/>
              <a:gd name="connsiteX7" fmla="*/ 4578995 w 7136640"/>
              <a:gd name="connsiteY7" fmla="*/ 255894 h 285535"/>
              <a:gd name="connsiteX8" fmla="*/ 5236906 w 7136640"/>
              <a:gd name="connsiteY8" fmla="*/ 128120 h 285535"/>
              <a:gd name="connsiteX9" fmla="*/ 5843222 w 7136640"/>
              <a:gd name="connsiteY9" fmla="*/ 271154 h 285535"/>
              <a:gd name="connsiteX10" fmla="*/ 6486411 w 7136640"/>
              <a:gd name="connsiteY10" fmla="*/ 18281 h 285535"/>
              <a:gd name="connsiteX11" fmla="*/ 7136640 w 7136640"/>
              <a:gd name="connsiteY11" fmla="*/ 141032 h 285535"/>
              <a:gd name="connsiteX0" fmla="*/ 0 w 7136640"/>
              <a:gd name="connsiteY0" fmla="*/ 50651 h 285535"/>
              <a:gd name="connsiteX1" fmla="*/ 774244 w 7136640"/>
              <a:gd name="connsiteY1" fmla="*/ 285534 h 285535"/>
              <a:gd name="connsiteX2" fmla="*/ 1317807 w 7136640"/>
              <a:gd name="connsiteY2" fmla="*/ 54363 h 285535"/>
              <a:gd name="connsiteX3" fmla="*/ 2187898 w 7136640"/>
              <a:gd name="connsiteY3" fmla="*/ 56160 h 285535"/>
              <a:gd name="connsiteX4" fmla="*/ 2685618 w 7136640"/>
              <a:gd name="connsiteY4" fmla="*/ 166611 h 285535"/>
              <a:gd name="connsiteX5" fmla="*/ 3302093 w 7136640"/>
              <a:gd name="connsiteY5" fmla="*/ 189711 h 285535"/>
              <a:gd name="connsiteX6" fmla="*/ 3964644 w 7136640"/>
              <a:gd name="connsiteY6" fmla="*/ 417 h 285535"/>
              <a:gd name="connsiteX7" fmla="*/ 4578995 w 7136640"/>
              <a:gd name="connsiteY7" fmla="*/ 255894 h 285535"/>
              <a:gd name="connsiteX8" fmla="*/ 5236906 w 7136640"/>
              <a:gd name="connsiteY8" fmla="*/ 128120 h 285535"/>
              <a:gd name="connsiteX9" fmla="*/ 5843222 w 7136640"/>
              <a:gd name="connsiteY9" fmla="*/ 271154 h 285535"/>
              <a:gd name="connsiteX10" fmla="*/ 6486411 w 7136640"/>
              <a:gd name="connsiteY10" fmla="*/ 18281 h 285535"/>
              <a:gd name="connsiteX11" fmla="*/ 7136640 w 7136640"/>
              <a:gd name="connsiteY11" fmla="*/ 141032 h 285535"/>
              <a:gd name="connsiteX0" fmla="*/ 0 w 7136640"/>
              <a:gd name="connsiteY0" fmla="*/ 50651 h 285535"/>
              <a:gd name="connsiteX1" fmla="*/ 774244 w 7136640"/>
              <a:gd name="connsiteY1" fmla="*/ 285534 h 285535"/>
              <a:gd name="connsiteX2" fmla="*/ 1317807 w 7136640"/>
              <a:gd name="connsiteY2" fmla="*/ 54363 h 285535"/>
              <a:gd name="connsiteX3" fmla="*/ 1985936 w 7136640"/>
              <a:gd name="connsiteY3" fmla="*/ 157094 h 285535"/>
              <a:gd name="connsiteX4" fmla="*/ 2685618 w 7136640"/>
              <a:gd name="connsiteY4" fmla="*/ 166611 h 285535"/>
              <a:gd name="connsiteX5" fmla="*/ 3302093 w 7136640"/>
              <a:gd name="connsiteY5" fmla="*/ 189711 h 285535"/>
              <a:gd name="connsiteX6" fmla="*/ 3964644 w 7136640"/>
              <a:gd name="connsiteY6" fmla="*/ 417 h 285535"/>
              <a:gd name="connsiteX7" fmla="*/ 4578995 w 7136640"/>
              <a:gd name="connsiteY7" fmla="*/ 255894 h 285535"/>
              <a:gd name="connsiteX8" fmla="*/ 5236906 w 7136640"/>
              <a:gd name="connsiteY8" fmla="*/ 128120 h 285535"/>
              <a:gd name="connsiteX9" fmla="*/ 5843222 w 7136640"/>
              <a:gd name="connsiteY9" fmla="*/ 271154 h 285535"/>
              <a:gd name="connsiteX10" fmla="*/ 6486411 w 7136640"/>
              <a:gd name="connsiteY10" fmla="*/ 18281 h 285535"/>
              <a:gd name="connsiteX11" fmla="*/ 7136640 w 7136640"/>
              <a:gd name="connsiteY11" fmla="*/ 141032 h 285535"/>
              <a:gd name="connsiteX0" fmla="*/ 0 w 7178503"/>
              <a:gd name="connsiteY0" fmla="*/ 20460092 h 20460092"/>
              <a:gd name="connsiteX1" fmla="*/ 816107 w 7178503"/>
              <a:gd name="connsiteY1" fmla="*/ 1480429 h 20460092"/>
              <a:gd name="connsiteX2" fmla="*/ 1359670 w 7178503"/>
              <a:gd name="connsiteY2" fmla="*/ 1249258 h 20460092"/>
              <a:gd name="connsiteX3" fmla="*/ 2027799 w 7178503"/>
              <a:gd name="connsiteY3" fmla="*/ 1351989 h 20460092"/>
              <a:gd name="connsiteX4" fmla="*/ 2727481 w 7178503"/>
              <a:gd name="connsiteY4" fmla="*/ 1361506 h 20460092"/>
              <a:gd name="connsiteX5" fmla="*/ 3343956 w 7178503"/>
              <a:gd name="connsiteY5" fmla="*/ 1384606 h 20460092"/>
              <a:gd name="connsiteX6" fmla="*/ 4006507 w 7178503"/>
              <a:gd name="connsiteY6" fmla="*/ 1195312 h 20460092"/>
              <a:gd name="connsiteX7" fmla="*/ 4620858 w 7178503"/>
              <a:gd name="connsiteY7" fmla="*/ 1450789 h 20460092"/>
              <a:gd name="connsiteX8" fmla="*/ 5278769 w 7178503"/>
              <a:gd name="connsiteY8" fmla="*/ 1323015 h 20460092"/>
              <a:gd name="connsiteX9" fmla="*/ 5885085 w 7178503"/>
              <a:gd name="connsiteY9" fmla="*/ 1466049 h 20460092"/>
              <a:gd name="connsiteX10" fmla="*/ 6528274 w 7178503"/>
              <a:gd name="connsiteY10" fmla="*/ 1213176 h 20460092"/>
              <a:gd name="connsiteX11" fmla="*/ 7178503 w 7178503"/>
              <a:gd name="connsiteY11" fmla="*/ 1335927 h 20460092"/>
              <a:gd name="connsiteX0" fmla="*/ 0 w 7178503"/>
              <a:gd name="connsiteY0" fmla="*/ 19696781 h 19696781"/>
              <a:gd name="connsiteX1" fmla="*/ 1039375 w 7178503"/>
              <a:gd name="connsiteY1" fmla="*/ 7439236 h 19696781"/>
              <a:gd name="connsiteX2" fmla="*/ 1359670 w 7178503"/>
              <a:gd name="connsiteY2" fmla="*/ 485947 h 19696781"/>
              <a:gd name="connsiteX3" fmla="*/ 2027799 w 7178503"/>
              <a:gd name="connsiteY3" fmla="*/ 588678 h 19696781"/>
              <a:gd name="connsiteX4" fmla="*/ 2727481 w 7178503"/>
              <a:gd name="connsiteY4" fmla="*/ 598195 h 19696781"/>
              <a:gd name="connsiteX5" fmla="*/ 3343956 w 7178503"/>
              <a:gd name="connsiteY5" fmla="*/ 621295 h 19696781"/>
              <a:gd name="connsiteX6" fmla="*/ 4006507 w 7178503"/>
              <a:gd name="connsiteY6" fmla="*/ 432001 h 19696781"/>
              <a:gd name="connsiteX7" fmla="*/ 4620858 w 7178503"/>
              <a:gd name="connsiteY7" fmla="*/ 687478 h 19696781"/>
              <a:gd name="connsiteX8" fmla="*/ 5278769 w 7178503"/>
              <a:gd name="connsiteY8" fmla="*/ 559704 h 19696781"/>
              <a:gd name="connsiteX9" fmla="*/ 5885085 w 7178503"/>
              <a:gd name="connsiteY9" fmla="*/ 702738 h 19696781"/>
              <a:gd name="connsiteX10" fmla="*/ 6528274 w 7178503"/>
              <a:gd name="connsiteY10" fmla="*/ 449865 h 19696781"/>
              <a:gd name="connsiteX11" fmla="*/ 7178503 w 7178503"/>
              <a:gd name="connsiteY11" fmla="*/ 572616 h 19696781"/>
              <a:gd name="connsiteX0" fmla="*/ 0 w 7178503"/>
              <a:gd name="connsiteY0" fmla="*/ 19696781 h 19696781"/>
              <a:gd name="connsiteX1" fmla="*/ 1039375 w 7178503"/>
              <a:gd name="connsiteY1" fmla="*/ 7439236 h 19696781"/>
              <a:gd name="connsiteX2" fmla="*/ 1359670 w 7178503"/>
              <a:gd name="connsiteY2" fmla="*/ 485947 h 19696781"/>
              <a:gd name="connsiteX3" fmla="*/ 2027799 w 7178503"/>
              <a:gd name="connsiteY3" fmla="*/ 588678 h 19696781"/>
              <a:gd name="connsiteX4" fmla="*/ 2727481 w 7178503"/>
              <a:gd name="connsiteY4" fmla="*/ 598195 h 19696781"/>
              <a:gd name="connsiteX5" fmla="*/ 3343956 w 7178503"/>
              <a:gd name="connsiteY5" fmla="*/ 621295 h 19696781"/>
              <a:gd name="connsiteX6" fmla="*/ 4006507 w 7178503"/>
              <a:gd name="connsiteY6" fmla="*/ 432001 h 19696781"/>
              <a:gd name="connsiteX7" fmla="*/ 4620858 w 7178503"/>
              <a:gd name="connsiteY7" fmla="*/ 687478 h 19696781"/>
              <a:gd name="connsiteX8" fmla="*/ 5278769 w 7178503"/>
              <a:gd name="connsiteY8" fmla="*/ 559704 h 19696781"/>
              <a:gd name="connsiteX9" fmla="*/ 5885085 w 7178503"/>
              <a:gd name="connsiteY9" fmla="*/ 702738 h 19696781"/>
              <a:gd name="connsiteX10" fmla="*/ 6528274 w 7178503"/>
              <a:gd name="connsiteY10" fmla="*/ 449865 h 19696781"/>
              <a:gd name="connsiteX11" fmla="*/ 7178503 w 7178503"/>
              <a:gd name="connsiteY11" fmla="*/ 572616 h 19696781"/>
              <a:gd name="connsiteX0" fmla="*/ 0 w 7178503"/>
              <a:gd name="connsiteY0" fmla="*/ 20282334 h 20282334"/>
              <a:gd name="connsiteX1" fmla="*/ 669588 w 7178503"/>
              <a:gd name="connsiteY1" fmla="*/ 15936661 h 20282334"/>
              <a:gd name="connsiteX2" fmla="*/ 1359670 w 7178503"/>
              <a:gd name="connsiteY2" fmla="*/ 1071500 h 20282334"/>
              <a:gd name="connsiteX3" fmla="*/ 2027799 w 7178503"/>
              <a:gd name="connsiteY3" fmla="*/ 1174231 h 20282334"/>
              <a:gd name="connsiteX4" fmla="*/ 2727481 w 7178503"/>
              <a:gd name="connsiteY4" fmla="*/ 1183748 h 20282334"/>
              <a:gd name="connsiteX5" fmla="*/ 3343956 w 7178503"/>
              <a:gd name="connsiteY5" fmla="*/ 1206848 h 20282334"/>
              <a:gd name="connsiteX6" fmla="*/ 4006507 w 7178503"/>
              <a:gd name="connsiteY6" fmla="*/ 1017554 h 20282334"/>
              <a:gd name="connsiteX7" fmla="*/ 4620858 w 7178503"/>
              <a:gd name="connsiteY7" fmla="*/ 1273031 h 20282334"/>
              <a:gd name="connsiteX8" fmla="*/ 5278769 w 7178503"/>
              <a:gd name="connsiteY8" fmla="*/ 1145257 h 20282334"/>
              <a:gd name="connsiteX9" fmla="*/ 5885085 w 7178503"/>
              <a:gd name="connsiteY9" fmla="*/ 1288291 h 20282334"/>
              <a:gd name="connsiteX10" fmla="*/ 6528274 w 7178503"/>
              <a:gd name="connsiteY10" fmla="*/ 1035418 h 20282334"/>
              <a:gd name="connsiteX11" fmla="*/ 7178503 w 7178503"/>
              <a:gd name="connsiteY11" fmla="*/ 1158169 h 20282334"/>
              <a:gd name="connsiteX0" fmla="*/ 0 w 7178503"/>
              <a:gd name="connsiteY0" fmla="*/ 20326383 h 20326383"/>
              <a:gd name="connsiteX1" fmla="*/ 697496 w 7178503"/>
              <a:gd name="connsiteY1" fmla="*/ 16575588 h 20326383"/>
              <a:gd name="connsiteX2" fmla="*/ 1359670 w 7178503"/>
              <a:gd name="connsiteY2" fmla="*/ 1115549 h 20326383"/>
              <a:gd name="connsiteX3" fmla="*/ 2027799 w 7178503"/>
              <a:gd name="connsiteY3" fmla="*/ 1218280 h 20326383"/>
              <a:gd name="connsiteX4" fmla="*/ 2727481 w 7178503"/>
              <a:gd name="connsiteY4" fmla="*/ 1227797 h 20326383"/>
              <a:gd name="connsiteX5" fmla="*/ 3343956 w 7178503"/>
              <a:gd name="connsiteY5" fmla="*/ 1250897 h 20326383"/>
              <a:gd name="connsiteX6" fmla="*/ 4006507 w 7178503"/>
              <a:gd name="connsiteY6" fmla="*/ 1061603 h 20326383"/>
              <a:gd name="connsiteX7" fmla="*/ 4620858 w 7178503"/>
              <a:gd name="connsiteY7" fmla="*/ 1317080 h 20326383"/>
              <a:gd name="connsiteX8" fmla="*/ 5278769 w 7178503"/>
              <a:gd name="connsiteY8" fmla="*/ 1189306 h 20326383"/>
              <a:gd name="connsiteX9" fmla="*/ 5885085 w 7178503"/>
              <a:gd name="connsiteY9" fmla="*/ 1332340 h 20326383"/>
              <a:gd name="connsiteX10" fmla="*/ 6528274 w 7178503"/>
              <a:gd name="connsiteY10" fmla="*/ 1079467 h 20326383"/>
              <a:gd name="connsiteX11" fmla="*/ 7178503 w 7178503"/>
              <a:gd name="connsiteY11" fmla="*/ 1202218 h 20326383"/>
              <a:gd name="connsiteX0" fmla="*/ 0 w 7178503"/>
              <a:gd name="connsiteY0" fmla="*/ 20098806 h 20098806"/>
              <a:gd name="connsiteX1" fmla="*/ 697496 w 7178503"/>
              <a:gd name="connsiteY1" fmla="*/ 16348011 h 20098806"/>
              <a:gd name="connsiteX2" fmla="*/ 1359670 w 7178503"/>
              <a:gd name="connsiteY2" fmla="*/ 14391691 h 20098806"/>
              <a:gd name="connsiteX3" fmla="*/ 2027799 w 7178503"/>
              <a:gd name="connsiteY3" fmla="*/ 990703 h 20098806"/>
              <a:gd name="connsiteX4" fmla="*/ 2727481 w 7178503"/>
              <a:gd name="connsiteY4" fmla="*/ 1000220 h 20098806"/>
              <a:gd name="connsiteX5" fmla="*/ 3343956 w 7178503"/>
              <a:gd name="connsiteY5" fmla="*/ 1023320 h 20098806"/>
              <a:gd name="connsiteX6" fmla="*/ 4006507 w 7178503"/>
              <a:gd name="connsiteY6" fmla="*/ 834026 h 20098806"/>
              <a:gd name="connsiteX7" fmla="*/ 4620858 w 7178503"/>
              <a:gd name="connsiteY7" fmla="*/ 1089503 h 20098806"/>
              <a:gd name="connsiteX8" fmla="*/ 5278769 w 7178503"/>
              <a:gd name="connsiteY8" fmla="*/ 961729 h 20098806"/>
              <a:gd name="connsiteX9" fmla="*/ 5885085 w 7178503"/>
              <a:gd name="connsiteY9" fmla="*/ 1104763 h 20098806"/>
              <a:gd name="connsiteX10" fmla="*/ 6528274 w 7178503"/>
              <a:gd name="connsiteY10" fmla="*/ 851890 h 20098806"/>
              <a:gd name="connsiteX11" fmla="*/ 7178503 w 7178503"/>
              <a:gd name="connsiteY11" fmla="*/ 974641 h 20098806"/>
              <a:gd name="connsiteX0" fmla="*/ 0 w 7178503"/>
              <a:gd name="connsiteY0" fmla="*/ 20098806 h 20098806"/>
              <a:gd name="connsiteX1" fmla="*/ 697496 w 7178503"/>
              <a:gd name="connsiteY1" fmla="*/ 16348011 h 20098806"/>
              <a:gd name="connsiteX2" fmla="*/ 1359670 w 7178503"/>
              <a:gd name="connsiteY2" fmla="*/ 14391691 h 20098806"/>
              <a:gd name="connsiteX3" fmla="*/ 2027799 w 7178503"/>
              <a:gd name="connsiteY3" fmla="*/ 990703 h 20098806"/>
              <a:gd name="connsiteX4" fmla="*/ 2727481 w 7178503"/>
              <a:gd name="connsiteY4" fmla="*/ 1000220 h 20098806"/>
              <a:gd name="connsiteX5" fmla="*/ 3343956 w 7178503"/>
              <a:gd name="connsiteY5" fmla="*/ 1023320 h 20098806"/>
              <a:gd name="connsiteX6" fmla="*/ 4006507 w 7178503"/>
              <a:gd name="connsiteY6" fmla="*/ 834026 h 20098806"/>
              <a:gd name="connsiteX7" fmla="*/ 4620858 w 7178503"/>
              <a:gd name="connsiteY7" fmla="*/ 1089503 h 20098806"/>
              <a:gd name="connsiteX8" fmla="*/ 5278769 w 7178503"/>
              <a:gd name="connsiteY8" fmla="*/ 961729 h 20098806"/>
              <a:gd name="connsiteX9" fmla="*/ 5885085 w 7178503"/>
              <a:gd name="connsiteY9" fmla="*/ 1104763 h 20098806"/>
              <a:gd name="connsiteX10" fmla="*/ 6528274 w 7178503"/>
              <a:gd name="connsiteY10" fmla="*/ 851890 h 20098806"/>
              <a:gd name="connsiteX11" fmla="*/ 7178503 w 7178503"/>
              <a:gd name="connsiteY11" fmla="*/ 974641 h 20098806"/>
              <a:gd name="connsiteX0" fmla="*/ 0 w 7178503"/>
              <a:gd name="connsiteY0" fmla="*/ 20098806 h 20098806"/>
              <a:gd name="connsiteX1" fmla="*/ 697496 w 7178503"/>
              <a:gd name="connsiteY1" fmla="*/ 16348011 h 20098806"/>
              <a:gd name="connsiteX2" fmla="*/ 1429441 w 7178503"/>
              <a:gd name="connsiteY2" fmla="*/ 14391691 h 20098806"/>
              <a:gd name="connsiteX3" fmla="*/ 2027799 w 7178503"/>
              <a:gd name="connsiteY3" fmla="*/ 990703 h 20098806"/>
              <a:gd name="connsiteX4" fmla="*/ 2727481 w 7178503"/>
              <a:gd name="connsiteY4" fmla="*/ 1000220 h 20098806"/>
              <a:gd name="connsiteX5" fmla="*/ 3343956 w 7178503"/>
              <a:gd name="connsiteY5" fmla="*/ 1023320 h 20098806"/>
              <a:gd name="connsiteX6" fmla="*/ 4006507 w 7178503"/>
              <a:gd name="connsiteY6" fmla="*/ 834026 h 20098806"/>
              <a:gd name="connsiteX7" fmla="*/ 4620858 w 7178503"/>
              <a:gd name="connsiteY7" fmla="*/ 1089503 h 20098806"/>
              <a:gd name="connsiteX8" fmla="*/ 5278769 w 7178503"/>
              <a:gd name="connsiteY8" fmla="*/ 961729 h 20098806"/>
              <a:gd name="connsiteX9" fmla="*/ 5885085 w 7178503"/>
              <a:gd name="connsiteY9" fmla="*/ 1104763 h 20098806"/>
              <a:gd name="connsiteX10" fmla="*/ 6528274 w 7178503"/>
              <a:gd name="connsiteY10" fmla="*/ 851890 h 20098806"/>
              <a:gd name="connsiteX11" fmla="*/ 7178503 w 7178503"/>
              <a:gd name="connsiteY11" fmla="*/ 974641 h 20098806"/>
              <a:gd name="connsiteX0" fmla="*/ 0 w 7178503"/>
              <a:gd name="connsiteY0" fmla="*/ 20235406 h 20235406"/>
              <a:gd name="connsiteX1" fmla="*/ 697496 w 7178503"/>
              <a:gd name="connsiteY1" fmla="*/ 16484611 h 20235406"/>
              <a:gd name="connsiteX2" fmla="*/ 1422464 w 7178503"/>
              <a:gd name="connsiteY2" fmla="*/ 16372411 h 20235406"/>
              <a:gd name="connsiteX3" fmla="*/ 2027799 w 7178503"/>
              <a:gd name="connsiteY3" fmla="*/ 1127303 h 20235406"/>
              <a:gd name="connsiteX4" fmla="*/ 2727481 w 7178503"/>
              <a:gd name="connsiteY4" fmla="*/ 1136820 h 20235406"/>
              <a:gd name="connsiteX5" fmla="*/ 3343956 w 7178503"/>
              <a:gd name="connsiteY5" fmla="*/ 1159920 h 20235406"/>
              <a:gd name="connsiteX6" fmla="*/ 4006507 w 7178503"/>
              <a:gd name="connsiteY6" fmla="*/ 970626 h 20235406"/>
              <a:gd name="connsiteX7" fmla="*/ 4620858 w 7178503"/>
              <a:gd name="connsiteY7" fmla="*/ 1226103 h 20235406"/>
              <a:gd name="connsiteX8" fmla="*/ 5278769 w 7178503"/>
              <a:gd name="connsiteY8" fmla="*/ 1098329 h 20235406"/>
              <a:gd name="connsiteX9" fmla="*/ 5885085 w 7178503"/>
              <a:gd name="connsiteY9" fmla="*/ 1241363 h 20235406"/>
              <a:gd name="connsiteX10" fmla="*/ 6528274 w 7178503"/>
              <a:gd name="connsiteY10" fmla="*/ 988490 h 20235406"/>
              <a:gd name="connsiteX11" fmla="*/ 7178503 w 7178503"/>
              <a:gd name="connsiteY11" fmla="*/ 1111241 h 20235406"/>
              <a:gd name="connsiteX0" fmla="*/ 0 w 7178503"/>
              <a:gd name="connsiteY0" fmla="*/ 20235406 h 20235406"/>
              <a:gd name="connsiteX1" fmla="*/ 697496 w 7178503"/>
              <a:gd name="connsiteY1" fmla="*/ 16484611 h 20235406"/>
              <a:gd name="connsiteX2" fmla="*/ 1422464 w 7178503"/>
              <a:gd name="connsiteY2" fmla="*/ 16372411 h 20235406"/>
              <a:gd name="connsiteX3" fmla="*/ 2027799 w 7178503"/>
              <a:gd name="connsiteY3" fmla="*/ 1127303 h 20235406"/>
              <a:gd name="connsiteX4" fmla="*/ 2727481 w 7178503"/>
              <a:gd name="connsiteY4" fmla="*/ 1136820 h 20235406"/>
              <a:gd name="connsiteX5" fmla="*/ 3343956 w 7178503"/>
              <a:gd name="connsiteY5" fmla="*/ 1159920 h 20235406"/>
              <a:gd name="connsiteX6" fmla="*/ 4006507 w 7178503"/>
              <a:gd name="connsiteY6" fmla="*/ 970626 h 20235406"/>
              <a:gd name="connsiteX7" fmla="*/ 4620858 w 7178503"/>
              <a:gd name="connsiteY7" fmla="*/ 1226103 h 20235406"/>
              <a:gd name="connsiteX8" fmla="*/ 5278769 w 7178503"/>
              <a:gd name="connsiteY8" fmla="*/ 1098329 h 20235406"/>
              <a:gd name="connsiteX9" fmla="*/ 5885085 w 7178503"/>
              <a:gd name="connsiteY9" fmla="*/ 1241363 h 20235406"/>
              <a:gd name="connsiteX10" fmla="*/ 6528274 w 7178503"/>
              <a:gd name="connsiteY10" fmla="*/ 988490 h 20235406"/>
              <a:gd name="connsiteX11" fmla="*/ 7178503 w 7178503"/>
              <a:gd name="connsiteY11" fmla="*/ 1111241 h 20235406"/>
              <a:gd name="connsiteX0" fmla="*/ 0 w 7178503"/>
              <a:gd name="connsiteY0" fmla="*/ 19613024 h 19613024"/>
              <a:gd name="connsiteX1" fmla="*/ 697496 w 7178503"/>
              <a:gd name="connsiteY1" fmla="*/ 15862229 h 19613024"/>
              <a:gd name="connsiteX2" fmla="*/ 1422464 w 7178503"/>
              <a:gd name="connsiteY2" fmla="*/ 15750029 h 19613024"/>
              <a:gd name="connsiteX3" fmla="*/ 2181296 w 7178503"/>
              <a:gd name="connsiteY3" fmla="*/ 7583962 h 19613024"/>
              <a:gd name="connsiteX4" fmla="*/ 2727481 w 7178503"/>
              <a:gd name="connsiteY4" fmla="*/ 514438 h 19613024"/>
              <a:gd name="connsiteX5" fmla="*/ 3343956 w 7178503"/>
              <a:gd name="connsiteY5" fmla="*/ 537538 h 19613024"/>
              <a:gd name="connsiteX6" fmla="*/ 4006507 w 7178503"/>
              <a:gd name="connsiteY6" fmla="*/ 348244 h 19613024"/>
              <a:gd name="connsiteX7" fmla="*/ 4620858 w 7178503"/>
              <a:gd name="connsiteY7" fmla="*/ 603721 h 19613024"/>
              <a:gd name="connsiteX8" fmla="*/ 5278769 w 7178503"/>
              <a:gd name="connsiteY8" fmla="*/ 475947 h 19613024"/>
              <a:gd name="connsiteX9" fmla="*/ 5885085 w 7178503"/>
              <a:gd name="connsiteY9" fmla="*/ 618981 h 19613024"/>
              <a:gd name="connsiteX10" fmla="*/ 6528274 w 7178503"/>
              <a:gd name="connsiteY10" fmla="*/ 366108 h 19613024"/>
              <a:gd name="connsiteX11" fmla="*/ 7178503 w 7178503"/>
              <a:gd name="connsiteY11" fmla="*/ 488859 h 19613024"/>
              <a:gd name="connsiteX0" fmla="*/ 0 w 7178503"/>
              <a:gd name="connsiteY0" fmla="*/ 19613024 h 19613024"/>
              <a:gd name="connsiteX1" fmla="*/ 697496 w 7178503"/>
              <a:gd name="connsiteY1" fmla="*/ 15862229 h 19613024"/>
              <a:gd name="connsiteX2" fmla="*/ 1422464 w 7178503"/>
              <a:gd name="connsiteY2" fmla="*/ 15750029 h 19613024"/>
              <a:gd name="connsiteX3" fmla="*/ 2181296 w 7178503"/>
              <a:gd name="connsiteY3" fmla="*/ 7583962 h 19613024"/>
              <a:gd name="connsiteX4" fmla="*/ 2727481 w 7178503"/>
              <a:gd name="connsiteY4" fmla="*/ 514438 h 19613024"/>
              <a:gd name="connsiteX5" fmla="*/ 3343956 w 7178503"/>
              <a:gd name="connsiteY5" fmla="*/ 537538 h 19613024"/>
              <a:gd name="connsiteX6" fmla="*/ 4006507 w 7178503"/>
              <a:gd name="connsiteY6" fmla="*/ 348244 h 19613024"/>
              <a:gd name="connsiteX7" fmla="*/ 4620858 w 7178503"/>
              <a:gd name="connsiteY7" fmla="*/ 603721 h 19613024"/>
              <a:gd name="connsiteX8" fmla="*/ 5278769 w 7178503"/>
              <a:gd name="connsiteY8" fmla="*/ 475947 h 19613024"/>
              <a:gd name="connsiteX9" fmla="*/ 5885085 w 7178503"/>
              <a:gd name="connsiteY9" fmla="*/ 618981 h 19613024"/>
              <a:gd name="connsiteX10" fmla="*/ 6528274 w 7178503"/>
              <a:gd name="connsiteY10" fmla="*/ 366108 h 19613024"/>
              <a:gd name="connsiteX11" fmla="*/ 7178503 w 7178503"/>
              <a:gd name="connsiteY11" fmla="*/ 488859 h 19613024"/>
              <a:gd name="connsiteX0" fmla="*/ 0 w 7178503"/>
              <a:gd name="connsiteY0" fmla="*/ 19899408 h 19899408"/>
              <a:gd name="connsiteX1" fmla="*/ 697496 w 7178503"/>
              <a:gd name="connsiteY1" fmla="*/ 16148613 h 19899408"/>
              <a:gd name="connsiteX2" fmla="*/ 1422464 w 7178503"/>
              <a:gd name="connsiteY2" fmla="*/ 16036413 h 19899408"/>
              <a:gd name="connsiteX3" fmla="*/ 2167342 w 7178503"/>
              <a:gd name="connsiteY3" fmla="*/ 11737050 h 19899408"/>
              <a:gd name="connsiteX4" fmla="*/ 2727481 w 7178503"/>
              <a:gd name="connsiteY4" fmla="*/ 800822 h 19899408"/>
              <a:gd name="connsiteX5" fmla="*/ 3343956 w 7178503"/>
              <a:gd name="connsiteY5" fmla="*/ 823922 h 19899408"/>
              <a:gd name="connsiteX6" fmla="*/ 4006507 w 7178503"/>
              <a:gd name="connsiteY6" fmla="*/ 634628 h 19899408"/>
              <a:gd name="connsiteX7" fmla="*/ 4620858 w 7178503"/>
              <a:gd name="connsiteY7" fmla="*/ 890105 h 19899408"/>
              <a:gd name="connsiteX8" fmla="*/ 5278769 w 7178503"/>
              <a:gd name="connsiteY8" fmla="*/ 762331 h 19899408"/>
              <a:gd name="connsiteX9" fmla="*/ 5885085 w 7178503"/>
              <a:gd name="connsiteY9" fmla="*/ 905365 h 19899408"/>
              <a:gd name="connsiteX10" fmla="*/ 6528274 w 7178503"/>
              <a:gd name="connsiteY10" fmla="*/ 652492 h 19899408"/>
              <a:gd name="connsiteX11" fmla="*/ 7178503 w 7178503"/>
              <a:gd name="connsiteY11" fmla="*/ 775243 h 19899408"/>
              <a:gd name="connsiteX0" fmla="*/ 0 w 7178503"/>
              <a:gd name="connsiteY0" fmla="*/ 20013968 h 20013968"/>
              <a:gd name="connsiteX1" fmla="*/ 697496 w 7178503"/>
              <a:gd name="connsiteY1" fmla="*/ 16263173 h 20013968"/>
              <a:gd name="connsiteX2" fmla="*/ 1422464 w 7178503"/>
              <a:gd name="connsiteY2" fmla="*/ 16150973 h 20013968"/>
              <a:gd name="connsiteX3" fmla="*/ 2013846 w 7178503"/>
              <a:gd name="connsiteY3" fmla="*/ 13398292 h 20013968"/>
              <a:gd name="connsiteX4" fmla="*/ 2727481 w 7178503"/>
              <a:gd name="connsiteY4" fmla="*/ 915382 h 20013968"/>
              <a:gd name="connsiteX5" fmla="*/ 3343956 w 7178503"/>
              <a:gd name="connsiteY5" fmla="*/ 938482 h 20013968"/>
              <a:gd name="connsiteX6" fmla="*/ 4006507 w 7178503"/>
              <a:gd name="connsiteY6" fmla="*/ 749188 h 20013968"/>
              <a:gd name="connsiteX7" fmla="*/ 4620858 w 7178503"/>
              <a:gd name="connsiteY7" fmla="*/ 1004665 h 20013968"/>
              <a:gd name="connsiteX8" fmla="*/ 5278769 w 7178503"/>
              <a:gd name="connsiteY8" fmla="*/ 876891 h 20013968"/>
              <a:gd name="connsiteX9" fmla="*/ 5885085 w 7178503"/>
              <a:gd name="connsiteY9" fmla="*/ 1019925 h 20013968"/>
              <a:gd name="connsiteX10" fmla="*/ 6528274 w 7178503"/>
              <a:gd name="connsiteY10" fmla="*/ 767052 h 20013968"/>
              <a:gd name="connsiteX11" fmla="*/ 7178503 w 7178503"/>
              <a:gd name="connsiteY11" fmla="*/ 889803 h 20013968"/>
              <a:gd name="connsiteX0" fmla="*/ 0 w 7178503"/>
              <a:gd name="connsiteY0" fmla="*/ 20124125 h 20124125"/>
              <a:gd name="connsiteX1" fmla="*/ 697496 w 7178503"/>
              <a:gd name="connsiteY1" fmla="*/ 16373330 h 20124125"/>
              <a:gd name="connsiteX2" fmla="*/ 1422464 w 7178503"/>
              <a:gd name="connsiteY2" fmla="*/ 16261130 h 20124125"/>
              <a:gd name="connsiteX3" fmla="*/ 1978961 w 7178503"/>
              <a:gd name="connsiteY3" fmla="*/ 14995643 h 20124125"/>
              <a:gd name="connsiteX4" fmla="*/ 2727481 w 7178503"/>
              <a:gd name="connsiteY4" fmla="*/ 1025539 h 20124125"/>
              <a:gd name="connsiteX5" fmla="*/ 3343956 w 7178503"/>
              <a:gd name="connsiteY5" fmla="*/ 1048639 h 20124125"/>
              <a:gd name="connsiteX6" fmla="*/ 4006507 w 7178503"/>
              <a:gd name="connsiteY6" fmla="*/ 859345 h 20124125"/>
              <a:gd name="connsiteX7" fmla="*/ 4620858 w 7178503"/>
              <a:gd name="connsiteY7" fmla="*/ 1114822 h 20124125"/>
              <a:gd name="connsiteX8" fmla="*/ 5278769 w 7178503"/>
              <a:gd name="connsiteY8" fmla="*/ 987048 h 20124125"/>
              <a:gd name="connsiteX9" fmla="*/ 5885085 w 7178503"/>
              <a:gd name="connsiteY9" fmla="*/ 1130082 h 20124125"/>
              <a:gd name="connsiteX10" fmla="*/ 6528274 w 7178503"/>
              <a:gd name="connsiteY10" fmla="*/ 877209 h 20124125"/>
              <a:gd name="connsiteX11" fmla="*/ 7178503 w 7178503"/>
              <a:gd name="connsiteY11" fmla="*/ 999960 h 20124125"/>
              <a:gd name="connsiteX0" fmla="*/ 0 w 7178503"/>
              <a:gd name="connsiteY0" fmla="*/ 20124125 h 20124125"/>
              <a:gd name="connsiteX1" fmla="*/ 697496 w 7178503"/>
              <a:gd name="connsiteY1" fmla="*/ 16373330 h 20124125"/>
              <a:gd name="connsiteX2" fmla="*/ 1422464 w 7178503"/>
              <a:gd name="connsiteY2" fmla="*/ 16261130 h 20124125"/>
              <a:gd name="connsiteX3" fmla="*/ 1978961 w 7178503"/>
              <a:gd name="connsiteY3" fmla="*/ 14995643 h 20124125"/>
              <a:gd name="connsiteX4" fmla="*/ 2727481 w 7178503"/>
              <a:gd name="connsiteY4" fmla="*/ 1025539 h 20124125"/>
              <a:gd name="connsiteX5" fmla="*/ 3343956 w 7178503"/>
              <a:gd name="connsiteY5" fmla="*/ 1048639 h 20124125"/>
              <a:gd name="connsiteX6" fmla="*/ 4006507 w 7178503"/>
              <a:gd name="connsiteY6" fmla="*/ 859345 h 20124125"/>
              <a:gd name="connsiteX7" fmla="*/ 4620858 w 7178503"/>
              <a:gd name="connsiteY7" fmla="*/ 1114822 h 20124125"/>
              <a:gd name="connsiteX8" fmla="*/ 5278769 w 7178503"/>
              <a:gd name="connsiteY8" fmla="*/ 987048 h 20124125"/>
              <a:gd name="connsiteX9" fmla="*/ 5885085 w 7178503"/>
              <a:gd name="connsiteY9" fmla="*/ 1130082 h 20124125"/>
              <a:gd name="connsiteX10" fmla="*/ 6528274 w 7178503"/>
              <a:gd name="connsiteY10" fmla="*/ 877209 h 20124125"/>
              <a:gd name="connsiteX11" fmla="*/ 7178503 w 7178503"/>
              <a:gd name="connsiteY11" fmla="*/ 999960 h 20124125"/>
              <a:gd name="connsiteX0" fmla="*/ 0 w 7178503"/>
              <a:gd name="connsiteY0" fmla="*/ 20119716 h 20119716"/>
              <a:gd name="connsiteX1" fmla="*/ 697496 w 7178503"/>
              <a:gd name="connsiteY1" fmla="*/ 16368921 h 20119716"/>
              <a:gd name="connsiteX2" fmla="*/ 1422464 w 7178503"/>
              <a:gd name="connsiteY2" fmla="*/ 16256721 h 20119716"/>
              <a:gd name="connsiteX3" fmla="*/ 2027801 w 7178503"/>
              <a:gd name="connsiteY3" fmla="*/ 14931746 h 20119716"/>
              <a:gd name="connsiteX4" fmla="*/ 2727481 w 7178503"/>
              <a:gd name="connsiteY4" fmla="*/ 1021130 h 20119716"/>
              <a:gd name="connsiteX5" fmla="*/ 3343956 w 7178503"/>
              <a:gd name="connsiteY5" fmla="*/ 1044230 h 20119716"/>
              <a:gd name="connsiteX6" fmla="*/ 4006507 w 7178503"/>
              <a:gd name="connsiteY6" fmla="*/ 854936 h 20119716"/>
              <a:gd name="connsiteX7" fmla="*/ 4620858 w 7178503"/>
              <a:gd name="connsiteY7" fmla="*/ 1110413 h 20119716"/>
              <a:gd name="connsiteX8" fmla="*/ 5278769 w 7178503"/>
              <a:gd name="connsiteY8" fmla="*/ 982639 h 20119716"/>
              <a:gd name="connsiteX9" fmla="*/ 5885085 w 7178503"/>
              <a:gd name="connsiteY9" fmla="*/ 1125673 h 20119716"/>
              <a:gd name="connsiteX10" fmla="*/ 6528274 w 7178503"/>
              <a:gd name="connsiteY10" fmla="*/ 872800 h 20119716"/>
              <a:gd name="connsiteX11" fmla="*/ 7178503 w 7178503"/>
              <a:gd name="connsiteY11" fmla="*/ 995551 h 20119716"/>
              <a:gd name="connsiteX0" fmla="*/ 0 w 7178503"/>
              <a:gd name="connsiteY0" fmla="*/ 20516289 h 20828248"/>
              <a:gd name="connsiteX1" fmla="*/ 697496 w 7178503"/>
              <a:gd name="connsiteY1" fmla="*/ 16765494 h 20828248"/>
              <a:gd name="connsiteX2" fmla="*/ 1422464 w 7178503"/>
              <a:gd name="connsiteY2" fmla="*/ 16653294 h 20828248"/>
              <a:gd name="connsiteX3" fmla="*/ 2013847 w 7178503"/>
              <a:gd name="connsiteY3" fmla="*/ 20682218 h 20828248"/>
              <a:gd name="connsiteX4" fmla="*/ 2727481 w 7178503"/>
              <a:gd name="connsiteY4" fmla="*/ 1417703 h 20828248"/>
              <a:gd name="connsiteX5" fmla="*/ 3343956 w 7178503"/>
              <a:gd name="connsiteY5" fmla="*/ 1440803 h 20828248"/>
              <a:gd name="connsiteX6" fmla="*/ 4006507 w 7178503"/>
              <a:gd name="connsiteY6" fmla="*/ 1251509 h 20828248"/>
              <a:gd name="connsiteX7" fmla="*/ 4620858 w 7178503"/>
              <a:gd name="connsiteY7" fmla="*/ 1506986 h 20828248"/>
              <a:gd name="connsiteX8" fmla="*/ 5278769 w 7178503"/>
              <a:gd name="connsiteY8" fmla="*/ 1379212 h 20828248"/>
              <a:gd name="connsiteX9" fmla="*/ 5885085 w 7178503"/>
              <a:gd name="connsiteY9" fmla="*/ 1522246 h 20828248"/>
              <a:gd name="connsiteX10" fmla="*/ 6528274 w 7178503"/>
              <a:gd name="connsiteY10" fmla="*/ 1269373 h 20828248"/>
              <a:gd name="connsiteX11" fmla="*/ 7178503 w 7178503"/>
              <a:gd name="connsiteY11" fmla="*/ 1392124 h 20828248"/>
              <a:gd name="connsiteX0" fmla="*/ 0 w 7178503"/>
              <a:gd name="connsiteY0" fmla="*/ 20516289 h 20729295"/>
              <a:gd name="connsiteX1" fmla="*/ 697496 w 7178503"/>
              <a:gd name="connsiteY1" fmla="*/ 16765494 h 20729295"/>
              <a:gd name="connsiteX2" fmla="*/ 1422464 w 7178503"/>
              <a:gd name="connsiteY2" fmla="*/ 16653294 h 20729295"/>
              <a:gd name="connsiteX3" fmla="*/ 2013847 w 7178503"/>
              <a:gd name="connsiteY3" fmla="*/ 20682218 h 20729295"/>
              <a:gd name="connsiteX4" fmla="*/ 2727481 w 7178503"/>
              <a:gd name="connsiteY4" fmla="*/ 1417703 h 20729295"/>
              <a:gd name="connsiteX5" fmla="*/ 3343956 w 7178503"/>
              <a:gd name="connsiteY5" fmla="*/ 1440803 h 20729295"/>
              <a:gd name="connsiteX6" fmla="*/ 4006507 w 7178503"/>
              <a:gd name="connsiteY6" fmla="*/ 1251509 h 20729295"/>
              <a:gd name="connsiteX7" fmla="*/ 4620858 w 7178503"/>
              <a:gd name="connsiteY7" fmla="*/ 1506986 h 20729295"/>
              <a:gd name="connsiteX8" fmla="*/ 5278769 w 7178503"/>
              <a:gd name="connsiteY8" fmla="*/ 1379212 h 20729295"/>
              <a:gd name="connsiteX9" fmla="*/ 5885085 w 7178503"/>
              <a:gd name="connsiteY9" fmla="*/ 1522246 h 20729295"/>
              <a:gd name="connsiteX10" fmla="*/ 6528274 w 7178503"/>
              <a:gd name="connsiteY10" fmla="*/ 1269373 h 20729295"/>
              <a:gd name="connsiteX11" fmla="*/ 7178503 w 7178503"/>
              <a:gd name="connsiteY11" fmla="*/ 1392124 h 20729295"/>
              <a:gd name="connsiteX0" fmla="*/ 0 w 7178503"/>
              <a:gd name="connsiteY0" fmla="*/ 19265197 h 19480208"/>
              <a:gd name="connsiteX1" fmla="*/ 697496 w 7178503"/>
              <a:gd name="connsiteY1" fmla="*/ 15514402 h 19480208"/>
              <a:gd name="connsiteX2" fmla="*/ 1422464 w 7178503"/>
              <a:gd name="connsiteY2" fmla="*/ 15402202 h 19480208"/>
              <a:gd name="connsiteX3" fmla="*/ 2013847 w 7178503"/>
              <a:gd name="connsiteY3" fmla="*/ 19431126 h 19480208"/>
              <a:gd name="connsiteX4" fmla="*/ 2769344 w 7178503"/>
              <a:gd name="connsiteY4" fmla="*/ 16347279 h 19480208"/>
              <a:gd name="connsiteX5" fmla="*/ 3343956 w 7178503"/>
              <a:gd name="connsiteY5" fmla="*/ 189711 h 19480208"/>
              <a:gd name="connsiteX6" fmla="*/ 4006507 w 7178503"/>
              <a:gd name="connsiteY6" fmla="*/ 417 h 19480208"/>
              <a:gd name="connsiteX7" fmla="*/ 4620858 w 7178503"/>
              <a:gd name="connsiteY7" fmla="*/ 255894 h 19480208"/>
              <a:gd name="connsiteX8" fmla="*/ 5278769 w 7178503"/>
              <a:gd name="connsiteY8" fmla="*/ 128120 h 19480208"/>
              <a:gd name="connsiteX9" fmla="*/ 5885085 w 7178503"/>
              <a:gd name="connsiteY9" fmla="*/ 271154 h 19480208"/>
              <a:gd name="connsiteX10" fmla="*/ 6528274 w 7178503"/>
              <a:gd name="connsiteY10" fmla="*/ 18281 h 19480208"/>
              <a:gd name="connsiteX11" fmla="*/ 7178503 w 7178503"/>
              <a:gd name="connsiteY11" fmla="*/ 141032 h 19480208"/>
              <a:gd name="connsiteX0" fmla="*/ 0 w 7178503"/>
              <a:gd name="connsiteY0" fmla="*/ 19265197 h 19443666"/>
              <a:gd name="connsiteX1" fmla="*/ 697496 w 7178503"/>
              <a:gd name="connsiteY1" fmla="*/ 15514402 h 19443666"/>
              <a:gd name="connsiteX2" fmla="*/ 1422464 w 7178503"/>
              <a:gd name="connsiteY2" fmla="*/ 15402202 h 19443666"/>
              <a:gd name="connsiteX3" fmla="*/ 2013847 w 7178503"/>
              <a:gd name="connsiteY3" fmla="*/ 19431126 h 19443666"/>
              <a:gd name="connsiteX4" fmla="*/ 2769344 w 7178503"/>
              <a:gd name="connsiteY4" fmla="*/ 16347279 h 19443666"/>
              <a:gd name="connsiteX5" fmla="*/ 3343956 w 7178503"/>
              <a:gd name="connsiteY5" fmla="*/ 189711 h 19443666"/>
              <a:gd name="connsiteX6" fmla="*/ 4006507 w 7178503"/>
              <a:gd name="connsiteY6" fmla="*/ 417 h 19443666"/>
              <a:gd name="connsiteX7" fmla="*/ 4620858 w 7178503"/>
              <a:gd name="connsiteY7" fmla="*/ 255894 h 19443666"/>
              <a:gd name="connsiteX8" fmla="*/ 5278769 w 7178503"/>
              <a:gd name="connsiteY8" fmla="*/ 128120 h 19443666"/>
              <a:gd name="connsiteX9" fmla="*/ 5885085 w 7178503"/>
              <a:gd name="connsiteY9" fmla="*/ 271154 h 19443666"/>
              <a:gd name="connsiteX10" fmla="*/ 6528274 w 7178503"/>
              <a:gd name="connsiteY10" fmla="*/ 18281 h 19443666"/>
              <a:gd name="connsiteX11" fmla="*/ 7178503 w 7178503"/>
              <a:gd name="connsiteY11" fmla="*/ 141032 h 19443666"/>
              <a:gd name="connsiteX0" fmla="*/ 0 w 7178503"/>
              <a:gd name="connsiteY0" fmla="*/ 19265197 h 19466905"/>
              <a:gd name="connsiteX1" fmla="*/ 697496 w 7178503"/>
              <a:gd name="connsiteY1" fmla="*/ 15514402 h 19466905"/>
              <a:gd name="connsiteX2" fmla="*/ 1422464 w 7178503"/>
              <a:gd name="connsiteY2" fmla="*/ 15402202 h 19466905"/>
              <a:gd name="connsiteX3" fmla="*/ 2013847 w 7178503"/>
              <a:gd name="connsiteY3" fmla="*/ 19431126 h 19466905"/>
              <a:gd name="connsiteX4" fmla="*/ 2650733 w 7178503"/>
              <a:gd name="connsiteY4" fmla="*/ 16823182 h 19466905"/>
              <a:gd name="connsiteX5" fmla="*/ 3343956 w 7178503"/>
              <a:gd name="connsiteY5" fmla="*/ 189711 h 19466905"/>
              <a:gd name="connsiteX6" fmla="*/ 4006507 w 7178503"/>
              <a:gd name="connsiteY6" fmla="*/ 417 h 19466905"/>
              <a:gd name="connsiteX7" fmla="*/ 4620858 w 7178503"/>
              <a:gd name="connsiteY7" fmla="*/ 255894 h 19466905"/>
              <a:gd name="connsiteX8" fmla="*/ 5278769 w 7178503"/>
              <a:gd name="connsiteY8" fmla="*/ 128120 h 19466905"/>
              <a:gd name="connsiteX9" fmla="*/ 5885085 w 7178503"/>
              <a:gd name="connsiteY9" fmla="*/ 271154 h 19466905"/>
              <a:gd name="connsiteX10" fmla="*/ 6528274 w 7178503"/>
              <a:gd name="connsiteY10" fmla="*/ 18281 h 19466905"/>
              <a:gd name="connsiteX11" fmla="*/ 7178503 w 7178503"/>
              <a:gd name="connsiteY11" fmla="*/ 141032 h 19466905"/>
              <a:gd name="connsiteX0" fmla="*/ 0 w 7178503"/>
              <a:gd name="connsiteY0" fmla="*/ 19265197 h 19460135"/>
              <a:gd name="connsiteX1" fmla="*/ 697496 w 7178503"/>
              <a:gd name="connsiteY1" fmla="*/ 15514402 h 19460135"/>
              <a:gd name="connsiteX2" fmla="*/ 1422464 w 7178503"/>
              <a:gd name="connsiteY2" fmla="*/ 15402202 h 19460135"/>
              <a:gd name="connsiteX3" fmla="*/ 2013847 w 7178503"/>
              <a:gd name="connsiteY3" fmla="*/ 19431126 h 19460135"/>
              <a:gd name="connsiteX4" fmla="*/ 2650733 w 7178503"/>
              <a:gd name="connsiteY4" fmla="*/ 16823182 h 19460135"/>
              <a:gd name="connsiteX5" fmla="*/ 3343956 w 7178503"/>
              <a:gd name="connsiteY5" fmla="*/ 189711 h 19460135"/>
              <a:gd name="connsiteX6" fmla="*/ 4006507 w 7178503"/>
              <a:gd name="connsiteY6" fmla="*/ 417 h 19460135"/>
              <a:gd name="connsiteX7" fmla="*/ 4620858 w 7178503"/>
              <a:gd name="connsiteY7" fmla="*/ 255894 h 19460135"/>
              <a:gd name="connsiteX8" fmla="*/ 5278769 w 7178503"/>
              <a:gd name="connsiteY8" fmla="*/ 128120 h 19460135"/>
              <a:gd name="connsiteX9" fmla="*/ 5885085 w 7178503"/>
              <a:gd name="connsiteY9" fmla="*/ 271154 h 19460135"/>
              <a:gd name="connsiteX10" fmla="*/ 6528274 w 7178503"/>
              <a:gd name="connsiteY10" fmla="*/ 18281 h 19460135"/>
              <a:gd name="connsiteX11" fmla="*/ 7178503 w 7178503"/>
              <a:gd name="connsiteY11" fmla="*/ 141032 h 19460135"/>
              <a:gd name="connsiteX0" fmla="*/ 0 w 7178503"/>
              <a:gd name="connsiteY0" fmla="*/ 20344414 h 20527979"/>
              <a:gd name="connsiteX1" fmla="*/ 697496 w 7178503"/>
              <a:gd name="connsiteY1" fmla="*/ 16593619 h 20527979"/>
              <a:gd name="connsiteX2" fmla="*/ 1422464 w 7178503"/>
              <a:gd name="connsiteY2" fmla="*/ 16481419 h 20527979"/>
              <a:gd name="connsiteX3" fmla="*/ 2013847 w 7178503"/>
              <a:gd name="connsiteY3" fmla="*/ 20510343 h 20527979"/>
              <a:gd name="connsiteX4" fmla="*/ 2650733 w 7178503"/>
              <a:gd name="connsiteY4" fmla="*/ 17902399 h 20527979"/>
              <a:gd name="connsiteX5" fmla="*/ 3260230 w 7178503"/>
              <a:gd name="connsiteY5" fmla="*/ 16735745 h 20527979"/>
              <a:gd name="connsiteX6" fmla="*/ 4006507 w 7178503"/>
              <a:gd name="connsiteY6" fmla="*/ 1079634 h 20527979"/>
              <a:gd name="connsiteX7" fmla="*/ 4620858 w 7178503"/>
              <a:gd name="connsiteY7" fmla="*/ 1335111 h 20527979"/>
              <a:gd name="connsiteX8" fmla="*/ 5278769 w 7178503"/>
              <a:gd name="connsiteY8" fmla="*/ 1207337 h 20527979"/>
              <a:gd name="connsiteX9" fmla="*/ 5885085 w 7178503"/>
              <a:gd name="connsiteY9" fmla="*/ 1350371 h 20527979"/>
              <a:gd name="connsiteX10" fmla="*/ 6528274 w 7178503"/>
              <a:gd name="connsiteY10" fmla="*/ 1097498 h 20527979"/>
              <a:gd name="connsiteX11" fmla="*/ 7178503 w 7178503"/>
              <a:gd name="connsiteY11" fmla="*/ 1220249 h 20527979"/>
              <a:gd name="connsiteX0" fmla="*/ 0 w 7178503"/>
              <a:gd name="connsiteY0" fmla="*/ 20410335 h 20592882"/>
              <a:gd name="connsiteX1" fmla="*/ 697496 w 7178503"/>
              <a:gd name="connsiteY1" fmla="*/ 16659540 h 20592882"/>
              <a:gd name="connsiteX2" fmla="*/ 1422464 w 7178503"/>
              <a:gd name="connsiteY2" fmla="*/ 16547340 h 20592882"/>
              <a:gd name="connsiteX3" fmla="*/ 2013847 w 7178503"/>
              <a:gd name="connsiteY3" fmla="*/ 20576264 h 20592882"/>
              <a:gd name="connsiteX4" fmla="*/ 2650733 w 7178503"/>
              <a:gd name="connsiteY4" fmla="*/ 17968320 h 20592882"/>
              <a:gd name="connsiteX5" fmla="*/ 3295116 w 7178503"/>
              <a:gd name="connsiteY5" fmla="*/ 17693983 h 20592882"/>
              <a:gd name="connsiteX6" fmla="*/ 4006507 w 7178503"/>
              <a:gd name="connsiteY6" fmla="*/ 1145555 h 20592882"/>
              <a:gd name="connsiteX7" fmla="*/ 4620858 w 7178503"/>
              <a:gd name="connsiteY7" fmla="*/ 1401032 h 20592882"/>
              <a:gd name="connsiteX8" fmla="*/ 5278769 w 7178503"/>
              <a:gd name="connsiteY8" fmla="*/ 1273258 h 20592882"/>
              <a:gd name="connsiteX9" fmla="*/ 5885085 w 7178503"/>
              <a:gd name="connsiteY9" fmla="*/ 1416292 h 20592882"/>
              <a:gd name="connsiteX10" fmla="*/ 6528274 w 7178503"/>
              <a:gd name="connsiteY10" fmla="*/ 1163419 h 20592882"/>
              <a:gd name="connsiteX11" fmla="*/ 7178503 w 7178503"/>
              <a:gd name="connsiteY11" fmla="*/ 1286170 h 20592882"/>
              <a:gd name="connsiteX0" fmla="*/ 0 w 7178503"/>
              <a:gd name="connsiteY0" fmla="*/ 20423519 h 20605879"/>
              <a:gd name="connsiteX1" fmla="*/ 697496 w 7178503"/>
              <a:gd name="connsiteY1" fmla="*/ 16672724 h 20605879"/>
              <a:gd name="connsiteX2" fmla="*/ 1422464 w 7178503"/>
              <a:gd name="connsiteY2" fmla="*/ 16560524 h 20605879"/>
              <a:gd name="connsiteX3" fmla="*/ 2013847 w 7178503"/>
              <a:gd name="connsiteY3" fmla="*/ 20589448 h 20605879"/>
              <a:gd name="connsiteX4" fmla="*/ 2650733 w 7178503"/>
              <a:gd name="connsiteY4" fmla="*/ 17981504 h 20605879"/>
              <a:gd name="connsiteX5" fmla="*/ 3295116 w 7178503"/>
              <a:gd name="connsiteY5" fmla="*/ 17885630 h 20605879"/>
              <a:gd name="connsiteX6" fmla="*/ 4006507 w 7178503"/>
              <a:gd name="connsiteY6" fmla="*/ 1158739 h 20605879"/>
              <a:gd name="connsiteX7" fmla="*/ 4620858 w 7178503"/>
              <a:gd name="connsiteY7" fmla="*/ 1414216 h 20605879"/>
              <a:gd name="connsiteX8" fmla="*/ 5278769 w 7178503"/>
              <a:gd name="connsiteY8" fmla="*/ 1286442 h 20605879"/>
              <a:gd name="connsiteX9" fmla="*/ 5885085 w 7178503"/>
              <a:gd name="connsiteY9" fmla="*/ 1429476 h 20605879"/>
              <a:gd name="connsiteX10" fmla="*/ 6528274 w 7178503"/>
              <a:gd name="connsiteY10" fmla="*/ 1176603 h 20605879"/>
              <a:gd name="connsiteX11" fmla="*/ 7178503 w 7178503"/>
              <a:gd name="connsiteY11" fmla="*/ 1299354 h 20605879"/>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92553 w 7178503"/>
              <a:gd name="connsiteY6" fmla="*/ 13664604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92553 w 7178503"/>
              <a:gd name="connsiteY6" fmla="*/ 13664604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92553 w 7178503"/>
              <a:gd name="connsiteY6" fmla="*/ 13664604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36736 w 7178503"/>
              <a:gd name="connsiteY6" fmla="*/ 13724092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36736 w 7178503"/>
              <a:gd name="connsiteY6" fmla="*/ 14616408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36736 w 7178503"/>
              <a:gd name="connsiteY6" fmla="*/ 14616408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19247198 h 19429558"/>
              <a:gd name="connsiteX1" fmla="*/ 697496 w 7178503"/>
              <a:gd name="connsiteY1" fmla="*/ 15496403 h 19429558"/>
              <a:gd name="connsiteX2" fmla="*/ 1422464 w 7178503"/>
              <a:gd name="connsiteY2" fmla="*/ 15384203 h 19429558"/>
              <a:gd name="connsiteX3" fmla="*/ 2013847 w 7178503"/>
              <a:gd name="connsiteY3" fmla="*/ 19413127 h 19429558"/>
              <a:gd name="connsiteX4" fmla="*/ 2650733 w 7178503"/>
              <a:gd name="connsiteY4" fmla="*/ 16805183 h 19429558"/>
              <a:gd name="connsiteX5" fmla="*/ 3295116 w 7178503"/>
              <a:gd name="connsiteY5" fmla="*/ 16709309 h 19429558"/>
              <a:gd name="connsiteX6" fmla="*/ 3936736 w 7178503"/>
              <a:gd name="connsiteY6" fmla="*/ 14616408 h 19429558"/>
              <a:gd name="connsiteX7" fmla="*/ 4620858 w 7178503"/>
              <a:gd name="connsiteY7" fmla="*/ 237895 h 19429558"/>
              <a:gd name="connsiteX8" fmla="*/ 5278769 w 7178503"/>
              <a:gd name="connsiteY8" fmla="*/ 110121 h 19429558"/>
              <a:gd name="connsiteX9" fmla="*/ 5885085 w 7178503"/>
              <a:gd name="connsiteY9" fmla="*/ 253155 h 19429558"/>
              <a:gd name="connsiteX10" fmla="*/ 6528274 w 7178503"/>
              <a:gd name="connsiteY10" fmla="*/ 282 h 19429558"/>
              <a:gd name="connsiteX11" fmla="*/ 7178503 w 7178503"/>
              <a:gd name="connsiteY11" fmla="*/ 123033 h 19429558"/>
              <a:gd name="connsiteX0" fmla="*/ 0 w 7178503"/>
              <a:gd name="connsiteY0" fmla="*/ 20057037 h 20239397"/>
              <a:gd name="connsiteX1" fmla="*/ 697496 w 7178503"/>
              <a:gd name="connsiteY1" fmla="*/ 16306242 h 20239397"/>
              <a:gd name="connsiteX2" fmla="*/ 1422464 w 7178503"/>
              <a:gd name="connsiteY2" fmla="*/ 16194042 h 20239397"/>
              <a:gd name="connsiteX3" fmla="*/ 2013847 w 7178503"/>
              <a:gd name="connsiteY3" fmla="*/ 20222966 h 20239397"/>
              <a:gd name="connsiteX4" fmla="*/ 2650733 w 7178503"/>
              <a:gd name="connsiteY4" fmla="*/ 17615022 h 20239397"/>
              <a:gd name="connsiteX5" fmla="*/ 3295116 w 7178503"/>
              <a:gd name="connsiteY5" fmla="*/ 17519148 h 20239397"/>
              <a:gd name="connsiteX6" fmla="*/ 3936736 w 7178503"/>
              <a:gd name="connsiteY6" fmla="*/ 15426247 h 20239397"/>
              <a:gd name="connsiteX7" fmla="*/ 4613881 w 7178503"/>
              <a:gd name="connsiteY7" fmla="*/ 14016065 h 20239397"/>
              <a:gd name="connsiteX8" fmla="*/ 5278769 w 7178503"/>
              <a:gd name="connsiteY8" fmla="*/ 919960 h 20239397"/>
              <a:gd name="connsiteX9" fmla="*/ 5885085 w 7178503"/>
              <a:gd name="connsiteY9" fmla="*/ 1062994 h 20239397"/>
              <a:gd name="connsiteX10" fmla="*/ 6528274 w 7178503"/>
              <a:gd name="connsiteY10" fmla="*/ 810121 h 20239397"/>
              <a:gd name="connsiteX11" fmla="*/ 7178503 w 7178503"/>
              <a:gd name="connsiteY11" fmla="*/ 932872 h 20239397"/>
              <a:gd name="connsiteX0" fmla="*/ 0 w 7178503"/>
              <a:gd name="connsiteY0" fmla="*/ 20114233 h 20296593"/>
              <a:gd name="connsiteX1" fmla="*/ 697496 w 7178503"/>
              <a:gd name="connsiteY1" fmla="*/ 16363438 h 20296593"/>
              <a:gd name="connsiteX2" fmla="*/ 1422464 w 7178503"/>
              <a:gd name="connsiteY2" fmla="*/ 16251238 h 20296593"/>
              <a:gd name="connsiteX3" fmla="*/ 2013847 w 7178503"/>
              <a:gd name="connsiteY3" fmla="*/ 20280162 h 20296593"/>
              <a:gd name="connsiteX4" fmla="*/ 2650733 w 7178503"/>
              <a:gd name="connsiteY4" fmla="*/ 17672218 h 20296593"/>
              <a:gd name="connsiteX5" fmla="*/ 3295116 w 7178503"/>
              <a:gd name="connsiteY5" fmla="*/ 17576344 h 20296593"/>
              <a:gd name="connsiteX6" fmla="*/ 3936736 w 7178503"/>
              <a:gd name="connsiteY6" fmla="*/ 15483443 h 20296593"/>
              <a:gd name="connsiteX7" fmla="*/ 4578996 w 7178503"/>
              <a:gd name="connsiteY7" fmla="*/ 14846602 h 20296593"/>
              <a:gd name="connsiteX8" fmla="*/ 5278769 w 7178503"/>
              <a:gd name="connsiteY8" fmla="*/ 977156 h 20296593"/>
              <a:gd name="connsiteX9" fmla="*/ 5885085 w 7178503"/>
              <a:gd name="connsiteY9" fmla="*/ 1120190 h 20296593"/>
              <a:gd name="connsiteX10" fmla="*/ 6528274 w 7178503"/>
              <a:gd name="connsiteY10" fmla="*/ 867317 h 20296593"/>
              <a:gd name="connsiteX11" fmla="*/ 7178503 w 7178503"/>
              <a:gd name="connsiteY11" fmla="*/ 990068 h 20296593"/>
              <a:gd name="connsiteX0" fmla="*/ 0 w 7178503"/>
              <a:gd name="connsiteY0" fmla="*/ 19978476 h 20160836"/>
              <a:gd name="connsiteX1" fmla="*/ 697496 w 7178503"/>
              <a:gd name="connsiteY1" fmla="*/ 16227681 h 20160836"/>
              <a:gd name="connsiteX2" fmla="*/ 1422464 w 7178503"/>
              <a:gd name="connsiteY2" fmla="*/ 16115481 h 20160836"/>
              <a:gd name="connsiteX3" fmla="*/ 2013847 w 7178503"/>
              <a:gd name="connsiteY3" fmla="*/ 20144405 h 20160836"/>
              <a:gd name="connsiteX4" fmla="*/ 2650733 w 7178503"/>
              <a:gd name="connsiteY4" fmla="*/ 17536461 h 20160836"/>
              <a:gd name="connsiteX5" fmla="*/ 3295116 w 7178503"/>
              <a:gd name="connsiteY5" fmla="*/ 17440587 h 20160836"/>
              <a:gd name="connsiteX6" fmla="*/ 3936736 w 7178503"/>
              <a:gd name="connsiteY6" fmla="*/ 15347686 h 20160836"/>
              <a:gd name="connsiteX7" fmla="*/ 4578996 w 7178503"/>
              <a:gd name="connsiteY7" fmla="*/ 14710845 h 20160836"/>
              <a:gd name="connsiteX8" fmla="*/ 5278769 w 7178503"/>
              <a:gd name="connsiteY8" fmla="*/ 13036388 h 20160836"/>
              <a:gd name="connsiteX9" fmla="*/ 5885085 w 7178503"/>
              <a:gd name="connsiteY9" fmla="*/ 984433 h 20160836"/>
              <a:gd name="connsiteX10" fmla="*/ 6528274 w 7178503"/>
              <a:gd name="connsiteY10" fmla="*/ 731560 h 20160836"/>
              <a:gd name="connsiteX11" fmla="*/ 7178503 w 7178503"/>
              <a:gd name="connsiteY11" fmla="*/ 854311 h 20160836"/>
              <a:gd name="connsiteX0" fmla="*/ 0 w 7178503"/>
              <a:gd name="connsiteY0" fmla="*/ 19978476 h 20160836"/>
              <a:gd name="connsiteX1" fmla="*/ 697496 w 7178503"/>
              <a:gd name="connsiteY1" fmla="*/ 16227681 h 20160836"/>
              <a:gd name="connsiteX2" fmla="*/ 1422464 w 7178503"/>
              <a:gd name="connsiteY2" fmla="*/ 16115481 h 20160836"/>
              <a:gd name="connsiteX3" fmla="*/ 2013847 w 7178503"/>
              <a:gd name="connsiteY3" fmla="*/ 20144405 h 20160836"/>
              <a:gd name="connsiteX4" fmla="*/ 2650733 w 7178503"/>
              <a:gd name="connsiteY4" fmla="*/ 17536461 h 20160836"/>
              <a:gd name="connsiteX5" fmla="*/ 3295116 w 7178503"/>
              <a:gd name="connsiteY5" fmla="*/ 17440587 h 20160836"/>
              <a:gd name="connsiteX6" fmla="*/ 3936736 w 7178503"/>
              <a:gd name="connsiteY6" fmla="*/ 15347686 h 20160836"/>
              <a:gd name="connsiteX7" fmla="*/ 4578996 w 7178503"/>
              <a:gd name="connsiteY7" fmla="*/ 14710845 h 20160836"/>
              <a:gd name="connsiteX8" fmla="*/ 5278769 w 7178503"/>
              <a:gd name="connsiteY8" fmla="*/ 13036388 h 20160836"/>
              <a:gd name="connsiteX9" fmla="*/ 5885085 w 7178503"/>
              <a:gd name="connsiteY9" fmla="*/ 984433 h 20160836"/>
              <a:gd name="connsiteX10" fmla="*/ 6528274 w 7178503"/>
              <a:gd name="connsiteY10" fmla="*/ 731560 h 20160836"/>
              <a:gd name="connsiteX11" fmla="*/ 7178503 w 7178503"/>
              <a:gd name="connsiteY11" fmla="*/ 854311 h 20160836"/>
              <a:gd name="connsiteX0" fmla="*/ 0 w 7178503"/>
              <a:gd name="connsiteY0" fmla="*/ 19987232 h 20169592"/>
              <a:gd name="connsiteX1" fmla="*/ 697496 w 7178503"/>
              <a:gd name="connsiteY1" fmla="*/ 16236437 h 20169592"/>
              <a:gd name="connsiteX2" fmla="*/ 1422464 w 7178503"/>
              <a:gd name="connsiteY2" fmla="*/ 16124237 h 20169592"/>
              <a:gd name="connsiteX3" fmla="*/ 2013847 w 7178503"/>
              <a:gd name="connsiteY3" fmla="*/ 20153161 h 20169592"/>
              <a:gd name="connsiteX4" fmla="*/ 2650733 w 7178503"/>
              <a:gd name="connsiteY4" fmla="*/ 17545217 h 20169592"/>
              <a:gd name="connsiteX5" fmla="*/ 3295116 w 7178503"/>
              <a:gd name="connsiteY5" fmla="*/ 17449343 h 20169592"/>
              <a:gd name="connsiteX6" fmla="*/ 3936736 w 7178503"/>
              <a:gd name="connsiteY6" fmla="*/ 15356442 h 20169592"/>
              <a:gd name="connsiteX7" fmla="*/ 4578996 w 7178503"/>
              <a:gd name="connsiteY7" fmla="*/ 14719601 h 20169592"/>
              <a:gd name="connsiteX8" fmla="*/ 5243884 w 7178503"/>
              <a:gd name="connsiteY8" fmla="*/ 13164120 h 20169592"/>
              <a:gd name="connsiteX9" fmla="*/ 5885085 w 7178503"/>
              <a:gd name="connsiteY9" fmla="*/ 993189 h 20169592"/>
              <a:gd name="connsiteX10" fmla="*/ 6528274 w 7178503"/>
              <a:gd name="connsiteY10" fmla="*/ 740316 h 20169592"/>
              <a:gd name="connsiteX11" fmla="*/ 7178503 w 7178503"/>
              <a:gd name="connsiteY11" fmla="*/ 863067 h 20169592"/>
              <a:gd name="connsiteX0" fmla="*/ 0 w 7178503"/>
              <a:gd name="connsiteY0" fmla="*/ 19987232 h 20169592"/>
              <a:gd name="connsiteX1" fmla="*/ 697496 w 7178503"/>
              <a:gd name="connsiteY1" fmla="*/ 16236437 h 20169592"/>
              <a:gd name="connsiteX2" fmla="*/ 1422464 w 7178503"/>
              <a:gd name="connsiteY2" fmla="*/ 16124237 h 20169592"/>
              <a:gd name="connsiteX3" fmla="*/ 2013847 w 7178503"/>
              <a:gd name="connsiteY3" fmla="*/ 20153161 h 20169592"/>
              <a:gd name="connsiteX4" fmla="*/ 2650733 w 7178503"/>
              <a:gd name="connsiteY4" fmla="*/ 17545217 h 20169592"/>
              <a:gd name="connsiteX5" fmla="*/ 3295116 w 7178503"/>
              <a:gd name="connsiteY5" fmla="*/ 17449343 h 20169592"/>
              <a:gd name="connsiteX6" fmla="*/ 3936736 w 7178503"/>
              <a:gd name="connsiteY6" fmla="*/ 15356442 h 20169592"/>
              <a:gd name="connsiteX7" fmla="*/ 4578996 w 7178503"/>
              <a:gd name="connsiteY7" fmla="*/ 14719601 h 20169592"/>
              <a:gd name="connsiteX8" fmla="*/ 5243884 w 7178503"/>
              <a:gd name="connsiteY8" fmla="*/ 13164120 h 20169592"/>
              <a:gd name="connsiteX9" fmla="*/ 5885085 w 7178503"/>
              <a:gd name="connsiteY9" fmla="*/ 993189 h 20169592"/>
              <a:gd name="connsiteX10" fmla="*/ 6528274 w 7178503"/>
              <a:gd name="connsiteY10" fmla="*/ 740316 h 20169592"/>
              <a:gd name="connsiteX11" fmla="*/ 7178503 w 7178503"/>
              <a:gd name="connsiteY11" fmla="*/ 863067 h 20169592"/>
              <a:gd name="connsiteX0" fmla="*/ 0 w 7178503"/>
              <a:gd name="connsiteY0" fmla="*/ 19246923 h 19429283"/>
              <a:gd name="connsiteX1" fmla="*/ 697496 w 7178503"/>
              <a:gd name="connsiteY1" fmla="*/ 15496128 h 19429283"/>
              <a:gd name="connsiteX2" fmla="*/ 1422464 w 7178503"/>
              <a:gd name="connsiteY2" fmla="*/ 15383928 h 19429283"/>
              <a:gd name="connsiteX3" fmla="*/ 2013847 w 7178503"/>
              <a:gd name="connsiteY3" fmla="*/ 19412852 h 19429283"/>
              <a:gd name="connsiteX4" fmla="*/ 2650733 w 7178503"/>
              <a:gd name="connsiteY4" fmla="*/ 16804908 h 19429283"/>
              <a:gd name="connsiteX5" fmla="*/ 3295116 w 7178503"/>
              <a:gd name="connsiteY5" fmla="*/ 16709034 h 19429283"/>
              <a:gd name="connsiteX6" fmla="*/ 3936736 w 7178503"/>
              <a:gd name="connsiteY6" fmla="*/ 14616133 h 19429283"/>
              <a:gd name="connsiteX7" fmla="*/ 4578996 w 7178503"/>
              <a:gd name="connsiteY7" fmla="*/ 13979292 h 19429283"/>
              <a:gd name="connsiteX8" fmla="*/ 5243884 w 7178503"/>
              <a:gd name="connsiteY8" fmla="*/ 12423811 h 19429283"/>
              <a:gd name="connsiteX9" fmla="*/ 5906017 w 7178503"/>
              <a:gd name="connsiteY9" fmla="*/ 12507356 h 19429283"/>
              <a:gd name="connsiteX10" fmla="*/ 6528274 w 7178503"/>
              <a:gd name="connsiteY10" fmla="*/ 7 h 19429283"/>
              <a:gd name="connsiteX11" fmla="*/ 7178503 w 7178503"/>
              <a:gd name="connsiteY11" fmla="*/ 122758 h 19429283"/>
              <a:gd name="connsiteX0" fmla="*/ 0 w 7178503"/>
              <a:gd name="connsiteY0" fmla="*/ 19246923 h 19429283"/>
              <a:gd name="connsiteX1" fmla="*/ 697496 w 7178503"/>
              <a:gd name="connsiteY1" fmla="*/ 15496128 h 19429283"/>
              <a:gd name="connsiteX2" fmla="*/ 1422464 w 7178503"/>
              <a:gd name="connsiteY2" fmla="*/ 15383928 h 19429283"/>
              <a:gd name="connsiteX3" fmla="*/ 2013847 w 7178503"/>
              <a:gd name="connsiteY3" fmla="*/ 19412852 h 19429283"/>
              <a:gd name="connsiteX4" fmla="*/ 2650733 w 7178503"/>
              <a:gd name="connsiteY4" fmla="*/ 16804908 h 19429283"/>
              <a:gd name="connsiteX5" fmla="*/ 3295116 w 7178503"/>
              <a:gd name="connsiteY5" fmla="*/ 16709034 h 19429283"/>
              <a:gd name="connsiteX6" fmla="*/ 3936736 w 7178503"/>
              <a:gd name="connsiteY6" fmla="*/ 14616133 h 19429283"/>
              <a:gd name="connsiteX7" fmla="*/ 4578996 w 7178503"/>
              <a:gd name="connsiteY7" fmla="*/ 13979292 h 19429283"/>
              <a:gd name="connsiteX8" fmla="*/ 5243884 w 7178503"/>
              <a:gd name="connsiteY8" fmla="*/ 12423811 h 19429283"/>
              <a:gd name="connsiteX9" fmla="*/ 5906017 w 7178503"/>
              <a:gd name="connsiteY9" fmla="*/ 12507356 h 19429283"/>
              <a:gd name="connsiteX10" fmla="*/ 6528274 w 7178503"/>
              <a:gd name="connsiteY10" fmla="*/ 7 h 19429283"/>
              <a:gd name="connsiteX11" fmla="*/ 7178503 w 7178503"/>
              <a:gd name="connsiteY11" fmla="*/ 122758 h 19429283"/>
              <a:gd name="connsiteX0" fmla="*/ 0 w 7178503"/>
              <a:gd name="connsiteY0" fmla="*/ 19246923 h 19429283"/>
              <a:gd name="connsiteX1" fmla="*/ 697496 w 7178503"/>
              <a:gd name="connsiteY1" fmla="*/ 15496128 h 19429283"/>
              <a:gd name="connsiteX2" fmla="*/ 1422464 w 7178503"/>
              <a:gd name="connsiteY2" fmla="*/ 15383928 h 19429283"/>
              <a:gd name="connsiteX3" fmla="*/ 2013847 w 7178503"/>
              <a:gd name="connsiteY3" fmla="*/ 19412852 h 19429283"/>
              <a:gd name="connsiteX4" fmla="*/ 2650733 w 7178503"/>
              <a:gd name="connsiteY4" fmla="*/ 16804908 h 19429283"/>
              <a:gd name="connsiteX5" fmla="*/ 3295116 w 7178503"/>
              <a:gd name="connsiteY5" fmla="*/ 16709034 h 19429283"/>
              <a:gd name="connsiteX6" fmla="*/ 3936736 w 7178503"/>
              <a:gd name="connsiteY6" fmla="*/ 14616133 h 19429283"/>
              <a:gd name="connsiteX7" fmla="*/ 4578996 w 7178503"/>
              <a:gd name="connsiteY7" fmla="*/ 13979292 h 19429283"/>
              <a:gd name="connsiteX8" fmla="*/ 5243884 w 7178503"/>
              <a:gd name="connsiteY8" fmla="*/ 12423811 h 19429283"/>
              <a:gd name="connsiteX9" fmla="*/ 5857177 w 7178503"/>
              <a:gd name="connsiteY9" fmla="*/ 9592456 h 19429283"/>
              <a:gd name="connsiteX10" fmla="*/ 6528274 w 7178503"/>
              <a:gd name="connsiteY10" fmla="*/ 7 h 19429283"/>
              <a:gd name="connsiteX11" fmla="*/ 7178503 w 7178503"/>
              <a:gd name="connsiteY11" fmla="*/ 122758 h 19429283"/>
              <a:gd name="connsiteX0" fmla="*/ 0 w 7178503"/>
              <a:gd name="connsiteY0" fmla="*/ 19124169 h 19306529"/>
              <a:gd name="connsiteX1" fmla="*/ 697496 w 7178503"/>
              <a:gd name="connsiteY1" fmla="*/ 15373374 h 19306529"/>
              <a:gd name="connsiteX2" fmla="*/ 1422464 w 7178503"/>
              <a:gd name="connsiteY2" fmla="*/ 15261174 h 19306529"/>
              <a:gd name="connsiteX3" fmla="*/ 2013847 w 7178503"/>
              <a:gd name="connsiteY3" fmla="*/ 19290098 h 19306529"/>
              <a:gd name="connsiteX4" fmla="*/ 2650733 w 7178503"/>
              <a:gd name="connsiteY4" fmla="*/ 16682154 h 19306529"/>
              <a:gd name="connsiteX5" fmla="*/ 3295116 w 7178503"/>
              <a:gd name="connsiteY5" fmla="*/ 16586280 h 19306529"/>
              <a:gd name="connsiteX6" fmla="*/ 3936736 w 7178503"/>
              <a:gd name="connsiteY6" fmla="*/ 14493379 h 19306529"/>
              <a:gd name="connsiteX7" fmla="*/ 4578996 w 7178503"/>
              <a:gd name="connsiteY7" fmla="*/ 13856538 h 19306529"/>
              <a:gd name="connsiteX8" fmla="*/ 5243884 w 7178503"/>
              <a:gd name="connsiteY8" fmla="*/ 12301057 h 19306529"/>
              <a:gd name="connsiteX9" fmla="*/ 5857177 w 7178503"/>
              <a:gd name="connsiteY9" fmla="*/ 9469702 h 19306529"/>
              <a:gd name="connsiteX10" fmla="*/ 6563159 w 7178503"/>
              <a:gd name="connsiteY10" fmla="*/ 17783068 h 19306529"/>
              <a:gd name="connsiteX11" fmla="*/ 7178503 w 7178503"/>
              <a:gd name="connsiteY11" fmla="*/ 4 h 19306529"/>
              <a:gd name="connsiteX0" fmla="*/ 0 w 7178503"/>
              <a:gd name="connsiteY0" fmla="*/ 9825317 h 10007677"/>
              <a:gd name="connsiteX1" fmla="*/ 697496 w 7178503"/>
              <a:gd name="connsiteY1" fmla="*/ 6074522 h 10007677"/>
              <a:gd name="connsiteX2" fmla="*/ 1422464 w 7178503"/>
              <a:gd name="connsiteY2" fmla="*/ 5962322 h 10007677"/>
              <a:gd name="connsiteX3" fmla="*/ 2013847 w 7178503"/>
              <a:gd name="connsiteY3" fmla="*/ 9991246 h 10007677"/>
              <a:gd name="connsiteX4" fmla="*/ 2650733 w 7178503"/>
              <a:gd name="connsiteY4" fmla="*/ 7383302 h 10007677"/>
              <a:gd name="connsiteX5" fmla="*/ 3295116 w 7178503"/>
              <a:gd name="connsiteY5" fmla="*/ 7287428 h 10007677"/>
              <a:gd name="connsiteX6" fmla="*/ 3936736 w 7178503"/>
              <a:gd name="connsiteY6" fmla="*/ 5194527 h 10007677"/>
              <a:gd name="connsiteX7" fmla="*/ 4578996 w 7178503"/>
              <a:gd name="connsiteY7" fmla="*/ 4557686 h 10007677"/>
              <a:gd name="connsiteX8" fmla="*/ 5243884 w 7178503"/>
              <a:gd name="connsiteY8" fmla="*/ 3002205 h 10007677"/>
              <a:gd name="connsiteX9" fmla="*/ 5857177 w 7178503"/>
              <a:gd name="connsiteY9" fmla="*/ 170850 h 10007677"/>
              <a:gd name="connsiteX10" fmla="*/ 6563159 w 7178503"/>
              <a:gd name="connsiteY10" fmla="*/ 8484216 h 10007677"/>
              <a:gd name="connsiteX11" fmla="*/ 7178503 w 7178503"/>
              <a:gd name="connsiteY11" fmla="*/ 7060288 h 10007677"/>
              <a:gd name="connsiteX0" fmla="*/ 0 w 7178503"/>
              <a:gd name="connsiteY0" fmla="*/ 9825317 h 10007677"/>
              <a:gd name="connsiteX1" fmla="*/ 697496 w 7178503"/>
              <a:gd name="connsiteY1" fmla="*/ 6074522 h 10007677"/>
              <a:gd name="connsiteX2" fmla="*/ 1422464 w 7178503"/>
              <a:gd name="connsiteY2" fmla="*/ 5962322 h 10007677"/>
              <a:gd name="connsiteX3" fmla="*/ 2013847 w 7178503"/>
              <a:gd name="connsiteY3" fmla="*/ 9991246 h 10007677"/>
              <a:gd name="connsiteX4" fmla="*/ 2650733 w 7178503"/>
              <a:gd name="connsiteY4" fmla="*/ 7383302 h 10007677"/>
              <a:gd name="connsiteX5" fmla="*/ 3295116 w 7178503"/>
              <a:gd name="connsiteY5" fmla="*/ 7287428 h 10007677"/>
              <a:gd name="connsiteX6" fmla="*/ 3936736 w 7178503"/>
              <a:gd name="connsiteY6" fmla="*/ 5194527 h 10007677"/>
              <a:gd name="connsiteX7" fmla="*/ 4578996 w 7178503"/>
              <a:gd name="connsiteY7" fmla="*/ 4557686 h 10007677"/>
              <a:gd name="connsiteX8" fmla="*/ 5243884 w 7178503"/>
              <a:gd name="connsiteY8" fmla="*/ 3002205 h 10007677"/>
              <a:gd name="connsiteX9" fmla="*/ 5857177 w 7178503"/>
              <a:gd name="connsiteY9" fmla="*/ 170850 h 10007677"/>
              <a:gd name="connsiteX10" fmla="*/ 6563159 w 7178503"/>
              <a:gd name="connsiteY10" fmla="*/ 8484216 h 10007677"/>
              <a:gd name="connsiteX11" fmla="*/ 7178503 w 7178503"/>
              <a:gd name="connsiteY11" fmla="*/ 7000800 h 10007677"/>
              <a:gd name="connsiteX0" fmla="*/ 0 w 7178503"/>
              <a:gd name="connsiteY0" fmla="*/ 9825317 h 10007677"/>
              <a:gd name="connsiteX1" fmla="*/ 680751 w 7178503"/>
              <a:gd name="connsiteY1" fmla="*/ 9286860 h 10007677"/>
              <a:gd name="connsiteX2" fmla="*/ 1422464 w 7178503"/>
              <a:gd name="connsiteY2" fmla="*/ 5962322 h 10007677"/>
              <a:gd name="connsiteX3" fmla="*/ 2013847 w 7178503"/>
              <a:gd name="connsiteY3" fmla="*/ 9991246 h 10007677"/>
              <a:gd name="connsiteX4" fmla="*/ 2650733 w 7178503"/>
              <a:gd name="connsiteY4" fmla="*/ 7383302 h 10007677"/>
              <a:gd name="connsiteX5" fmla="*/ 3295116 w 7178503"/>
              <a:gd name="connsiteY5" fmla="*/ 7287428 h 10007677"/>
              <a:gd name="connsiteX6" fmla="*/ 3936736 w 7178503"/>
              <a:gd name="connsiteY6" fmla="*/ 5194527 h 10007677"/>
              <a:gd name="connsiteX7" fmla="*/ 4578996 w 7178503"/>
              <a:gd name="connsiteY7" fmla="*/ 4557686 h 10007677"/>
              <a:gd name="connsiteX8" fmla="*/ 5243884 w 7178503"/>
              <a:gd name="connsiteY8" fmla="*/ 3002205 h 10007677"/>
              <a:gd name="connsiteX9" fmla="*/ 5857177 w 7178503"/>
              <a:gd name="connsiteY9" fmla="*/ 170850 h 10007677"/>
              <a:gd name="connsiteX10" fmla="*/ 6563159 w 7178503"/>
              <a:gd name="connsiteY10" fmla="*/ 8484216 h 10007677"/>
              <a:gd name="connsiteX11" fmla="*/ 7178503 w 7178503"/>
              <a:gd name="connsiteY11" fmla="*/ 7000800 h 10007677"/>
              <a:gd name="connsiteX0" fmla="*/ 0 w 7178503"/>
              <a:gd name="connsiteY0" fmla="*/ 9825317 h 10053893"/>
              <a:gd name="connsiteX1" fmla="*/ 680751 w 7178503"/>
              <a:gd name="connsiteY1" fmla="*/ 9286860 h 10053893"/>
              <a:gd name="connsiteX2" fmla="*/ 1397346 w 7178503"/>
              <a:gd name="connsiteY2" fmla="*/ 9246046 h 10053893"/>
              <a:gd name="connsiteX3" fmla="*/ 2013847 w 7178503"/>
              <a:gd name="connsiteY3" fmla="*/ 9991246 h 10053893"/>
              <a:gd name="connsiteX4" fmla="*/ 2650733 w 7178503"/>
              <a:gd name="connsiteY4" fmla="*/ 7383302 h 10053893"/>
              <a:gd name="connsiteX5" fmla="*/ 3295116 w 7178503"/>
              <a:gd name="connsiteY5" fmla="*/ 7287428 h 10053893"/>
              <a:gd name="connsiteX6" fmla="*/ 3936736 w 7178503"/>
              <a:gd name="connsiteY6" fmla="*/ 5194527 h 10053893"/>
              <a:gd name="connsiteX7" fmla="*/ 4578996 w 7178503"/>
              <a:gd name="connsiteY7" fmla="*/ 4557686 h 10053893"/>
              <a:gd name="connsiteX8" fmla="*/ 5243884 w 7178503"/>
              <a:gd name="connsiteY8" fmla="*/ 3002205 h 10053893"/>
              <a:gd name="connsiteX9" fmla="*/ 5857177 w 7178503"/>
              <a:gd name="connsiteY9" fmla="*/ 170850 h 10053893"/>
              <a:gd name="connsiteX10" fmla="*/ 6563159 w 7178503"/>
              <a:gd name="connsiteY10" fmla="*/ 8484216 h 10053893"/>
              <a:gd name="connsiteX11" fmla="*/ 7178503 w 7178503"/>
              <a:gd name="connsiteY11" fmla="*/ 7000800 h 10053893"/>
              <a:gd name="connsiteX0" fmla="*/ 0 w 7178503"/>
              <a:gd name="connsiteY0" fmla="*/ 9825317 h 10105087"/>
              <a:gd name="connsiteX1" fmla="*/ 680751 w 7178503"/>
              <a:gd name="connsiteY1" fmla="*/ 9286860 h 10105087"/>
              <a:gd name="connsiteX2" fmla="*/ 1397346 w 7178503"/>
              <a:gd name="connsiteY2" fmla="*/ 9246046 h 10105087"/>
              <a:gd name="connsiteX3" fmla="*/ 2013847 w 7178503"/>
              <a:gd name="connsiteY3" fmla="*/ 9991246 h 10105087"/>
              <a:gd name="connsiteX4" fmla="*/ 2675851 w 7178503"/>
              <a:gd name="connsiteY4" fmla="*/ 9810402 h 10105087"/>
              <a:gd name="connsiteX5" fmla="*/ 3295116 w 7178503"/>
              <a:gd name="connsiteY5" fmla="*/ 7287428 h 10105087"/>
              <a:gd name="connsiteX6" fmla="*/ 3936736 w 7178503"/>
              <a:gd name="connsiteY6" fmla="*/ 5194527 h 10105087"/>
              <a:gd name="connsiteX7" fmla="*/ 4578996 w 7178503"/>
              <a:gd name="connsiteY7" fmla="*/ 4557686 h 10105087"/>
              <a:gd name="connsiteX8" fmla="*/ 5243884 w 7178503"/>
              <a:gd name="connsiteY8" fmla="*/ 3002205 h 10105087"/>
              <a:gd name="connsiteX9" fmla="*/ 5857177 w 7178503"/>
              <a:gd name="connsiteY9" fmla="*/ 170850 h 10105087"/>
              <a:gd name="connsiteX10" fmla="*/ 6563159 w 7178503"/>
              <a:gd name="connsiteY10" fmla="*/ 8484216 h 10105087"/>
              <a:gd name="connsiteX11" fmla="*/ 7178503 w 7178503"/>
              <a:gd name="connsiteY11" fmla="*/ 7000800 h 10105087"/>
              <a:gd name="connsiteX0" fmla="*/ 0 w 7178503"/>
              <a:gd name="connsiteY0" fmla="*/ 9825317 h 10010775"/>
              <a:gd name="connsiteX1" fmla="*/ 680751 w 7178503"/>
              <a:gd name="connsiteY1" fmla="*/ 9286860 h 10010775"/>
              <a:gd name="connsiteX2" fmla="*/ 1397346 w 7178503"/>
              <a:gd name="connsiteY2" fmla="*/ 9246046 h 10010775"/>
              <a:gd name="connsiteX3" fmla="*/ 2013847 w 7178503"/>
              <a:gd name="connsiteY3" fmla="*/ 9991246 h 10010775"/>
              <a:gd name="connsiteX4" fmla="*/ 2675851 w 7178503"/>
              <a:gd name="connsiteY4" fmla="*/ 9810402 h 10010775"/>
              <a:gd name="connsiteX5" fmla="*/ 3303489 w 7178503"/>
              <a:gd name="connsiteY5" fmla="*/ 10000070 h 10010775"/>
              <a:gd name="connsiteX6" fmla="*/ 3936736 w 7178503"/>
              <a:gd name="connsiteY6" fmla="*/ 5194527 h 10010775"/>
              <a:gd name="connsiteX7" fmla="*/ 4578996 w 7178503"/>
              <a:gd name="connsiteY7" fmla="*/ 4557686 h 10010775"/>
              <a:gd name="connsiteX8" fmla="*/ 5243884 w 7178503"/>
              <a:gd name="connsiteY8" fmla="*/ 3002205 h 10010775"/>
              <a:gd name="connsiteX9" fmla="*/ 5857177 w 7178503"/>
              <a:gd name="connsiteY9" fmla="*/ 170850 h 10010775"/>
              <a:gd name="connsiteX10" fmla="*/ 6563159 w 7178503"/>
              <a:gd name="connsiteY10" fmla="*/ 8484216 h 10010775"/>
              <a:gd name="connsiteX11" fmla="*/ 7178503 w 7178503"/>
              <a:gd name="connsiteY11" fmla="*/ 7000800 h 10010775"/>
              <a:gd name="connsiteX0" fmla="*/ 0 w 7178503"/>
              <a:gd name="connsiteY0" fmla="*/ 9825317 h 10057366"/>
              <a:gd name="connsiteX1" fmla="*/ 680751 w 7178503"/>
              <a:gd name="connsiteY1" fmla="*/ 9286860 h 10057366"/>
              <a:gd name="connsiteX2" fmla="*/ 1397346 w 7178503"/>
              <a:gd name="connsiteY2" fmla="*/ 9246046 h 10057366"/>
              <a:gd name="connsiteX3" fmla="*/ 2013847 w 7178503"/>
              <a:gd name="connsiteY3" fmla="*/ 9991246 h 10057366"/>
              <a:gd name="connsiteX4" fmla="*/ 2675851 w 7178503"/>
              <a:gd name="connsiteY4" fmla="*/ 9810402 h 10057366"/>
              <a:gd name="connsiteX5" fmla="*/ 3303489 w 7178503"/>
              <a:gd name="connsiteY5" fmla="*/ 10000070 h 10057366"/>
              <a:gd name="connsiteX6" fmla="*/ 4003716 w 7178503"/>
              <a:gd name="connsiteY6" fmla="*/ 9406261 h 10057366"/>
              <a:gd name="connsiteX7" fmla="*/ 4578996 w 7178503"/>
              <a:gd name="connsiteY7" fmla="*/ 4557686 h 10057366"/>
              <a:gd name="connsiteX8" fmla="*/ 5243884 w 7178503"/>
              <a:gd name="connsiteY8" fmla="*/ 3002205 h 10057366"/>
              <a:gd name="connsiteX9" fmla="*/ 5857177 w 7178503"/>
              <a:gd name="connsiteY9" fmla="*/ 170850 h 10057366"/>
              <a:gd name="connsiteX10" fmla="*/ 6563159 w 7178503"/>
              <a:gd name="connsiteY10" fmla="*/ 8484216 h 10057366"/>
              <a:gd name="connsiteX11" fmla="*/ 7178503 w 7178503"/>
              <a:gd name="connsiteY11" fmla="*/ 7000800 h 10057366"/>
              <a:gd name="connsiteX0" fmla="*/ 0 w 7178503"/>
              <a:gd name="connsiteY0" fmla="*/ 9871458 h 10056916"/>
              <a:gd name="connsiteX1" fmla="*/ 680751 w 7178503"/>
              <a:gd name="connsiteY1" fmla="*/ 9333001 h 10056916"/>
              <a:gd name="connsiteX2" fmla="*/ 1397346 w 7178503"/>
              <a:gd name="connsiteY2" fmla="*/ 9292187 h 10056916"/>
              <a:gd name="connsiteX3" fmla="*/ 2013847 w 7178503"/>
              <a:gd name="connsiteY3" fmla="*/ 10037387 h 10056916"/>
              <a:gd name="connsiteX4" fmla="*/ 2675851 w 7178503"/>
              <a:gd name="connsiteY4" fmla="*/ 9856543 h 10056916"/>
              <a:gd name="connsiteX5" fmla="*/ 3303489 w 7178503"/>
              <a:gd name="connsiteY5" fmla="*/ 10046211 h 10056916"/>
              <a:gd name="connsiteX6" fmla="*/ 4003716 w 7178503"/>
              <a:gd name="connsiteY6" fmla="*/ 9452402 h 10056916"/>
              <a:gd name="connsiteX7" fmla="*/ 4562251 w 7178503"/>
              <a:gd name="connsiteY7" fmla="*/ 9672185 h 10056916"/>
              <a:gd name="connsiteX8" fmla="*/ 5243884 w 7178503"/>
              <a:gd name="connsiteY8" fmla="*/ 3048346 h 10056916"/>
              <a:gd name="connsiteX9" fmla="*/ 5857177 w 7178503"/>
              <a:gd name="connsiteY9" fmla="*/ 216991 h 10056916"/>
              <a:gd name="connsiteX10" fmla="*/ 6563159 w 7178503"/>
              <a:gd name="connsiteY10" fmla="*/ 8530357 h 10056916"/>
              <a:gd name="connsiteX11" fmla="*/ 7178503 w 7178503"/>
              <a:gd name="connsiteY11" fmla="*/ 7046941 h 10056916"/>
              <a:gd name="connsiteX0" fmla="*/ 0 w 7178503"/>
              <a:gd name="connsiteY0" fmla="*/ 9655528 h 9840986"/>
              <a:gd name="connsiteX1" fmla="*/ 680751 w 7178503"/>
              <a:gd name="connsiteY1" fmla="*/ 9117071 h 9840986"/>
              <a:gd name="connsiteX2" fmla="*/ 1397346 w 7178503"/>
              <a:gd name="connsiteY2" fmla="*/ 9076257 h 9840986"/>
              <a:gd name="connsiteX3" fmla="*/ 2013847 w 7178503"/>
              <a:gd name="connsiteY3" fmla="*/ 9821457 h 9840986"/>
              <a:gd name="connsiteX4" fmla="*/ 2675851 w 7178503"/>
              <a:gd name="connsiteY4" fmla="*/ 9640613 h 9840986"/>
              <a:gd name="connsiteX5" fmla="*/ 3303489 w 7178503"/>
              <a:gd name="connsiteY5" fmla="*/ 9830281 h 9840986"/>
              <a:gd name="connsiteX6" fmla="*/ 4003716 w 7178503"/>
              <a:gd name="connsiteY6" fmla="*/ 9236472 h 9840986"/>
              <a:gd name="connsiteX7" fmla="*/ 4562251 w 7178503"/>
              <a:gd name="connsiteY7" fmla="*/ 9456255 h 9840986"/>
              <a:gd name="connsiteX8" fmla="*/ 5277375 w 7178503"/>
              <a:gd name="connsiteY8" fmla="*/ 8971553 h 9840986"/>
              <a:gd name="connsiteX9" fmla="*/ 5857177 w 7178503"/>
              <a:gd name="connsiteY9" fmla="*/ 1061 h 9840986"/>
              <a:gd name="connsiteX10" fmla="*/ 6563159 w 7178503"/>
              <a:gd name="connsiteY10" fmla="*/ 8314427 h 9840986"/>
              <a:gd name="connsiteX11" fmla="*/ 7178503 w 7178503"/>
              <a:gd name="connsiteY11" fmla="*/ 6831011 h 9840986"/>
              <a:gd name="connsiteX0" fmla="*/ 0 w 7178503"/>
              <a:gd name="connsiteY0" fmla="*/ 2824591 h 3010049"/>
              <a:gd name="connsiteX1" fmla="*/ 680751 w 7178503"/>
              <a:gd name="connsiteY1" fmla="*/ 2286134 h 3010049"/>
              <a:gd name="connsiteX2" fmla="*/ 1397346 w 7178503"/>
              <a:gd name="connsiteY2" fmla="*/ 2245320 h 3010049"/>
              <a:gd name="connsiteX3" fmla="*/ 2013847 w 7178503"/>
              <a:gd name="connsiteY3" fmla="*/ 2990520 h 3010049"/>
              <a:gd name="connsiteX4" fmla="*/ 2675851 w 7178503"/>
              <a:gd name="connsiteY4" fmla="*/ 2809676 h 3010049"/>
              <a:gd name="connsiteX5" fmla="*/ 3303489 w 7178503"/>
              <a:gd name="connsiteY5" fmla="*/ 2999344 h 3010049"/>
              <a:gd name="connsiteX6" fmla="*/ 4003716 w 7178503"/>
              <a:gd name="connsiteY6" fmla="*/ 2405535 h 3010049"/>
              <a:gd name="connsiteX7" fmla="*/ 4562251 w 7178503"/>
              <a:gd name="connsiteY7" fmla="*/ 2625318 h 3010049"/>
              <a:gd name="connsiteX8" fmla="*/ 5277375 w 7178503"/>
              <a:gd name="connsiteY8" fmla="*/ 2140616 h 3010049"/>
              <a:gd name="connsiteX9" fmla="*/ 5790197 w 7178503"/>
              <a:gd name="connsiteY9" fmla="*/ 1522206 h 3010049"/>
              <a:gd name="connsiteX10" fmla="*/ 6563159 w 7178503"/>
              <a:gd name="connsiteY10" fmla="*/ 1483490 h 3010049"/>
              <a:gd name="connsiteX11" fmla="*/ 7178503 w 7178503"/>
              <a:gd name="connsiteY11" fmla="*/ 74 h 3010049"/>
              <a:gd name="connsiteX0" fmla="*/ 0 w 7195248"/>
              <a:gd name="connsiteY0" fmla="*/ 1366819 h 1552277"/>
              <a:gd name="connsiteX1" fmla="*/ 680751 w 7195248"/>
              <a:gd name="connsiteY1" fmla="*/ 828362 h 1552277"/>
              <a:gd name="connsiteX2" fmla="*/ 1397346 w 7195248"/>
              <a:gd name="connsiteY2" fmla="*/ 787548 h 1552277"/>
              <a:gd name="connsiteX3" fmla="*/ 2013847 w 7195248"/>
              <a:gd name="connsiteY3" fmla="*/ 1532748 h 1552277"/>
              <a:gd name="connsiteX4" fmla="*/ 2675851 w 7195248"/>
              <a:gd name="connsiteY4" fmla="*/ 1351904 h 1552277"/>
              <a:gd name="connsiteX5" fmla="*/ 3303489 w 7195248"/>
              <a:gd name="connsiteY5" fmla="*/ 1541572 h 1552277"/>
              <a:gd name="connsiteX6" fmla="*/ 4003716 w 7195248"/>
              <a:gd name="connsiteY6" fmla="*/ 947763 h 1552277"/>
              <a:gd name="connsiteX7" fmla="*/ 4562251 w 7195248"/>
              <a:gd name="connsiteY7" fmla="*/ 1167546 h 1552277"/>
              <a:gd name="connsiteX8" fmla="*/ 5277375 w 7195248"/>
              <a:gd name="connsiteY8" fmla="*/ 682844 h 1552277"/>
              <a:gd name="connsiteX9" fmla="*/ 5790197 w 7195248"/>
              <a:gd name="connsiteY9" fmla="*/ 64434 h 1552277"/>
              <a:gd name="connsiteX10" fmla="*/ 6563159 w 7195248"/>
              <a:gd name="connsiteY10" fmla="*/ 25718 h 1552277"/>
              <a:gd name="connsiteX11" fmla="*/ 7195248 w 7195248"/>
              <a:gd name="connsiteY11" fmla="*/ 326935 h 1552277"/>
              <a:gd name="connsiteX0" fmla="*/ 0 w 7259316"/>
              <a:gd name="connsiteY0" fmla="*/ 23927322 h 23927322"/>
              <a:gd name="connsiteX1" fmla="*/ 744819 w 7259316"/>
              <a:gd name="connsiteY1" fmla="*/ 1687740 h 23927322"/>
              <a:gd name="connsiteX2" fmla="*/ 1461414 w 7259316"/>
              <a:gd name="connsiteY2" fmla="*/ 1646926 h 23927322"/>
              <a:gd name="connsiteX3" fmla="*/ 2077915 w 7259316"/>
              <a:gd name="connsiteY3" fmla="*/ 2392126 h 23927322"/>
              <a:gd name="connsiteX4" fmla="*/ 2739919 w 7259316"/>
              <a:gd name="connsiteY4" fmla="*/ 2211282 h 23927322"/>
              <a:gd name="connsiteX5" fmla="*/ 3367557 w 7259316"/>
              <a:gd name="connsiteY5" fmla="*/ 2400950 h 23927322"/>
              <a:gd name="connsiteX6" fmla="*/ 4067784 w 7259316"/>
              <a:gd name="connsiteY6" fmla="*/ 1807141 h 23927322"/>
              <a:gd name="connsiteX7" fmla="*/ 4626319 w 7259316"/>
              <a:gd name="connsiteY7" fmla="*/ 2026924 h 23927322"/>
              <a:gd name="connsiteX8" fmla="*/ 5341443 w 7259316"/>
              <a:gd name="connsiteY8" fmla="*/ 1542222 h 23927322"/>
              <a:gd name="connsiteX9" fmla="*/ 5854265 w 7259316"/>
              <a:gd name="connsiteY9" fmla="*/ 923812 h 23927322"/>
              <a:gd name="connsiteX10" fmla="*/ 6627227 w 7259316"/>
              <a:gd name="connsiteY10" fmla="*/ 885096 h 23927322"/>
              <a:gd name="connsiteX11" fmla="*/ 7259316 w 7259316"/>
              <a:gd name="connsiteY11" fmla="*/ 1186313 h 23927322"/>
              <a:gd name="connsiteX0" fmla="*/ 0 w 7259316"/>
              <a:gd name="connsiteY0" fmla="*/ 23680715 h 24943141"/>
              <a:gd name="connsiteX1" fmla="*/ 727347 w 7259316"/>
              <a:gd name="connsiteY1" fmla="*/ 23142259 h 24943141"/>
              <a:gd name="connsiteX2" fmla="*/ 1461414 w 7259316"/>
              <a:gd name="connsiteY2" fmla="*/ 1400319 h 24943141"/>
              <a:gd name="connsiteX3" fmla="*/ 2077915 w 7259316"/>
              <a:gd name="connsiteY3" fmla="*/ 2145519 h 24943141"/>
              <a:gd name="connsiteX4" fmla="*/ 2739919 w 7259316"/>
              <a:gd name="connsiteY4" fmla="*/ 1964675 h 24943141"/>
              <a:gd name="connsiteX5" fmla="*/ 3367557 w 7259316"/>
              <a:gd name="connsiteY5" fmla="*/ 2154343 h 24943141"/>
              <a:gd name="connsiteX6" fmla="*/ 4067784 w 7259316"/>
              <a:gd name="connsiteY6" fmla="*/ 1560534 h 24943141"/>
              <a:gd name="connsiteX7" fmla="*/ 4626319 w 7259316"/>
              <a:gd name="connsiteY7" fmla="*/ 1780317 h 24943141"/>
              <a:gd name="connsiteX8" fmla="*/ 5341443 w 7259316"/>
              <a:gd name="connsiteY8" fmla="*/ 1295615 h 24943141"/>
              <a:gd name="connsiteX9" fmla="*/ 5854265 w 7259316"/>
              <a:gd name="connsiteY9" fmla="*/ 677205 h 24943141"/>
              <a:gd name="connsiteX10" fmla="*/ 6627227 w 7259316"/>
              <a:gd name="connsiteY10" fmla="*/ 638489 h 24943141"/>
              <a:gd name="connsiteX11" fmla="*/ 7259316 w 7259316"/>
              <a:gd name="connsiteY11" fmla="*/ 939706 h 24943141"/>
              <a:gd name="connsiteX0" fmla="*/ 0 w 7259316"/>
              <a:gd name="connsiteY0" fmla="*/ 23680715 h 23714128"/>
              <a:gd name="connsiteX1" fmla="*/ 727347 w 7259316"/>
              <a:gd name="connsiteY1" fmla="*/ 23142259 h 23714128"/>
              <a:gd name="connsiteX2" fmla="*/ 1461414 w 7259316"/>
              <a:gd name="connsiteY2" fmla="*/ 1400319 h 23714128"/>
              <a:gd name="connsiteX3" fmla="*/ 2077915 w 7259316"/>
              <a:gd name="connsiteY3" fmla="*/ 2145519 h 23714128"/>
              <a:gd name="connsiteX4" fmla="*/ 2739919 w 7259316"/>
              <a:gd name="connsiteY4" fmla="*/ 1964675 h 23714128"/>
              <a:gd name="connsiteX5" fmla="*/ 3367557 w 7259316"/>
              <a:gd name="connsiteY5" fmla="*/ 2154343 h 23714128"/>
              <a:gd name="connsiteX6" fmla="*/ 4067784 w 7259316"/>
              <a:gd name="connsiteY6" fmla="*/ 1560534 h 23714128"/>
              <a:gd name="connsiteX7" fmla="*/ 4626319 w 7259316"/>
              <a:gd name="connsiteY7" fmla="*/ 1780317 h 23714128"/>
              <a:gd name="connsiteX8" fmla="*/ 5341443 w 7259316"/>
              <a:gd name="connsiteY8" fmla="*/ 1295615 h 23714128"/>
              <a:gd name="connsiteX9" fmla="*/ 5854265 w 7259316"/>
              <a:gd name="connsiteY9" fmla="*/ 677205 h 23714128"/>
              <a:gd name="connsiteX10" fmla="*/ 6627227 w 7259316"/>
              <a:gd name="connsiteY10" fmla="*/ 638489 h 23714128"/>
              <a:gd name="connsiteX11" fmla="*/ 7259316 w 7259316"/>
              <a:gd name="connsiteY11" fmla="*/ 939706 h 23714128"/>
              <a:gd name="connsiteX0" fmla="*/ 0 w 7259316"/>
              <a:gd name="connsiteY0" fmla="*/ 23067944 h 23076551"/>
              <a:gd name="connsiteX1" fmla="*/ 727347 w 7259316"/>
              <a:gd name="connsiteY1" fmla="*/ 22529488 h 23076551"/>
              <a:gd name="connsiteX2" fmla="*/ 1344927 w 7259316"/>
              <a:gd name="connsiteY2" fmla="*/ 19012523 h 23076551"/>
              <a:gd name="connsiteX3" fmla="*/ 2077915 w 7259316"/>
              <a:gd name="connsiteY3" fmla="*/ 1532748 h 23076551"/>
              <a:gd name="connsiteX4" fmla="*/ 2739919 w 7259316"/>
              <a:gd name="connsiteY4" fmla="*/ 1351904 h 23076551"/>
              <a:gd name="connsiteX5" fmla="*/ 3367557 w 7259316"/>
              <a:gd name="connsiteY5" fmla="*/ 1541572 h 23076551"/>
              <a:gd name="connsiteX6" fmla="*/ 4067784 w 7259316"/>
              <a:gd name="connsiteY6" fmla="*/ 947763 h 23076551"/>
              <a:gd name="connsiteX7" fmla="*/ 4626319 w 7259316"/>
              <a:gd name="connsiteY7" fmla="*/ 1167546 h 23076551"/>
              <a:gd name="connsiteX8" fmla="*/ 5341443 w 7259316"/>
              <a:gd name="connsiteY8" fmla="*/ 682844 h 23076551"/>
              <a:gd name="connsiteX9" fmla="*/ 5854265 w 7259316"/>
              <a:gd name="connsiteY9" fmla="*/ 64434 h 23076551"/>
              <a:gd name="connsiteX10" fmla="*/ 6627227 w 7259316"/>
              <a:gd name="connsiteY10" fmla="*/ 25718 h 23076551"/>
              <a:gd name="connsiteX11" fmla="*/ 7259316 w 7259316"/>
              <a:gd name="connsiteY11" fmla="*/ 326935 h 23076551"/>
              <a:gd name="connsiteX0" fmla="*/ 0 w 7259316"/>
              <a:gd name="connsiteY0" fmla="*/ 23067944 h 23068113"/>
              <a:gd name="connsiteX1" fmla="*/ 727347 w 7259316"/>
              <a:gd name="connsiteY1" fmla="*/ 22529488 h 23068113"/>
              <a:gd name="connsiteX2" fmla="*/ 1315805 w 7259316"/>
              <a:gd name="connsiteY2" fmla="*/ 19409802 h 23068113"/>
              <a:gd name="connsiteX3" fmla="*/ 2077915 w 7259316"/>
              <a:gd name="connsiteY3" fmla="*/ 1532748 h 23068113"/>
              <a:gd name="connsiteX4" fmla="*/ 2739919 w 7259316"/>
              <a:gd name="connsiteY4" fmla="*/ 1351904 h 23068113"/>
              <a:gd name="connsiteX5" fmla="*/ 3367557 w 7259316"/>
              <a:gd name="connsiteY5" fmla="*/ 1541572 h 23068113"/>
              <a:gd name="connsiteX6" fmla="*/ 4067784 w 7259316"/>
              <a:gd name="connsiteY6" fmla="*/ 947763 h 23068113"/>
              <a:gd name="connsiteX7" fmla="*/ 4626319 w 7259316"/>
              <a:gd name="connsiteY7" fmla="*/ 1167546 h 23068113"/>
              <a:gd name="connsiteX8" fmla="*/ 5341443 w 7259316"/>
              <a:gd name="connsiteY8" fmla="*/ 682844 h 23068113"/>
              <a:gd name="connsiteX9" fmla="*/ 5854265 w 7259316"/>
              <a:gd name="connsiteY9" fmla="*/ 64434 h 23068113"/>
              <a:gd name="connsiteX10" fmla="*/ 6627227 w 7259316"/>
              <a:gd name="connsiteY10" fmla="*/ 25718 h 23068113"/>
              <a:gd name="connsiteX11" fmla="*/ 7259316 w 7259316"/>
              <a:gd name="connsiteY11" fmla="*/ 326935 h 23068113"/>
              <a:gd name="connsiteX0" fmla="*/ 0 w 7259316"/>
              <a:gd name="connsiteY0" fmla="*/ 23218459 h 23474391"/>
              <a:gd name="connsiteX1" fmla="*/ 727347 w 7259316"/>
              <a:gd name="connsiteY1" fmla="*/ 22680003 h 23474391"/>
              <a:gd name="connsiteX2" fmla="*/ 1315805 w 7259316"/>
              <a:gd name="connsiteY2" fmla="*/ 19560317 h 23474391"/>
              <a:gd name="connsiteX3" fmla="*/ 1973077 w 7259316"/>
              <a:gd name="connsiteY3" fmla="*/ 22639495 h 23474391"/>
              <a:gd name="connsiteX4" fmla="*/ 2739919 w 7259316"/>
              <a:gd name="connsiteY4" fmla="*/ 1502419 h 23474391"/>
              <a:gd name="connsiteX5" fmla="*/ 3367557 w 7259316"/>
              <a:gd name="connsiteY5" fmla="*/ 1692087 h 23474391"/>
              <a:gd name="connsiteX6" fmla="*/ 4067784 w 7259316"/>
              <a:gd name="connsiteY6" fmla="*/ 1098278 h 23474391"/>
              <a:gd name="connsiteX7" fmla="*/ 4626319 w 7259316"/>
              <a:gd name="connsiteY7" fmla="*/ 1318061 h 23474391"/>
              <a:gd name="connsiteX8" fmla="*/ 5341443 w 7259316"/>
              <a:gd name="connsiteY8" fmla="*/ 833359 h 23474391"/>
              <a:gd name="connsiteX9" fmla="*/ 5854265 w 7259316"/>
              <a:gd name="connsiteY9" fmla="*/ 214949 h 23474391"/>
              <a:gd name="connsiteX10" fmla="*/ 6627227 w 7259316"/>
              <a:gd name="connsiteY10" fmla="*/ 176233 h 23474391"/>
              <a:gd name="connsiteX11" fmla="*/ 7259316 w 7259316"/>
              <a:gd name="connsiteY11" fmla="*/ 477450 h 23474391"/>
              <a:gd name="connsiteX0" fmla="*/ 0 w 7259316"/>
              <a:gd name="connsiteY0" fmla="*/ 23218459 h 23218628"/>
              <a:gd name="connsiteX1" fmla="*/ 727347 w 7259316"/>
              <a:gd name="connsiteY1" fmla="*/ 22680003 h 23218628"/>
              <a:gd name="connsiteX2" fmla="*/ 1315805 w 7259316"/>
              <a:gd name="connsiteY2" fmla="*/ 19560317 h 23218628"/>
              <a:gd name="connsiteX3" fmla="*/ 1973077 w 7259316"/>
              <a:gd name="connsiteY3" fmla="*/ 22639495 h 23218628"/>
              <a:gd name="connsiteX4" fmla="*/ 2739919 w 7259316"/>
              <a:gd name="connsiteY4" fmla="*/ 1502419 h 23218628"/>
              <a:gd name="connsiteX5" fmla="*/ 3367557 w 7259316"/>
              <a:gd name="connsiteY5" fmla="*/ 1692087 h 23218628"/>
              <a:gd name="connsiteX6" fmla="*/ 4067784 w 7259316"/>
              <a:gd name="connsiteY6" fmla="*/ 1098278 h 23218628"/>
              <a:gd name="connsiteX7" fmla="*/ 4626319 w 7259316"/>
              <a:gd name="connsiteY7" fmla="*/ 1318061 h 23218628"/>
              <a:gd name="connsiteX8" fmla="*/ 5341443 w 7259316"/>
              <a:gd name="connsiteY8" fmla="*/ 833359 h 23218628"/>
              <a:gd name="connsiteX9" fmla="*/ 5854265 w 7259316"/>
              <a:gd name="connsiteY9" fmla="*/ 214949 h 23218628"/>
              <a:gd name="connsiteX10" fmla="*/ 6627227 w 7259316"/>
              <a:gd name="connsiteY10" fmla="*/ 176233 h 23218628"/>
              <a:gd name="connsiteX11" fmla="*/ 7259316 w 7259316"/>
              <a:gd name="connsiteY11" fmla="*/ 477450 h 23218628"/>
              <a:gd name="connsiteX0" fmla="*/ 0 w 7259316"/>
              <a:gd name="connsiteY0" fmla="*/ 23067944 h 24400763"/>
              <a:gd name="connsiteX1" fmla="*/ 727347 w 7259316"/>
              <a:gd name="connsiteY1" fmla="*/ 22529488 h 24400763"/>
              <a:gd name="connsiteX2" fmla="*/ 1315805 w 7259316"/>
              <a:gd name="connsiteY2" fmla="*/ 19409802 h 24400763"/>
              <a:gd name="connsiteX3" fmla="*/ 1973077 w 7259316"/>
              <a:gd name="connsiteY3" fmla="*/ 22488980 h 24400763"/>
              <a:gd name="connsiteX4" fmla="*/ 2605959 w 7259316"/>
              <a:gd name="connsiteY4" fmla="*/ 22804737 h 24400763"/>
              <a:gd name="connsiteX5" fmla="*/ 3367557 w 7259316"/>
              <a:gd name="connsiteY5" fmla="*/ 1541572 h 24400763"/>
              <a:gd name="connsiteX6" fmla="*/ 4067784 w 7259316"/>
              <a:gd name="connsiteY6" fmla="*/ 947763 h 24400763"/>
              <a:gd name="connsiteX7" fmla="*/ 4626319 w 7259316"/>
              <a:gd name="connsiteY7" fmla="*/ 1167546 h 24400763"/>
              <a:gd name="connsiteX8" fmla="*/ 5341443 w 7259316"/>
              <a:gd name="connsiteY8" fmla="*/ 682844 h 24400763"/>
              <a:gd name="connsiteX9" fmla="*/ 5854265 w 7259316"/>
              <a:gd name="connsiteY9" fmla="*/ 64434 h 24400763"/>
              <a:gd name="connsiteX10" fmla="*/ 6627227 w 7259316"/>
              <a:gd name="connsiteY10" fmla="*/ 25718 h 24400763"/>
              <a:gd name="connsiteX11" fmla="*/ 7259316 w 7259316"/>
              <a:gd name="connsiteY11" fmla="*/ 326935 h 24400763"/>
              <a:gd name="connsiteX0" fmla="*/ 0 w 7259316"/>
              <a:gd name="connsiteY0" fmla="*/ 23067944 h 23474472"/>
              <a:gd name="connsiteX1" fmla="*/ 727347 w 7259316"/>
              <a:gd name="connsiteY1" fmla="*/ 22529488 h 23474472"/>
              <a:gd name="connsiteX2" fmla="*/ 1315805 w 7259316"/>
              <a:gd name="connsiteY2" fmla="*/ 19409802 h 23474472"/>
              <a:gd name="connsiteX3" fmla="*/ 1973077 w 7259316"/>
              <a:gd name="connsiteY3" fmla="*/ 22488980 h 23474472"/>
              <a:gd name="connsiteX4" fmla="*/ 2605959 w 7259316"/>
              <a:gd name="connsiteY4" fmla="*/ 22804737 h 23474472"/>
              <a:gd name="connsiteX5" fmla="*/ 3367557 w 7259316"/>
              <a:gd name="connsiteY5" fmla="*/ 1541572 h 23474472"/>
              <a:gd name="connsiteX6" fmla="*/ 4067784 w 7259316"/>
              <a:gd name="connsiteY6" fmla="*/ 947763 h 23474472"/>
              <a:gd name="connsiteX7" fmla="*/ 4626319 w 7259316"/>
              <a:gd name="connsiteY7" fmla="*/ 1167546 h 23474472"/>
              <a:gd name="connsiteX8" fmla="*/ 5341443 w 7259316"/>
              <a:gd name="connsiteY8" fmla="*/ 682844 h 23474472"/>
              <a:gd name="connsiteX9" fmla="*/ 5854265 w 7259316"/>
              <a:gd name="connsiteY9" fmla="*/ 64434 h 23474472"/>
              <a:gd name="connsiteX10" fmla="*/ 6627227 w 7259316"/>
              <a:gd name="connsiteY10" fmla="*/ 25718 h 23474472"/>
              <a:gd name="connsiteX11" fmla="*/ 7259316 w 7259316"/>
              <a:gd name="connsiteY11" fmla="*/ 326935 h 23474472"/>
              <a:gd name="connsiteX0" fmla="*/ 0 w 7259316"/>
              <a:gd name="connsiteY0" fmla="*/ 23067944 h 23667506"/>
              <a:gd name="connsiteX1" fmla="*/ 727347 w 7259316"/>
              <a:gd name="connsiteY1" fmla="*/ 22529488 h 23667506"/>
              <a:gd name="connsiteX2" fmla="*/ 1315805 w 7259316"/>
              <a:gd name="connsiteY2" fmla="*/ 19409802 h 23667506"/>
              <a:gd name="connsiteX3" fmla="*/ 1973077 w 7259316"/>
              <a:gd name="connsiteY3" fmla="*/ 22488980 h 23667506"/>
              <a:gd name="connsiteX4" fmla="*/ 2640906 w 7259316"/>
              <a:gd name="connsiteY4" fmla="*/ 23053037 h 23667506"/>
              <a:gd name="connsiteX5" fmla="*/ 3367557 w 7259316"/>
              <a:gd name="connsiteY5" fmla="*/ 1541572 h 23667506"/>
              <a:gd name="connsiteX6" fmla="*/ 4067784 w 7259316"/>
              <a:gd name="connsiteY6" fmla="*/ 947763 h 23667506"/>
              <a:gd name="connsiteX7" fmla="*/ 4626319 w 7259316"/>
              <a:gd name="connsiteY7" fmla="*/ 1167546 h 23667506"/>
              <a:gd name="connsiteX8" fmla="*/ 5341443 w 7259316"/>
              <a:gd name="connsiteY8" fmla="*/ 682844 h 23667506"/>
              <a:gd name="connsiteX9" fmla="*/ 5854265 w 7259316"/>
              <a:gd name="connsiteY9" fmla="*/ 64434 h 23667506"/>
              <a:gd name="connsiteX10" fmla="*/ 6627227 w 7259316"/>
              <a:gd name="connsiteY10" fmla="*/ 25718 h 23667506"/>
              <a:gd name="connsiteX11" fmla="*/ 7259316 w 7259316"/>
              <a:gd name="connsiteY11" fmla="*/ 326935 h 23667506"/>
              <a:gd name="connsiteX0" fmla="*/ 0 w 7259316"/>
              <a:gd name="connsiteY0" fmla="*/ 23067944 h 23381322"/>
              <a:gd name="connsiteX1" fmla="*/ 727347 w 7259316"/>
              <a:gd name="connsiteY1" fmla="*/ 22529488 h 23381322"/>
              <a:gd name="connsiteX2" fmla="*/ 1315805 w 7259316"/>
              <a:gd name="connsiteY2" fmla="*/ 19409802 h 23381322"/>
              <a:gd name="connsiteX3" fmla="*/ 1973077 w 7259316"/>
              <a:gd name="connsiteY3" fmla="*/ 22488980 h 23381322"/>
              <a:gd name="connsiteX4" fmla="*/ 2640906 w 7259316"/>
              <a:gd name="connsiteY4" fmla="*/ 23053037 h 23381322"/>
              <a:gd name="connsiteX5" fmla="*/ 3367557 w 7259316"/>
              <a:gd name="connsiteY5" fmla="*/ 1541572 h 23381322"/>
              <a:gd name="connsiteX6" fmla="*/ 4067784 w 7259316"/>
              <a:gd name="connsiteY6" fmla="*/ 947763 h 23381322"/>
              <a:gd name="connsiteX7" fmla="*/ 4626319 w 7259316"/>
              <a:gd name="connsiteY7" fmla="*/ 1167546 h 23381322"/>
              <a:gd name="connsiteX8" fmla="*/ 5341443 w 7259316"/>
              <a:gd name="connsiteY8" fmla="*/ 682844 h 23381322"/>
              <a:gd name="connsiteX9" fmla="*/ 5854265 w 7259316"/>
              <a:gd name="connsiteY9" fmla="*/ 64434 h 23381322"/>
              <a:gd name="connsiteX10" fmla="*/ 6627227 w 7259316"/>
              <a:gd name="connsiteY10" fmla="*/ 25718 h 23381322"/>
              <a:gd name="connsiteX11" fmla="*/ 7259316 w 7259316"/>
              <a:gd name="connsiteY11" fmla="*/ 326935 h 23381322"/>
              <a:gd name="connsiteX0" fmla="*/ 0 w 7259316"/>
              <a:gd name="connsiteY0" fmla="*/ 23657756 h 23657926"/>
              <a:gd name="connsiteX1" fmla="*/ 727347 w 7259316"/>
              <a:gd name="connsiteY1" fmla="*/ 23119300 h 23657926"/>
              <a:gd name="connsiteX2" fmla="*/ 1315805 w 7259316"/>
              <a:gd name="connsiteY2" fmla="*/ 19999614 h 23657926"/>
              <a:gd name="connsiteX3" fmla="*/ 1973077 w 7259316"/>
              <a:gd name="connsiteY3" fmla="*/ 23078792 h 23657926"/>
              <a:gd name="connsiteX4" fmla="*/ 2640906 w 7259316"/>
              <a:gd name="connsiteY4" fmla="*/ 23642849 h 23657926"/>
              <a:gd name="connsiteX5" fmla="*/ 3251070 w 7259316"/>
              <a:gd name="connsiteY5" fmla="*/ 23236596 h 23657926"/>
              <a:gd name="connsiteX6" fmla="*/ 4067784 w 7259316"/>
              <a:gd name="connsiteY6" fmla="*/ 1537575 h 23657926"/>
              <a:gd name="connsiteX7" fmla="*/ 4626319 w 7259316"/>
              <a:gd name="connsiteY7" fmla="*/ 1757358 h 23657926"/>
              <a:gd name="connsiteX8" fmla="*/ 5341443 w 7259316"/>
              <a:gd name="connsiteY8" fmla="*/ 1272656 h 23657926"/>
              <a:gd name="connsiteX9" fmla="*/ 5854265 w 7259316"/>
              <a:gd name="connsiteY9" fmla="*/ 654246 h 23657926"/>
              <a:gd name="connsiteX10" fmla="*/ 6627227 w 7259316"/>
              <a:gd name="connsiteY10" fmla="*/ 615530 h 23657926"/>
              <a:gd name="connsiteX11" fmla="*/ 7259316 w 7259316"/>
              <a:gd name="connsiteY11" fmla="*/ 916747 h 23657926"/>
              <a:gd name="connsiteX0" fmla="*/ 0 w 7259316"/>
              <a:gd name="connsiteY0" fmla="*/ 23657756 h 23657926"/>
              <a:gd name="connsiteX1" fmla="*/ 727347 w 7259316"/>
              <a:gd name="connsiteY1" fmla="*/ 23119300 h 23657926"/>
              <a:gd name="connsiteX2" fmla="*/ 1315805 w 7259316"/>
              <a:gd name="connsiteY2" fmla="*/ 19999614 h 23657926"/>
              <a:gd name="connsiteX3" fmla="*/ 1973077 w 7259316"/>
              <a:gd name="connsiteY3" fmla="*/ 23078792 h 23657926"/>
              <a:gd name="connsiteX4" fmla="*/ 2640906 w 7259316"/>
              <a:gd name="connsiteY4" fmla="*/ 23642849 h 23657926"/>
              <a:gd name="connsiteX5" fmla="*/ 3251070 w 7259316"/>
              <a:gd name="connsiteY5" fmla="*/ 23236596 h 23657926"/>
              <a:gd name="connsiteX6" fmla="*/ 4067784 w 7259316"/>
              <a:gd name="connsiteY6" fmla="*/ 1537575 h 23657926"/>
              <a:gd name="connsiteX7" fmla="*/ 4626319 w 7259316"/>
              <a:gd name="connsiteY7" fmla="*/ 1757358 h 23657926"/>
              <a:gd name="connsiteX8" fmla="*/ 5341443 w 7259316"/>
              <a:gd name="connsiteY8" fmla="*/ 1272656 h 23657926"/>
              <a:gd name="connsiteX9" fmla="*/ 5854265 w 7259316"/>
              <a:gd name="connsiteY9" fmla="*/ 654246 h 23657926"/>
              <a:gd name="connsiteX10" fmla="*/ 6627227 w 7259316"/>
              <a:gd name="connsiteY10" fmla="*/ 615530 h 23657926"/>
              <a:gd name="connsiteX11" fmla="*/ 7259316 w 7259316"/>
              <a:gd name="connsiteY11" fmla="*/ 916747 h 23657926"/>
              <a:gd name="connsiteX0" fmla="*/ 0 w 7259316"/>
              <a:gd name="connsiteY0" fmla="*/ 23657756 h 23750458"/>
              <a:gd name="connsiteX1" fmla="*/ 727347 w 7259316"/>
              <a:gd name="connsiteY1" fmla="*/ 23119300 h 23750458"/>
              <a:gd name="connsiteX2" fmla="*/ 1315805 w 7259316"/>
              <a:gd name="connsiteY2" fmla="*/ 19999614 h 23750458"/>
              <a:gd name="connsiteX3" fmla="*/ 1973077 w 7259316"/>
              <a:gd name="connsiteY3" fmla="*/ 23078792 h 23750458"/>
              <a:gd name="connsiteX4" fmla="*/ 2640906 w 7259316"/>
              <a:gd name="connsiteY4" fmla="*/ 23642849 h 23750458"/>
              <a:gd name="connsiteX5" fmla="*/ 3251070 w 7259316"/>
              <a:gd name="connsiteY5" fmla="*/ 23236596 h 23750458"/>
              <a:gd name="connsiteX6" fmla="*/ 4067784 w 7259316"/>
              <a:gd name="connsiteY6" fmla="*/ 1537575 h 23750458"/>
              <a:gd name="connsiteX7" fmla="*/ 4626319 w 7259316"/>
              <a:gd name="connsiteY7" fmla="*/ 1757358 h 23750458"/>
              <a:gd name="connsiteX8" fmla="*/ 5341443 w 7259316"/>
              <a:gd name="connsiteY8" fmla="*/ 1272656 h 23750458"/>
              <a:gd name="connsiteX9" fmla="*/ 5854265 w 7259316"/>
              <a:gd name="connsiteY9" fmla="*/ 654246 h 23750458"/>
              <a:gd name="connsiteX10" fmla="*/ 6627227 w 7259316"/>
              <a:gd name="connsiteY10" fmla="*/ 615530 h 23750458"/>
              <a:gd name="connsiteX11" fmla="*/ 7259316 w 7259316"/>
              <a:gd name="connsiteY11" fmla="*/ 916747 h 23750458"/>
              <a:gd name="connsiteX0" fmla="*/ 0 w 7259316"/>
              <a:gd name="connsiteY0" fmla="*/ 23621014 h 23627660"/>
              <a:gd name="connsiteX1" fmla="*/ 727347 w 7259316"/>
              <a:gd name="connsiteY1" fmla="*/ 23082558 h 23627660"/>
              <a:gd name="connsiteX2" fmla="*/ 1315805 w 7259316"/>
              <a:gd name="connsiteY2" fmla="*/ 19962872 h 23627660"/>
              <a:gd name="connsiteX3" fmla="*/ 1973077 w 7259316"/>
              <a:gd name="connsiteY3" fmla="*/ 23042050 h 23627660"/>
              <a:gd name="connsiteX4" fmla="*/ 2640906 w 7259316"/>
              <a:gd name="connsiteY4" fmla="*/ 23606107 h 23627660"/>
              <a:gd name="connsiteX5" fmla="*/ 3221949 w 7259316"/>
              <a:gd name="connsiteY5" fmla="*/ 22703261 h 23627660"/>
              <a:gd name="connsiteX6" fmla="*/ 4067784 w 7259316"/>
              <a:gd name="connsiteY6" fmla="*/ 1500833 h 23627660"/>
              <a:gd name="connsiteX7" fmla="*/ 4626319 w 7259316"/>
              <a:gd name="connsiteY7" fmla="*/ 1720616 h 23627660"/>
              <a:gd name="connsiteX8" fmla="*/ 5341443 w 7259316"/>
              <a:gd name="connsiteY8" fmla="*/ 1235914 h 23627660"/>
              <a:gd name="connsiteX9" fmla="*/ 5854265 w 7259316"/>
              <a:gd name="connsiteY9" fmla="*/ 617504 h 23627660"/>
              <a:gd name="connsiteX10" fmla="*/ 6627227 w 7259316"/>
              <a:gd name="connsiteY10" fmla="*/ 578788 h 23627660"/>
              <a:gd name="connsiteX11" fmla="*/ 7259316 w 7259316"/>
              <a:gd name="connsiteY11" fmla="*/ 880005 h 23627660"/>
              <a:gd name="connsiteX0" fmla="*/ 0 w 7259316"/>
              <a:gd name="connsiteY0" fmla="*/ 23551209 h 23624350"/>
              <a:gd name="connsiteX1" fmla="*/ 727347 w 7259316"/>
              <a:gd name="connsiteY1" fmla="*/ 23012753 h 23624350"/>
              <a:gd name="connsiteX2" fmla="*/ 1315805 w 7259316"/>
              <a:gd name="connsiteY2" fmla="*/ 19893067 h 23624350"/>
              <a:gd name="connsiteX3" fmla="*/ 1973077 w 7259316"/>
              <a:gd name="connsiteY3" fmla="*/ 22972245 h 23624350"/>
              <a:gd name="connsiteX4" fmla="*/ 2640906 w 7259316"/>
              <a:gd name="connsiteY4" fmla="*/ 23536302 h 23624350"/>
              <a:gd name="connsiteX5" fmla="*/ 3221949 w 7259316"/>
              <a:gd name="connsiteY5" fmla="*/ 21689934 h 23624350"/>
              <a:gd name="connsiteX6" fmla="*/ 4067784 w 7259316"/>
              <a:gd name="connsiteY6" fmla="*/ 1431028 h 23624350"/>
              <a:gd name="connsiteX7" fmla="*/ 4626319 w 7259316"/>
              <a:gd name="connsiteY7" fmla="*/ 1650811 h 23624350"/>
              <a:gd name="connsiteX8" fmla="*/ 5341443 w 7259316"/>
              <a:gd name="connsiteY8" fmla="*/ 1166109 h 23624350"/>
              <a:gd name="connsiteX9" fmla="*/ 5854265 w 7259316"/>
              <a:gd name="connsiteY9" fmla="*/ 547699 h 23624350"/>
              <a:gd name="connsiteX10" fmla="*/ 6627227 w 7259316"/>
              <a:gd name="connsiteY10" fmla="*/ 508983 h 23624350"/>
              <a:gd name="connsiteX11" fmla="*/ 7259316 w 7259316"/>
              <a:gd name="connsiteY11" fmla="*/ 810200 h 23624350"/>
              <a:gd name="connsiteX0" fmla="*/ 0 w 7259316"/>
              <a:gd name="connsiteY0" fmla="*/ 23067944 h 23141085"/>
              <a:gd name="connsiteX1" fmla="*/ 727347 w 7259316"/>
              <a:gd name="connsiteY1" fmla="*/ 22529488 h 23141085"/>
              <a:gd name="connsiteX2" fmla="*/ 1315805 w 7259316"/>
              <a:gd name="connsiteY2" fmla="*/ 19409802 h 23141085"/>
              <a:gd name="connsiteX3" fmla="*/ 1973077 w 7259316"/>
              <a:gd name="connsiteY3" fmla="*/ 22488980 h 23141085"/>
              <a:gd name="connsiteX4" fmla="*/ 2640906 w 7259316"/>
              <a:gd name="connsiteY4" fmla="*/ 23053037 h 23141085"/>
              <a:gd name="connsiteX5" fmla="*/ 3221949 w 7259316"/>
              <a:gd name="connsiteY5" fmla="*/ 21206669 h 23141085"/>
              <a:gd name="connsiteX6" fmla="*/ 3928000 w 7259316"/>
              <a:gd name="connsiteY6" fmla="*/ 20116266 h 23141085"/>
              <a:gd name="connsiteX7" fmla="*/ 4626319 w 7259316"/>
              <a:gd name="connsiteY7" fmla="*/ 1167546 h 23141085"/>
              <a:gd name="connsiteX8" fmla="*/ 5341443 w 7259316"/>
              <a:gd name="connsiteY8" fmla="*/ 682844 h 23141085"/>
              <a:gd name="connsiteX9" fmla="*/ 5854265 w 7259316"/>
              <a:gd name="connsiteY9" fmla="*/ 64434 h 23141085"/>
              <a:gd name="connsiteX10" fmla="*/ 6627227 w 7259316"/>
              <a:gd name="connsiteY10" fmla="*/ 25718 h 23141085"/>
              <a:gd name="connsiteX11" fmla="*/ 7259316 w 7259316"/>
              <a:gd name="connsiteY11" fmla="*/ 326935 h 23141085"/>
              <a:gd name="connsiteX0" fmla="*/ 0 w 7259316"/>
              <a:gd name="connsiteY0" fmla="*/ 23067944 h 23141085"/>
              <a:gd name="connsiteX1" fmla="*/ 727347 w 7259316"/>
              <a:gd name="connsiteY1" fmla="*/ 22529488 h 23141085"/>
              <a:gd name="connsiteX2" fmla="*/ 1315805 w 7259316"/>
              <a:gd name="connsiteY2" fmla="*/ 19409802 h 23141085"/>
              <a:gd name="connsiteX3" fmla="*/ 1973077 w 7259316"/>
              <a:gd name="connsiteY3" fmla="*/ 22488980 h 23141085"/>
              <a:gd name="connsiteX4" fmla="*/ 2640906 w 7259316"/>
              <a:gd name="connsiteY4" fmla="*/ 23053037 h 23141085"/>
              <a:gd name="connsiteX5" fmla="*/ 3221949 w 7259316"/>
              <a:gd name="connsiteY5" fmla="*/ 21206669 h 23141085"/>
              <a:gd name="connsiteX6" fmla="*/ 3928000 w 7259316"/>
              <a:gd name="connsiteY6" fmla="*/ 20116266 h 23141085"/>
              <a:gd name="connsiteX7" fmla="*/ 4626319 w 7259316"/>
              <a:gd name="connsiteY7" fmla="*/ 1167546 h 23141085"/>
              <a:gd name="connsiteX8" fmla="*/ 5341443 w 7259316"/>
              <a:gd name="connsiteY8" fmla="*/ 682844 h 23141085"/>
              <a:gd name="connsiteX9" fmla="*/ 5854265 w 7259316"/>
              <a:gd name="connsiteY9" fmla="*/ 64434 h 23141085"/>
              <a:gd name="connsiteX10" fmla="*/ 6627227 w 7259316"/>
              <a:gd name="connsiteY10" fmla="*/ 25718 h 23141085"/>
              <a:gd name="connsiteX11" fmla="*/ 7259316 w 7259316"/>
              <a:gd name="connsiteY11" fmla="*/ 326935 h 23141085"/>
              <a:gd name="connsiteX0" fmla="*/ 0 w 7259316"/>
              <a:gd name="connsiteY0" fmla="*/ 23067944 h 23141085"/>
              <a:gd name="connsiteX1" fmla="*/ 727347 w 7259316"/>
              <a:gd name="connsiteY1" fmla="*/ 22529488 h 23141085"/>
              <a:gd name="connsiteX2" fmla="*/ 1315805 w 7259316"/>
              <a:gd name="connsiteY2" fmla="*/ 19409802 h 23141085"/>
              <a:gd name="connsiteX3" fmla="*/ 1973077 w 7259316"/>
              <a:gd name="connsiteY3" fmla="*/ 22488980 h 23141085"/>
              <a:gd name="connsiteX4" fmla="*/ 2640906 w 7259316"/>
              <a:gd name="connsiteY4" fmla="*/ 23053037 h 23141085"/>
              <a:gd name="connsiteX5" fmla="*/ 3221949 w 7259316"/>
              <a:gd name="connsiteY5" fmla="*/ 21206669 h 23141085"/>
              <a:gd name="connsiteX6" fmla="*/ 3840634 w 7259316"/>
              <a:gd name="connsiteY6" fmla="*/ 20414223 h 23141085"/>
              <a:gd name="connsiteX7" fmla="*/ 4626319 w 7259316"/>
              <a:gd name="connsiteY7" fmla="*/ 1167546 h 23141085"/>
              <a:gd name="connsiteX8" fmla="*/ 5341443 w 7259316"/>
              <a:gd name="connsiteY8" fmla="*/ 682844 h 23141085"/>
              <a:gd name="connsiteX9" fmla="*/ 5854265 w 7259316"/>
              <a:gd name="connsiteY9" fmla="*/ 64434 h 23141085"/>
              <a:gd name="connsiteX10" fmla="*/ 6627227 w 7259316"/>
              <a:gd name="connsiteY10" fmla="*/ 25718 h 23141085"/>
              <a:gd name="connsiteX11" fmla="*/ 7259316 w 7259316"/>
              <a:gd name="connsiteY11" fmla="*/ 326935 h 23141085"/>
              <a:gd name="connsiteX0" fmla="*/ 0 w 7259316"/>
              <a:gd name="connsiteY0" fmla="*/ 23067944 h 23141085"/>
              <a:gd name="connsiteX1" fmla="*/ 727347 w 7259316"/>
              <a:gd name="connsiteY1" fmla="*/ 22529488 h 23141085"/>
              <a:gd name="connsiteX2" fmla="*/ 1315805 w 7259316"/>
              <a:gd name="connsiteY2" fmla="*/ 19409802 h 23141085"/>
              <a:gd name="connsiteX3" fmla="*/ 1973077 w 7259316"/>
              <a:gd name="connsiteY3" fmla="*/ 22488980 h 23141085"/>
              <a:gd name="connsiteX4" fmla="*/ 2640906 w 7259316"/>
              <a:gd name="connsiteY4" fmla="*/ 23053037 h 23141085"/>
              <a:gd name="connsiteX5" fmla="*/ 3221949 w 7259316"/>
              <a:gd name="connsiteY5" fmla="*/ 21206669 h 23141085"/>
              <a:gd name="connsiteX6" fmla="*/ 3840634 w 7259316"/>
              <a:gd name="connsiteY6" fmla="*/ 20414223 h 23141085"/>
              <a:gd name="connsiteX7" fmla="*/ 4626319 w 7259316"/>
              <a:gd name="connsiteY7" fmla="*/ 1167546 h 23141085"/>
              <a:gd name="connsiteX8" fmla="*/ 5341443 w 7259316"/>
              <a:gd name="connsiteY8" fmla="*/ 682844 h 23141085"/>
              <a:gd name="connsiteX9" fmla="*/ 5854265 w 7259316"/>
              <a:gd name="connsiteY9" fmla="*/ 64434 h 23141085"/>
              <a:gd name="connsiteX10" fmla="*/ 6627227 w 7259316"/>
              <a:gd name="connsiteY10" fmla="*/ 25718 h 23141085"/>
              <a:gd name="connsiteX11" fmla="*/ 7259316 w 7259316"/>
              <a:gd name="connsiteY11" fmla="*/ 326935 h 23141085"/>
              <a:gd name="connsiteX0" fmla="*/ 0 w 7259316"/>
              <a:gd name="connsiteY0" fmla="*/ 23067944 h 23141085"/>
              <a:gd name="connsiteX1" fmla="*/ 727347 w 7259316"/>
              <a:gd name="connsiteY1" fmla="*/ 22529488 h 23141085"/>
              <a:gd name="connsiteX2" fmla="*/ 1315805 w 7259316"/>
              <a:gd name="connsiteY2" fmla="*/ 19409802 h 23141085"/>
              <a:gd name="connsiteX3" fmla="*/ 1973077 w 7259316"/>
              <a:gd name="connsiteY3" fmla="*/ 22488980 h 23141085"/>
              <a:gd name="connsiteX4" fmla="*/ 2640906 w 7259316"/>
              <a:gd name="connsiteY4" fmla="*/ 23053037 h 23141085"/>
              <a:gd name="connsiteX5" fmla="*/ 3221949 w 7259316"/>
              <a:gd name="connsiteY5" fmla="*/ 21206669 h 23141085"/>
              <a:gd name="connsiteX6" fmla="*/ 3962947 w 7259316"/>
              <a:gd name="connsiteY6" fmla="*/ 20414223 h 23141085"/>
              <a:gd name="connsiteX7" fmla="*/ 4626319 w 7259316"/>
              <a:gd name="connsiteY7" fmla="*/ 1167546 h 23141085"/>
              <a:gd name="connsiteX8" fmla="*/ 5341443 w 7259316"/>
              <a:gd name="connsiteY8" fmla="*/ 682844 h 23141085"/>
              <a:gd name="connsiteX9" fmla="*/ 5854265 w 7259316"/>
              <a:gd name="connsiteY9" fmla="*/ 64434 h 23141085"/>
              <a:gd name="connsiteX10" fmla="*/ 6627227 w 7259316"/>
              <a:gd name="connsiteY10" fmla="*/ 25718 h 23141085"/>
              <a:gd name="connsiteX11" fmla="*/ 7259316 w 7259316"/>
              <a:gd name="connsiteY11" fmla="*/ 326935 h 23141085"/>
              <a:gd name="connsiteX0" fmla="*/ 0 w 7259316"/>
              <a:gd name="connsiteY0" fmla="*/ 23338602 h 23411743"/>
              <a:gd name="connsiteX1" fmla="*/ 727347 w 7259316"/>
              <a:gd name="connsiteY1" fmla="*/ 22800146 h 23411743"/>
              <a:gd name="connsiteX2" fmla="*/ 1315805 w 7259316"/>
              <a:gd name="connsiteY2" fmla="*/ 19680460 h 23411743"/>
              <a:gd name="connsiteX3" fmla="*/ 1973077 w 7259316"/>
              <a:gd name="connsiteY3" fmla="*/ 22759638 h 23411743"/>
              <a:gd name="connsiteX4" fmla="*/ 2640906 w 7259316"/>
              <a:gd name="connsiteY4" fmla="*/ 23323695 h 23411743"/>
              <a:gd name="connsiteX5" fmla="*/ 3221949 w 7259316"/>
              <a:gd name="connsiteY5" fmla="*/ 21477327 h 23411743"/>
              <a:gd name="connsiteX6" fmla="*/ 3962947 w 7259316"/>
              <a:gd name="connsiteY6" fmla="*/ 20684881 h 23411743"/>
              <a:gd name="connsiteX7" fmla="*/ 4538954 w 7259316"/>
              <a:gd name="connsiteY7" fmla="*/ 10972798 h 23411743"/>
              <a:gd name="connsiteX8" fmla="*/ 5341443 w 7259316"/>
              <a:gd name="connsiteY8" fmla="*/ 953502 h 23411743"/>
              <a:gd name="connsiteX9" fmla="*/ 5854265 w 7259316"/>
              <a:gd name="connsiteY9" fmla="*/ 335092 h 23411743"/>
              <a:gd name="connsiteX10" fmla="*/ 6627227 w 7259316"/>
              <a:gd name="connsiteY10" fmla="*/ 296376 h 23411743"/>
              <a:gd name="connsiteX11" fmla="*/ 7259316 w 7259316"/>
              <a:gd name="connsiteY11" fmla="*/ 597593 h 23411743"/>
              <a:gd name="connsiteX0" fmla="*/ 0 w 7259316"/>
              <a:gd name="connsiteY0" fmla="*/ 24418150 h 24491291"/>
              <a:gd name="connsiteX1" fmla="*/ 727347 w 7259316"/>
              <a:gd name="connsiteY1" fmla="*/ 23879694 h 24491291"/>
              <a:gd name="connsiteX2" fmla="*/ 1315805 w 7259316"/>
              <a:gd name="connsiteY2" fmla="*/ 20760008 h 24491291"/>
              <a:gd name="connsiteX3" fmla="*/ 1973077 w 7259316"/>
              <a:gd name="connsiteY3" fmla="*/ 23839186 h 24491291"/>
              <a:gd name="connsiteX4" fmla="*/ 2640906 w 7259316"/>
              <a:gd name="connsiteY4" fmla="*/ 24403243 h 24491291"/>
              <a:gd name="connsiteX5" fmla="*/ 3221949 w 7259316"/>
              <a:gd name="connsiteY5" fmla="*/ 22556875 h 24491291"/>
              <a:gd name="connsiteX6" fmla="*/ 3962947 w 7259316"/>
              <a:gd name="connsiteY6" fmla="*/ 21764429 h 24491291"/>
              <a:gd name="connsiteX7" fmla="*/ 4538954 w 7259316"/>
              <a:gd name="connsiteY7" fmla="*/ 12052346 h 24491291"/>
              <a:gd name="connsiteX8" fmla="*/ 5195834 w 7259316"/>
              <a:gd name="connsiteY8" fmla="*/ 20307683 h 24491291"/>
              <a:gd name="connsiteX9" fmla="*/ 5854265 w 7259316"/>
              <a:gd name="connsiteY9" fmla="*/ 1414640 h 24491291"/>
              <a:gd name="connsiteX10" fmla="*/ 6627227 w 7259316"/>
              <a:gd name="connsiteY10" fmla="*/ 1375924 h 24491291"/>
              <a:gd name="connsiteX11" fmla="*/ 7259316 w 7259316"/>
              <a:gd name="connsiteY11" fmla="*/ 1677141 h 24491291"/>
              <a:gd name="connsiteX0" fmla="*/ 0 w 7259316"/>
              <a:gd name="connsiteY0" fmla="*/ 24418150 h 24491291"/>
              <a:gd name="connsiteX1" fmla="*/ 727347 w 7259316"/>
              <a:gd name="connsiteY1" fmla="*/ 23879694 h 24491291"/>
              <a:gd name="connsiteX2" fmla="*/ 1315805 w 7259316"/>
              <a:gd name="connsiteY2" fmla="*/ 20760008 h 24491291"/>
              <a:gd name="connsiteX3" fmla="*/ 1973077 w 7259316"/>
              <a:gd name="connsiteY3" fmla="*/ 23839186 h 24491291"/>
              <a:gd name="connsiteX4" fmla="*/ 2640906 w 7259316"/>
              <a:gd name="connsiteY4" fmla="*/ 24403243 h 24491291"/>
              <a:gd name="connsiteX5" fmla="*/ 3221949 w 7259316"/>
              <a:gd name="connsiteY5" fmla="*/ 22556875 h 24491291"/>
              <a:gd name="connsiteX6" fmla="*/ 3962947 w 7259316"/>
              <a:gd name="connsiteY6" fmla="*/ 21764429 h 24491291"/>
              <a:gd name="connsiteX7" fmla="*/ 4538954 w 7259316"/>
              <a:gd name="connsiteY7" fmla="*/ 12052346 h 24491291"/>
              <a:gd name="connsiteX8" fmla="*/ 5195834 w 7259316"/>
              <a:gd name="connsiteY8" fmla="*/ 20307683 h 24491291"/>
              <a:gd name="connsiteX9" fmla="*/ 5854265 w 7259316"/>
              <a:gd name="connsiteY9" fmla="*/ 1414640 h 24491291"/>
              <a:gd name="connsiteX10" fmla="*/ 6627227 w 7259316"/>
              <a:gd name="connsiteY10" fmla="*/ 1375924 h 24491291"/>
              <a:gd name="connsiteX11" fmla="*/ 7259316 w 7259316"/>
              <a:gd name="connsiteY11" fmla="*/ 1677141 h 24491291"/>
              <a:gd name="connsiteX0" fmla="*/ 0 w 7259316"/>
              <a:gd name="connsiteY0" fmla="*/ 23042231 h 23115372"/>
              <a:gd name="connsiteX1" fmla="*/ 727347 w 7259316"/>
              <a:gd name="connsiteY1" fmla="*/ 22503775 h 23115372"/>
              <a:gd name="connsiteX2" fmla="*/ 1315805 w 7259316"/>
              <a:gd name="connsiteY2" fmla="*/ 19384089 h 23115372"/>
              <a:gd name="connsiteX3" fmla="*/ 1973077 w 7259316"/>
              <a:gd name="connsiteY3" fmla="*/ 22463267 h 23115372"/>
              <a:gd name="connsiteX4" fmla="*/ 2640906 w 7259316"/>
              <a:gd name="connsiteY4" fmla="*/ 23027324 h 23115372"/>
              <a:gd name="connsiteX5" fmla="*/ 3221949 w 7259316"/>
              <a:gd name="connsiteY5" fmla="*/ 21180956 h 23115372"/>
              <a:gd name="connsiteX6" fmla="*/ 3962947 w 7259316"/>
              <a:gd name="connsiteY6" fmla="*/ 20388510 h 23115372"/>
              <a:gd name="connsiteX7" fmla="*/ 4538954 w 7259316"/>
              <a:gd name="connsiteY7" fmla="*/ 10676427 h 23115372"/>
              <a:gd name="connsiteX8" fmla="*/ 5195834 w 7259316"/>
              <a:gd name="connsiteY8" fmla="*/ 18931764 h 23115372"/>
              <a:gd name="connsiteX9" fmla="*/ 5772724 w 7259316"/>
              <a:gd name="connsiteY9" fmla="*/ 13248102 h 23115372"/>
              <a:gd name="connsiteX10" fmla="*/ 6627227 w 7259316"/>
              <a:gd name="connsiteY10" fmla="*/ 5 h 23115372"/>
              <a:gd name="connsiteX11" fmla="*/ 7259316 w 7259316"/>
              <a:gd name="connsiteY11" fmla="*/ 301222 h 23115372"/>
              <a:gd name="connsiteX0" fmla="*/ 0 w 7259316"/>
              <a:gd name="connsiteY0" fmla="*/ 22741014 h 25968572"/>
              <a:gd name="connsiteX1" fmla="*/ 727347 w 7259316"/>
              <a:gd name="connsiteY1" fmla="*/ 22202558 h 25968572"/>
              <a:gd name="connsiteX2" fmla="*/ 1315805 w 7259316"/>
              <a:gd name="connsiteY2" fmla="*/ 19082872 h 25968572"/>
              <a:gd name="connsiteX3" fmla="*/ 1973077 w 7259316"/>
              <a:gd name="connsiteY3" fmla="*/ 22162050 h 25968572"/>
              <a:gd name="connsiteX4" fmla="*/ 2640906 w 7259316"/>
              <a:gd name="connsiteY4" fmla="*/ 22726107 h 25968572"/>
              <a:gd name="connsiteX5" fmla="*/ 3221949 w 7259316"/>
              <a:gd name="connsiteY5" fmla="*/ 20879739 h 25968572"/>
              <a:gd name="connsiteX6" fmla="*/ 3962947 w 7259316"/>
              <a:gd name="connsiteY6" fmla="*/ 20087293 h 25968572"/>
              <a:gd name="connsiteX7" fmla="*/ 4538954 w 7259316"/>
              <a:gd name="connsiteY7" fmla="*/ 10375210 h 25968572"/>
              <a:gd name="connsiteX8" fmla="*/ 5195834 w 7259316"/>
              <a:gd name="connsiteY8" fmla="*/ 18630547 h 25968572"/>
              <a:gd name="connsiteX9" fmla="*/ 5772724 w 7259316"/>
              <a:gd name="connsiteY9" fmla="*/ 12946885 h 25968572"/>
              <a:gd name="connsiteX10" fmla="*/ 6458320 w 7259316"/>
              <a:gd name="connsiteY10" fmla="*/ 25968572 h 25968572"/>
              <a:gd name="connsiteX11" fmla="*/ 7259316 w 7259316"/>
              <a:gd name="connsiteY11" fmla="*/ 5 h 25968572"/>
              <a:gd name="connsiteX0" fmla="*/ 0 w 7078761"/>
              <a:gd name="connsiteY0" fmla="*/ 12365810 h 15593374"/>
              <a:gd name="connsiteX1" fmla="*/ 727347 w 7078761"/>
              <a:gd name="connsiteY1" fmla="*/ 11827354 h 15593374"/>
              <a:gd name="connsiteX2" fmla="*/ 1315805 w 7078761"/>
              <a:gd name="connsiteY2" fmla="*/ 8707668 h 15593374"/>
              <a:gd name="connsiteX3" fmla="*/ 1973077 w 7078761"/>
              <a:gd name="connsiteY3" fmla="*/ 11786846 h 15593374"/>
              <a:gd name="connsiteX4" fmla="*/ 2640906 w 7078761"/>
              <a:gd name="connsiteY4" fmla="*/ 12350903 h 15593374"/>
              <a:gd name="connsiteX5" fmla="*/ 3221949 w 7078761"/>
              <a:gd name="connsiteY5" fmla="*/ 10504535 h 15593374"/>
              <a:gd name="connsiteX6" fmla="*/ 3962947 w 7078761"/>
              <a:gd name="connsiteY6" fmla="*/ 9712089 h 15593374"/>
              <a:gd name="connsiteX7" fmla="*/ 4538954 w 7078761"/>
              <a:gd name="connsiteY7" fmla="*/ 6 h 15593374"/>
              <a:gd name="connsiteX8" fmla="*/ 5195834 w 7078761"/>
              <a:gd name="connsiteY8" fmla="*/ 8255343 h 15593374"/>
              <a:gd name="connsiteX9" fmla="*/ 5772724 w 7078761"/>
              <a:gd name="connsiteY9" fmla="*/ 2571681 h 15593374"/>
              <a:gd name="connsiteX10" fmla="*/ 6458320 w 7078761"/>
              <a:gd name="connsiteY10" fmla="*/ 15593368 h 15593374"/>
              <a:gd name="connsiteX11" fmla="*/ 7078761 w 7078761"/>
              <a:gd name="connsiteY11" fmla="*/ 9786485 h 15593374"/>
              <a:gd name="connsiteX0" fmla="*/ 0 w 7026839"/>
              <a:gd name="connsiteY0" fmla="*/ 0 h 582235364"/>
              <a:gd name="connsiteX1" fmla="*/ 675425 w 7026839"/>
              <a:gd name="connsiteY1" fmla="*/ 543033461 h 582235364"/>
              <a:gd name="connsiteX2" fmla="*/ 1263883 w 7026839"/>
              <a:gd name="connsiteY2" fmla="*/ 539913775 h 582235364"/>
              <a:gd name="connsiteX3" fmla="*/ 1921155 w 7026839"/>
              <a:gd name="connsiteY3" fmla="*/ 542992953 h 582235364"/>
              <a:gd name="connsiteX4" fmla="*/ 2588984 w 7026839"/>
              <a:gd name="connsiteY4" fmla="*/ 543557010 h 582235364"/>
              <a:gd name="connsiteX5" fmla="*/ 3170027 w 7026839"/>
              <a:gd name="connsiteY5" fmla="*/ 541710642 h 582235364"/>
              <a:gd name="connsiteX6" fmla="*/ 3911025 w 7026839"/>
              <a:gd name="connsiteY6" fmla="*/ 540918196 h 582235364"/>
              <a:gd name="connsiteX7" fmla="*/ 4487032 w 7026839"/>
              <a:gd name="connsiteY7" fmla="*/ 531206113 h 582235364"/>
              <a:gd name="connsiteX8" fmla="*/ 5143912 w 7026839"/>
              <a:gd name="connsiteY8" fmla="*/ 539461450 h 582235364"/>
              <a:gd name="connsiteX9" fmla="*/ 5720802 w 7026839"/>
              <a:gd name="connsiteY9" fmla="*/ 533777788 h 582235364"/>
              <a:gd name="connsiteX10" fmla="*/ 6406398 w 7026839"/>
              <a:gd name="connsiteY10" fmla="*/ 546799475 h 582235364"/>
              <a:gd name="connsiteX11" fmla="*/ 7026839 w 7026839"/>
              <a:gd name="connsiteY11" fmla="*/ 540992592 h 582235364"/>
              <a:gd name="connsiteX0" fmla="*/ 0 w 7026839"/>
              <a:gd name="connsiteY0" fmla="*/ 0 h 558310852"/>
              <a:gd name="connsiteX1" fmla="*/ 665041 w 7026839"/>
              <a:gd name="connsiteY1" fmla="*/ 303947598 h 558310852"/>
              <a:gd name="connsiteX2" fmla="*/ 1263883 w 7026839"/>
              <a:gd name="connsiteY2" fmla="*/ 539913775 h 558310852"/>
              <a:gd name="connsiteX3" fmla="*/ 1921155 w 7026839"/>
              <a:gd name="connsiteY3" fmla="*/ 542992953 h 558310852"/>
              <a:gd name="connsiteX4" fmla="*/ 2588984 w 7026839"/>
              <a:gd name="connsiteY4" fmla="*/ 543557010 h 558310852"/>
              <a:gd name="connsiteX5" fmla="*/ 3170027 w 7026839"/>
              <a:gd name="connsiteY5" fmla="*/ 541710642 h 558310852"/>
              <a:gd name="connsiteX6" fmla="*/ 3911025 w 7026839"/>
              <a:gd name="connsiteY6" fmla="*/ 540918196 h 558310852"/>
              <a:gd name="connsiteX7" fmla="*/ 4487032 w 7026839"/>
              <a:gd name="connsiteY7" fmla="*/ 531206113 h 558310852"/>
              <a:gd name="connsiteX8" fmla="*/ 5143912 w 7026839"/>
              <a:gd name="connsiteY8" fmla="*/ 539461450 h 558310852"/>
              <a:gd name="connsiteX9" fmla="*/ 5720802 w 7026839"/>
              <a:gd name="connsiteY9" fmla="*/ 533777788 h 558310852"/>
              <a:gd name="connsiteX10" fmla="*/ 6406398 w 7026839"/>
              <a:gd name="connsiteY10" fmla="*/ 546799475 h 558310852"/>
              <a:gd name="connsiteX11" fmla="*/ 7026839 w 7026839"/>
              <a:gd name="connsiteY11" fmla="*/ 540992592 h 558310852"/>
              <a:gd name="connsiteX0" fmla="*/ 0 w 7026839"/>
              <a:gd name="connsiteY0" fmla="*/ 0 h 558310852"/>
              <a:gd name="connsiteX1" fmla="*/ 665041 w 7026839"/>
              <a:gd name="connsiteY1" fmla="*/ 303947598 h 558310852"/>
              <a:gd name="connsiteX2" fmla="*/ 1263883 w 7026839"/>
              <a:gd name="connsiteY2" fmla="*/ 539913775 h 558310852"/>
              <a:gd name="connsiteX3" fmla="*/ 1921155 w 7026839"/>
              <a:gd name="connsiteY3" fmla="*/ 542992953 h 558310852"/>
              <a:gd name="connsiteX4" fmla="*/ 2588984 w 7026839"/>
              <a:gd name="connsiteY4" fmla="*/ 543557010 h 558310852"/>
              <a:gd name="connsiteX5" fmla="*/ 3170027 w 7026839"/>
              <a:gd name="connsiteY5" fmla="*/ 541710642 h 558310852"/>
              <a:gd name="connsiteX6" fmla="*/ 3911025 w 7026839"/>
              <a:gd name="connsiteY6" fmla="*/ 540918196 h 558310852"/>
              <a:gd name="connsiteX7" fmla="*/ 4487032 w 7026839"/>
              <a:gd name="connsiteY7" fmla="*/ 531206113 h 558310852"/>
              <a:gd name="connsiteX8" fmla="*/ 5143912 w 7026839"/>
              <a:gd name="connsiteY8" fmla="*/ 539461450 h 558310852"/>
              <a:gd name="connsiteX9" fmla="*/ 5720802 w 7026839"/>
              <a:gd name="connsiteY9" fmla="*/ 533777788 h 558310852"/>
              <a:gd name="connsiteX10" fmla="*/ 6406398 w 7026839"/>
              <a:gd name="connsiteY10" fmla="*/ 546799475 h 558310852"/>
              <a:gd name="connsiteX11" fmla="*/ 7026839 w 7026839"/>
              <a:gd name="connsiteY11" fmla="*/ 540992592 h 558310852"/>
              <a:gd name="connsiteX0" fmla="*/ 0 w 7026839"/>
              <a:gd name="connsiteY0" fmla="*/ 0 h 578957117"/>
              <a:gd name="connsiteX1" fmla="*/ 665041 w 7026839"/>
              <a:gd name="connsiteY1" fmla="*/ 303947598 h 578957117"/>
              <a:gd name="connsiteX2" fmla="*/ 1320998 w 7026839"/>
              <a:gd name="connsiteY2" fmla="*/ 60670091 h 578957117"/>
              <a:gd name="connsiteX3" fmla="*/ 1921155 w 7026839"/>
              <a:gd name="connsiteY3" fmla="*/ 542992953 h 578957117"/>
              <a:gd name="connsiteX4" fmla="*/ 2588984 w 7026839"/>
              <a:gd name="connsiteY4" fmla="*/ 543557010 h 578957117"/>
              <a:gd name="connsiteX5" fmla="*/ 3170027 w 7026839"/>
              <a:gd name="connsiteY5" fmla="*/ 541710642 h 578957117"/>
              <a:gd name="connsiteX6" fmla="*/ 3911025 w 7026839"/>
              <a:gd name="connsiteY6" fmla="*/ 540918196 h 578957117"/>
              <a:gd name="connsiteX7" fmla="*/ 4487032 w 7026839"/>
              <a:gd name="connsiteY7" fmla="*/ 531206113 h 578957117"/>
              <a:gd name="connsiteX8" fmla="*/ 5143912 w 7026839"/>
              <a:gd name="connsiteY8" fmla="*/ 539461450 h 578957117"/>
              <a:gd name="connsiteX9" fmla="*/ 5720802 w 7026839"/>
              <a:gd name="connsiteY9" fmla="*/ 533777788 h 578957117"/>
              <a:gd name="connsiteX10" fmla="*/ 6406398 w 7026839"/>
              <a:gd name="connsiteY10" fmla="*/ 546799475 h 578957117"/>
              <a:gd name="connsiteX11" fmla="*/ 7026839 w 7026839"/>
              <a:gd name="connsiteY11" fmla="*/ 540992592 h 578957117"/>
              <a:gd name="connsiteX0" fmla="*/ 0 w 7026839"/>
              <a:gd name="connsiteY0" fmla="*/ 0 h 578957117"/>
              <a:gd name="connsiteX1" fmla="*/ 665041 w 7026839"/>
              <a:gd name="connsiteY1" fmla="*/ 303947598 h 578957117"/>
              <a:gd name="connsiteX2" fmla="*/ 1320998 w 7026839"/>
              <a:gd name="connsiteY2" fmla="*/ 60670091 h 578957117"/>
              <a:gd name="connsiteX3" fmla="*/ 1921155 w 7026839"/>
              <a:gd name="connsiteY3" fmla="*/ 542992953 h 578957117"/>
              <a:gd name="connsiteX4" fmla="*/ 2588984 w 7026839"/>
              <a:gd name="connsiteY4" fmla="*/ 543557010 h 578957117"/>
              <a:gd name="connsiteX5" fmla="*/ 3170027 w 7026839"/>
              <a:gd name="connsiteY5" fmla="*/ 541710642 h 578957117"/>
              <a:gd name="connsiteX6" fmla="*/ 3911025 w 7026839"/>
              <a:gd name="connsiteY6" fmla="*/ 540918196 h 578957117"/>
              <a:gd name="connsiteX7" fmla="*/ 4487032 w 7026839"/>
              <a:gd name="connsiteY7" fmla="*/ 531206113 h 578957117"/>
              <a:gd name="connsiteX8" fmla="*/ 5143912 w 7026839"/>
              <a:gd name="connsiteY8" fmla="*/ 539461450 h 578957117"/>
              <a:gd name="connsiteX9" fmla="*/ 5720802 w 7026839"/>
              <a:gd name="connsiteY9" fmla="*/ 533777788 h 578957117"/>
              <a:gd name="connsiteX10" fmla="*/ 6406398 w 7026839"/>
              <a:gd name="connsiteY10" fmla="*/ 546799475 h 578957117"/>
              <a:gd name="connsiteX11" fmla="*/ 7026839 w 7026839"/>
              <a:gd name="connsiteY11" fmla="*/ 540992592 h 578957117"/>
              <a:gd name="connsiteX0" fmla="*/ 0 w 7026839"/>
              <a:gd name="connsiteY0" fmla="*/ 0 h 579512970"/>
              <a:gd name="connsiteX1" fmla="*/ 665041 w 7026839"/>
              <a:gd name="connsiteY1" fmla="*/ 303947598 h 579512970"/>
              <a:gd name="connsiteX2" fmla="*/ 1305421 w 7026839"/>
              <a:gd name="connsiteY2" fmla="*/ 53165245 h 579512970"/>
              <a:gd name="connsiteX3" fmla="*/ 1921155 w 7026839"/>
              <a:gd name="connsiteY3" fmla="*/ 542992953 h 579512970"/>
              <a:gd name="connsiteX4" fmla="*/ 2588984 w 7026839"/>
              <a:gd name="connsiteY4" fmla="*/ 543557010 h 579512970"/>
              <a:gd name="connsiteX5" fmla="*/ 3170027 w 7026839"/>
              <a:gd name="connsiteY5" fmla="*/ 541710642 h 579512970"/>
              <a:gd name="connsiteX6" fmla="*/ 3911025 w 7026839"/>
              <a:gd name="connsiteY6" fmla="*/ 540918196 h 579512970"/>
              <a:gd name="connsiteX7" fmla="*/ 4487032 w 7026839"/>
              <a:gd name="connsiteY7" fmla="*/ 531206113 h 579512970"/>
              <a:gd name="connsiteX8" fmla="*/ 5143912 w 7026839"/>
              <a:gd name="connsiteY8" fmla="*/ 539461450 h 579512970"/>
              <a:gd name="connsiteX9" fmla="*/ 5720802 w 7026839"/>
              <a:gd name="connsiteY9" fmla="*/ 533777788 h 579512970"/>
              <a:gd name="connsiteX10" fmla="*/ 6406398 w 7026839"/>
              <a:gd name="connsiteY10" fmla="*/ 546799475 h 579512970"/>
              <a:gd name="connsiteX11" fmla="*/ 7026839 w 7026839"/>
              <a:gd name="connsiteY11" fmla="*/ 540992592 h 579512970"/>
              <a:gd name="connsiteX0" fmla="*/ 0 w 7026839"/>
              <a:gd name="connsiteY0" fmla="*/ 0 h 575621698"/>
              <a:gd name="connsiteX1" fmla="*/ 665041 w 7026839"/>
              <a:gd name="connsiteY1" fmla="*/ 303947598 h 575621698"/>
              <a:gd name="connsiteX2" fmla="*/ 1300228 w 7026839"/>
              <a:gd name="connsiteY2" fmla="*/ 105699768 h 575621698"/>
              <a:gd name="connsiteX3" fmla="*/ 1921155 w 7026839"/>
              <a:gd name="connsiteY3" fmla="*/ 542992953 h 575621698"/>
              <a:gd name="connsiteX4" fmla="*/ 2588984 w 7026839"/>
              <a:gd name="connsiteY4" fmla="*/ 543557010 h 575621698"/>
              <a:gd name="connsiteX5" fmla="*/ 3170027 w 7026839"/>
              <a:gd name="connsiteY5" fmla="*/ 541710642 h 575621698"/>
              <a:gd name="connsiteX6" fmla="*/ 3911025 w 7026839"/>
              <a:gd name="connsiteY6" fmla="*/ 540918196 h 575621698"/>
              <a:gd name="connsiteX7" fmla="*/ 4487032 w 7026839"/>
              <a:gd name="connsiteY7" fmla="*/ 531206113 h 575621698"/>
              <a:gd name="connsiteX8" fmla="*/ 5143912 w 7026839"/>
              <a:gd name="connsiteY8" fmla="*/ 539461450 h 575621698"/>
              <a:gd name="connsiteX9" fmla="*/ 5720802 w 7026839"/>
              <a:gd name="connsiteY9" fmla="*/ 533777788 h 575621698"/>
              <a:gd name="connsiteX10" fmla="*/ 6406398 w 7026839"/>
              <a:gd name="connsiteY10" fmla="*/ 546799475 h 575621698"/>
              <a:gd name="connsiteX11" fmla="*/ 7026839 w 7026839"/>
              <a:gd name="connsiteY11" fmla="*/ 540992592 h 575621698"/>
              <a:gd name="connsiteX0" fmla="*/ 0 w 7026839"/>
              <a:gd name="connsiteY0" fmla="*/ 0 h 564767669"/>
              <a:gd name="connsiteX1" fmla="*/ 665041 w 7026839"/>
              <a:gd name="connsiteY1" fmla="*/ 303947598 h 564767669"/>
              <a:gd name="connsiteX2" fmla="*/ 1300228 w 7026839"/>
              <a:gd name="connsiteY2" fmla="*/ 105699768 h 564767669"/>
              <a:gd name="connsiteX3" fmla="*/ 1962693 w 7026839"/>
              <a:gd name="connsiteY3" fmla="*/ 251372539 h 564767669"/>
              <a:gd name="connsiteX4" fmla="*/ 2588984 w 7026839"/>
              <a:gd name="connsiteY4" fmla="*/ 543557010 h 564767669"/>
              <a:gd name="connsiteX5" fmla="*/ 3170027 w 7026839"/>
              <a:gd name="connsiteY5" fmla="*/ 541710642 h 564767669"/>
              <a:gd name="connsiteX6" fmla="*/ 3911025 w 7026839"/>
              <a:gd name="connsiteY6" fmla="*/ 540918196 h 564767669"/>
              <a:gd name="connsiteX7" fmla="*/ 4487032 w 7026839"/>
              <a:gd name="connsiteY7" fmla="*/ 531206113 h 564767669"/>
              <a:gd name="connsiteX8" fmla="*/ 5143912 w 7026839"/>
              <a:gd name="connsiteY8" fmla="*/ 539461450 h 564767669"/>
              <a:gd name="connsiteX9" fmla="*/ 5720802 w 7026839"/>
              <a:gd name="connsiteY9" fmla="*/ 533777788 h 564767669"/>
              <a:gd name="connsiteX10" fmla="*/ 6406398 w 7026839"/>
              <a:gd name="connsiteY10" fmla="*/ 546799475 h 564767669"/>
              <a:gd name="connsiteX11" fmla="*/ 7026839 w 7026839"/>
              <a:gd name="connsiteY11" fmla="*/ 540992592 h 564767669"/>
              <a:gd name="connsiteX0" fmla="*/ 0 w 7026839"/>
              <a:gd name="connsiteY0" fmla="*/ 0 h 578902213"/>
              <a:gd name="connsiteX1" fmla="*/ 665041 w 7026839"/>
              <a:gd name="connsiteY1" fmla="*/ 303947598 h 578902213"/>
              <a:gd name="connsiteX2" fmla="*/ 1300228 w 7026839"/>
              <a:gd name="connsiteY2" fmla="*/ 105699768 h 578902213"/>
              <a:gd name="connsiteX3" fmla="*/ 1947115 w 7026839"/>
              <a:gd name="connsiteY3" fmla="*/ 60532602 h 578902213"/>
              <a:gd name="connsiteX4" fmla="*/ 2588984 w 7026839"/>
              <a:gd name="connsiteY4" fmla="*/ 543557010 h 578902213"/>
              <a:gd name="connsiteX5" fmla="*/ 3170027 w 7026839"/>
              <a:gd name="connsiteY5" fmla="*/ 541710642 h 578902213"/>
              <a:gd name="connsiteX6" fmla="*/ 3911025 w 7026839"/>
              <a:gd name="connsiteY6" fmla="*/ 540918196 h 578902213"/>
              <a:gd name="connsiteX7" fmla="*/ 4487032 w 7026839"/>
              <a:gd name="connsiteY7" fmla="*/ 531206113 h 578902213"/>
              <a:gd name="connsiteX8" fmla="*/ 5143912 w 7026839"/>
              <a:gd name="connsiteY8" fmla="*/ 539461450 h 578902213"/>
              <a:gd name="connsiteX9" fmla="*/ 5720802 w 7026839"/>
              <a:gd name="connsiteY9" fmla="*/ 533777788 h 578902213"/>
              <a:gd name="connsiteX10" fmla="*/ 6406398 w 7026839"/>
              <a:gd name="connsiteY10" fmla="*/ 546799475 h 578902213"/>
              <a:gd name="connsiteX11" fmla="*/ 7026839 w 7026839"/>
              <a:gd name="connsiteY11" fmla="*/ 540992592 h 578902213"/>
              <a:gd name="connsiteX0" fmla="*/ 0 w 7026839"/>
              <a:gd name="connsiteY0" fmla="*/ 0 h 578902213"/>
              <a:gd name="connsiteX1" fmla="*/ 665041 w 7026839"/>
              <a:gd name="connsiteY1" fmla="*/ 303947598 h 578902213"/>
              <a:gd name="connsiteX2" fmla="*/ 1300228 w 7026839"/>
              <a:gd name="connsiteY2" fmla="*/ 105699768 h 578902213"/>
              <a:gd name="connsiteX3" fmla="*/ 1947115 w 7026839"/>
              <a:gd name="connsiteY3" fmla="*/ 60532602 h 578902213"/>
              <a:gd name="connsiteX4" fmla="*/ 2588984 w 7026839"/>
              <a:gd name="connsiteY4" fmla="*/ 543557010 h 578902213"/>
              <a:gd name="connsiteX5" fmla="*/ 3170027 w 7026839"/>
              <a:gd name="connsiteY5" fmla="*/ 541710642 h 578902213"/>
              <a:gd name="connsiteX6" fmla="*/ 3911025 w 7026839"/>
              <a:gd name="connsiteY6" fmla="*/ 540918196 h 578902213"/>
              <a:gd name="connsiteX7" fmla="*/ 4487032 w 7026839"/>
              <a:gd name="connsiteY7" fmla="*/ 531206113 h 578902213"/>
              <a:gd name="connsiteX8" fmla="*/ 5143912 w 7026839"/>
              <a:gd name="connsiteY8" fmla="*/ 539461450 h 578902213"/>
              <a:gd name="connsiteX9" fmla="*/ 5720802 w 7026839"/>
              <a:gd name="connsiteY9" fmla="*/ 533777788 h 578902213"/>
              <a:gd name="connsiteX10" fmla="*/ 6406398 w 7026839"/>
              <a:gd name="connsiteY10" fmla="*/ 546799475 h 578902213"/>
              <a:gd name="connsiteX11" fmla="*/ 7026839 w 7026839"/>
              <a:gd name="connsiteY11" fmla="*/ 540992592 h 578902213"/>
              <a:gd name="connsiteX0" fmla="*/ 0 w 7026839"/>
              <a:gd name="connsiteY0" fmla="*/ 0 h 579537473"/>
              <a:gd name="connsiteX1" fmla="*/ 665041 w 7026839"/>
              <a:gd name="connsiteY1" fmla="*/ 303947598 h 579537473"/>
              <a:gd name="connsiteX2" fmla="*/ 1300228 w 7026839"/>
              <a:gd name="connsiteY2" fmla="*/ 105699768 h 579537473"/>
              <a:gd name="connsiteX3" fmla="*/ 1947115 w 7026839"/>
              <a:gd name="connsiteY3" fmla="*/ 51955679 h 579537473"/>
              <a:gd name="connsiteX4" fmla="*/ 2588984 w 7026839"/>
              <a:gd name="connsiteY4" fmla="*/ 543557010 h 579537473"/>
              <a:gd name="connsiteX5" fmla="*/ 3170027 w 7026839"/>
              <a:gd name="connsiteY5" fmla="*/ 541710642 h 579537473"/>
              <a:gd name="connsiteX6" fmla="*/ 3911025 w 7026839"/>
              <a:gd name="connsiteY6" fmla="*/ 540918196 h 579537473"/>
              <a:gd name="connsiteX7" fmla="*/ 4487032 w 7026839"/>
              <a:gd name="connsiteY7" fmla="*/ 531206113 h 579537473"/>
              <a:gd name="connsiteX8" fmla="*/ 5143912 w 7026839"/>
              <a:gd name="connsiteY8" fmla="*/ 539461450 h 579537473"/>
              <a:gd name="connsiteX9" fmla="*/ 5720802 w 7026839"/>
              <a:gd name="connsiteY9" fmla="*/ 533777788 h 579537473"/>
              <a:gd name="connsiteX10" fmla="*/ 6406398 w 7026839"/>
              <a:gd name="connsiteY10" fmla="*/ 546799475 h 579537473"/>
              <a:gd name="connsiteX11" fmla="*/ 7026839 w 7026839"/>
              <a:gd name="connsiteY11" fmla="*/ 540992592 h 579537473"/>
              <a:gd name="connsiteX0" fmla="*/ 0 w 7026839"/>
              <a:gd name="connsiteY0" fmla="*/ 0 h 579537473"/>
              <a:gd name="connsiteX1" fmla="*/ 665041 w 7026839"/>
              <a:gd name="connsiteY1" fmla="*/ 303947598 h 579537473"/>
              <a:gd name="connsiteX2" fmla="*/ 1300228 w 7026839"/>
              <a:gd name="connsiteY2" fmla="*/ 105699768 h 579537473"/>
              <a:gd name="connsiteX3" fmla="*/ 1947115 w 7026839"/>
              <a:gd name="connsiteY3" fmla="*/ 51955679 h 579537473"/>
              <a:gd name="connsiteX4" fmla="*/ 2588984 w 7026839"/>
              <a:gd name="connsiteY4" fmla="*/ 543557010 h 579537473"/>
              <a:gd name="connsiteX5" fmla="*/ 3170027 w 7026839"/>
              <a:gd name="connsiteY5" fmla="*/ 541710642 h 579537473"/>
              <a:gd name="connsiteX6" fmla="*/ 3911025 w 7026839"/>
              <a:gd name="connsiteY6" fmla="*/ 540918196 h 579537473"/>
              <a:gd name="connsiteX7" fmla="*/ 4487032 w 7026839"/>
              <a:gd name="connsiteY7" fmla="*/ 531206113 h 579537473"/>
              <a:gd name="connsiteX8" fmla="*/ 5143912 w 7026839"/>
              <a:gd name="connsiteY8" fmla="*/ 539461450 h 579537473"/>
              <a:gd name="connsiteX9" fmla="*/ 5720802 w 7026839"/>
              <a:gd name="connsiteY9" fmla="*/ 533777788 h 579537473"/>
              <a:gd name="connsiteX10" fmla="*/ 6406398 w 7026839"/>
              <a:gd name="connsiteY10" fmla="*/ 546799475 h 579537473"/>
              <a:gd name="connsiteX11" fmla="*/ 7026839 w 7026839"/>
              <a:gd name="connsiteY11" fmla="*/ 540992592 h 579537473"/>
              <a:gd name="connsiteX0" fmla="*/ 0 w 7026839"/>
              <a:gd name="connsiteY0" fmla="*/ 0 h 579537473"/>
              <a:gd name="connsiteX1" fmla="*/ 665041 w 7026839"/>
              <a:gd name="connsiteY1" fmla="*/ 303947598 h 579537473"/>
              <a:gd name="connsiteX2" fmla="*/ 1300228 w 7026839"/>
              <a:gd name="connsiteY2" fmla="*/ 105699768 h 579537473"/>
              <a:gd name="connsiteX3" fmla="*/ 1947115 w 7026839"/>
              <a:gd name="connsiteY3" fmla="*/ 51955679 h 579537473"/>
              <a:gd name="connsiteX4" fmla="*/ 2588984 w 7026839"/>
              <a:gd name="connsiteY4" fmla="*/ 543557010 h 579537473"/>
              <a:gd name="connsiteX5" fmla="*/ 3170027 w 7026839"/>
              <a:gd name="connsiteY5" fmla="*/ 541710642 h 579537473"/>
              <a:gd name="connsiteX6" fmla="*/ 3911025 w 7026839"/>
              <a:gd name="connsiteY6" fmla="*/ 540918196 h 579537473"/>
              <a:gd name="connsiteX7" fmla="*/ 4487032 w 7026839"/>
              <a:gd name="connsiteY7" fmla="*/ 531206113 h 579537473"/>
              <a:gd name="connsiteX8" fmla="*/ 5143912 w 7026839"/>
              <a:gd name="connsiteY8" fmla="*/ 539461450 h 579537473"/>
              <a:gd name="connsiteX9" fmla="*/ 5720802 w 7026839"/>
              <a:gd name="connsiteY9" fmla="*/ 533777788 h 579537473"/>
              <a:gd name="connsiteX10" fmla="*/ 6406398 w 7026839"/>
              <a:gd name="connsiteY10" fmla="*/ 546799475 h 579537473"/>
              <a:gd name="connsiteX11" fmla="*/ 7026839 w 7026839"/>
              <a:gd name="connsiteY11" fmla="*/ 540992592 h 579537473"/>
              <a:gd name="connsiteX0" fmla="*/ 0 w 7026839"/>
              <a:gd name="connsiteY0" fmla="*/ 0 h 579537473"/>
              <a:gd name="connsiteX1" fmla="*/ 665041 w 7026839"/>
              <a:gd name="connsiteY1" fmla="*/ 303947598 h 579537473"/>
              <a:gd name="connsiteX2" fmla="*/ 1300228 w 7026839"/>
              <a:gd name="connsiteY2" fmla="*/ 105699768 h 579537473"/>
              <a:gd name="connsiteX3" fmla="*/ 1947115 w 7026839"/>
              <a:gd name="connsiteY3" fmla="*/ 51955679 h 579537473"/>
              <a:gd name="connsiteX4" fmla="*/ 2588984 w 7026839"/>
              <a:gd name="connsiteY4" fmla="*/ 543557010 h 579537473"/>
              <a:gd name="connsiteX5" fmla="*/ 3170027 w 7026839"/>
              <a:gd name="connsiteY5" fmla="*/ 541710642 h 579537473"/>
              <a:gd name="connsiteX6" fmla="*/ 3911025 w 7026839"/>
              <a:gd name="connsiteY6" fmla="*/ 540918196 h 579537473"/>
              <a:gd name="connsiteX7" fmla="*/ 4487032 w 7026839"/>
              <a:gd name="connsiteY7" fmla="*/ 531206113 h 579537473"/>
              <a:gd name="connsiteX8" fmla="*/ 5143912 w 7026839"/>
              <a:gd name="connsiteY8" fmla="*/ 539461450 h 579537473"/>
              <a:gd name="connsiteX9" fmla="*/ 5720802 w 7026839"/>
              <a:gd name="connsiteY9" fmla="*/ 533777788 h 579537473"/>
              <a:gd name="connsiteX10" fmla="*/ 6406398 w 7026839"/>
              <a:gd name="connsiteY10" fmla="*/ 546799475 h 579537473"/>
              <a:gd name="connsiteX11" fmla="*/ 7026839 w 7026839"/>
              <a:gd name="connsiteY11" fmla="*/ 540992592 h 579537473"/>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99369 w 7026839"/>
              <a:gd name="connsiteY4" fmla="*/ 215484108 h 546799480"/>
              <a:gd name="connsiteX5" fmla="*/ 3170027 w 7026839"/>
              <a:gd name="connsiteY5" fmla="*/ 541710642 h 546799480"/>
              <a:gd name="connsiteX6" fmla="*/ 3911025 w 7026839"/>
              <a:gd name="connsiteY6" fmla="*/ 540918196 h 546799480"/>
              <a:gd name="connsiteX7" fmla="*/ 4487032 w 7026839"/>
              <a:gd name="connsiteY7" fmla="*/ 531206113 h 546799480"/>
              <a:gd name="connsiteX8" fmla="*/ 5143912 w 7026839"/>
              <a:gd name="connsiteY8" fmla="*/ 539461450 h 546799480"/>
              <a:gd name="connsiteX9" fmla="*/ 5720802 w 7026839"/>
              <a:gd name="connsiteY9" fmla="*/ 533777788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3408 w 7026839"/>
              <a:gd name="connsiteY4" fmla="*/ 55736235 h 546799480"/>
              <a:gd name="connsiteX5" fmla="*/ 3170027 w 7026839"/>
              <a:gd name="connsiteY5" fmla="*/ 541710642 h 546799480"/>
              <a:gd name="connsiteX6" fmla="*/ 3911025 w 7026839"/>
              <a:gd name="connsiteY6" fmla="*/ 540918196 h 546799480"/>
              <a:gd name="connsiteX7" fmla="*/ 4487032 w 7026839"/>
              <a:gd name="connsiteY7" fmla="*/ 531206113 h 546799480"/>
              <a:gd name="connsiteX8" fmla="*/ 5143912 w 7026839"/>
              <a:gd name="connsiteY8" fmla="*/ 539461450 h 546799480"/>
              <a:gd name="connsiteX9" fmla="*/ 5720802 w 7026839"/>
              <a:gd name="connsiteY9" fmla="*/ 533777788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3408 w 7026839"/>
              <a:gd name="connsiteY4" fmla="*/ 55736235 h 546799480"/>
              <a:gd name="connsiteX5" fmla="*/ 3170027 w 7026839"/>
              <a:gd name="connsiteY5" fmla="*/ 541710642 h 546799480"/>
              <a:gd name="connsiteX6" fmla="*/ 3911025 w 7026839"/>
              <a:gd name="connsiteY6" fmla="*/ 540918196 h 546799480"/>
              <a:gd name="connsiteX7" fmla="*/ 4487032 w 7026839"/>
              <a:gd name="connsiteY7" fmla="*/ 531206113 h 546799480"/>
              <a:gd name="connsiteX8" fmla="*/ 5143912 w 7026839"/>
              <a:gd name="connsiteY8" fmla="*/ 539461450 h 546799480"/>
              <a:gd name="connsiteX9" fmla="*/ 5720802 w 7026839"/>
              <a:gd name="connsiteY9" fmla="*/ 533777788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8600 w 7026839"/>
              <a:gd name="connsiteY4" fmla="*/ 51447773 h 546799480"/>
              <a:gd name="connsiteX5" fmla="*/ 3170027 w 7026839"/>
              <a:gd name="connsiteY5" fmla="*/ 541710642 h 546799480"/>
              <a:gd name="connsiteX6" fmla="*/ 3911025 w 7026839"/>
              <a:gd name="connsiteY6" fmla="*/ 540918196 h 546799480"/>
              <a:gd name="connsiteX7" fmla="*/ 4487032 w 7026839"/>
              <a:gd name="connsiteY7" fmla="*/ 531206113 h 546799480"/>
              <a:gd name="connsiteX8" fmla="*/ 5143912 w 7026839"/>
              <a:gd name="connsiteY8" fmla="*/ 539461450 h 546799480"/>
              <a:gd name="connsiteX9" fmla="*/ 5720802 w 7026839"/>
              <a:gd name="connsiteY9" fmla="*/ 533777788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8600 w 7026839"/>
              <a:gd name="connsiteY4" fmla="*/ 51447773 h 546799480"/>
              <a:gd name="connsiteX5" fmla="*/ 3170027 w 7026839"/>
              <a:gd name="connsiteY5" fmla="*/ 541710642 h 546799480"/>
              <a:gd name="connsiteX6" fmla="*/ 3911025 w 7026839"/>
              <a:gd name="connsiteY6" fmla="*/ 540918196 h 546799480"/>
              <a:gd name="connsiteX7" fmla="*/ 4487032 w 7026839"/>
              <a:gd name="connsiteY7" fmla="*/ 531206113 h 546799480"/>
              <a:gd name="connsiteX8" fmla="*/ 5143912 w 7026839"/>
              <a:gd name="connsiteY8" fmla="*/ 539461450 h 546799480"/>
              <a:gd name="connsiteX9" fmla="*/ 5720802 w 7026839"/>
              <a:gd name="connsiteY9" fmla="*/ 533777788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68216 w 7026839"/>
              <a:gd name="connsiteY4" fmla="*/ 46087234 h 546799480"/>
              <a:gd name="connsiteX5" fmla="*/ 3170027 w 7026839"/>
              <a:gd name="connsiteY5" fmla="*/ 541710642 h 546799480"/>
              <a:gd name="connsiteX6" fmla="*/ 3911025 w 7026839"/>
              <a:gd name="connsiteY6" fmla="*/ 540918196 h 546799480"/>
              <a:gd name="connsiteX7" fmla="*/ 4487032 w 7026839"/>
              <a:gd name="connsiteY7" fmla="*/ 531206113 h 546799480"/>
              <a:gd name="connsiteX8" fmla="*/ 5143912 w 7026839"/>
              <a:gd name="connsiteY8" fmla="*/ 539461450 h 546799480"/>
              <a:gd name="connsiteX9" fmla="*/ 5720802 w 7026839"/>
              <a:gd name="connsiteY9" fmla="*/ 533777788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3409 w 7026839"/>
              <a:gd name="connsiteY4" fmla="*/ 50375696 h 546799480"/>
              <a:gd name="connsiteX5" fmla="*/ 3170027 w 7026839"/>
              <a:gd name="connsiteY5" fmla="*/ 541710642 h 546799480"/>
              <a:gd name="connsiteX6" fmla="*/ 3911025 w 7026839"/>
              <a:gd name="connsiteY6" fmla="*/ 540918196 h 546799480"/>
              <a:gd name="connsiteX7" fmla="*/ 4487032 w 7026839"/>
              <a:gd name="connsiteY7" fmla="*/ 531206113 h 546799480"/>
              <a:gd name="connsiteX8" fmla="*/ 5143912 w 7026839"/>
              <a:gd name="connsiteY8" fmla="*/ 539461450 h 546799480"/>
              <a:gd name="connsiteX9" fmla="*/ 5720802 w 7026839"/>
              <a:gd name="connsiteY9" fmla="*/ 533777788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3409 w 7026839"/>
              <a:gd name="connsiteY4" fmla="*/ 47159312 h 546799480"/>
              <a:gd name="connsiteX5" fmla="*/ 3170027 w 7026839"/>
              <a:gd name="connsiteY5" fmla="*/ 541710642 h 546799480"/>
              <a:gd name="connsiteX6" fmla="*/ 3911025 w 7026839"/>
              <a:gd name="connsiteY6" fmla="*/ 540918196 h 546799480"/>
              <a:gd name="connsiteX7" fmla="*/ 4487032 w 7026839"/>
              <a:gd name="connsiteY7" fmla="*/ 531206113 h 546799480"/>
              <a:gd name="connsiteX8" fmla="*/ 5143912 w 7026839"/>
              <a:gd name="connsiteY8" fmla="*/ 539461450 h 546799480"/>
              <a:gd name="connsiteX9" fmla="*/ 5720802 w 7026839"/>
              <a:gd name="connsiteY9" fmla="*/ 533777788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3409 w 7026839"/>
              <a:gd name="connsiteY4" fmla="*/ 51447773 h 546799480"/>
              <a:gd name="connsiteX5" fmla="*/ 3170027 w 7026839"/>
              <a:gd name="connsiteY5" fmla="*/ 541710642 h 546799480"/>
              <a:gd name="connsiteX6" fmla="*/ 3911025 w 7026839"/>
              <a:gd name="connsiteY6" fmla="*/ 540918196 h 546799480"/>
              <a:gd name="connsiteX7" fmla="*/ 4487032 w 7026839"/>
              <a:gd name="connsiteY7" fmla="*/ 531206113 h 546799480"/>
              <a:gd name="connsiteX8" fmla="*/ 5143912 w 7026839"/>
              <a:gd name="connsiteY8" fmla="*/ 539461450 h 546799480"/>
              <a:gd name="connsiteX9" fmla="*/ 5720802 w 7026839"/>
              <a:gd name="connsiteY9" fmla="*/ 533777788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3409 w 7026839"/>
              <a:gd name="connsiteY4" fmla="*/ 51447773 h 546799480"/>
              <a:gd name="connsiteX5" fmla="*/ 3170027 w 7026839"/>
              <a:gd name="connsiteY5" fmla="*/ 541710642 h 546799480"/>
              <a:gd name="connsiteX6" fmla="*/ 3911025 w 7026839"/>
              <a:gd name="connsiteY6" fmla="*/ 540918196 h 546799480"/>
              <a:gd name="connsiteX7" fmla="*/ 4487032 w 7026839"/>
              <a:gd name="connsiteY7" fmla="*/ 531206113 h 546799480"/>
              <a:gd name="connsiteX8" fmla="*/ 5143912 w 7026839"/>
              <a:gd name="connsiteY8" fmla="*/ 539461450 h 546799480"/>
              <a:gd name="connsiteX9" fmla="*/ 5720802 w 7026839"/>
              <a:gd name="connsiteY9" fmla="*/ 533777788 h 546799480"/>
              <a:gd name="connsiteX10" fmla="*/ 6406398 w 7026839"/>
              <a:gd name="connsiteY10" fmla="*/ 546799475 h 546799480"/>
              <a:gd name="connsiteX11" fmla="*/ 7026839 w 7026839"/>
              <a:gd name="connsiteY11" fmla="*/ 540992592 h 546799480"/>
              <a:gd name="connsiteX0" fmla="*/ 0 w 7026839"/>
              <a:gd name="connsiteY0" fmla="*/ 0 h 569573565"/>
              <a:gd name="connsiteX1" fmla="*/ 665041 w 7026839"/>
              <a:gd name="connsiteY1" fmla="*/ 303947598 h 569573565"/>
              <a:gd name="connsiteX2" fmla="*/ 1300228 w 7026839"/>
              <a:gd name="connsiteY2" fmla="*/ 105699768 h 569573565"/>
              <a:gd name="connsiteX3" fmla="*/ 1947115 w 7026839"/>
              <a:gd name="connsiteY3" fmla="*/ 51955679 h 569573565"/>
              <a:gd name="connsiteX4" fmla="*/ 2573409 w 7026839"/>
              <a:gd name="connsiteY4" fmla="*/ 51447773 h 569573565"/>
              <a:gd name="connsiteX5" fmla="*/ 3211565 w 7026839"/>
              <a:gd name="connsiteY5" fmla="*/ 112857186 h 569573565"/>
              <a:gd name="connsiteX6" fmla="*/ 3911025 w 7026839"/>
              <a:gd name="connsiteY6" fmla="*/ 540918196 h 569573565"/>
              <a:gd name="connsiteX7" fmla="*/ 4487032 w 7026839"/>
              <a:gd name="connsiteY7" fmla="*/ 531206113 h 569573565"/>
              <a:gd name="connsiteX8" fmla="*/ 5143912 w 7026839"/>
              <a:gd name="connsiteY8" fmla="*/ 539461450 h 569573565"/>
              <a:gd name="connsiteX9" fmla="*/ 5720802 w 7026839"/>
              <a:gd name="connsiteY9" fmla="*/ 533777788 h 569573565"/>
              <a:gd name="connsiteX10" fmla="*/ 6406398 w 7026839"/>
              <a:gd name="connsiteY10" fmla="*/ 546799475 h 569573565"/>
              <a:gd name="connsiteX11" fmla="*/ 7026839 w 7026839"/>
              <a:gd name="connsiteY11" fmla="*/ 540992592 h 569573565"/>
              <a:gd name="connsiteX0" fmla="*/ 0 w 7026839"/>
              <a:gd name="connsiteY0" fmla="*/ 0 h 569573565"/>
              <a:gd name="connsiteX1" fmla="*/ 665041 w 7026839"/>
              <a:gd name="connsiteY1" fmla="*/ 303947598 h 569573565"/>
              <a:gd name="connsiteX2" fmla="*/ 1300228 w 7026839"/>
              <a:gd name="connsiteY2" fmla="*/ 105699768 h 569573565"/>
              <a:gd name="connsiteX3" fmla="*/ 1947115 w 7026839"/>
              <a:gd name="connsiteY3" fmla="*/ 51955679 h 569573565"/>
              <a:gd name="connsiteX4" fmla="*/ 2573409 w 7026839"/>
              <a:gd name="connsiteY4" fmla="*/ 51447773 h 569573565"/>
              <a:gd name="connsiteX5" fmla="*/ 3211565 w 7026839"/>
              <a:gd name="connsiteY5" fmla="*/ 112857186 h 569573565"/>
              <a:gd name="connsiteX6" fmla="*/ 3911025 w 7026839"/>
              <a:gd name="connsiteY6" fmla="*/ 540918196 h 569573565"/>
              <a:gd name="connsiteX7" fmla="*/ 4487032 w 7026839"/>
              <a:gd name="connsiteY7" fmla="*/ 531206113 h 569573565"/>
              <a:gd name="connsiteX8" fmla="*/ 5143912 w 7026839"/>
              <a:gd name="connsiteY8" fmla="*/ 539461450 h 569573565"/>
              <a:gd name="connsiteX9" fmla="*/ 5720802 w 7026839"/>
              <a:gd name="connsiteY9" fmla="*/ 533777788 h 569573565"/>
              <a:gd name="connsiteX10" fmla="*/ 6406398 w 7026839"/>
              <a:gd name="connsiteY10" fmla="*/ 546799475 h 569573565"/>
              <a:gd name="connsiteX11" fmla="*/ 7026839 w 7026839"/>
              <a:gd name="connsiteY11" fmla="*/ 540992592 h 569573565"/>
              <a:gd name="connsiteX0" fmla="*/ 0 w 7026839"/>
              <a:gd name="connsiteY0" fmla="*/ 0 h 569573565"/>
              <a:gd name="connsiteX1" fmla="*/ 665041 w 7026839"/>
              <a:gd name="connsiteY1" fmla="*/ 303947598 h 569573565"/>
              <a:gd name="connsiteX2" fmla="*/ 1300228 w 7026839"/>
              <a:gd name="connsiteY2" fmla="*/ 105699768 h 569573565"/>
              <a:gd name="connsiteX3" fmla="*/ 1947115 w 7026839"/>
              <a:gd name="connsiteY3" fmla="*/ 51955679 h 569573565"/>
              <a:gd name="connsiteX4" fmla="*/ 2573409 w 7026839"/>
              <a:gd name="connsiteY4" fmla="*/ 51447773 h 569573565"/>
              <a:gd name="connsiteX5" fmla="*/ 3211565 w 7026839"/>
              <a:gd name="connsiteY5" fmla="*/ 112857186 h 569573565"/>
              <a:gd name="connsiteX6" fmla="*/ 3911025 w 7026839"/>
              <a:gd name="connsiteY6" fmla="*/ 540918196 h 569573565"/>
              <a:gd name="connsiteX7" fmla="*/ 4487032 w 7026839"/>
              <a:gd name="connsiteY7" fmla="*/ 531206113 h 569573565"/>
              <a:gd name="connsiteX8" fmla="*/ 5143912 w 7026839"/>
              <a:gd name="connsiteY8" fmla="*/ 539461450 h 569573565"/>
              <a:gd name="connsiteX9" fmla="*/ 5720802 w 7026839"/>
              <a:gd name="connsiteY9" fmla="*/ 533777788 h 569573565"/>
              <a:gd name="connsiteX10" fmla="*/ 6406398 w 7026839"/>
              <a:gd name="connsiteY10" fmla="*/ 546799475 h 569573565"/>
              <a:gd name="connsiteX11" fmla="*/ 7026839 w 7026839"/>
              <a:gd name="connsiteY11" fmla="*/ 540992592 h 569573565"/>
              <a:gd name="connsiteX0" fmla="*/ 0 w 7026839"/>
              <a:gd name="connsiteY0" fmla="*/ 0 h 569573565"/>
              <a:gd name="connsiteX1" fmla="*/ 665041 w 7026839"/>
              <a:gd name="connsiteY1" fmla="*/ 303947598 h 569573565"/>
              <a:gd name="connsiteX2" fmla="*/ 1300228 w 7026839"/>
              <a:gd name="connsiteY2" fmla="*/ 105699768 h 569573565"/>
              <a:gd name="connsiteX3" fmla="*/ 1947115 w 7026839"/>
              <a:gd name="connsiteY3" fmla="*/ 51955679 h 569573565"/>
              <a:gd name="connsiteX4" fmla="*/ 2573409 w 7026839"/>
              <a:gd name="connsiteY4" fmla="*/ 51447773 h 569573565"/>
              <a:gd name="connsiteX5" fmla="*/ 3211565 w 7026839"/>
              <a:gd name="connsiteY5" fmla="*/ 112857186 h 569573565"/>
              <a:gd name="connsiteX6" fmla="*/ 3911025 w 7026839"/>
              <a:gd name="connsiteY6" fmla="*/ 540918196 h 569573565"/>
              <a:gd name="connsiteX7" fmla="*/ 4487032 w 7026839"/>
              <a:gd name="connsiteY7" fmla="*/ 531206113 h 569573565"/>
              <a:gd name="connsiteX8" fmla="*/ 5143912 w 7026839"/>
              <a:gd name="connsiteY8" fmla="*/ 539461450 h 569573565"/>
              <a:gd name="connsiteX9" fmla="*/ 5720802 w 7026839"/>
              <a:gd name="connsiteY9" fmla="*/ 533777788 h 569573565"/>
              <a:gd name="connsiteX10" fmla="*/ 6406398 w 7026839"/>
              <a:gd name="connsiteY10" fmla="*/ 546799475 h 569573565"/>
              <a:gd name="connsiteX11" fmla="*/ 7026839 w 7026839"/>
              <a:gd name="connsiteY11" fmla="*/ 540992592 h 569573565"/>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3409 w 7026839"/>
              <a:gd name="connsiteY4" fmla="*/ 51447773 h 546799480"/>
              <a:gd name="connsiteX5" fmla="*/ 3211565 w 7026839"/>
              <a:gd name="connsiteY5" fmla="*/ 112857186 h 546799480"/>
              <a:gd name="connsiteX6" fmla="*/ 3890257 w 7026839"/>
              <a:gd name="connsiteY6" fmla="*/ 123858232 h 546799480"/>
              <a:gd name="connsiteX7" fmla="*/ 4487032 w 7026839"/>
              <a:gd name="connsiteY7" fmla="*/ 531206113 h 546799480"/>
              <a:gd name="connsiteX8" fmla="*/ 5143912 w 7026839"/>
              <a:gd name="connsiteY8" fmla="*/ 539461450 h 546799480"/>
              <a:gd name="connsiteX9" fmla="*/ 5720802 w 7026839"/>
              <a:gd name="connsiteY9" fmla="*/ 533777788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3409 w 7026839"/>
              <a:gd name="connsiteY4" fmla="*/ 51447773 h 546799480"/>
              <a:gd name="connsiteX5" fmla="*/ 3211565 w 7026839"/>
              <a:gd name="connsiteY5" fmla="*/ 112857186 h 546799480"/>
              <a:gd name="connsiteX6" fmla="*/ 3890257 w 7026839"/>
              <a:gd name="connsiteY6" fmla="*/ 123858232 h 546799480"/>
              <a:gd name="connsiteX7" fmla="*/ 4487032 w 7026839"/>
              <a:gd name="connsiteY7" fmla="*/ 531206113 h 546799480"/>
              <a:gd name="connsiteX8" fmla="*/ 5143912 w 7026839"/>
              <a:gd name="connsiteY8" fmla="*/ 539461450 h 546799480"/>
              <a:gd name="connsiteX9" fmla="*/ 5720802 w 7026839"/>
              <a:gd name="connsiteY9" fmla="*/ 533777788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3409 w 7026839"/>
              <a:gd name="connsiteY4" fmla="*/ 51447773 h 546799480"/>
              <a:gd name="connsiteX5" fmla="*/ 3211565 w 7026839"/>
              <a:gd name="connsiteY5" fmla="*/ 112857186 h 546799480"/>
              <a:gd name="connsiteX6" fmla="*/ 3859104 w 7026839"/>
              <a:gd name="connsiteY6" fmla="*/ 110992545 h 546799480"/>
              <a:gd name="connsiteX7" fmla="*/ 4487032 w 7026839"/>
              <a:gd name="connsiteY7" fmla="*/ 531206113 h 546799480"/>
              <a:gd name="connsiteX8" fmla="*/ 5143912 w 7026839"/>
              <a:gd name="connsiteY8" fmla="*/ 539461450 h 546799480"/>
              <a:gd name="connsiteX9" fmla="*/ 5720802 w 7026839"/>
              <a:gd name="connsiteY9" fmla="*/ 533777788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3409 w 7026839"/>
              <a:gd name="connsiteY4" fmla="*/ 51447773 h 546799480"/>
              <a:gd name="connsiteX5" fmla="*/ 3211565 w 7026839"/>
              <a:gd name="connsiteY5" fmla="*/ 112857186 h 546799480"/>
              <a:gd name="connsiteX6" fmla="*/ 3859104 w 7026839"/>
              <a:gd name="connsiteY6" fmla="*/ 110992545 h 546799480"/>
              <a:gd name="connsiteX7" fmla="*/ 4487032 w 7026839"/>
              <a:gd name="connsiteY7" fmla="*/ 531206113 h 546799480"/>
              <a:gd name="connsiteX8" fmla="*/ 5143912 w 7026839"/>
              <a:gd name="connsiteY8" fmla="*/ 539461450 h 546799480"/>
              <a:gd name="connsiteX9" fmla="*/ 5720802 w 7026839"/>
              <a:gd name="connsiteY9" fmla="*/ 533777788 h 546799480"/>
              <a:gd name="connsiteX10" fmla="*/ 6406398 w 7026839"/>
              <a:gd name="connsiteY10" fmla="*/ 546799475 h 546799480"/>
              <a:gd name="connsiteX11" fmla="*/ 7026839 w 7026839"/>
              <a:gd name="connsiteY11" fmla="*/ 540992592 h 546799480"/>
              <a:gd name="connsiteX0" fmla="*/ 0 w 7026839"/>
              <a:gd name="connsiteY0" fmla="*/ 0 h 551439301"/>
              <a:gd name="connsiteX1" fmla="*/ 665041 w 7026839"/>
              <a:gd name="connsiteY1" fmla="*/ 303947598 h 551439301"/>
              <a:gd name="connsiteX2" fmla="*/ 1300228 w 7026839"/>
              <a:gd name="connsiteY2" fmla="*/ 105699768 h 551439301"/>
              <a:gd name="connsiteX3" fmla="*/ 1947115 w 7026839"/>
              <a:gd name="connsiteY3" fmla="*/ 51955679 h 551439301"/>
              <a:gd name="connsiteX4" fmla="*/ 2573409 w 7026839"/>
              <a:gd name="connsiteY4" fmla="*/ 51447773 h 551439301"/>
              <a:gd name="connsiteX5" fmla="*/ 3211565 w 7026839"/>
              <a:gd name="connsiteY5" fmla="*/ 112857186 h 551439301"/>
              <a:gd name="connsiteX6" fmla="*/ 3859104 w 7026839"/>
              <a:gd name="connsiteY6" fmla="*/ 110992545 h 551439301"/>
              <a:gd name="connsiteX7" fmla="*/ 4476648 w 7026839"/>
              <a:gd name="connsiteY7" fmla="*/ 351087549 h 551439301"/>
              <a:gd name="connsiteX8" fmla="*/ 5143912 w 7026839"/>
              <a:gd name="connsiteY8" fmla="*/ 539461450 h 551439301"/>
              <a:gd name="connsiteX9" fmla="*/ 5720802 w 7026839"/>
              <a:gd name="connsiteY9" fmla="*/ 533777788 h 551439301"/>
              <a:gd name="connsiteX10" fmla="*/ 6406398 w 7026839"/>
              <a:gd name="connsiteY10" fmla="*/ 546799475 h 551439301"/>
              <a:gd name="connsiteX11" fmla="*/ 7026839 w 7026839"/>
              <a:gd name="connsiteY11" fmla="*/ 540992592 h 551439301"/>
              <a:gd name="connsiteX0" fmla="*/ 0 w 7026839"/>
              <a:gd name="connsiteY0" fmla="*/ 0 h 551439301"/>
              <a:gd name="connsiteX1" fmla="*/ 665041 w 7026839"/>
              <a:gd name="connsiteY1" fmla="*/ 303947598 h 551439301"/>
              <a:gd name="connsiteX2" fmla="*/ 1300228 w 7026839"/>
              <a:gd name="connsiteY2" fmla="*/ 105699768 h 551439301"/>
              <a:gd name="connsiteX3" fmla="*/ 1947115 w 7026839"/>
              <a:gd name="connsiteY3" fmla="*/ 51955679 h 551439301"/>
              <a:gd name="connsiteX4" fmla="*/ 2573409 w 7026839"/>
              <a:gd name="connsiteY4" fmla="*/ 51447773 h 551439301"/>
              <a:gd name="connsiteX5" fmla="*/ 3211565 w 7026839"/>
              <a:gd name="connsiteY5" fmla="*/ 112857186 h 551439301"/>
              <a:gd name="connsiteX6" fmla="*/ 3859104 w 7026839"/>
              <a:gd name="connsiteY6" fmla="*/ 110992545 h 551439301"/>
              <a:gd name="connsiteX7" fmla="*/ 4507802 w 7026839"/>
              <a:gd name="connsiteY7" fmla="*/ 351087549 h 551439301"/>
              <a:gd name="connsiteX8" fmla="*/ 5143912 w 7026839"/>
              <a:gd name="connsiteY8" fmla="*/ 539461450 h 551439301"/>
              <a:gd name="connsiteX9" fmla="*/ 5720802 w 7026839"/>
              <a:gd name="connsiteY9" fmla="*/ 533777788 h 551439301"/>
              <a:gd name="connsiteX10" fmla="*/ 6406398 w 7026839"/>
              <a:gd name="connsiteY10" fmla="*/ 546799475 h 551439301"/>
              <a:gd name="connsiteX11" fmla="*/ 7026839 w 7026839"/>
              <a:gd name="connsiteY11" fmla="*/ 540992592 h 551439301"/>
              <a:gd name="connsiteX0" fmla="*/ 0 w 7026839"/>
              <a:gd name="connsiteY0" fmla="*/ 0 h 573534263"/>
              <a:gd name="connsiteX1" fmla="*/ 665041 w 7026839"/>
              <a:gd name="connsiteY1" fmla="*/ 303947598 h 573534263"/>
              <a:gd name="connsiteX2" fmla="*/ 1300228 w 7026839"/>
              <a:gd name="connsiteY2" fmla="*/ 105699768 h 573534263"/>
              <a:gd name="connsiteX3" fmla="*/ 1947115 w 7026839"/>
              <a:gd name="connsiteY3" fmla="*/ 51955679 h 573534263"/>
              <a:gd name="connsiteX4" fmla="*/ 2573409 w 7026839"/>
              <a:gd name="connsiteY4" fmla="*/ 51447773 h 573534263"/>
              <a:gd name="connsiteX5" fmla="*/ 3211565 w 7026839"/>
              <a:gd name="connsiteY5" fmla="*/ 112857186 h 573534263"/>
              <a:gd name="connsiteX6" fmla="*/ 3859104 w 7026839"/>
              <a:gd name="connsiteY6" fmla="*/ 110992545 h 573534263"/>
              <a:gd name="connsiteX7" fmla="*/ 4507802 w 7026839"/>
              <a:gd name="connsiteY7" fmla="*/ 351087549 h 573534263"/>
              <a:gd name="connsiteX8" fmla="*/ 5185451 w 7026839"/>
              <a:gd name="connsiteY8" fmla="*/ 60217543 h 573534263"/>
              <a:gd name="connsiteX9" fmla="*/ 5720802 w 7026839"/>
              <a:gd name="connsiteY9" fmla="*/ 533777788 h 573534263"/>
              <a:gd name="connsiteX10" fmla="*/ 6406398 w 7026839"/>
              <a:gd name="connsiteY10" fmla="*/ 546799475 h 573534263"/>
              <a:gd name="connsiteX11" fmla="*/ 7026839 w 7026839"/>
              <a:gd name="connsiteY11" fmla="*/ 540992592 h 573534263"/>
              <a:gd name="connsiteX0" fmla="*/ 0 w 7026839"/>
              <a:gd name="connsiteY0" fmla="*/ 0 h 573534263"/>
              <a:gd name="connsiteX1" fmla="*/ 665041 w 7026839"/>
              <a:gd name="connsiteY1" fmla="*/ 303947598 h 573534263"/>
              <a:gd name="connsiteX2" fmla="*/ 1300228 w 7026839"/>
              <a:gd name="connsiteY2" fmla="*/ 105699768 h 573534263"/>
              <a:gd name="connsiteX3" fmla="*/ 1947115 w 7026839"/>
              <a:gd name="connsiteY3" fmla="*/ 51955679 h 573534263"/>
              <a:gd name="connsiteX4" fmla="*/ 2573409 w 7026839"/>
              <a:gd name="connsiteY4" fmla="*/ 51447773 h 573534263"/>
              <a:gd name="connsiteX5" fmla="*/ 3211565 w 7026839"/>
              <a:gd name="connsiteY5" fmla="*/ 112857186 h 573534263"/>
              <a:gd name="connsiteX6" fmla="*/ 3859104 w 7026839"/>
              <a:gd name="connsiteY6" fmla="*/ 110992545 h 573534263"/>
              <a:gd name="connsiteX7" fmla="*/ 4507802 w 7026839"/>
              <a:gd name="connsiteY7" fmla="*/ 351087549 h 573534263"/>
              <a:gd name="connsiteX8" fmla="*/ 5185451 w 7026839"/>
              <a:gd name="connsiteY8" fmla="*/ 60217543 h 573534263"/>
              <a:gd name="connsiteX9" fmla="*/ 5720802 w 7026839"/>
              <a:gd name="connsiteY9" fmla="*/ 533777788 h 573534263"/>
              <a:gd name="connsiteX10" fmla="*/ 6406398 w 7026839"/>
              <a:gd name="connsiteY10" fmla="*/ 546799475 h 573534263"/>
              <a:gd name="connsiteX11" fmla="*/ 7026839 w 7026839"/>
              <a:gd name="connsiteY11" fmla="*/ 540992592 h 573534263"/>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3409 w 7026839"/>
              <a:gd name="connsiteY4" fmla="*/ 51447773 h 546799480"/>
              <a:gd name="connsiteX5" fmla="*/ 3211565 w 7026839"/>
              <a:gd name="connsiteY5" fmla="*/ 112857186 h 546799480"/>
              <a:gd name="connsiteX6" fmla="*/ 3859104 w 7026839"/>
              <a:gd name="connsiteY6" fmla="*/ 110992545 h 546799480"/>
              <a:gd name="connsiteX7" fmla="*/ 4507802 w 7026839"/>
              <a:gd name="connsiteY7" fmla="*/ 351087549 h 546799480"/>
              <a:gd name="connsiteX8" fmla="*/ 5185451 w 7026839"/>
              <a:gd name="connsiteY8" fmla="*/ 60217543 h 546799480"/>
              <a:gd name="connsiteX9" fmla="*/ 5793494 w 7026839"/>
              <a:gd name="connsiteY9" fmla="*/ 344010143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3409 w 7026839"/>
              <a:gd name="connsiteY4" fmla="*/ 51447773 h 546799480"/>
              <a:gd name="connsiteX5" fmla="*/ 3211565 w 7026839"/>
              <a:gd name="connsiteY5" fmla="*/ 112857186 h 546799480"/>
              <a:gd name="connsiteX6" fmla="*/ 3859104 w 7026839"/>
              <a:gd name="connsiteY6" fmla="*/ 110992545 h 546799480"/>
              <a:gd name="connsiteX7" fmla="*/ 4507802 w 7026839"/>
              <a:gd name="connsiteY7" fmla="*/ 351087549 h 546799480"/>
              <a:gd name="connsiteX8" fmla="*/ 5185451 w 7026839"/>
              <a:gd name="connsiteY8" fmla="*/ 60217543 h 546799480"/>
              <a:gd name="connsiteX9" fmla="*/ 5793494 w 7026839"/>
              <a:gd name="connsiteY9" fmla="*/ 344010143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3409 w 7026839"/>
              <a:gd name="connsiteY4" fmla="*/ 51447773 h 546799480"/>
              <a:gd name="connsiteX5" fmla="*/ 3211565 w 7026839"/>
              <a:gd name="connsiteY5" fmla="*/ 112857186 h 546799480"/>
              <a:gd name="connsiteX6" fmla="*/ 3859104 w 7026839"/>
              <a:gd name="connsiteY6" fmla="*/ 110992545 h 546799480"/>
              <a:gd name="connsiteX7" fmla="*/ 4507802 w 7026839"/>
              <a:gd name="connsiteY7" fmla="*/ 351087549 h 546799480"/>
              <a:gd name="connsiteX8" fmla="*/ 5185451 w 7026839"/>
              <a:gd name="connsiteY8" fmla="*/ 60217543 h 546799480"/>
              <a:gd name="connsiteX9" fmla="*/ 5793494 w 7026839"/>
              <a:gd name="connsiteY9" fmla="*/ 344010143 h 546799480"/>
              <a:gd name="connsiteX10" fmla="*/ 6406398 w 7026839"/>
              <a:gd name="connsiteY10" fmla="*/ 546799475 h 546799480"/>
              <a:gd name="connsiteX11" fmla="*/ 7026839 w 7026839"/>
              <a:gd name="connsiteY11" fmla="*/ 540992592 h 546799480"/>
              <a:gd name="connsiteX0" fmla="*/ 0 w 7026839"/>
              <a:gd name="connsiteY0" fmla="*/ 0 h 546799480"/>
              <a:gd name="connsiteX1" fmla="*/ 665041 w 7026839"/>
              <a:gd name="connsiteY1" fmla="*/ 303947598 h 546799480"/>
              <a:gd name="connsiteX2" fmla="*/ 1300228 w 7026839"/>
              <a:gd name="connsiteY2" fmla="*/ 105699768 h 546799480"/>
              <a:gd name="connsiteX3" fmla="*/ 1947115 w 7026839"/>
              <a:gd name="connsiteY3" fmla="*/ 51955679 h 546799480"/>
              <a:gd name="connsiteX4" fmla="*/ 2573409 w 7026839"/>
              <a:gd name="connsiteY4" fmla="*/ 51447773 h 546799480"/>
              <a:gd name="connsiteX5" fmla="*/ 3211565 w 7026839"/>
              <a:gd name="connsiteY5" fmla="*/ 112857186 h 546799480"/>
              <a:gd name="connsiteX6" fmla="*/ 3859104 w 7026839"/>
              <a:gd name="connsiteY6" fmla="*/ 110992545 h 546799480"/>
              <a:gd name="connsiteX7" fmla="*/ 4507802 w 7026839"/>
              <a:gd name="connsiteY7" fmla="*/ 351087549 h 546799480"/>
              <a:gd name="connsiteX8" fmla="*/ 5185451 w 7026839"/>
              <a:gd name="connsiteY8" fmla="*/ 60217543 h 546799480"/>
              <a:gd name="connsiteX9" fmla="*/ 5788302 w 7026839"/>
              <a:gd name="connsiteY9" fmla="*/ 347226527 h 546799480"/>
              <a:gd name="connsiteX10" fmla="*/ 6406398 w 7026839"/>
              <a:gd name="connsiteY10" fmla="*/ 546799475 h 546799480"/>
              <a:gd name="connsiteX11" fmla="*/ 7026839 w 7026839"/>
              <a:gd name="connsiteY11" fmla="*/ 540992592 h 546799480"/>
              <a:gd name="connsiteX0" fmla="*/ 0 w 7026839"/>
              <a:gd name="connsiteY0" fmla="*/ 0 h 540992595"/>
              <a:gd name="connsiteX1" fmla="*/ 665041 w 7026839"/>
              <a:gd name="connsiteY1" fmla="*/ 303947598 h 540992595"/>
              <a:gd name="connsiteX2" fmla="*/ 1300228 w 7026839"/>
              <a:gd name="connsiteY2" fmla="*/ 105699768 h 540992595"/>
              <a:gd name="connsiteX3" fmla="*/ 1947115 w 7026839"/>
              <a:gd name="connsiteY3" fmla="*/ 51955679 h 540992595"/>
              <a:gd name="connsiteX4" fmla="*/ 2573409 w 7026839"/>
              <a:gd name="connsiteY4" fmla="*/ 51447773 h 540992595"/>
              <a:gd name="connsiteX5" fmla="*/ 3211565 w 7026839"/>
              <a:gd name="connsiteY5" fmla="*/ 112857186 h 540992595"/>
              <a:gd name="connsiteX6" fmla="*/ 3859104 w 7026839"/>
              <a:gd name="connsiteY6" fmla="*/ 110992545 h 540992595"/>
              <a:gd name="connsiteX7" fmla="*/ 4507802 w 7026839"/>
              <a:gd name="connsiteY7" fmla="*/ 351087549 h 540992595"/>
              <a:gd name="connsiteX8" fmla="*/ 5185451 w 7026839"/>
              <a:gd name="connsiteY8" fmla="*/ 60217543 h 540992595"/>
              <a:gd name="connsiteX9" fmla="*/ 5788302 w 7026839"/>
              <a:gd name="connsiteY9" fmla="*/ 347226527 h 540992595"/>
              <a:gd name="connsiteX10" fmla="*/ 6463513 w 7026839"/>
              <a:gd name="connsiteY10" fmla="*/ 185490440 h 540992595"/>
              <a:gd name="connsiteX11" fmla="*/ 7026839 w 7026839"/>
              <a:gd name="connsiteY11" fmla="*/ 540992592 h 540992595"/>
              <a:gd name="connsiteX0" fmla="*/ 0 w 7026839"/>
              <a:gd name="connsiteY0" fmla="*/ 0 h 540992595"/>
              <a:gd name="connsiteX1" fmla="*/ 665041 w 7026839"/>
              <a:gd name="connsiteY1" fmla="*/ 303947598 h 540992595"/>
              <a:gd name="connsiteX2" fmla="*/ 1300228 w 7026839"/>
              <a:gd name="connsiteY2" fmla="*/ 105699768 h 540992595"/>
              <a:gd name="connsiteX3" fmla="*/ 1947115 w 7026839"/>
              <a:gd name="connsiteY3" fmla="*/ 51955679 h 540992595"/>
              <a:gd name="connsiteX4" fmla="*/ 2573409 w 7026839"/>
              <a:gd name="connsiteY4" fmla="*/ 51447773 h 540992595"/>
              <a:gd name="connsiteX5" fmla="*/ 3211565 w 7026839"/>
              <a:gd name="connsiteY5" fmla="*/ 112857186 h 540992595"/>
              <a:gd name="connsiteX6" fmla="*/ 3859104 w 7026839"/>
              <a:gd name="connsiteY6" fmla="*/ 110992545 h 540992595"/>
              <a:gd name="connsiteX7" fmla="*/ 4507802 w 7026839"/>
              <a:gd name="connsiteY7" fmla="*/ 351087549 h 540992595"/>
              <a:gd name="connsiteX8" fmla="*/ 5185451 w 7026839"/>
              <a:gd name="connsiteY8" fmla="*/ 60217543 h 540992595"/>
              <a:gd name="connsiteX9" fmla="*/ 5788302 w 7026839"/>
              <a:gd name="connsiteY9" fmla="*/ 347226527 h 540992595"/>
              <a:gd name="connsiteX10" fmla="*/ 6416783 w 7026839"/>
              <a:gd name="connsiteY10" fmla="*/ 46113099 h 540992595"/>
              <a:gd name="connsiteX11" fmla="*/ 7026839 w 7026839"/>
              <a:gd name="connsiteY11" fmla="*/ 540992592 h 540992595"/>
              <a:gd name="connsiteX0" fmla="*/ 0 w 7094339"/>
              <a:gd name="connsiteY0" fmla="*/ 0 h 351087549"/>
              <a:gd name="connsiteX1" fmla="*/ 665041 w 7094339"/>
              <a:gd name="connsiteY1" fmla="*/ 303947598 h 351087549"/>
              <a:gd name="connsiteX2" fmla="*/ 1300228 w 7094339"/>
              <a:gd name="connsiteY2" fmla="*/ 105699768 h 351087549"/>
              <a:gd name="connsiteX3" fmla="*/ 1947115 w 7094339"/>
              <a:gd name="connsiteY3" fmla="*/ 51955679 h 351087549"/>
              <a:gd name="connsiteX4" fmla="*/ 2573409 w 7094339"/>
              <a:gd name="connsiteY4" fmla="*/ 51447773 h 351087549"/>
              <a:gd name="connsiteX5" fmla="*/ 3211565 w 7094339"/>
              <a:gd name="connsiteY5" fmla="*/ 112857186 h 351087549"/>
              <a:gd name="connsiteX6" fmla="*/ 3859104 w 7094339"/>
              <a:gd name="connsiteY6" fmla="*/ 110992545 h 351087549"/>
              <a:gd name="connsiteX7" fmla="*/ 4507802 w 7094339"/>
              <a:gd name="connsiteY7" fmla="*/ 351087549 h 351087549"/>
              <a:gd name="connsiteX8" fmla="*/ 5185451 w 7094339"/>
              <a:gd name="connsiteY8" fmla="*/ 60217543 h 351087549"/>
              <a:gd name="connsiteX9" fmla="*/ 5788302 w 7094339"/>
              <a:gd name="connsiteY9" fmla="*/ 347226527 h 351087549"/>
              <a:gd name="connsiteX10" fmla="*/ 6416783 w 7094339"/>
              <a:gd name="connsiteY10" fmla="*/ 46113099 h 351087549"/>
              <a:gd name="connsiteX11" fmla="*/ 7094339 w 7094339"/>
              <a:gd name="connsiteY11" fmla="*/ 111066810 h 351087549"/>
              <a:gd name="connsiteX0" fmla="*/ 0 w 7094339"/>
              <a:gd name="connsiteY0" fmla="*/ 0 h 351087549"/>
              <a:gd name="connsiteX1" fmla="*/ 665041 w 7094339"/>
              <a:gd name="connsiteY1" fmla="*/ 303947598 h 351087549"/>
              <a:gd name="connsiteX2" fmla="*/ 1300228 w 7094339"/>
              <a:gd name="connsiteY2" fmla="*/ 105699768 h 351087549"/>
              <a:gd name="connsiteX3" fmla="*/ 1947115 w 7094339"/>
              <a:gd name="connsiteY3" fmla="*/ 51955679 h 351087549"/>
              <a:gd name="connsiteX4" fmla="*/ 2573409 w 7094339"/>
              <a:gd name="connsiteY4" fmla="*/ 51447773 h 351087549"/>
              <a:gd name="connsiteX5" fmla="*/ 3211565 w 7094339"/>
              <a:gd name="connsiteY5" fmla="*/ 112857186 h 351087549"/>
              <a:gd name="connsiteX6" fmla="*/ 3859104 w 7094339"/>
              <a:gd name="connsiteY6" fmla="*/ 110992545 h 351087549"/>
              <a:gd name="connsiteX7" fmla="*/ 4507802 w 7094339"/>
              <a:gd name="connsiteY7" fmla="*/ 351087549 h 351087549"/>
              <a:gd name="connsiteX8" fmla="*/ 5185451 w 7094339"/>
              <a:gd name="connsiteY8" fmla="*/ 60217543 h 351087549"/>
              <a:gd name="connsiteX9" fmla="*/ 5788302 w 7094339"/>
              <a:gd name="connsiteY9" fmla="*/ 347226527 h 351087549"/>
              <a:gd name="connsiteX10" fmla="*/ 6416783 w 7094339"/>
              <a:gd name="connsiteY10" fmla="*/ 46113099 h 351087549"/>
              <a:gd name="connsiteX11" fmla="*/ 7094339 w 7094339"/>
              <a:gd name="connsiteY11" fmla="*/ 111066810 h 351087549"/>
              <a:gd name="connsiteX0" fmla="*/ 0 w 7094339"/>
              <a:gd name="connsiteY0" fmla="*/ 0 h 351087549"/>
              <a:gd name="connsiteX1" fmla="*/ 665041 w 7094339"/>
              <a:gd name="connsiteY1" fmla="*/ 303947598 h 351087549"/>
              <a:gd name="connsiteX2" fmla="*/ 1300228 w 7094339"/>
              <a:gd name="connsiteY2" fmla="*/ 105699768 h 351087549"/>
              <a:gd name="connsiteX3" fmla="*/ 1947115 w 7094339"/>
              <a:gd name="connsiteY3" fmla="*/ 51955679 h 351087549"/>
              <a:gd name="connsiteX4" fmla="*/ 2573409 w 7094339"/>
              <a:gd name="connsiteY4" fmla="*/ 51447773 h 351087549"/>
              <a:gd name="connsiteX5" fmla="*/ 3211565 w 7094339"/>
              <a:gd name="connsiteY5" fmla="*/ 112857186 h 351087549"/>
              <a:gd name="connsiteX6" fmla="*/ 3859104 w 7094339"/>
              <a:gd name="connsiteY6" fmla="*/ 110992545 h 351087549"/>
              <a:gd name="connsiteX7" fmla="*/ 4507802 w 7094339"/>
              <a:gd name="connsiteY7" fmla="*/ 351087549 h 351087549"/>
              <a:gd name="connsiteX8" fmla="*/ 5185451 w 7094339"/>
              <a:gd name="connsiteY8" fmla="*/ 60217543 h 351087549"/>
              <a:gd name="connsiteX9" fmla="*/ 5788302 w 7094339"/>
              <a:gd name="connsiteY9" fmla="*/ 347226527 h 351087549"/>
              <a:gd name="connsiteX10" fmla="*/ 6416783 w 7094339"/>
              <a:gd name="connsiteY10" fmla="*/ 46113099 h 351087549"/>
              <a:gd name="connsiteX11" fmla="*/ 7094339 w 7094339"/>
              <a:gd name="connsiteY11" fmla="*/ 111066810 h 35108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94339" h="351087549">
                <a:moveTo>
                  <a:pt x="0" y="0"/>
                </a:moveTo>
                <a:cubicBezTo>
                  <a:pt x="541990" y="-6579"/>
                  <a:pt x="448336" y="286330970"/>
                  <a:pt x="665041" y="303947598"/>
                </a:cubicBezTo>
                <a:cubicBezTo>
                  <a:pt x="881746" y="321564226"/>
                  <a:pt x="1086549" y="138049043"/>
                  <a:pt x="1300228" y="105699768"/>
                </a:cubicBezTo>
                <a:cubicBezTo>
                  <a:pt x="1513907" y="73350493"/>
                  <a:pt x="1724533" y="56709090"/>
                  <a:pt x="1947115" y="51955679"/>
                </a:cubicBezTo>
                <a:cubicBezTo>
                  <a:pt x="2169697" y="47202268"/>
                  <a:pt x="2362667" y="41297522"/>
                  <a:pt x="2573409" y="51447773"/>
                </a:cubicBezTo>
                <a:cubicBezTo>
                  <a:pt x="2784151" y="61598024"/>
                  <a:pt x="3029550" y="113659127"/>
                  <a:pt x="3211565" y="112857186"/>
                </a:cubicBezTo>
                <a:cubicBezTo>
                  <a:pt x="3391894" y="113473691"/>
                  <a:pt x="3643065" y="71287485"/>
                  <a:pt x="3859104" y="110992545"/>
                </a:cubicBezTo>
                <a:cubicBezTo>
                  <a:pt x="4075143" y="150697605"/>
                  <a:pt x="4242098" y="351080054"/>
                  <a:pt x="4507802" y="351087549"/>
                </a:cubicBezTo>
                <a:cubicBezTo>
                  <a:pt x="4853668" y="351087578"/>
                  <a:pt x="4972034" y="60861047"/>
                  <a:pt x="5185451" y="60217543"/>
                </a:cubicBezTo>
                <a:cubicBezTo>
                  <a:pt x="5398868" y="59574039"/>
                  <a:pt x="5583080" y="349577268"/>
                  <a:pt x="5788302" y="347226527"/>
                </a:cubicBezTo>
                <a:cubicBezTo>
                  <a:pt x="5993524" y="344875786"/>
                  <a:pt x="6215433" y="46103413"/>
                  <a:pt x="6416783" y="46113099"/>
                </a:cubicBezTo>
                <a:cubicBezTo>
                  <a:pt x="6589351" y="46119454"/>
                  <a:pt x="6831484" y="87467794"/>
                  <a:pt x="7094339" y="111066810"/>
                </a:cubicBezTo>
              </a:path>
            </a:pathLst>
          </a:custGeom>
          <a:noFill/>
          <a:ln w="136525" cap="rnd" cmpd="sng" algn="ctr">
            <a:solidFill>
              <a:srgbClr val="32E9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95" name="Group 90"/>
          <p:cNvGrpSpPr/>
          <p:nvPr/>
        </p:nvGrpSpPr>
        <p:grpSpPr>
          <a:xfrm>
            <a:off x="8960144" y="237259"/>
            <a:ext cx="2430508" cy="289004"/>
            <a:chOff x="9447824" y="732559"/>
            <a:chExt cx="2430508" cy="289004"/>
          </a:xfrm>
        </p:grpSpPr>
        <p:grpSp>
          <p:nvGrpSpPr>
            <p:cNvPr id="97"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111"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113"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99"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107"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109"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101"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103"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105"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cxnSp>
        <p:nvCxnSpPr>
          <p:cNvPr id="117" name="Straight Connector 116">
            <a:extLst>
              <a:ext uri="{FF2B5EF4-FFF2-40B4-BE49-F238E27FC236}">
                <a16:creationId xmlns:a16="http://schemas.microsoft.com/office/drawing/2014/main" id="{603EAF2C-73E4-4EE3-BD74-9D1E233B4BCB}"/>
              </a:ext>
            </a:extLst>
          </p:cNvPr>
          <p:cNvCxnSpPr>
            <a:cxnSpLocks/>
          </p:cNvCxnSpPr>
          <p:nvPr/>
        </p:nvCxnSpPr>
        <p:spPr>
          <a:xfrm>
            <a:off x="6272694" y="3003299"/>
            <a:ext cx="318112" cy="0"/>
          </a:xfrm>
          <a:prstGeom prst="line">
            <a:avLst/>
          </a:prstGeom>
          <a:noFill/>
          <a:ln w="136525" cap="rnd" algn="ctr">
            <a:solidFill>
              <a:srgbClr val="A1D794"/>
            </a:solidFill>
            <a:round/>
            <a:headEnd/>
            <a:tailEnd/>
          </a:ln>
        </p:spPr>
      </p:cxnSp>
    </p:spTree>
    <p:extLst>
      <p:ext uri="{BB962C8B-B14F-4D97-AF65-F5344CB8AC3E}">
        <p14:creationId xmlns:p14="http://schemas.microsoft.com/office/powerpoint/2010/main" val="20161594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Group 29"/>
          <p:cNvGraphicFramePr>
            <a:graphicFrameLocks noGrp="1"/>
          </p:cNvGraphicFramePr>
          <p:nvPr>
            <p:extLst>
              <p:ext uri="{D42A27DB-BD31-4B8C-83A1-F6EECF244321}">
                <p14:modId xmlns:p14="http://schemas.microsoft.com/office/powerpoint/2010/main" val="3796751055"/>
              </p:ext>
            </p:extLst>
          </p:nvPr>
        </p:nvGraphicFramePr>
        <p:xfrm>
          <a:off x="202386" y="929211"/>
          <a:ext cx="11787228" cy="5741733"/>
        </p:xfrm>
        <a:graphic>
          <a:graphicData uri="http://schemas.openxmlformats.org/drawingml/2006/table">
            <a:tbl>
              <a:tblPr/>
              <a:tblGrid>
                <a:gridCol w="1923228">
                  <a:extLst>
                    <a:ext uri="{9D8B030D-6E8A-4147-A177-3AD203B41FA5}">
                      <a16:colId xmlns:a16="http://schemas.microsoft.com/office/drawing/2014/main" val="20000"/>
                    </a:ext>
                  </a:extLst>
                </a:gridCol>
                <a:gridCol w="4932000">
                  <a:extLst>
                    <a:ext uri="{9D8B030D-6E8A-4147-A177-3AD203B41FA5}">
                      <a16:colId xmlns:a16="http://schemas.microsoft.com/office/drawing/2014/main" val="20001"/>
                    </a:ext>
                  </a:extLst>
                </a:gridCol>
                <a:gridCol w="4932000">
                  <a:extLst>
                    <a:ext uri="{9D8B030D-6E8A-4147-A177-3AD203B41FA5}">
                      <a16:colId xmlns:a16="http://schemas.microsoft.com/office/drawing/2014/main" val="20002"/>
                    </a:ext>
                  </a:extLst>
                </a:gridCol>
              </a:tblGrid>
              <a:tr h="238731">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800" b="1" i="0" u="none" strike="noStrike" cap="none" normalizeH="0" baseline="0" dirty="0">
                        <a:ln>
                          <a:noFill/>
                        </a:ln>
                        <a:solidFill>
                          <a:srgbClr val="002776"/>
                        </a:solidFill>
                        <a:effectLst/>
                        <a:latin typeface="+mj-lt"/>
                        <a:cs typeface="Arial" pitchFamily="34" charset="0"/>
                      </a:endParaRPr>
                    </a:p>
                  </a:txBody>
                  <a:tcPr marL="54864" marR="54864" marT="36576" marB="3657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eaLnBrk="0" hangingPunct="0">
                        <a:lnSpc>
                          <a:spcPct val="90000"/>
                        </a:lnSpc>
                        <a:buSzPct val="100000"/>
                        <a:buFont typeface="Wingdings 2" pitchFamily="18" charset="2"/>
                        <a:buNone/>
                      </a:pPr>
                      <a:r>
                        <a:rPr lang="en-US" altLang="en-US" sz="800" b="1" kern="1200" dirty="0">
                          <a:solidFill>
                            <a:schemeClr val="bg1"/>
                          </a:solidFill>
                          <a:latin typeface="+mn-lt"/>
                          <a:ea typeface="+mn-ea"/>
                          <a:cs typeface="+mn-cs"/>
                        </a:rPr>
                        <a:t>Key</a:t>
                      </a:r>
                      <a:r>
                        <a:rPr lang="en-US" altLang="en-US" sz="800" b="1" kern="1200" baseline="0" dirty="0">
                          <a:solidFill>
                            <a:schemeClr val="bg1"/>
                          </a:solidFill>
                          <a:latin typeface="+mn-lt"/>
                          <a:ea typeface="+mn-ea"/>
                          <a:cs typeface="+mn-cs"/>
                        </a:rPr>
                        <a:t> Observations</a:t>
                      </a:r>
                      <a:endParaRPr lang="en-US" altLang="en-US" sz="800" b="1" kern="1200" dirty="0">
                        <a:solidFill>
                          <a:schemeClr val="bg1"/>
                        </a:solidFill>
                        <a:latin typeface="+mn-lt"/>
                        <a:ea typeface="+mn-ea"/>
                        <a:cs typeface="+mn-cs"/>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algn="ctr" eaLnBrk="0" hangingPunct="0">
                        <a:lnSpc>
                          <a:spcPct val="90000"/>
                        </a:lnSpc>
                        <a:buSzPct val="100000"/>
                        <a:buFont typeface="Wingdings 2" pitchFamily="18" charset="2"/>
                        <a:buNone/>
                      </a:pPr>
                      <a:r>
                        <a:rPr lang="en-US" altLang="en-US" sz="800" b="1" kern="1200" dirty="0">
                          <a:solidFill>
                            <a:schemeClr val="bg1"/>
                          </a:solidFill>
                          <a:latin typeface="+mn-lt"/>
                          <a:ea typeface="+mn-ea"/>
                          <a:cs typeface="+mn-cs"/>
                        </a:rPr>
                        <a:t>Business Implica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558223">
                <a:tc>
                  <a:txBody>
                    <a:bodyPr/>
                    <a:lstStyle/>
                    <a:p>
                      <a:pPr algn="l"/>
                      <a:r>
                        <a:rPr kumimoji="0" lang="en-US" sz="800" b="1" i="0" u="none" strike="noStrike" kern="1200" cap="none" spc="0" normalizeH="0" baseline="0" noProof="0" dirty="0">
                          <a:ln>
                            <a:noFill/>
                          </a:ln>
                          <a:solidFill>
                            <a:prstClr val="white"/>
                          </a:solidFill>
                          <a:effectLst/>
                          <a:uLnTx/>
                          <a:uFillTx/>
                          <a:latin typeface="+mn-lt"/>
                          <a:ea typeface="+mn-ea"/>
                          <a:cs typeface="Arial" pitchFamily="34" charset="0"/>
                        </a:rPr>
                        <a:t>BOM Lifecycle Mgmt.</a:t>
                      </a:r>
                      <a:endParaRPr lang="en-US" sz="800" b="1" dirty="0">
                        <a:solidFill>
                          <a:schemeClr val="bg1"/>
                        </a:solidFill>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800" dirty="0">
                          <a:solidFill>
                            <a:schemeClr val="tx1"/>
                          </a:solidFill>
                        </a:rPr>
                        <a:t>Drawing-BOM,</a:t>
                      </a:r>
                      <a:r>
                        <a:rPr lang="en-US" altLang="ja-JP" sz="800" baseline="0" dirty="0">
                          <a:solidFill>
                            <a:schemeClr val="tx1"/>
                          </a:solidFill>
                        </a:rPr>
                        <a:t> </a:t>
                      </a:r>
                      <a:r>
                        <a:rPr lang="en-US" altLang="ja-JP" sz="800" dirty="0">
                          <a:solidFill>
                            <a:schemeClr val="tx1"/>
                          </a:solidFill>
                        </a:rPr>
                        <a:t>EBOM, MBOM, PBOM, (Bill-substance</a:t>
                      </a:r>
                      <a:r>
                        <a:rPr lang="en-US" altLang="ja-JP" sz="800" baseline="0" dirty="0">
                          <a:solidFill>
                            <a:schemeClr val="tx1"/>
                          </a:solidFill>
                        </a:rPr>
                        <a:t> BOM</a:t>
                      </a:r>
                      <a:r>
                        <a:rPr lang="en-US" altLang="ja-JP" sz="800" dirty="0">
                          <a:solidFill>
                            <a:schemeClr val="tx1"/>
                          </a:solidFill>
                        </a:rPr>
                        <a:t>) exists, but no relation between BOMs</a:t>
                      </a:r>
                      <a:r>
                        <a:rPr lang="ja-JP" altLang="en-US" sz="800" dirty="0">
                          <a:solidFill>
                            <a:schemeClr val="tx1"/>
                          </a:solidFill>
                        </a:rPr>
                        <a:t>。</a:t>
                      </a:r>
                      <a:r>
                        <a:rPr lang="en-US" altLang="ja-JP" sz="800" dirty="0">
                          <a:solidFill>
                            <a:schemeClr val="tx1"/>
                          </a:solidFill>
                        </a:rPr>
                        <a:t>Part number attribute is maintained manually, taking lots of time</a:t>
                      </a:r>
                      <a:r>
                        <a:rPr lang="ja-JP" altLang="en-US" sz="800" dirty="0">
                          <a:solidFill>
                            <a:schemeClr val="tx1"/>
                          </a:solidFill>
                        </a:rPr>
                        <a:t>（</a:t>
                      </a:r>
                      <a:r>
                        <a:rPr lang="en-US" altLang="ja-JP" sz="800" dirty="0">
                          <a:solidFill>
                            <a:schemeClr val="tx1"/>
                          </a:solidFill>
                        </a:rPr>
                        <a:t>MSBU</a:t>
                      </a:r>
                      <a:r>
                        <a:rPr lang="ja-JP" altLang="en-US" sz="800" dirty="0">
                          <a:solidFill>
                            <a:schemeClr val="tx1"/>
                          </a:solidFill>
                        </a:rPr>
                        <a:t>）</a:t>
                      </a:r>
                      <a:endParaRPr lang="en-US" altLang="ja-JP" sz="800" dirty="0">
                        <a:solidFill>
                          <a:schemeClr val="tx1"/>
                        </a:solidFill>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800" dirty="0">
                          <a:solidFill>
                            <a:schemeClr val="tx1"/>
                          </a:solidFill>
                        </a:rPr>
                        <a:t>Purpose of P-BOM management is not clear</a:t>
                      </a:r>
                      <a:r>
                        <a:rPr lang="ja-JP" altLang="en-US" sz="800" dirty="0">
                          <a:solidFill>
                            <a:schemeClr val="tx1"/>
                          </a:solidFill>
                        </a:rPr>
                        <a:t>（</a:t>
                      </a:r>
                      <a:r>
                        <a:rPr lang="en-US" altLang="ja-JP" sz="800" dirty="0">
                          <a:solidFill>
                            <a:schemeClr val="tx1"/>
                          </a:solidFill>
                        </a:rPr>
                        <a:t>PSBU</a:t>
                      </a:r>
                      <a:r>
                        <a:rPr lang="ja-JP" altLang="en-US" sz="800" dirty="0">
                          <a:solidFill>
                            <a:schemeClr val="tx1"/>
                          </a:solidFill>
                        </a:rPr>
                        <a:t>）</a:t>
                      </a:r>
                      <a:endParaRPr lang="en-US" altLang="ja-JP" sz="80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800" dirty="0">
                          <a:solidFill>
                            <a:schemeClr val="tx1"/>
                          </a:solidFill>
                        </a:rPr>
                        <a:t>Should reduce manual work of BOM creation, traceability, change management by managing BOM by single sourc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800" dirty="0">
                          <a:solidFill>
                            <a:schemeClr val="tx1"/>
                          </a:solidFill>
                        </a:rPr>
                        <a:t>Sales</a:t>
                      </a:r>
                      <a:r>
                        <a:rPr lang="ja-JP" altLang="en-US" sz="800" dirty="0">
                          <a:solidFill>
                            <a:schemeClr val="tx1"/>
                          </a:solidFill>
                        </a:rPr>
                        <a:t> </a:t>
                      </a:r>
                      <a:r>
                        <a:rPr lang="en-US" altLang="ja-JP" sz="800" dirty="0">
                          <a:solidFill>
                            <a:schemeClr val="tx1"/>
                          </a:solidFill>
                        </a:rPr>
                        <a:t>BOM is no longer necessary</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558223">
                <a:tc>
                  <a:txBody>
                    <a:bodyPr/>
                    <a:lstStyle/>
                    <a:p>
                      <a:pPr algn="l"/>
                      <a:r>
                        <a:rPr lang="en-US" sz="800" b="1" dirty="0">
                          <a:solidFill>
                            <a:schemeClr val="bg1"/>
                          </a:solidFill>
                        </a:rPr>
                        <a:t>Revision/ Version Control</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No revision management. Design change sometimes not reflected to BOM</a:t>
                      </a:r>
                      <a:r>
                        <a:rPr lang="ja-JP" altLang="en-US" sz="800" b="0" baseline="0" dirty="0">
                          <a:solidFill>
                            <a:schemeClr val="tx1"/>
                          </a:solidFill>
                        </a:rPr>
                        <a:t>（</a:t>
                      </a:r>
                      <a:r>
                        <a:rPr lang="en-US" altLang="ja-JP" sz="800" b="0" baseline="0" dirty="0">
                          <a:solidFill>
                            <a:schemeClr val="tx1"/>
                          </a:solidFill>
                        </a:rPr>
                        <a:t>PSBU</a:t>
                      </a:r>
                      <a:r>
                        <a:rPr lang="ja-JP" altLang="en-US" sz="800" b="0" baseline="0" dirty="0">
                          <a:solidFill>
                            <a:schemeClr val="tx1"/>
                          </a:solidFill>
                        </a:rPr>
                        <a:t>）</a:t>
                      </a:r>
                      <a:endParaRPr lang="en-US" altLang="ja-JP" sz="800" b="0" baseline="0" dirty="0">
                        <a:solidFill>
                          <a:schemeClr val="tx1"/>
                        </a:solidFill>
                      </a:endParaRPr>
                    </a:p>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Version change includes date and PIC. Changes in supplier part is not reflected to BOM. Very difficult to track changes from BOM</a:t>
                      </a:r>
                      <a:r>
                        <a:rPr lang="ja-JP" altLang="en-US" sz="800" b="0" baseline="0" dirty="0">
                          <a:solidFill>
                            <a:schemeClr val="tx1"/>
                          </a:solidFill>
                        </a:rPr>
                        <a:t>（</a:t>
                      </a:r>
                      <a:r>
                        <a:rPr lang="en-US" altLang="ja-JP" sz="800" b="0" baseline="0" dirty="0">
                          <a:solidFill>
                            <a:schemeClr val="tx1"/>
                          </a:solidFill>
                        </a:rPr>
                        <a:t>MSBU</a:t>
                      </a:r>
                      <a:r>
                        <a:rPr lang="ja-JP" altLang="en-US" sz="800" b="0" baseline="0" dirty="0">
                          <a:solidFill>
                            <a:schemeClr val="tx1"/>
                          </a:solidFill>
                        </a:rPr>
                        <a:t>）</a:t>
                      </a:r>
                      <a:endParaRPr lang="en-US" sz="8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800" dirty="0">
                          <a:solidFill>
                            <a:schemeClr val="tx1"/>
                          </a:solidFill>
                        </a:rPr>
                        <a:t>Customer does not complain much about BOM change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3508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mn-lt"/>
                          <a:ea typeface="+mn-ea"/>
                          <a:cs typeface="Arial" pitchFamily="34" charset="0"/>
                        </a:rPr>
                        <a:t>Effectivity</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Does have record of when changed, but does not have visibility to implication of other business unit / regions</a:t>
                      </a:r>
                      <a:r>
                        <a:rPr lang="ja-JP" altLang="en-US" sz="800" b="0" baseline="0" dirty="0">
                          <a:solidFill>
                            <a:schemeClr val="tx1"/>
                          </a:solidFill>
                        </a:rPr>
                        <a:t>（</a:t>
                      </a:r>
                      <a:r>
                        <a:rPr lang="en-US" altLang="ja-JP" sz="800" b="0" baseline="0" dirty="0">
                          <a:solidFill>
                            <a:schemeClr val="tx1"/>
                          </a:solidFill>
                        </a:rPr>
                        <a:t>PSBU</a:t>
                      </a:r>
                      <a:r>
                        <a:rPr lang="ja-JP" altLang="en-US" sz="800" b="0" baseline="0" dirty="0">
                          <a:solidFill>
                            <a:schemeClr val="tx1"/>
                          </a:solidFill>
                        </a:rPr>
                        <a:t>）</a:t>
                      </a:r>
                      <a:endParaRPr lang="en-US" altLang="ja-JP" sz="800" b="0" baseline="0" dirty="0">
                        <a:solidFill>
                          <a:schemeClr val="tx1"/>
                        </a:solidFill>
                      </a:endParaRPr>
                    </a:p>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Implication can be identified by spending time manually </a:t>
                      </a:r>
                      <a:r>
                        <a:rPr lang="ja-JP" altLang="en-US" sz="800" b="0" baseline="0" dirty="0">
                          <a:solidFill>
                            <a:schemeClr val="tx1"/>
                          </a:solidFill>
                        </a:rPr>
                        <a:t>（</a:t>
                      </a:r>
                      <a:r>
                        <a:rPr lang="en-US" altLang="ja-JP" sz="800" b="0" baseline="0" dirty="0">
                          <a:solidFill>
                            <a:schemeClr val="tx1"/>
                          </a:solidFill>
                        </a:rPr>
                        <a:t>MSBU</a:t>
                      </a:r>
                      <a:r>
                        <a:rPr lang="ja-JP" altLang="en-US" sz="800" b="0" baseline="0" dirty="0">
                          <a:solidFill>
                            <a:schemeClr val="tx1"/>
                          </a:solidFill>
                        </a:rPr>
                        <a:t>）</a:t>
                      </a:r>
                      <a:endParaRPr lang="en-US" sz="8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800" baseline="0" dirty="0">
                          <a:solidFill>
                            <a:schemeClr val="tx1"/>
                          </a:solidFill>
                        </a:rPr>
                        <a:t>Implication should be visible by every attribute, such as serial / batch number</a:t>
                      </a:r>
                      <a:endParaRPr lang="en-US" sz="80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3508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sv-SE" sz="800" b="1" i="0" u="none" strike="noStrike" kern="1200" cap="none" spc="-20" normalizeH="0" baseline="0" noProof="0" dirty="0">
                          <a:ln>
                            <a:noFill/>
                          </a:ln>
                          <a:solidFill>
                            <a:prstClr val="white"/>
                          </a:solidFill>
                          <a:effectLst/>
                          <a:uLnTx/>
                          <a:uFillTx/>
                          <a:latin typeface="+mn-lt"/>
                          <a:ea typeface="+mn-ea"/>
                          <a:cs typeface="+mn-cs"/>
                        </a:rPr>
                        <a:t>Product Data Association</a:t>
                      </a:r>
                      <a:endParaRPr kumimoji="0" lang="en-US" sz="800" b="1" i="0" u="none" strike="noStrike" kern="1200" cap="none" spc="-20" normalizeH="0" baseline="0" noProof="0" dirty="0">
                        <a:ln>
                          <a:noFill/>
                        </a:ln>
                        <a:solidFill>
                          <a:prstClr val="white"/>
                        </a:solidFill>
                        <a:effectLst/>
                        <a:uLnTx/>
                        <a:uFillTx/>
                        <a:latin typeface="+mn-lt"/>
                        <a:ea typeface="+mn-ea"/>
                        <a:cs typeface="+mn-cs"/>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800" dirty="0"/>
                        <a:t>Does have part number, but no relation among part / material / plant / BU</a:t>
                      </a:r>
                      <a:r>
                        <a:rPr lang="ja-JP" altLang="en-US" sz="800" dirty="0"/>
                        <a:t>（</a:t>
                      </a:r>
                      <a:r>
                        <a:rPr lang="en-US" altLang="ja-JP" sz="800" dirty="0"/>
                        <a:t>MSBU</a:t>
                      </a:r>
                      <a:r>
                        <a:rPr lang="ja-JP" altLang="en-US" sz="800" dirty="0"/>
                        <a:t>）</a:t>
                      </a:r>
                      <a:endParaRPr lang="en-US" altLang="ja-JP" sz="800" dirty="0"/>
                    </a:p>
                    <a:p>
                      <a:pPr marL="171450" indent="-171450">
                        <a:lnSpc>
                          <a:spcPct val="100000"/>
                        </a:lnSpc>
                        <a:spcBef>
                          <a:spcPts val="0"/>
                        </a:spcBef>
                        <a:buFont typeface="Arial" panose="020B0604020202020204" pitchFamily="34" charset="0"/>
                        <a:buChar char="•"/>
                      </a:pPr>
                      <a:r>
                        <a:rPr lang="en-US" altLang="ja-JP" sz="800" dirty="0"/>
                        <a:t>Able to manage many attribute</a:t>
                      </a:r>
                      <a:r>
                        <a:rPr lang="ja-JP" altLang="en-US" sz="800" dirty="0"/>
                        <a:t>（</a:t>
                      </a:r>
                      <a:r>
                        <a:rPr lang="en-US" altLang="ja-JP" sz="800" dirty="0"/>
                        <a:t>PSBU</a:t>
                      </a:r>
                      <a:r>
                        <a:rPr lang="ja-JP" altLang="en-US" sz="800" dirty="0"/>
                        <a:t>）</a:t>
                      </a:r>
                      <a:endParaRPr lang="en-US" altLang="ja-JP" sz="800" dirty="0"/>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800" baseline="0" dirty="0">
                          <a:solidFill>
                            <a:schemeClr val="tx1"/>
                          </a:solidFill>
                        </a:rPr>
                        <a:t>More benefit on supply chain and customer</a:t>
                      </a:r>
                      <a:endParaRPr lang="en-US" sz="80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96658287"/>
                  </a:ext>
                </a:extLst>
              </a:tr>
              <a:tr h="681360">
                <a:tc>
                  <a:txBody>
                    <a:bodyPr/>
                    <a:lstStyle/>
                    <a:p>
                      <a:pPr algn="l"/>
                      <a:r>
                        <a:rPr lang="en-US" sz="800" b="1" dirty="0">
                          <a:solidFill>
                            <a:schemeClr val="bg1"/>
                          </a:solidFill>
                        </a:rPr>
                        <a:t>Release and Governance</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It is standardized in Japan, but has different rules from other countries.</a:t>
                      </a:r>
                      <a:r>
                        <a:rPr lang="ja-JP" altLang="en-US" sz="800" b="0" baseline="0" dirty="0">
                          <a:solidFill>
                            <a:schemeClr val="tx1"/>
                          </a:solidFill>
                        </a:rPr>
                        <a:t>　</a:t>
                      </a:r>
                      <a:r>
                        <a:rPr lang="en-US" altLang="ja-JP" sz="800" b="0" baseline="0" dirty="0">
                          <a:solidFill>
                            <a:schemeClr val="tx1"/>
                          </a:solidFill>
                        </a:rPr>
                        <a:t>There are many manual operations for management.</a:t>
                      </a:r>
                      <a:r>
                        <a:rPr lang="ja-JP" altLang="en-US" sz="800" b="0" baseline="0" dirty="0">
                          <a:solidFill>
                            <a:schemeClr val="tx1"/>
                          </a:solidFill>
                        </a:rPr>
                        <a:t>（</a:t>
                      </a:r>
                      <a:r>
                        <a:rPr lang="en-US" altLang="ja-JP" sz="800" b="0" baseline="0" dirty="0">
                          <a:solidFill>
                            <a:schemeClr val="tx1"/>
                          </a:solidFill>
                        </a:rPr>
                        <a:t>MSBU</a:t>
                      </a:r>
                      <a:r>
                        <a:rPr lang="ja-JP" altLang="en-US" sz="800" b="0" baseline="0" dirty="0">
                          <a:solidFill>
                            <a:schemeClr val="tx1"/>
                          </a:solidFill>
                        </a:rPr>
                        <a:t>）</a:t>
                      </a:r>
                      <a:endParaRPr lang="en-US" altLang="ja-JP" sz="800" b="0" baseline="0" dirty="0">
                        <a:solidFill>
                          <a:schemeClr val="tx1"/>
                        </a:solidFill>
                      </a:endParaRPr>
                    </a:p>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There are standardized rules, but they are inadequate and the responsible person is unclear. The agreement with manufacturing is difficult and can not get time.</a:t>
                      </a:r>
                      <a:r>
                        <a:rPr lang="ja-JP" altLang="en-US" sz="800" b="0" baseline="0" dirty="0">
                          <a:solidFill>
                            <a:schemeClr val="tx1"/>
                          </a:solidFill>
                        </a:rPr>
                        <a:t>（</a:t>
                      </a:r>
                      <a:r>
                        <a:rPr lang="en-US" altLang="ja-JP" sz="800" b="0" baseline="0" dirty="0">
                          <a:solidFill>
                            <a:schemeClr val="tx1"/>
                          </a:solidFill>
                        </a:rPr>
                        <a:t>PSBU</a:t>
                      </a:r>
                      <a:r>
                        <a:rPr lang="ja-JP" altLang="en-US" sz="800" b="0" baseline="0" dirty="0">
                          <a:solidFill>
                            <a:schemeClr val="tx1"/>
                          </a:solidFill>
                        </a:rPr>
                        <a:t>）</a:t>
                      </a:r>
                      <a:endParaRPr lang="en-US" sz="8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Need global standard process, which is also efficient</a:t>
                      </a:r>
                      <a:endParaRPr lang="en-US" sz="8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3551714"/>
                  </a:ext>
                </a:extLst>
              </a:tr>
              <a:tr h="558223">
                <a:tc>
                  <a:txBody>
                    <a:bodyPr/>
                    <a:lstStyle/>
                    <a:p>
                      <a:pPr algn="l"/>
                      <a:r>
                        <a:rPr lang="en-US" sz="800" b="1" dirty="0">
                          <a:solidFill>
                            <a:schemeClr val="bg1"/>
                          </a:solidFill>
                        </a:rPr>
                        <a:t>Substitu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Substitution exists, but many manual work associated with BOM replacement (PSBU</a:t>
                      </a:r>
                      <a:r>
                        <a:rPr lang="ja-JP" altLang="en-US" sz="800" b="0" baseline="0" dirty="0">
                          <a:solidFill>
                            <a:schemeClr val="tx1"/>
                          </a:solidFill>
                        </a:rPr>
                        <a:t>）</a:t>
                      </a:r>
                      <a:endParaRPr lang="en-US" altLang="ja-JP" sz="800" b="0" baseline="0" dirty="0">
                        <a:solidFill>
                          <a:schemeClr val="tx1"/>
                        </a:solidFill>
                      </a:endParaRPr>
                    </a:p>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No specific rules for replacement, other members cannot recognized part has been replaced </a:t>
                      </a:r>
                      <a:r>
                        <a:rPr lang="ja-JP" altLang="en-US" sz="800" b="0" baseline="0" dirty="0">
                          <a:solidFill>
                            <a:schemeClr val="tx1"/>
                          </a:solidFill>
                        </a:rPr>
                        <a:t>（</a:t>
                      </a:r>
                      <a:r>
                        <a:rPr lang="en-US" altLang="ja-JP" sz="800" b="0" baseline="0" dirty="0">
                          <a:solidFill>
                            <a:schemeClr val="tx1"/>
                          </a:solidFill>
                        </a:rPr>
                        <a:t>MSBU</a:t>
                      </a:r>
                      <a:r>
                        <a:rPr lang="ja-JP" altLang="en-US" sz="800" b="0" baseline="0" dirty="0">
                          <a:solidFill>
                            <a:schemeClr val="tx1"/>
                          </a:solidFill>
                        </a:rPr>
                        <a:t>）</a:t>
                      </a:r>
                      <a:endParaRPr lang="en-US" sz="8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Need definition of substitution, but should not require rigorous management</a:t>
                      </a:r>
                      <a:endParaRPr lang="en-US" sz="8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86354471"/>
                  </a:ext>
                </a:extLst>
              </a:tr>
              <a:tr h="435085">
                <a:tc>
                  <a:txBody>
                    <a:bodyPr/>
                    <a:lstStyle/>
                    <a:p>
                      <a:pPr algn="l"/>
                      <a:r>
                        <a:rPr lang="en-US" sz="800" b="1" dirty="0">
                          <a:solidFill>
                            <a:schemeClr val="bg1"/>
                          </a:solidFill>
                        </a:rPr>
                        <a:t>Search Capabilitie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There is a search system but some departments can not search. Attribute information is not enough.</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800" baseline="0" dirty="0">
                          <a:solidFill>
                            <a:schemeClr val="tx1"/>
                          </a:solidFill>
                        </a:rPr>
                        <a:t>Want to be able to easily find and divert.</a:t>
                      </a:r>
                      <a:r>
                        <a:rPr lang="ja-JP" altLang="en-US" sz="800" baseline="0" dirty="0">
                          <a:solidFill>
                            <a:schemeClr val="tx1"/>
                          </a:solidFill>
                        </a:rPr>
                        <a:t>（</a:t>
                      </a:r>
                      <a:r>
                        <a:rPr lang="en-US" altLang="ja-JP" sz="800" baseline="0" dirty="0">
                          <a:solidFill>
                            <a:schemeClr val="tx1"/>
                          </a:solidFill>
                        </a:rPr>
                        <a:t>MSBU</a:t>
                      </a:r>
                      <a:r>
                        <a:rPr lang="ja-JP" altLang="en-US" sz="800" baseline="0" dirty="0">
                          <a:solidFill>
                            <a:schemeClr val="tx1"/>
                          </a:solidFill>
                        </a:rPr>
                        <a:t>）</a:t>
                      </a:r>
                      <a:endParaRPr lang="en-US" altLang="ja-JP" sz="800" baseline="0" dirty="0">
                        <a:solidFill>
                          <a:schemeClr val="tx1"/>
                        </a:solidFill>
                      </a:endParaRPr>
                    </a:p>
                    <a:p>
                      <a:pPr marL="171450" indent="-171450">
                        <a:lnSpc>
                          <a:spcPct val="100000"/>
                        </a:lnSpc>
                        <a:spcBef>
                          <a:spcPts val="0"/>
                        </a:spcBef>
                        <a:buFont typeface="Arial" panose="020B0604020202020204" pitchFamily="34" charset="0"/>
                        <a:buChar char="•"/>
                      </a:pPr>
                      <a:r>
                        <a:rPr lang="en-US" altLang="ja-JP" sz="800" baseline="0" dirty="0">
                          <a:solidFill>
                            <a:schemeClr val="tx1"/>
                          </a:solidFill>
                        </a:rPr>
                        <a:t>At least it needs to be able to narrow down from the search results</a:t>
                      </a:r>
                      <a:r>
                        <a:rPr lang="ja-JP" altLang="en-US" sz="800" baseline="0" dirty="0">
                          <a:solidFill>
                            <a:schemeClr val="tx1"/>
                          </a:solidFill>
                        </a:rPr>
                        <a:t>（</a:t>
                      </a:r>
                      <a:r>
                        <a:rPr lang="en-US" altLang="ja-JP" sz="800" baseline="0" dirty="0">
                          <a:solidFill>
                            <a:schemeClr val="tx1"/>
                          </a:solidFill>
                        </a:rPr>
                        <a:t>Eliminate Excel Export</a:t>
                      </a:r>
                      <a:r>
                        <a:rPr lang="ja-JP" altLang="en-US" sz="800" baseline="0" dirty="0">
                          <a:solidFill>
                            <a:schemeClr val="tx1"/>
                          </a:solidFill>
                        </a:rPr>
                        <a:t>）（</a:t>
                      </a:r>
                      <a:r>
                        <a:rPr lang="en-US" altLang="ja-JP" sz="800" baseline="0" dirty="0">
                          <a:solidFill>
                            <a:schemeClr val="tx1"/>
                          </a:solidFill>
                        </a:rPr>
                        <a:t>PSBU</a:t>
                      </a:r>
                      <a:r>
                        <a:rPr lang="ja-JP" altLang="en-US" sz="800" baseline="0" dirty="0">
                          <a:solidFill>
                            <a:schemeClr val="tx1"/>
                          </a:solidFill>
                        </a:rPr>
                        <a:t>）</a:t>
                      </a:r>
                      <a:endParaRPr lang="en-US" sz="80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46147242"/>
                  </a:ext>
                </a:extLst>
              </a:tr>
              <a:tr h="318308">
                <a:tc>
                  <a:txBody>
                    <a:bodyPr/>
                    <a:lstStyle/>
                    <a:p>
                      <a:pPr algn="l"/>
                      <a:r>
                        <a:rPr lang="en-US" sz="800" b="1" dirty="0">
                          <a:solidFill>
                            <a:schemeClr val="bg1"/>
                          </a:solidFill>
                        </a:rPr>
                        <a:t>Redline / Markup</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It is NA because it is not carried out in business.</a:t>
                      </a:r>
                      <a:endParaRPr lang="en-US" sz="8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800" b="0" baseline="0" dirty="0">
                          <a:solidFill>
                            <a:schemeClr val="tx1"/>
                          </a:solidFill>
                        </a:rPr>
                        <a:t>It is necessary in the future.</a:t>
                      </a:r>
                      <a:endParaRPr lang="en-US" sz="8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9054611"/>
                  </a:ext>
                </a:extLst>
              </a:tr>
              <a:tr h="318308">
                <a:tc>
                  <a:txBody>
                    <a:bodyPr/>
                    <a:lstStyle/>
                    <a:p>
                      <a:pPr algn="l"/>
                      <a:r>
                        <a:rPr lang="en-US" sz="800" b="1" dirty="0">
                          <a:solidFill>
                            <a:schemeClr val="bg1"/>
                          </a:solidFill>
                        </a:rPr>
                        <a:t>Access</a:t>
                      </a:r>
                      <a:r>
                        <a:rPr lang="en-US" sz="800" b="1" baseline="0" dirty="0">
                          <a:solidFill>
                            <a:schemeClr val="bg1"/>
                          </a:solidFill>
                        </a:rPr>
                        <a:t> </a:t>
                      </a:r>
                      <a:r>
                        <a:rPr lang="en-US" sz="800" b="1" dirty="0">
                          <a:solidFill>
                            <a:schemeClr val="bg1"/>
                          </a:solidFill>
                        </a:rPr>
                        <a:t>Control</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800" baseline="0" dirty="0">
                          <a:solidFill>
                            <a:schemeClr val="tx1"/>
                          </a:solidFill>
                        </a:rPr>
                        <a:t>There is access control but no detailed control for each part. Control by group in SAP.</a:t>
                      </a:r>
                      <a:endParaRPr lang="en-US" sz="80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Fine access control is not required.</a:t>
                      </a:r>
                      <a:endParaRPr lang="en-US" sz="8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4600831"/>
                  </a:ext>
                </a:extLst>
              </a:tr>
              <a:tr h="558223">
                <a:tc>
                  <a:txBody>
                    <a:bodyPr/>
                    <a:lstStyle/>
                    <a:p>
                      <a:pPr algn="l"/>
                      <a:r>
                        <a:rPr lang="en-US" sz="800" b="1" dirty="0">
                          <a:solidFill>
                            <a:schemeClr val="bg1"/>
                          </a:solidFill>
                        </a:rPr>
                        <a:t>BOM</a:t>
                      </a:r>
                      <a:r>
                        <a:rPr lang="en-US" sz="800" b="1" baseline="0" dirty="0">
                          <a:solidFill>
                            <a:schemeClr val="bg1"/>
                          </a:solidFill>
                        </a:rPr>
                        <a:t> </a:t>
                      </a:r>
                      <a:r>
                        <a:rPr lang="en-US" sz="800" b="1" dirty="0">
                          <a:solidFill>
                            <a:schemeClr val="bg1"/>
                          </a:solidFill>
                        </a:rPr>
                        <a:t>Collabor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It is NA because it does not require BOM coordination with suppliers or customers for general products.</a:t>
                      </a:r>
                      <a:r>
                        <a:rPr lang="ja-JP" altLang="en-US" sz="800" b="0" baseline="0" dirty="0">
                          <a:solidFill>
                            <a:schemeClr val="tx1"/>
                          </a:solidFill>
                        </a:rPr>
                        <a:t>（</a:t>
                      </a:r>
                      <a:r>
                        <a:rPr lang="en-US" altLang="ja-JP" sz="800" b="0" baseline="0" dirty="0">
                          <a:solidFill>
                            <a:schemeClr val="tx1"/>
                          </a:solidFill>
                        </a:rPr>
                        <a:t>PSBU</a:t>
                      </a:r>
                      <a:r>
                        <a:rPr lang="ja-JP" altLang="en-US" sz="800" b="0" baseline="0" dirty="0">
                          <a:solidFill>
                            <a:schemeClr val="tx1"/>
                          </a:solidFill>
                        </a:rPr>
                        <a:t>）</a:t>
                      </a:r>
                      <a:endParaRPr lang="en-US" altLang="ja-JP" sz="800" b="0" baseline="0" dirty="0">
                        <a:solidFill>
                          <a:schemeClr val="tx1"/>
                        </a:solidFill>
                      </a:endParaRPr>
                    </a:p>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Cooperation with suppliers and customers with BOMs, and validation as necessary.</a:t>
                      </a:r>
                      <a:r>
                        <a:rPr lang="ja-JP" altLang="en-US" sz="800" b="0" baseline="0" dirty="0">
                          <a:solidFill>
                            <a:schemeClr val="tx1"/>
                          </a:solidFill>
                        </a:rPr>
                        <a:t>（</a:t>
                      </a:r>
                      <a:r>
                        <a:rPr lang="en-US" altLang="ja-JP" sz="800" b="0" baseline="0" dirty="0">
                          <a:solidFill>
                            <a:schemeClr val="tx1"/>
                          </a:solidFill>
                        </a:rPr>
                        <a:t>MSBU</a:t>
                      </a:r>
                      <a:r>
                        <a:rPr lang="ja-JP" altLang="en-US" sz="800" b="0" baseline="0" dirty="0">
                          <a:solidFill>
                            <a:schemeClr val="tx1"/>
                          </a:solidFill>
                        </a:rPr>
                        <a:t>）</a:t>
                      </a:r>
                      <a:endParaRPr lang="en-US" sz="8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800" baseline="0" dirty="0">
                          <a:solidFill>
                            <a:schemeClr val="tx1"/>
                          </a:solidFill>
                        </a:rPr>
                        <a:t>It is necessary to strengthen the coordination of BOM.  (MSBU)</a:t>
                      </a:r>
                      <a:endParaRPr lang="en-US" sz="80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572184056"/>
                  </a:ext>
                </a:extLst>
              </a:tr>
              <a:tr h="318308">
                <a:tc>
                  <a:txBody>
                    <a:bodyPr/>
                    <a:lstStyle/>
                    <a:p>
                      <a:pPr algn="l"/>
                      <a:r>
                        <a:rPr lang="en-US" sz="800" b="1" dirty="0">
                          <a:solidFill>
                            <a:schemeClr val="bg1"/>
                          </a:solidFill>
                        </a:rPr>
                        <a:t>Serializ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Strictness is required by the customer and can be handled.</a:t>
                      </a:r>
                      <a:r>
                        <a:rPr lang="ja-JP" altLang="en-US" sz="800" b="0" baseline="0" dirty="0">
                          <a:solidFill>
                            <a:schemeClr val="tx1"/>
                          </a:solidFill>
                        </a:rPr>
                        <a:t>（</a:t>
                      </a:r>
                      <a:r>
                        <a:rPr lang="en-US" altLang="ja-JP" sz="800" b="0" baseline="0" dirty="0">
                          <a:solidFill>
                            <a:schemeClr val="tx1"/>
                          </a:solidFill>
                        </a:rPr>
                        <a:t>MSBU</a:t>
                      </a:r>
                      <a:r>
                        <a:rPr lang="ja-JP" altLang="en-US" sz="800" b="0" baseline="0" dirty="0">
                          <a:solidFill>
                            <a:schemeClr val="tx1"/>
                          </a:solidFill>
                        </a:rPr>
                        <a:t>）</a:t>
                      </a:r>
                      <a:endParaRPr lang="en-US" altLang="ja-JP" sz="800" b="0" baseline="0" dirty="0">
                        <a:solidFill>
                          <a:schemeClr val="tx1"/>
                        </a:solidFill>
                      </a:endParaRPr>
                    </a:p>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Number management in ASSY-Parts as needed.</a:t>
                      </a:r>
                      <a:r>
                        <a:rPr lang="ja-JP" altLang="en-US" sz="800" b="0" baseline="0" dirty="0">
                          <a:solidFill>
                            <a:schemeClr val="tx1"/>
                          </a:solidFill>
                        </a:rPr>
                        <a:t>（</a:t>
                      </a:r>
                      <a:r>
                        <a:rPr lang="en-US" altLang="ja-JP" sz="800" b="0" baseline="0" dirty="0">
                          <a:solidFill>
                            <a:schemeClr val="tx1"/>
                          </a:solidFill>
                        </a:rPr>
                        <a:t>PSBU</a:t>
                      </a:r>
                      <a:r>
                        <a:rPr lang="ja-JP" altLang="en-US" sz="800" b="0" baseline="0" dirty="0">
                          <a:solidFill>
                            <a:schemeClr val="tx1"/>
                          </a:solidFill>
                        </a:rPr>
                        <a:t>）</a:t>
                      </a:r>
                      <a:endParaRPr lang="en-US" altLang="ja-JP" sz="8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It is enough at present.</a:t>
                      </a:r>
                      <a:endParaRPr lang="en-US" sz="8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751795117"/>
                  </a:ext>
                </a:extLst>
              </a:tr>
              <a:tr h="318308">
                <a:tc>
                  <a:txBody>
                    <a:bodyPr/>
                    <a:lstStyle/>
                    <a:p>
                      <a:pPr algn="l"/>
                      <a:r>
                        <a:rPr lang="en-US" sz="800" b="1" dirty="0">
                          <a:solidFill>
                            <a:schemeClr val="bg1"/>
                          </a:solidFill>
                        </a:rPr>
                        <a:t>Standardization and Reuse</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Some standardization is in progress, and materials can be reuse.</a:t>
                      </a:r>
                      <a:r>
                        <a:rPr lang="ja-JP" altLang="en-US" sz="800" b="0" baseline="0" dirty="0">
                          <a:solidFill>
                            <a:schemeClr val="tx1"/>
                          </a:solidFill>
                        </a:rPr>
                        <a:t>（</a:t>
                      </a:r>
                      <a:r>
                        <a:rPr lang="en-US" altLang="ja-JP" sz="800" b="0" baseline="0" dirty="0">
                          <a:solidFill>
                            <a:schemeClr val="tx1"/>
                          </a:solidFill>
                        </a:rPr>
                        <a:t>MSBU</a:t>
                      </a:r>
                      <a:r>
                        <a:rPr lang="ja-JP" altLang="en-US" sz="800" b="0" baseline="0" dirty="0">
                          <a:solidFill>
                            <a:schemeClr val="tx1"/>
                          </a:solidFill>
                        </a:rPr>
                        <a:t>）</a:t>
                      </a:r>
                      <a:endParaRPr lang="en-US" altLang="ja-JP" sz="800" b="0" baseline="0" dirty="0">
                        <a:solidFill>
                          <a:schemeClr val="tx1"/>
                        </a:solidFill>
                      </a:endParaRPr>
                    </a:p>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Reuse of BOM is also possible.</a:t>
                      </a:r>
                      <a:r>
                        <a:rPr lang="ja-JP" altLang="en-US" sz="800" b="0" baseline="0" dirty="0">
                          <a:solidFill>
                            <a:schemeClr val="tx1"/>
                          </a:solidFill>
                        </a:rPr>
                        <a:t>（</a:t>
                      </a:r>
                      <a:r>
                        <a:rPr lang="en-US" altLang="ja-JP" sz="800" b="0" baseline="0" dirty="0">
                          <a:solidFill>
                            <a:schemeClr val="tx1"/>
                          </a:solidFill>
                        </a:rPr>
                        <a:t>PSBU</a:t>
                      </a:r>
                      <a:r>
                        <a:rPr lang="ja-JP" altLang="en-US" sz="800" b="0" baseline="0" dirty="0">
                          <a:solidFill>
                            <a:schemeClr val="tx1"/>
                          </a:solidFill>
                        </a:rPr>
                        <a:t>）</a:t>
                      </a:r>
                      <a:endParaRPr lang="en-US" altLang="ja-JP" sz="8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Need for efficiency and cost reduction.</a:t>
                      </a:r>
                    </a:p>
                    <a:p>
                      <a:pPr marL="171450" indent="-171450">
                        <a:lnSpc>
                          <a:spcPct val="100000"/>
                        </a:lnSpc>
                        <a:spcBef>
                          <a:spcPts val="0"/>
                        </a:spcBef>
                        <a:buFont typeface="Arial" panose="020B0604020202020204" pitchFamily="34" charset="0"/>
                        <a:buChar char="•"/>
                      </a:pPr>
                      <a:r>
                        <a:rPr lang="en-US" altLang="ja-JP" sz="800" b="0" baseline="0" dirty="0">
                          <a:solidFill>
                            <a:schemeClr val="tx1"/>
                          </a:solidFill>
                        </a:rPr>
                        <a:t>Need a system to make all members available for reuse.</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684300654"/>
                  </a:ext>
                </a:extLst>
              </a:tr>
            </a:tbl>
          </a:graphicData>
        </a:graphic>
      </p:graphicFrame>
      <p:sp>
        <p:nvSpPr>
          <p:cNvPr id="4" name="Title 3">
            <a:extLst>
              <a:ext uri="{FF2B5EF4-FFF2-40B4-BE49-F238E27FC236}">
                <a16:creationId xmlns:a16="http://schemas.microsoft.com/office/drawing/2014/main" id="{026705D2-9A1E-4A1F-80F4-6BC1AE8E4025}"/>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lvl="0" defTabSz="914400">
              <a:defRPr/>
            </a:pPr>
            <a:r>
              <a:rPr lang="en-US" sz="2400" b="1" dirty="0">
                <a:solidFill>
                  <a:prstClr val="black"/>
                </a:solidFill>
              </a:rPr>
              <a:t>BOM and Product Information Management</a:t>
            </a:r>
          </a:p>
        </p:txBody>
      </p:sp>
    </p:spTree>
    <p:extLst>
      <p:ext uri="{BB962C8B-B14F-4D97-AF65-F5344CB8AC3E}">
        <p14:creationId xmlns:p14="http://schemas.microsoft.com/office/powerpoint/2010/main" val="4971022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ja-JP" altLang="ja-JP" dirty="0"/>
              <a:t> </a:t>
            </a:r>
            <a:r>
              <a:rPr lang="en-US" altLang="ja-JP" b="1" dirty="0"/>
              <a:t>CAD Design/Management</a:t>
            </a:r>
            <a:endParaRPr lang="ja-JP" altLang="ja-JP" dirty="0"/>
          </a:p>
        </p:txBody>
      </p:sp>
      <p:sp>
        <p:nvSpPr>
          <p:cNvPr id="7" name="Rectangle 6">
            <a:extLst>
              <a:ext uri="{FF2B5EF4-FFF2-40B4-BE49-F238E27FC236}">
                <a16:creationId xmlns:a16="http://schemas.microsoft.com/office/drawing/2014/main" id="{1617907B-D8E2-4123-ACEC-F245D7D4077D}"/>
              </a:ext>
            </a:extLst>
          </p:cNvPr>
          <p:cNvSpPr>
            <a:spLocks noChangeArrowheads="1"/>
          </p:cNvSpPr>
          <p:nvPr/>
        </p:nvSpPr>
        <p:spPr bwMode="gray">
          <a:xfrm>
            <a:off x="1512503" y="1484425"/>
            <a:ext cx="3085363" cy="215444"/>
          </a:xfrm>
          <a:prstGeom prst="rect">
            <a:avLst/>
          </a:prstGeom>
          <a:solidFill>
            <a:schemeClr val="bg1"/>
          </a:solidFill>
          <a:ln w="12700" cap="rnd" algn="ctr">
            <a:noFill/>
            <a:miter lim="800000"/>
            <a:headEnd/>
            <a:tailEnd/>
          </a:ln>
        </p:spPr>
        <p:txBody>
          <a:bodyPr wrap="square" lIns="71966" tIns="0" rIns="71966" bIns="0" anchor="ctr" anchorCtr="1">
            <a:spAutoFit/>
          </a:bodyPr>
          <a:lstStyle/>
          <a:p>
            <a:pPr defTabSz="913961" fontAlgn="base">
              <a:spcBef>
                <a:spcPct val="20000"/>
              </a:spcBef>
              <a:spcAft>
                <a:spcPct val="0"/>
              </a:spcAft>
            </a:pPr>
            <a:r>
              <a:rPr lang="en-US" sz="1400" b="1" dirty="0">
                <a:solidFill>
                  <a:srgbClr val="92D400"/>
                </a:solidFill>
                <a:latin typeface="+mj-lt"/>
                <a:cs typeface="Arial" pitchFamily="34" charset="0"/>
              </a:rPr>
              <a:t>Current State Journey</a:t>
            </a:r>
          </a:p>
        </p:txBody>
      </p:sp>
      <p:pic>
        <p:nvPicPr>
          <p:cNvPr id="8" name="Picture 7">
            <a:extLst>
              <a:ext uri="{FF2B5EF4-FFF2-40B4-BE49-F238E27FC236}">
                <a16:creationId xmlns:a16="http://schemas.microsoft.com/office/drawing/2014/main" id="{F58A16F7-C5FE-4FA0-95B9-317D632AC5C9}"/>
              </a:ext>
            </a:extLst>
          </p:cNvPr>
          <p:cNvPicPr>
            <a:picLocks noChangeAspect="1" noChangeArrowheads="1"/>
          </p:cNvPicPr>
          <p:nvPr/>
        </p:nvPicPr>
        <p:blipFill>
          <a:blip r:embed="rId2">
            <a:lum contrast="22000"/>
            <a:extLst>
              <a:ext uri="{28A0092B-C50C-407E-A947-70E740481C1C}">
                <a14:useLocalDpi xmlns:a14="http://schemas.microsoft.com/office/drawing/2010/main" val="0"/>
              </a:ext>
            </a:extLst>
          </a:blip>
          <a:srcRect/>
          <a:stretch>
            <a:fillRect/>
          </a:stretch>
        </p:blipFill>
        <p:spPr bwMode="auto">
          <a:xfrm>
            <a:off x="1446207" y="2410215"/>
            <a:ext cx="9311976" cy="3776274"/>
          </a:xfrm>
          <a:prstGeom prst="rect">
            <a:avLst/>
          </a:prstGeom>
          <a:solidFill>
            <a:schemeClr val="accent1">
              <a:lumMod val="20000"/>
              <a:lumOff val="80000"/>
            </a:schemeClr>
          </a:solidFill>
          <a:ln>
            <a:noFill/>
          </a:ln>
          <a:effectLst/>
        </p:spPr>
      </p:pic>
      <p:sp>
        <p:nvSpPr>
          <p:cNvPr id="9" name="Rectangle 8">
            <a:extLst>
              <a:ext uri="{FF2B5EF4-FFF2-40B4-BE49-F238E27FC236}">
                <a16:creationId xmlns:a16="http://schemas.microsoft.com/office/drawing/2014/main" id="{7B1A2920-D963-46D7-9BBE-A417E9448C54}"/>
              </a:ext>
            </a:extLst>
          </p:cNvPr>
          <p:cNvSpPr/>
          <p:nvPr/>
        </p:nvSpPr>
        <p:spPr bwMode="invGray">
          <a:xfrm>
            <a:off x="7551070" y="2283177"/>
            <a:ext cx="1354655" cy="230832"/>
          </a:xfrm>
          <a:prstGeom prst="rect">
            <a:avLst/>
          </a:prstGeom>
          <a:scene3d>
            <a:camera prst="orthographicFront">
              <a:rot lat="0" lon="0" rev="0"/>
            </a:camera>
            <a:lightRig rig="threePt" dir="t"/>
          </a:scene3d>
        </p:spPr>
        <p:txBody>
          <a:bodyPr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900" dirty="0">
              <a:solidFill>
                <a:prstClr val="white"/>
              </a:solidFill>
              <a:latin typeface="+mj-lt"/>
            </a:endParaRPr>
          </a:p>
        </p:txBody>
      </p:sp>
      <p:sp>
        <p:nvSpPr>
          <p:cNvPr id="10" name="Text Box 24">
            <a:extLst>
              <a:ext uri="{FF2B5EF4-FFF2-40B4-BE49-F238E27FC236}">
                <a16:creationId xmlns:a16="http://schemas.microsoft.com/office/drawing/2014/main" id="{EE00105A-566B-47B3-A87C-CAE93F806529}"/>
              </a:ext>
            </a:extLst>
          </p:cNvPr>
          <p:cNvSpPr txBox="1">
            <a:spLocks noChangeArrowheads="1"/>
          </p:cNvSpPr>
          <p:nvPr/>
        </p:nvSpPr>
        <p:spPr bwMode="auto">
          <a:xfrm>
            <a:off x="3868697" y="5107528"/>
            <a:ext cx="2095323" cy="34414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Part number assignment on ECTR system.</a:t>
            </a:r>
          </a:p>
          <a:p>
            <a:pPr algn="l" defTabSz="913961" fontAlgn="auto">
              <a:spcBef>
                <a:spcPts val="0"/>
              </a:spcBef>
              <a:spcAft>
                <a:spcPts val="0"/>
              </a:spcAft>
              <a:defRPr/>
            </a:pPr>
            <a:r>
              <a:rPr lang="en-US" kern="0" dirty="0">
                <a:solidFill>
                  <a:srgbClr val="002776"/>
                </a:solidFill>
                <a:latin typeface="+mj-lt"/>
              </a:rPr>
              <a:t>These number will be as SAP material master number.</a:t>
            </a:r>
          </a:p>
        </p:txBody>
      </p:sp>
      <p:sp>
        <p:nvSpPr>
          <p:cNvPr id="11" name="Text Box 24">
            <a:extLst>
              <a:ext uri="{FF2B5EF4-FFF2-40B4-BE49-F238E27FC236}">
                <a16:creationId xmlns:a16="http://schemas.microsoft.com/office/drawing/2014/main" id="{FEC057F0-58B4-4B1B-BE17-B6AD277A3863}"/>
              </a:ext>
            </a:extLst>
          </p:cNvPr>
          <p:cNvSpPr txBox="1">
            <a:spLocks noChangeArrowheads="1"/>
          </p:cNvSpPr>
          <p:nvPr/>
        </p:nvSpPr>
        <p:spPr bwMode="auto">
          <a:xfrm>
            <a:off x="4536370" y="2650323"/>
            <a:ext cx="1889780" cy="33237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Creating concept phase, we design on “NX” cad system and storage to ECTR system. </a:t>
            </a:r>
          </a:p>
        </p:txBody>
      </p:sp>
      <p:sp>
        <p:nvSpPr>
          <p:cNvPr id="12" name="Text Box 9">
            <a:extLst>
              <a:ext uri="{FF2B5EF4-FFF2-40B4-BE49-F238E27FC236}">
                <a16:creationId xmlns:a16="http://schemas.microsoft.com/office/drawing/2014/main" id="{C8A41943-F33A-4533-A39B-9CD8C84306AD}"/>
              </a:ext>
            </a:extLst>
          </p:cNvPr>
          <p:cNvSpPr txBox="1">
            <a:spLocks noChangeArrowheads="1"/>
          </p:cNvSpPr>
          <p:nvPr/>
        </p:nvSpPr>
        <p:spPr bwMode="gray">
          <a:xfrm>
            <a:off x="2404898" y="3135572"/>
            <a:ext cx="855935" cy="176095"/>
          </a:xfrm>
          <a:prstGeom prst="rect">
            <a:avLst/>
          </a:prstGeom>
          <a:noFill/>
          <a:ln w="12700" algn="ctr">
            <a:noFill/>
            <a:miter lim="800000"/>
            <a:headEnd/>
            <a:tailEnd/>
          </a:ln>
          <a:effectLst/>
        </p:spPr>
        <p:txBody>
          <a:bodyPr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1</a:t>
            </a:r>
          </a:p>
        </p:txBody>
      </p:sp>
      <p:sp>
        <p:nvSpPr>
          <p:cNvPr id="13" name="Oval 12">
            <a:extLst>
              <a:ext uri="{FF2B5EF4-FFF2-40B4-BE49-F238E27FC236}">
                <a16:creationId xmlns:a16="http://schemas.microsoft.com/office/drawing/2014/main" id="{032AF74C-4888-4BB8-A919-D966CF10B213}"/>
              </a:ext>
            </a:extLst>
          </p:cNvPr>
          <p:cNvSpPr>
            <a:spLocks noChangeArrowheads="1"/>
          </p:cNvSpPr>
          <p:nvPr/>
        </p:nvSpPr>
        <p:spPr bwMode="gray">
          <a:xfrm>
            <a:off x="1934774" y="3169083"/>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1</a:t>
            </a:r>
          </a:p>
        </p:txBody>
      </p:sp>
      <p:sp>
        <p:nvSpPr>
          <p:cNvPr id="14" name="Text Box 10">
            <a:extLst>
              <a:ext uri="{FF2B5EF4-FFF2-40B4-BE49-F238E27FC236}">
                <a16:creationId xmlns:a16="http://schemas.microsoft.com/office/drawing/2014/main" id="{9AB60634-0756-4848-9686-A7E0E572378C}"/>
              </a:ext>
            </a:extLst>
          </p:cNvPr>
          <p:cNvSpPr txBox="1">
            <a:spLocks noChangeArrowheads="1"/>
          </p:cNvSpPr>
          <p:nvPr/>
        </p:nvSpPr>
        <p:spPr bwMode="gray">
          <a:xfrm>
            <a:off x="3879179" y="4890170"/>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2</a:t>
            </a:r>
          </a:p>
        </p:txBody>
      </p:sp>
      <p:sp>
        <p:nvSpPr>
          <p:cNvPr id="15" name="Line 28">
            <a:extLst>
              <a:ext uri="{FF2B5EF4-FFF2-40B4-BE49-F238E27FC236}">
                <a16:creationId xmlns:a16="http://schemas.microsoft.com/office/drawing/2014/main" id="{888E09D3-4434-4D5C-8407-D2929B50A26B}"/>
              </a:ext>
            </a:extLst>
          </p:cNvPr>
          <p:cNvSpPr>
            <a:spLocks noChangeShapeType="1"/>
          </p:cNvSpPr>
          <p:nvPr/>
        </p:nvSpPr>
        <p:spPr bwMode="auto">
          <a:xfrm flipV="1">
            <a:off x="3625692" y="4645409"/>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16" name="Text Box 11">
            <a:extLst>
              <a:ext uri="{FF2B5EF4-FFF2-40B4-BE49-F238E27FC236}">
                <a16:creationId xmlns:a16="http://schemas.microsoft.com/office/drawing/2014/main" id="{46B996A9-99E3-4826-B6E1-B3F9341EA480}"/>
              </a:ext>
            </a:extLst>
          </p:cNvPr>
          <p:cNvSpPr txBox="1">
            <a:spLocks noChangeArrowheads="1"/>
          </p:cNvSpPr>
          <p:nvPr/>
        </p:nvSpPr>
        <p:spPr bwMode="gray">
          <a:xfrm>
            <a:off x="4545768" y="2433971"/>
            <a:ext cx="1477186" cy="177539"/>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3</a:t>
            </a:r>
          </a:p>
        </p:txBody>
      </p:sp>
      <p:sp>
        <p:nvSpPr>
          <p:cNvPr id="17" name="Rectangle 16">
            <a:extLst>
              <a:ext uri="{FF2B5EF4-FFF2-40B4-BE49-F238E27FC236}">
                <a16:creationId xmlns:a16="http://schemas.microsoft.com/office/drawing/2014/main" id="{9EB41562-1EC8-4C34-977A-A1ADF53BCBD8}"/>
              </a:ext>
            </a:extLst>
          </p:cNvPr>
          <p:cNvSpPr/>
          <p:nvPr/>
        </p:nvSpPr>
        <p:spPr bwMode="auto">
          <a:xfrm>
            <a:off x="1433818" y="1391113"/>
            <a:ext cx="9313296" cy="479537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defPPr>
              <a:defRPr lang="en-US"/>
            </a:defPPr>
            <a:lvl1pPr algn="ctr" rtl="0" fontAlgn="base">
              <a:spcBef>
                <a:spcPct val="20000"/>
              </a:spcBef>
              <a:spcAft>
                <a:spcPct val="0"/>
              </a:spcAft>
              <a:defRPr sz="1100" b="1" kern="1200">
                <a:solidFill>
                  <a:schemeClr val="lt1"/>
                </a:solidFill>
                <a:latin typeface="+mn-lt"/>
                <a:ea typeface="+mn-ea"/>
                <a:cs typeface="+mn-cs"/>
              </a:defRPr>
            </a:lvl1pPr>
            <a:lvl2pPr marL="457200" algn="ctr" rtl="0" fontAlgn="base">
              <a:spcBef>
                <a:spcPct val="20000"/>
              </a:spcBef>
              <a:spcAft>
                <a:spcPct val="0"/>
              </a:spcAft>
              <a:defRPr sz="1100" b="1" kern="1200">
                <a:solidFill>
                  <a:schemeClr val="lt1"/>
                </a:solidFill>
                <a:latin typeface="+mn-lt"/>
                <a:ea typeface="+mn-ea"/>
                <a:cs typeface="+mn-cs"/>
              </a:defRPr>
            </a:lvl2pPr>
            <a:lvl3pPr marL="914400" algn="ctr" rtl="0" fontAlgn="base">
              <a:spcBef>
                <a:spcPct val="20000"/>
              </a:spcBef>
              <a:spcAft>
                <a:spcPct val="0"/>
              </a:spcAft>
              <a:defRPr sz="1100" b="1" kern="1200">
                <a:solidFill>
                  <a:schemeClr val="lt1"/>
                </a:solidFill>
                <a:latin typeface="+mn-lt"/>
                <a:ea typeface="+mn-ea"/>
                <a:cs typeface="+mn-cs"/>
              </a:defRPr>
            </a:lvl3pPr>
            <a:lvl4pPr marL="1371600" algn="ctr" rtl="0" fontAlgn="base">
              <a:spcBef>
                <a:spcPct val="20000"/>
              </a:spcBef>
              <a:spcAft>
                <a:spcPct val="0"/>
              </a:spcAft>
              <a:defRPr sz="1100" b="1" kern="1200">
                <a:solidFill>
                  <a:schemeClr val="lt1"/>
                </a:solidFill>
                <a:latin typeface="+mn-lt"/>
                <a:ea typeface="+mn-ea"/>
                <a:cs typeface="+mn-cs"/>
              </a:defRPr>
            </a:lvl4pPr>
            <a:lvl5pPr marL="1828800" algn="ctr" rtl="0" fontAlgn="base">
              <a:spcBef>
                <a:spcPct val="20000"/>
              </a:spcBef>
              <a:spcAft>
                <a:spcPct val="0"/>
              </a:spcAft>
              <a:defRPr sz="1100" b="1" kern="1200">
                <a:solidFill>
                  <a:schemeClr val="lt1"/>
                </a:solidFill>
                <a:latin typeface="+mn-lt"/>
                <a:ea typeface="+mn-ea"/>
                <a:cs typeface="+mn-cs"/>
              </a:defRPr>
            </a:lvl5pPr>
            <a:lvl6pPr marL="2286000" algn="l" defTabSz="914400" rtl="0" eaLnBrk="1" latinLnBrk="0" hangingPunct="1">
              <a:defRPr sz="1100" b="1" kern="1200">
                <a:solidFill>
                  <a:schemeClr val="lt1"/>
                </a:solidFill>
                <a:latin typeface="+mn-lt"/>
                <a:ea typeface="+mn-ea"/>
                <a:cs typeface="+mn-cs"/>
              </a:defRPr>
            </a:lvl6pPr>
            <a:lvl7pPr marL="2743200" algn="l" defTabSz="914400" rtl="0" eaLnBrk="1" latinLnBrk="0" hangingPunct="1">
              <a:defRPr sz="1100" b="1" kern="1200">
                <a:solidFill>
                  <a:schemeClr val="lt1"/>
                </a:solidFill>
                <a:latin typeface="+mn-lt"/>
                <a:ea typeface="+mn-ea"/>
                <a:cs typeface="+mn-cs"/>
              </a:defRPr>
            </a:lvl7pPr>
            <a:lvl8pPr marL="3200400" algn="l" defTabSz="914400" rtl="0" eaLnBrk="1" latinLnBrk="0" hangingPunct="1">
              <a:defRPr sz="1100" b="1" kern="1200">
                <a:solidFill>
                  <a:schemeClr val="lt1"/>
                </a:solidFill>
                <a:latin typeface="+mn-lt"/>
                <a:ea typeface="+mn-ea"/>
                <a:cs typeface="+mn-cs"/>
              </a:defRPr>
            </a:lvl8pPr>
            <a:lvl9pPr marL="3657600" algn="l" defTabSz="914400" rtl="0" eaLnBrk="1" latinLnBrk="0" hangingPunct="1">
              <a:defRPr sz="1100" b="1" kern="1200">
                <a:solidFill>
                  <a:schemeClr val="lt1"/>
                </a:solidFill>
                <a:latin typeface="+mn-lt"/>
                <a:ea typeface="+mn-ea"/>
                <a:cs typeface="+mn-cs"/>
              </a:defRPr>
            </a:lvl9pPr>
          </a:lstStyle>
          <a:p>
            <a:pPr defTabSz="913961" fontAlgn="auto">
              <a:spcBef>
                <a:spcPts val="0"/>
              </a:spcBef>
              <a:spcAft>
                <a:spcPts val="0"/>
              </a:spcAft>
              <a:defRPr/>
            </a:pPr>
            <a:endParaRPr lang="en-US" sz="1050" dirty="0">
              <a:solidFill>
                <a:prstClr val="white"/>
              </a:solidFill>
              <a:latin typeface="+mj-lt"/>
            </a:endParaRPr>
          </a:p>
        </p:txBody>
      </p:sp>
      <p:sp>
        <p:nvSpPr>
          <p:cNvPr id="18" name="Text Box 24">
            <a:extLst>
              <a:ext uri="{FF2B5EF4-FFF2-40B4-BE49-F238E27FC236}">
                <a16:creationId xmlns:a16="http://schemas.microsoft.com/office/drawing/2014/main" id="{FFC98F6A-C43A-4D2B-AF2D-DF855F9BFC67}"/>
              </a:ext>
            </a:extLst>
          </p:cNvPr>
          <p:cNvSpPr txBox="1">
            <a:spLocks noChangeArrowheads="1"/>
          </p:cNvSpPr>
          <p:nvPr/>
        </p:nvSpPr>
        <p:spPr bwMode="auto">
          <a:xfrm>
            <a:off x="2378587" y="3334710"/>
            <a:ext cx="1621347" cy="82064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kern="0" dirty="0">
                <a:solidFill>
                  <a:srgbClr val="002776"/>
                </a:solidFill>
                <a:latin typeface="+mj-lt"/>
              </a:rPr>
              <a:t>Make</a:t>
            </a:r>
            <a:r>
              <a:rPr lang="ja-JP" altLang="en-US" kern="0" dirty="0">
                <a:solidFill>
                  <a:srgbClr val="002776"/>
                </a:solidFill>
                <a:latin typeface="+mj-lt"/>
              </a:rPr>
              <a:t> </a:t>
            </a:r>
            <a:r>
              <a:rPr lang="en-US" altLang="ja-JP" kern="0" dirty="0">
                <a:solidFill>
                  <a:srgbClr val="002776"/>
                </a:solidFill>
                <a:latin typeface="+mj-lt"/>
              </a:rPr>
              <a:t>definition of design intents and design priority on “Scope review”</a:t>
            </a:r>
            <a:endParaRPr lang="en-US" kern="0" dirty="0">
              <a:solidFill>
                <a:srgbClr val="002776"/>
              </a:solidFill>
              <a:latin typeface="+mj-lt"/>
            </a:endParaRPr>
          </a:p>
        </p:txBody>
      </p:sp>
      <p:sp>
        <p:nvSpPr>
          <p:cNvPr id="19" name="Text Box 24">
            <a:extLst>
              <a:ext uri="{FF2B5EF4-FFF2-40B4-BE49-F238E27FC236}">
                <a16:creationId xmlns:a16="http://schemas.microsoft.com/office/drawing/2014/main" id="{FE7CF495-07E0-40DF-B5B1-35D4E6592281}"/>
              </a:ext>
            </a:extLst>
          </p:cNvPr>
          <p:cNvSpPr txBox="1">
            <a:spLocks noChangeArrowheads="1"/>
          </p:cNvSpPr>
          <p:nvPr/>
        </p:nvSpPr>
        <p:spPr bwMode="auto">
          <a:xfrm>
            <a:off x="6426150" y="1742351"/>
            <a:ext cx="2377324" cy="1367626"/>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spc="-20" dirty="0">
                <a:solidFill>
                  <a:srgbClr val="002776"/>
                </a:solidFill>
                <a:latin typeface="+mj-lt"/>
              </a:rPr>
              <a:t>Quotation phase, generally we create 2D drawings and DFM on each components.</a:t>
            </a:r>
          </a:p>
          <a:p>
            <a:pPr algn="l" defTabSz="913961" fontAlgn="auto">
              <a:spcBef>
                <a:spcPts val="0"/>
              </a:spcBef>
              <a:spcAft>
                <a:spcPts val="0"/>
              </a:spcAft>
              <a:defRPr/>
            </a:pPr>
            <a:r>
              <a:rPr lang="en-US" kern="0" spc="-20" dirty="0">
                <a:solidFill>
                  <a:srgbClr val="002776"/>
                </a:solidFill>
                <a:latin typeface="+mj-lt"/>
              </a:rPr>
              <a:t>Material selection are tentative, material are decided by be communicated each department. </a:t>
            </a:r>
          </a:p>
        </p:txBody>
      </p:sp>
      <p:sp>
        <p:nvSpPr>
          <p:cNvPr id="20" name="Text Box 11">
            <a:extLst>
              <a:ext uri="{FF2B5EF4-FFF2-40B4-BE49-F238E27FC236}">
                <a16:creationId xmlns:a16="http://schemas.microsoft.com/office/drawing/2014/main" id="{D580D44A-823E-476D-8183-36AB135B8253}"/>
              </a:ext>
            </a:extLst>
          </p:cNvPr>
          <p:cNvSpPr txBox="1">
            <a:spLocks noChangeArrowheads="1"/>
          </p:cNvSpPr>
          <p:nvPr/>
        </p:nvSpPr>
        <p:spPr bwMode="gray">
          <a:xfrm>
            <a:off x="6464044" y="1546993"/>
            <a:ext cx="1341777"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5</a:t>
            </a:r>
          </a:p>
        </p:txBody>
      </p:sp>
      <p:sp>
        <p:nvSpPr>
          <p:cNvPr id="21" name="Text Box 24">
            <a:extLst>
              <a:ext uri="{FF2B5EF4-FFF2-40B4-BE49-F238E27FC236}">
                <a16:creationId xmlns:a16="http://schemas.microsoft.com/office/drawing/2014/main" id="{97A0FE0F-77A4-4B69-ABDE-A9988C3C23AA}"/>
              </a:ext>
            </a:extLst>
          </p:cNvPr>
          <p:cNvSpPr txBox="1">
            <a:spLocks noChangeArrowheads="1"/>
          </p:cNvSpPr>
          <p:nvPr/>
        </p:nvSpPr>
        <p:spPr bwMode="auto">
          <a:xfrm>
            <a:off x="6102195" y="4661850"/>
            <a:ext cx="4644272" cy="708388"/>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Design analysis phase, we need to do tolerance analysis under  mating motion. And as another analysis, we are doing contact force, mating force and retention force as FEA analysis and clarify mold part weakness point as mold flow analysis for, SI analysis and temperature analysis.</a:t>
            </a:r>
          </a:p>
        </p:txBody>
      </p:sp>
      <p:sp>
        <p:nvSpPr>
          <p:cNvPr id="22" name="Text Box 14">
            <a:extLst>
              <a:ext uri="{FF2B5EF4-FFF2-40B4-BE49-F238E27FC236}">
                <a16:creationId xmlns:a16="http://schemas.microsoft.com/office/drawing/2014/main" id="{957A023C-F13B-4843-A681-19BADC0F0BE1}"/>
              </a:ext>
            </a:extLst>
          </p:cNvPr>
          <p:cNvSpPr txBox="1">
            <a:spLocks noChangeArrowheads="1"/>
          </p:cNvSpPr>
          <p:nvPr/>
        </p:nvSpPr>
        <p:spPr bwMode="gray">
          <a:xfrm>
            <a:off x="6102195" y="4460060"/>
            <a:ext cx="1151165" cy="176095"/>
          </a:xfrm>
          <a:prstGeom prst="rect">
            <a:avLst/>
          </a:prstGeom>
          <a:noFill/>
          <a:ln w="12700" algn="ctr">
            <a:noFill/>
            <a:miter lim="800000"/>
            <a:headEnd/>
            <a:tailEnd/>
          </a:ln>
          <a:effectLst/>
        </p:spPr>
        <p:txBody>
          <a:bodyPr wrap="non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4</a:t>
            </a:r>
          </a:p>
        </p:txBody>
      </p:sp>
      <p:sp>
        <p:nvSpPr>
          <p:cNvPr id="23" name="Text Box 24">
            <a:extLst>
              <a:ext uri="{FF2B5EF4-FFF2-40B4-BE49-F238E27FC236}">
                <a16:creationId xmlns:a16="http://schemas.microsoft.com/office/drawing/2014/main" id="{FF7A872D-426A-4D46-A4A4-DABD2E0C69F0}"/>
              </a:ext>
            </a:extLst>
          </p:cNvPr>
          <p:cNvSpPr txBox="1">
            <a:spLocks noChangeArrowheads="1"/>
          </p:cNvSpPr>
          <p:nvPr/>
        </p:nvSpPr>
        <p:spPr bwMode="auto">
          <a:xfrm>
            <a:off x="8866869" y="4161693"/>
            <a:ext cx="2004334" cy="501152"/>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Design drawing release </a:t>
            </a:r>
          </a:p>
        </p:txBody>
      </p:sp>
      <p:sp>
        <p:nvSpPr>
          <p:cNvPr id="24" name="Text Box 10">
            <a:extLst>
              <a:ext uri="{FF2B5EF4-FFF2-40B4-BE49-F238E27FC236}">
                <a16:creationId xmlns:a16="http://schemas.microsoft.com/office/drawing/2014/main" id="{9CFBC63D-CE03-4161-9C29-FAB75D09F3AC}"/>
              </a:ext>
            </a:extLst>
          </p:cNvPr>
          <p:cNvSpPr txBox="1">
            <a:spLocks noChangeArrowheads="1"/>
          </p:cNvSpPr>
          <p:nvPr/>
        </p:nvSpPr>
        <p:spPr bwMode="gray">
          <a:xfrm>
            <a:off x="8994427" y="3972269"/>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6</a:t>
            </a:r>
          </a:p>
        </p:txBody>
      </p:sp>
      <p:sp>
        <p:nvSpPr>
          <p:cNvPr id="25" name="Oval 24">
            <a:extLst>
              <a:ext uri="{FF2B5EF4-FFF2-40B4-BE49-F238E27FC236}">
                <a16:creationId xmlns:a16="http://schemas.microsoft.com/office/drawing/2014/main" id="{562825D5-3D20-41DE-A3D7-832BE944793B}"/>
              </a:ext>
            </a:extLst>
          </p:cNvPr>
          <p:cNvSpPr>
            <a:spLocks noChangeArrowheads="1"/>
          </p:cNvSpPr>
          <p:nvPr/>
        </p:nvSpPr>
        <p:spPr bwMode="gray">
          <a:xfrm>
            <a:off x="3490185" y="4938140"/>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2</a:t>
            </a:r>
          </a:p>
        </p:txBody>
      </p:sp>
      <p:sp>
        <p:nvSpPr>
          <p:cNvPr id="26" name="Oval 25">
            <a:extLst>
              <a:ext uri="{FF2B5EF4-FFF2-40B4-BE49-F238E27FC236}">
                <a16:creationId xmlns:a16="http://schemas.microsoft.com/office/drawing/2014/main" id="{2955288C-C806-4891-9240-DFB031C3690C}"/>
              </a:ext>
            </a:extLst>
          </p:cNvPr>
          <p:cNvSpPr>
            <a:spLocks noChangeArrowheads="1"/>
          </p:cNvSpPr>
          <p:nvPr/>
        </p:nvSpPr>
        <p:spPr bwMode="gray">
          <a:xfrm>
            <a:off x="4165150" y="2951076"/>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3</a:t>
            </a:r>
          </a:p>
        </p:txBody>
      </p:sp>
      <p:sp>
        <p:nvSpPr>
          <p:cNvPr id="28" name="Oval 27">
            <a:extLst>
              <a:ext uri="{FF2B5EF4-FFF2-40B4-BE49-F238E27FC236}">
                <a16:creationId xmlns:a16="http://schemas.microsoft.com/office/drawing/2014/main" id="{2E12D42A-ECC4-48E8-9A65-F5076BFE4749}"/>
              </a:ext>
            </a:extLst>
          </p:cNvPr>
          <p:cNvSpPr>
            <a:spLocks noChangeArrowheads="1"/>
          </p:cNvSpPr>
          <p:nvPr/>
        </p:nvSpPr>
        <p:spPr bwMode="gray">
          <a:xfrm>
            <a:off x="8529116" y="2611510"/>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5</a:t>
            </a:r>
          </a:p>
        </p:txBody>
      </p:sp>
      <p:sp>
        <p:nvSpPr>
          <p:cNvPr id="29" name="Line 28">
            <a:extLst>
              <a:ext uri="{FF2B5EF4-FFF2-40B4-BE49-F238E27FC236}">
                <a16:creationId xmlns:a16="http://schemas.microsoft.com/office/drawing/2014/main" id="{E47B6F27-9413-4D13-9C97-7C4233E36561}"/>
              </a:ext>
            </a:extLst>
          </p:cNvPr>
          <p:cNvSpPr>
            <a:spLocks noChangeShapeType="1"/>
          </p:cNvSpPr>
          <p:nvPr/>
        </p:nvSpPr>
        <p:spPr bwMode="auto">
          <a:xfrm flipH="1">
            <a:off x="8687078" y="3006936"/>
            <a:ext cx="0" cy="708058"/>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0" name="Oval 29">
            <a:extLst>
              <a:ext uri="{FF2B5EF4-FFF2-40B4-BE49-F238E27FC236}">
                <a16:creationId xmlns:a16="http://schemas.microsoft.com/office/drawing/2014/main" id="{1F289621-C8DD-44CC-94E4-CCBBE5737121}"/>
              </a:ext>
            </a:extLst>
          </p:cNvPr>
          <p:cNvSpPr>
            <a:spLocks noChangeArrowheads="1"/>
          </p:cNvSpPr>
          <p:nvPr/>
        </p:nvSpPr>
        <p:spPr bwMode="gray">
          <a:xfrm>
            <a:off x="9970188" y="3911605"/>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6</a:t>
            </a:r>
          </a:p>
        </p:txBody>
      </p:sp>
      <p:sp>
        <p:nvSpPr>
          <p:cNvPr id="33" name="Line 28">
            <a:extLst>
              <a:ext uri="{FF2B5EF4-FFF2-40B4-BE49-F238E27FC236}">
                <a16:creationId xmlns:a16="http://schemas.microsoft.com/office/drawing/2014/main" id="{312CD55C-5FB0-4E6D-A463-1F16AF8532D2}"/>
              </a:ext>
            </a:extLst>
          </p:cNvPr>
          <p:cNvSpPr>
            <a:spLocks noChangeShapeType="1"/>
          </p:cNvSpPr>
          <p:nvPr/>
        </p:nvSpPr>
        <p:spPr bwMode="auto">
          <a:xfrm flipH="1">
            <a:off x="4323113" y="3324428"/>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4" name="Line 28">
            <a:extLst>
              <a:ext uri="{FF2B5EF4-FFF2-40B4-BE49-F238E27FC236}">
                <a16:creationId xmlns:a16="http://schemas.microsoft.com/office/drawing/2014/main" id="{3751E61F-80AC-4F1D-A479-3A6E82BAF3B1}"/>
              </a:ext>
            </a:extLst>
          </p:cNvPr>
          <p:cNvSpPr>
            <a:spLocks noChangeShapeType="1"/>
          </p:cNvSpPr>
          <p:nvPr/>
        </p:nvSpPr>
        <p:spPr bwMode="auto">
          <a:xfrm flipH="1">
            <a:off x="2092737" y="3525391"/>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5" name="Line 28">
            <a:extLst>
              <a:ext uri="{FF2B5EF4-FFF2-40B4-BE49-F238E27FC236}">
                <a16:creationId xmlns:a16="http://schemas.microsoft.com/office/drawing/2014/main" id="{68083D47-6964-4128-A1EE-ED0743EC6C88}"/>
              </a:ext>
            </a:extLst>
          </p:cNvPr>
          <p:cNvSpPr>
            <a:spLocks noChangeShapeType="1"/>
          </p:cNvSpPr>
          <p:nvPr/>
        </p:nvSpPr>
        <p:spPr bwMode="auto">
          <a:xfrm flipV="1">
            <a:off x="7140967" y="3989793"/>
            <a:ext cx="0" cy="631406"/>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6" name="Line 28">
            <a:extLst>
              <a:ext uri="{FF2B5EF4-FFF2-40B4-BE49-F238E27FC236}">
                <a16:creationId xmlns:a16="http://schemas.microsoft.com/office/drawing/2014/main" id="{46D2E657-231D-4CAB-8C61-68DEC1453E60}"/>
              </a:ext>
            </a:extLst>
          </p:cNvPr>
          <p:cNvSpPr>
            <a:spLocks noChangeShapeType="1"/>
          </p:cNvSpPr>
          <p:nvPr/>
        </p:nvSpPr>
        <p:spPr bwMode="auto">
          <a:xfrm flipV="1">
            <a:off x="10126311" y="3512895"/>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7" name="Oval 29">
            <a:extLst>
              <a:ext uri="{FF2B5EF4-FFF2-40B4-BE49-F238E27FC236}">
                <a16:creationId xmlns:a16="http://schemas.microsoft.com/office/drawing/2014/main" id="{1107381A-EA16-407E-9344-FCAC37FC7844}"/>
              </a:ext>
            </a:extLst>
          </p:cNvPr>
          <p:cNvSpPr>
            <a:spLocks noChangeArrowheads="1"/>
          </p:cNvSpPr>
          <p:nvPr/>
        </p:nvSpPr>
        <p:spPr bwMode="gray">
          <a:xfrm>
            <a:off x="10041729" y="2122908"/>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7</a:t>
            </a:r>
          </a:p>
        </p:txBody>
      </p:sp>
      <p:sp>
        <p:nvSpPr>
          <p:cNvPr id="39" name="Line 28">
            <a:extLst>
              <a:ext uri="{FF2B5EF4-FFF2-40B4-BE49-F238E27FC236}">
                <a16:creationId xmlns:a16="http://schemas.microsoft.com/office/drawing/2014/main" id="{CB2B563F-70D4-48BC-804B-BA73A333C1EA}"/>
              </a:ext>
            </a:extLst>
          </p:cNvPr>
          <p:cNvSpPr>
            <a:spLocks noChangeShapeType="1"/>
          </p:cNvSpPr>
          <p:nvPr/>
        </p:nvSpPr>
        <p:spPr bwMode="auto">
          <a:xfrm>
            <a:off x="10199696" y="2467866"/>
            <a:ext cx="0" cy="246415"/>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40" name="Text Box 24">
            <a:extLst>
              <a:ext uri="{FF2B5EF4-FFF2-40B4-BE49-F238E27FC236}">
                <a16:creationId xmlns:a16="http://schemas.microsoft.com/office/drawing/2014/main" id="{765E06F1-3BAF-4030-8A6F-E77240F8F7CC}"/>
              </a:ext>
            </a:extLst>
          </p:cNvPr>
          <p:cNvSpPr txBox="1">
            <a:spLocks noChangeArrowheads="1"/>
          </p:cNvSpPr>
          <p:nvPr/>
        </p:nvSpPr>
        <p:spPr bwMode="auto">
          <a:xfrm>
            <a:off x="8845049" y="1866974"/>
            <a:ext cx="2004334" cy="501152"/>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Re-use on other concept</a:t>
            </a:r>
          </a:p>
        </p:txBody>
      </p:sp>
      <p:sp>
        <p:nvSpPr>
          <p:cNvPr id="41" name="Text Box 10">
            <a:extLst>
              <a:ext uri="{FF2B5EF4-FFF2-40B4-BE49-F238E27FC236}">
                <a16:creationId xmlns:a16="http://schemas.microsoft.com/office/drawing/2014/main" id="{D758ECEC-B9B7-4D64-924A-00CCE6C7C228}"/>
              </a:ext>
            </a:extLst>
          </p:cNvPr>
          <p:cNvSpPr txBox="1">
            <a:spLocks noChangeArrowheads="1"/>
          </p:cNvSpPr>
          <p:nvPr/>
        </p:nvSpPr>
        <p:spPr bwMode="gray">
          <a:xfrm>
            <a:off x="8868336" y="1636522"/>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7</a:t>
            </a:r>
          </a:p>
        </p:txBody>
      </p:sp>
      <p:sp>
        <p:nvSpPr>
          <p:cNvPr id="27" name="Oval 26">
            <a:extLst>
              <a:ext uri="{FF2B5EF4-FFF2-40B4-BE49-F238E27FC236}">
                <a16:creationId xmlns:a16="http://schemas.microsoft.com/office/drawing/2014/main" id="{6EABAB19-C5C1-49C9-8BC5-5F7CA5E9D95E}"/>
              </a:ext>
            </a:extLst>
          </p:cNvPr>
          <p:cNvSpPr>
            <a:spLocks noChangeArrowheads="1"/>
          </p:cNvSpPr>
          <p:nvPr/>
        </p:nvSpPr>
        <p:spPr bwMode="gray">
          <a:xfrm>
            <a:off x="6993937" y="4392027"/>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4</a:t>
            </a:r>
          </a:p>
        </p:txBody>
      </p:sp>
    </p:spTree>
    <p:extLst>
      <p:ext uri="{BB962C8B-B14F-4D97-AF65-F5344CB8AC3E}">
        <p14:creationId xmlns:p14="http://schemas.microsoft.com/office/powerpoint/2010/main" val="181768916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ja-JP" altLang="ja-JP" dirty="0"/>
              <a:t> </a:t>
            </a:r>
            <a:r>
              <a:rPr lang="en-US" altLang="ja-JP" b="1" dirty="0"/>
              <a:t>CAD Design/Management</a:t>
            </a:r>
            <a:endParaRPr lang="ja-JP" altLang="ja-JP" dirty="0"/>
          </a:p>
        </p:txBody>
      </p:sp>
      <p:sp>
        <p:nvSpPr>
          <p:cNvPr id="5" name="Content Placeholder 2">
            <a:extLst>
              <a:ext uri="{FF2B5EF4-FFF2-40B4-BE49-F238E27FC236}">
                <a16:creationId xmlns:a16="http://schemas.microsoft.com/office/drawing/2014/main" id="{D105B340-91FE-4713-91F6-44138599D7D9}"/>
              </a:ext>
            </a:extLst>
          </p:cNvPr>
          <p:cNvSpPr txBox="1">
            <a:spLocks/>
          </p:cNvSpPr>
          <p:nvPr/>
        </p:nvSpPr>
        <p:spPr>
          <a:xfrm>
            <a:off x="248652" y="810127"/>
            <a:ext cx="6352674" cy="5645286"/>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b="1" dirty="0">
                <a:solidFill>
                  <a:schemeClr val="accent3"/>
                </a:solidFill>
                <a:latin typeface="+mj-lt"/>
              </a:rPr>
              <a:t>Pain Points </a:t>
            </a:r>
          </a:p>
          <a:p>
            <a:pPr marL="1587" lvl="1" indent="0">
              <a:buFont typeface="Arial" panose="020B0604020202020204" pitchFamily="34" charset="0"/>
              <a:buNone/>
            </a:pPr>
            <a:r>
              <a:rPr lang="en-US" sz="1100" b="1" dirty="0">
                <a:solidFill>
                  <a:schemeClr val="accent3"/>
                </a:solidFill>
                <a:latin typeface="+mj-lt"/>
              </a:rPr>
              <a:t>On modeling..</a:t>
            </a:r>
          </a:p>
          <a:p>
            <a:pPr marL="344487" lvl="1" indent="-342900">
              <a:buFont typeface="Arial" panose="020B0604020202020204" pitchFamily="34" charset="0"/>
              <a:buAutoNum type="arabicPeriod"/>
            </a:pPr>
            <a:r>
              <a:rPr lang="en-US" sz="1100" dirty="0">
                <a:latin typeface="+mj-lt"/>
              </a:rPr>
              <a:t>In current parametric design cad system, user are using preferring commands and design flow. Created model are difficult to understand design intents for another engineer. (perhaps this will be barrier to around clock design)</a:t>
            </a:r>
          </a:p>
          <a:p>
            <a:pPr marL="344487" lvl="1" indent="-342900">
              <a:buFont typeface="Arial" panose="020B0604020202020204" pitchFamily="34" charset="0"/>
              <a:buAutoNum type="arabicPeriod"/>
            </a:pPr>
            <a:r>
              <a:rPr lang="en-US" sz="1100" dirty="0">
                <a:latin typeface="+mj-lt"/>
              </a:rPr>
              <a:t>Design knowledges and procedures are stored in another system and each local drives, engineer waste time for searching documents for needed. </a:t>
            </a:r>
          </a:p>
          <a:p>
            <a:pPr marL="344487" lvl="1" indent="-342900">
              <a:buFont typeface="Arial" panose="020B0604020202020204" pitchFamily="34" charset="0"/>
              <a:buAutoNum type="arabicPeriod"/>
            </a:pPr>
            <a:r>
              <a:rPr lang="en-US" sz="1100" dirty="0">
                <a:latin typeface="+mj-lt"/>
              </a:rPr>
              <a:t>Product are designed by one engineer.</a:t>
            </a:r>
          </a:p>
          <a:p>
            <a:pPr marL="1587" lvl="1" indent="0">
              <a:buNone/>
            </a:pPr>
            <a:r>
              <a:rPr lang="en-US" altLang="ja-JP" sz="1100" b="1" dirty="0">
                <a:solidFill>
                  <a:schemeClr val="accent3"/>
                </a:solidFill>
              </a:rPr>
              <a:t>On Analysis..</a:t>
            </a:r>
            <a:endParaRPr lang="en-US" sz="1100" dirty="0">
              <a:latin typeface="+mj-lt"/>
            </a:endParaRPr>
          </a:p>
          <a:p>
            <a:pPr marL="344487" lvl="1" indent="-342900">
              <a:buFont typeface="Arial" panose="020B0604020202020204" pitchFamily="34" charset="0"/>
              <a:buAutoNum type="arabicPeriod"/>
            </a:pPr>
            <a:r>
              <a:rPr lang="en-US" sz="1100" dirty="0">
                <a:latin typeface="+mj-lt"/>
              </a:rPr>
              <a:t>Needing analysis list are leaved to design engineer, the least of analysis menu are not exist.</a:t>
            </a:r>
          </a:p>
          <a:p>
            <a:pPr marL="344487" lvl="1" indent="-342900">
              <a:buFont typeface="Arial" panose="020B0604020202020204" pitchFamily="34" charset="0"/>
              <a:buAutoNum type="arabicPeriod"/>
            </a:pPr>
            <a:r>
              <a:rPr lang="en-US" sz="1100" dirty="0">
                <a:latin typeface="+mj-lt"/>
              </a:rPr>
              <a:t>Analysis data are stored on each engineer local folder and/or local share folder.</a:t>
            </a:r>
          </a:p>
          <a:p>
            <a:pPr marL="344487" lvl="1" indent="-342900">
              <a:buFont typeface="Arial" panose="020B0604020202020204" pitchFamily="34" charset="0"/>
              <a:buAutoNum type="arabicPeriod"/>
            </a:pPr>
            <a:r>
              <a:rPr lang="en-US" sz="1100" dirty="0">
                <a:latin typeface="+mj-lt"/>
              </a:rPr>
              <a:t>Some excel base design analysis tool are not managed. </a:t>
            </a:r>
          </a:p>
          <a:p>
            <a:pPr marL="344487" lvl="1" indent="-342900">
              <a:buFont typeface="Arial" panose="020B0604020202020204" pitchFamily="34" charset="0"/>
              <a:buAutoNum type="arabicPeriod"/>
            </a:pPr>
            <a:r>
              <a:rPr lang="en-US" sz="1100" dirty="0">
                <a:latin typeface="+mj-lt"/>
              </a:rPr>
              <a:t>Time consuming on tolerance analysis on NX cad model.</a:t>
            </a:r>
          </a:p>
          <a:p>
            <a:pPr marL="344487" lvl="1" indent="-342900">
              <a:buFont typeface="Arial" panose="020B0604020202020204" pitchFamily="34" charset="0"/>
              <a:buAutoNum type="arabicPeriod"/>
            </a:pPr>
            <a:r>
              <a:rPr lang="en-US" sz="1100" dirty="0">
                <a:latin typeface="+mj-lt"/>
              </a:rPr>
              <a:t>Analysis tools are differ on analysis purpose,  engineer need to know each usage.</a:t>
            </a:r>
            <a:r>
              <a:rPr lang="en-US" altLang="ja-JP" sz="1100" dirty="0">
                <a:latin typeface="+mj-lt"/>
              </a:rPr>
              <a:t> </a:t>
            </a:r>
            <a:endParaRPr lang="en-US" sz="1100" dirty="0">
              <a:latin typeface="+mj-lt"/>
            </a:endParaRPr>
          </a:p>
          <a:p>
            <a:pPr marL="1587" lvl="1" indent="0">
              <a:buNone/>
            </a:pPr>
            <a:r>
              <a:rPr lang="en-US" altLang="ja-JP" sz="1100" b="1" dirty="0">
                <a:solidFill>
                  <a:schemeClr val="accent3"/>
                </a:solidFill>
              </a:rPr>
              <a:t>On model management for re-usable..</a:t>
            </a:r>
          </a:p>
          <a:p>
            <a:pPr marL="344487" lvl="1" indent="-342900">
              <a:buFont typeface="Arial" panose="020B0604020202020204" pitchFamily="34" charset="0"/>
              <a:buAutoNum type="arabicPeriod"/>
            </a:pPr>
            <a:r>
              <a:rPr lang="en-US" altLang="ja-JP" sz="1100" dirty="0">
                <a:latin typeface="+mj-lt"/>
              </a:rPr>
              <a:t>Difficult for search similar product model as "concept base model" on ECTR system. </a:t>
            </a:r>
            <a:endParaRPr lang="en-US" sz="1400" dirty="0">
              <a:latin typeface="+mj-lt"/>
            </a:endParaRPr>
          </a:p>
          <a:p>
            <a:pPr lvl="1"/>
            <a:endParaRPr lang="en-US" dirty="0">
              <a:latin typeface="+mj-lt"/>
            </a:endParaRPr>
          </a:p>
          <a:p>
            <a:pPr lvl="1"/>
            <a:endParaRPr lang="en-US" dirty="0">
              <a:latin typeface="+mj-lt"/>
            </a:endParaRPr>
          </a:p>
          <a:p>
            <a:pPr lvl="1"/>
            <a:endParaRPr lang="en-US" dirty="0">
              <a:latin typeface="+mj-lt"/>
            </a:endParaRPr>
          </a:p>
        </p:txBody>
      </p:sp>
      <p:sp>
        <p:nvSpPr>
          <p:cNvPr id="38" name="Content Placeholder 2">
            <a:extLst>
              <a:ext uri="{FF2B5EF4-FFF2-40B4-BE49-F238E27FC236}">
                <a16:creationId xmlns:a16="http://schemas.microsoft.com/office/drawing/2014/main" id="{1CC05C0C-D496-46EE-A944-9B2BB98AFC14}"/>
              </a:ext>
            </a:extLst>
          </p:cNvPr>
          <p:cNvSpPr txBox="1">
            <a:spLocks/>
          </p:cNvSpPr>
          <p:nvPr/>
        </p:nvSpPr>
        <p:spPr>
          <a:xfrm>
            <a:off x="6898113" y="810127"/>
            <a:ext cx="5125445" cy="5645286"/>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Improvement Opportunities  </a:t>
            </a:r>
          </a:p>
          <a:p>
            <a:pPr marL="1587" lvl="1" indent="0">
              <a:buNone/>
            </a:pPr>
            <a:r>
              <a:rPr lang="en-US" altLang="ja-JP" sz="1100" b="1" dirty="0">
                <a:solidFill>
                  <a:schemeClr val="accent3"/>
                </a:solidFill>
              </a:rPr>
              <a:t>On modeling..</a:t>
            </a:r>
            <a:endParaRPr lang="en-US" sz="1100" b="1" dirty="0">
              <a:solidFill>
                <a:schemeClr val="accent3"/>
              </a:solidFill>
              <a:latin typeface="+mj-lt"/>
            </a:endParaRPr>
          </a:p>
          <a:p>
            <a:pPr marL="344487" lvl="1" indent="-342900">
              <a:buFont typeface="Arial" panose="020B0604020202020204" pitchFamily="34" charset="0"/>
              <a:buAutoNum type="arabicPeriod"/>
            </a:pPr>
            <a:r>
              <a:rPr lang="en-US" sz="1100" dirty="0">
                <a:latin typeface="+mj-lt"/>
              </a:rPr>
              <a:t>Standardize modeling method and rule</a:t>
            </a:r>
          </a:p>
          <a:p>
            <a:pPr marL="344487" lvl="1" indent="-342900">
              <a:buFont typeface="Arial" panose="020B0604020202020204" pitchFamily="34" charset="0"/>
              <a:buAutoNum type="arabicPeriod"/>
            </a:pPr>
            <a:r>
              <a:rPr lang="en-US" sz="1100" dirty="0">
                <a:latin typeface="+mj-lt"/>
              </a:rPr>
              <a:t>Need to organize  the design knowledges and design procedure.  If these document will be accessed from CAD system, design process will be efficiently.</a:t>
            </a:r>
            <a:r>
              <a:rPr lang="en-US" altLang="ja-JP" sz="1100" b="1" dirty="0">
                <a:solidFill>
                  <a:schemeClr val="accent3"/>
                </a:solidFill>
              </a:rPr>
              <a:t> </a:t>
            </a:r>
          </a:p>
          <a:p>
            <a:pPr marL="344487" lvl="1" indent="-342900">
              <a:buFont typeface="Arial" panose="020B0604020202020204" pitchFamily="34" charset="0"/>
              <a:buAutoNum type="arabicPeriod"/>
            </a:pPr>
            <a:r>
              <a:rPr lang="en-US" altLang="ja-JP" sz="1100" dirty="0"/>
              <a:t>Team engineering design </a:t>
            </a:r>
          </a:p>
          <a:p>
            <a:pPr marL="1587" lvl="1" indent="0">
              <a:buNone/>
            </a:pPr>
            <a:r>
              <a:rPr lang="en-US" altLang="ja-JP" sz="1100" b="1" dirty="0">
                <a:solidFill>
                  <a:schemeClr val="accent3"/>
                </a:solidFill>
              </a:rPr>
              <a:t>On Analysis..</a:t>
            </a:r>
            <a:endParaRPr lang="en-US" sz="1100" dirty="0">
              <a:latin typeface="+mj-lt"/>
            </a:endParaRPr>
          </a:p>
          <a:p>
            <a:pPr marL="344487" lvl="1" indent="-342900">
              <a:buFont typeface="Arial" panose="020B0604020202020204" pitchFamily="34" charset="0"/>
              <a:buAutoNum type="arabicPeriod"/>
            </a:pPr>
            <a:r>
              <a:rPr lang="en-US" sz="1100" dirty="0">
                <a:latin typeface="+mj-lt"/>
              </a:rPr>
              <a:t>Needed analysis list will be listed up in D-FMEA and stored in stature system. If stature system will be linkage to cad system, engineer will more easy to considering.</a:t>
            </a:r>
          </a:p>
          <a:p>
            <a:pPr marL="344487" lvl="1" indent="-342900">
              <a:buFont typeface="Arial" panose="020B0604020202020204" pitchFamily="34" charset="0"/>
              <a:buAutoNum type="arabicPeriod"/>
            </a:pPr>
            <a:r>
              <a:rPr lang="en-US" sz="1100" dirty="0">
                <a:latin typeface="+mj-lt"/>
              </a:rPr>
              <a:t>Need to clarify rules t storage area. (e.g.: ECTR)</a:t>
            </a:r>
          </a:p>
          <a:p>
            <a:pPr marL="344487" lvl="1" indent="-342900">
              <a:buFont typeface="Arial" panose="020B0604020202020204" pitchFamily="34" charset="0"/>
              <a:buAutoNum type="arabicPeriod"/>
            </a:pPr>
            <a:r>
              <a:rPr lang="en-US" sz="1100" dirty="0">
                <a:latin typeface="+mj-lt"/>
              </a:rPr>
              <a:t>Localized excel files should be extracted and managed.</a:t>
            </a:r>
          </a:p>
          <a:p>
            <a:pPr marL="344487" lvl="1" indent="-342900">
              <a:buFont typeface="Arial" panose="020B0604020202020204" pitchFamily="34" charset="0"/>
              <a:buAutoNum type="arabicPeriod"/>
            </a:pPr>
            <a:r>
              <a:rPr lang="en-US" sz="1100" dirty="0">
                <a:latin typeface="+mj-lt"/>
              </a:rPr>
              <a:t>Need to study for efficiently cad system usage or add-on soft ware. </a:t>
            </a:r>
          </a:p>
          <a:p>
            <a:pPr marL="344487" lvl="1" indent="-342900">
              <a:buFont typeface="Arial" panose="020B0604020202020204" pitchFamily="34" charset="0"/>
              <a:buAutoNum type="arabicPeriod"/>
            </a:pPr>
            <a:r>
              <a:rPr lang="en-US" sz="1100" dirty="0">
                <a:latin typeface="+mj-lt"/>
              </a:rPr>
              <a:t>If all analysis tool will be linkage to CAD system and analysis will can be minimize operation, design process will be more speedy.</a:t>
            </a:r>
          </a:p>
          <a:p>
            <a:pPr marL="1587" lvl="1" indent="0">
              <a:buNone/>
            </a:pPr>
            <a:r>
              <a:rPr lang="en-US" altLang="ja-JP" sz="1100" b="1" dirty="0">
                <a:solidFill>
                  <a:schemeClr val="accent3"/>
                </a:solidFill>
              </a:rPr>
              <a:t> On model management for re-usable..</a:t>
            </a:r>
          </a:p>
          <a:p>
            <a:pPr marL="344487" lvl="1" indent="-342900">
              <a:buFont typeface="Arial" panose="020B0604020202020204" pitchFamily="34" charset="0"/>
              <a:buAutoNum type="arabicPeriod"/>
            </a:pPr>
            <a:r>
              <a:rPr lang="en-US" altLang="ja-JP" sz="1100" dirty="0"/>
              <a:t>If easy to search on data base like as pitch size, connector variation and current ratings, we will more accelerate legacy model re-use.</a:t>
            </a:r>
            <a:endParaRPr lang="en-US" sz="1100" dirty="0">
              <a:latin typeface="+mj-lt"/>
            </a:endParaRPr>
          </a:p>
          <a:p>
            <a:pPr marL="344487" lvl="1" indent="-342900">
              <a:buFont typeface="Arial" panose="020B0604020202020204" pitchFamily="34" charset="0"/>
              <a:buAutoNum type="arabicPeriod"/>
            </a:pPr>
            <a:endParaRPr lang="en-US" dirty="0">
              <a:latin typeface="+mj-lt"/>
            </a:endParaRPr>
          </a:p>
          <a:p>
            <a:pPr lvl="1"/>
            <a:endParaRPr lang="en-US" dirty="0">
              <a:latin typeface="+mj-lt"/>
            </a:endParaRPr>
          </a:p>
          <a:p>
            <a:pPr lvl="1"/>
            <a:endParaRPr lang="en-US" dirty="0">
              <a:latin typeface="+mj-lt"/>
            </a:endParaRPr>
          </a:p>
        </p:txBody>
      </p:sp>
    </p:spTree>
    <p:extLst>
      <p:ext uri="{BB962C8B-B14F-4D97-AF65-F5344CB8AC3E}">
        <p14:creationId xmlns:p14="http://schemas.microsoft.com/office/powerpoint/2010/main" val="10023797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7">
            <a:extLst>
              <a:ext uri="{FF2B5EF4-FFF2-40B4-BE49-F238E27FC236}">
                <a16:creationId xmlns:a16="http://schemas.microsoft.com/office/drawing/2014/main" id="{AA42781C-2A7D-4B26-B851-901C9285706D}"/>
              </a:ext>
            </a:extLst>
          </p:cNvPr>
          <p:cNvSpPr>
            <a:spLocks noChangeArrowheads="1"/>
          </p:cNvSpPr>
          <p:nvPr/>
        </p:nvSpPr>
        <p:spPr bwMode="auto">
          <a:xfrm>
            <a:off x="8495167" y="5414703"/>
            <a:ext cx="1152144" cy="635470"/>
          </a:xfrm>
          <a:prstGeom prst="roundRect">
            <a:avLst/>
          </a:prstGeom>
          <a:solidFill>
            <a:srgbClr val="FFFF00"/>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prstClr val="black"/>
                </a:solidFill>
                <a:effectLst/>
                <a:uLnTx/>
                <a:uFillTx/>
                <a:latin typeface="Verdana"/>
                <a:ea typeface="+mn-ea"/>
                <a:cs typeface="Tahoma" pitchFamily="34" charset="0"/>
              </a:rPr>
              <a:t>Standardization and Reuse</a:t>
            </a:r>
          </a:p>
        </p:txBody>
      </p:sp>
      <p:sp>
        <p:nvSpPr>
          <p:cNvPr id="13" name="Rectangle 21">
            <a:extLst>
              <a:ext uri="{FF2B5EF4-FFF2-40B4-BE49-F238E27FC236}">
                <a16:creationId xmlns:a16="http://schemas.microsoft.com/office/drawing/2014/main" id="{02D4F57E-78EC-4568-8058-35E1DE7606D3}"/>
              </a:ext>
            </a:extLst>
          </p:cNvPr>
          <p:cNvSpPr>
            <a:spLocks noChangeArrowheads="1"/>
          </p:cNvSpPr>
          <p:nvPr/>
        </p:nvSpPr>
        <p:spPr bwMode="auto">
          <a:xfrm>
            <a:off x="8495167" y="3972685"/>
            <a:ext cx="1152144"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Clear definition of roles but limited standard templates. Unmanaged reuse and productivity gains at an individual level </a:t>
            </a:r>
          </a:p>
        </p:txBody>
      </p:sp>
      <p:sp>
        <p:nvSpPr>
          <p:cNvPr id="14" name="Rectangle 29">
            <a:extLst>
              <a:ext uri="{FF2B5EF4-FFF2-40B4-BE49-F238E27FC236}">
                <a16:creationId xmlns:a16="http://schemas.microsoft.com/office/drawing/2014/main" id="{2D2B1897-CA92-4EF2-811B-F850DA3AE676}"/>
              </a:ext>
            </a:extLst>
          </p:cNvPr>
          <p:cNvSpPr>
            <a:spLocks noChangeArrowheads="1"/>
          </p:cNvSpPr>
          <p:nvPr/>
        </p:nvSpPr>
        <p:spPr bwMode="auto">
          <a:xfrm>
            <a:off x="8495167" y="1144716"/>
            <a:ext cx="1152144" cy="132770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Formal process to manage reuse of designs via domain libraries. Metrics to track reuse and net new content. Standard templates and best-in-class examples</a:t>
            </a:r>
          </a:p>
        </p:txBody>
      </p:sp>
      <p:sp>
        <p:nvSpPr>
          <p:cNvPr id="15" name="Rectangle 37">
            <a:extLst>
              <a:ext uri="{FF2B5EF4-FFF2-40B4-BE49-F238E27FC236}">
                <a16:creationId xmlns:a16="http://schemas.microsoft.com/office/drawing/2014/main" id="{047C6BDD-6802-406C-B84F-2B2E36C6B936}"/>
              </a:ext>
            </a:extLst>
          </p:cNvPr>
          <p:cNvSpPr>
            <a:spLocks noChangeArrowheads="1"/>
          </p:cNvSpPr>
          <p:nvPr/>
        </p:nvSpPr>
        <p:spPr bwMode="auto">
          <a:xfrm>
            <a:off x="8495167" y="2648311"/>
            <a:ext cx="1152144"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Limited reuse in some functional areas. Some standardized templates defined for critical deliverables. Limited capture and sharing of best practices</a:t>
            </a:r>
          </a:p>
        </p:txBody>
      </p:sp>
      <p:sp>
        <p:nvSpPr>
          <p:cNvPr id="16" name="Rectangle 8">
            <a:extLst>
              <a:ext uri="{FF2B5EF4-FFF2-40B4-BE49-F238E27FC236}">
                <a16:creationId xmlns:a16="http://schemas.microsoft.com/office/drawing/2014/main" id="{DAD574C8-74CE-456A-8486-5B8B98CE9CC2}"/>
              </a:ext>
            </a:extLst>
          </p:cNvPr>
          <p:cNvSpPr>
            <a:spLocks noChangeArrowheads="1"/>
          </p:cNvSpPr>
          <p:nvPr/>
        </p:nvSpPr>
        <p:spPr bwMode="auto">
          <a:xfrm>
            <a:off x="3421505" y="5414703"/>
            <a:ext cx="1152144" cy="635470"/>
          </a:xfrm>
          <a:prstGeom prst="roundRect">
            <a:avLst/>
          </a:prstGeom>
          <a:solidFill>
            <a:srgbClr val="FFFF00"/>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prstClr val="black"/>
                </a:solidFill>
                <a:effectLst/>
                <a:uLnTx/>
                <a:uFillTx/>
                <a:latin typeface="Verdana"/>
                <a:ea typeface="+mn-ea"/>
                <a:cs typeface="Tahoma" pitchFamily="34" charset="0"/>
              </a:rPr>
              <a:t>Validation and Verification</a:t>
            </a:r>
          </a:p>
        </p:txBody>
      </p:sp>
      <p:sp>
        <p:nvSpPr>
          <p:cNvPr id="17" name="Rectangle 22">
            <a:extLst>
              <a:ext uri="{FF2B5EF4-FFF2-40B4-BE49-F238E27FC236}">
                <a16:creationId xmlns:a16="http://schemas.microsoft.com/office/drawing/2014/main" id="{7F751135-C396-4396-9DB5-50893579DD69}"/>
              </a:ext>
            </a:extLst>
          </p:cNvPr>
          <p:cNvSpPr>
            <a:spLocks noChangeArrowheads="1"/>
          </p:cNvSpPr>
          <p:nvPr/>
        </p:nvSpPr>
        <p:spPr bwMode="auto">
          <a:xfrm>
            <a:off x="3421505" y="3972685"/>
            <a:ext cx="1152144"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Verification after design only at the component level. Late discovery of errors, correction is costly. Manual or physical verification typical</a:t>
            </a:r>
          </a:p>
        </p:txBody>
      </p:sp>
      <p:sp>
        <p:nvSpPr>
          <p:cNvPr id="18" name="Rectangle 30">
            <a:extLst>
              <a:ext uri="{FF2B5EF4-FFF2-40B4-BE49-F238E27FC236}">
                <a16:creationId xmlns:a16="http://schemas.microsoft.com/office/drawing/2014/main" id="{8B6592D9-DEB0-43B7-BFEF-50B75E9E1774}"/>
              </a:ext>
            </a:extLst>
          </p:cNvPr>
          <p:cNvSpPr>
            <a:spLocks noChangeArrowheads="1"/>
          </p:cNvSpPr>
          <p:nvPr/>
        </p:nvSpPr>
        <p:spPr bwMode="auto">
          <a:xfrm>
            <a:off x="3421505" y="1144716"/>
            <a:ext cx="1152144" cy="132770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alt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Majority of the validation of drawing, assembly, integration and manufacturability automatically done at check-in time. Verification up to system level. Errors are discovered and fixed early </a:t>
            </a:r>
          </a:p>
        </p:txBody>
      </p:sp>
      <p:sp>
        <p:nvSpPr>
          <p:cNvPr id="19" name="Rectangle 38">
            <a:extLst>
              <a:ext uri="{FF2B5EF4-FFF2-40B4-BE49-F238E27FC236}">
                <a16:creationId xmlns:a16="http://schemas.microsoft.com/office/drawing/2014/main" id="{7D43390B-EA0D-4AA6-90D5-F842EF278C9C}"/>
              </a:ext>
            </a:extLst>
          </p:cNvPr>
          <p:cNvSpPr>
            <a:spLocks noChangeArrowheads="1"/>
          </p:cNvSpPr>
          <p:nvPr/>
        </p:nvSpPr>
        <p:spPr bwMode="auto">
          <a:xfrm>
            <a:off x="3421505" y="2648311"/>
            <a:ext cx="1152144"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Tools for verification for some scenarios, executed manually. Minimal physical prototyping for verification. Some verification of integration to sub-system level</a:t>
            </a:r>
          </a:p>
        </p:txBody>
      </p:sp>
      <p:sp>
        <p:nvSpPr>
          <p:cNvPr id="20" name="Rectangle 9">
            <a:extLst>
              <a:ext uri="{FF2B5EF4-FFF2-40B4-BE49-F238E27FC236}">
                <a16:creationId xmlns:a16="http://schemas.microsoft.com/office/drawing/2014/main" id="{5D0AE1C5-3807-404A-901B-4DC0B22CA0FD}"/>
              </a:ext>
            </a:extLst>
          </p:cNvPr>
          <p:cNvSpPr>
            <a:spLocks noChangeArrowheads="1"/>
          </p:cNvSpPr>
          <p:nvPr/>
        </p:nvSpPr>
        <p:spPr bwMode="auto">
          <a:xfrm>
            <a:off x="884674" y="5414703"/>
            <a:ext cx="1152144" cy="635470"/>
          </a:xfrm>
          <a:prstGeom prst="roundRect">
            <a:avLst/>
          </a:prstGeom>
          <a:solidFill>
            <a:srgbClr val="FFFF00"/>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prstClr val="black"/>
                </a:solidFill>
                <a:effectLst/>
                <a:uLnTx/>
                <a:uFillTx/>
                <a:latin typeface="Verdana"/>
                <a:ea typeface="+mn-ea"/>
                <a:cs typeface="Tahoma" pitchFamily="34" charset="0"/>
              </a:rPr>
              <a:t>Design Methodology</a:t>
            </a:r>
          </a:p>
        </p:txBody>
      </p:sp>
      <p:sp>
        <p:nvSpPr>
          <p:cNvPr id="21" name="Rectangle: Rounded Corners 20">
            <a:extLst>
              <a:ext uri="{FF2B5EF4-FFF2-40B4-BE49-F238E27FC236}">
                <a16:creationId xmlns:a16="http://schemas.microsoft.com/office/drawing/2014/main" id="{78A566A9-DA1F-4E0F-B472-13BDD1F37A4F}"/>
              </a:ext>
            </a:extLst>
          </p:cNvPr>
          <p:cNvSpPr>
            <a:spLocks noChangeArrowheads="1"/>
          </p:cNvSpPr>
          <p:nvPr/>
        </p:nvSpPr>
        <p:spPr bwMode="auto">
          <a:xfrm>
            <a:off x="884674" y="3972685"/>
            <a:ext cx="1152144"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2D drawing is master.  3D drawing is missing or out of sync. Part based design focus with no system level view</a:t>
            </a:r>
          </a:p>
        </p:txBody>
      </p:sp>
      <p:sp>
        <p:nvSpPr>
          <p:cNvPr id="22" name="Rectangle 31">
            <a:extLst>
              <a:ext uri="{FF2B5EF4-FFF2-40B4-BE49-F238E27FC236}">
                <a16:creationId xmlns:a16="http://schemas.microsoft.com/office/drawing/2014/main" id="{405FCB26-965F-4D66-AA4E-0F314C3EE93D}"/>
              </a:ext>
            </a:extLst>
          </p:cNvPr>
          <p:cNvSpPr>
            <a:spLocks noChangeArrowheads="1"/>
          </p:cNvSpPr>
          <p:nvPr/>
        </p:nvSpPr>
        <p:spPr bwMode="auto">
          <a:xfrm>
            <a:off x="884674" y="1144716"/>
            <a:ext cx="1152144" cy="132770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Fully annotated 3D models with embedded assembly / manufacturing  information. Top-down design  leveraging libraries of building blocks. Design for X and  for long term product platforms</a:t>
            </a:r>
          </a:p>
        </p:txBody>
      </p:sp>
      <p:sp>
        <p:nvSpPr>
          <p:cNvPr id="23" name="Rectangle 39">
            <a:extLst>
              <a:ext uri="{FF2B5EF4-FFF2-40B4-BE49-F238E27FC236}">
                <a16:creationId xmlns:a16="http://schemas.microsoft.com/office/drawing/2014/main" id="{F35290C7-21E4-443F-AD5E-9924CB485A3B}"/>
              </a:ext>
            </a:extLst>
          </p:cNvPr>
          <p:cNvSpPr>
            <a:spLocks noChangeArrowheads="1"/>
          </p:cNvSpPr>
          <p:nvPr/>
        </p:nvSpPr>
        <p:spPr bwMode="auto">
          <a:xfrm>
            <a:off x="884674" y="2648311"/>
            <a:ext cx="1152144"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3D model is master. Some top-down design and library use in silos. Short-term design focus with sub-system level view. Common corporate methodology</a:t>
            </a:r>
          </a:p>
        </p:txBody>
      </p:sp>
      <p:sp>
        <p:nvSpPr>
          <p:cNvPr id="24" name="Rectangle 4">
            <a:extLst>
              <a:ext uri="{FF2B5EF4-FFF2-40B4-BE49-F238E27FC236}">
                <a16:creationId xmlns:a16="http://schemas.microsoft.com/office/drawing/2014/main" id="{3CC41005-3F32-4FE4-90D9-340B0600B6AD}"/>
              </a:ext>
            </a:extLst>
          </p:cNvPr>
          <p:cNvSpPr>
            <a:spLocks noChangeArrowheads="1"/>
          </p:cNvSpPr>
          <p:nvPr/>
        </p:nvSpPr>
        <p:spPr bwMode="auto">
          <a:xfrm>
            <a:off x="2153089" y="5414703"/>
            <a:ext cx="1152144" cy="635470"/>
          </a:xfrm>
          <a:prstGeom prst="roundRect">
            <a:avLst/>
          </a:prstGeom>
          <a:solidFill>
            <a:srgbClr val="FFFF00"/>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prstClr val="black"/>
                </a:solidFill>
                <a:effectLst/>
                <a:uLnTx/>
                <a:uFillTx/>
                <a:latin typeface="Verdana"/>
                <a:ea typeface="+mn-ea"/>
                <a:cs typeface="Tahoma" pitchFamily="34" charset="0"/>
              </a:rPr>
              <a:t>Integrated Design Tools</a:t>
            </a:r>
          </a:p>
        </p:txBody>
      </p:sp>
      <p:sp>
        <p:nvSpPr>
          <p:cNvPr id="25" name="Rectangle 18">
            <a:extLst>
              <a:ext uri="{FF2B5EF4-FFF2-40B4-BE49-F238E27FC236}">
                <a16:creationId xmlns:a16="http://schemas.microsoft.com/office/drawing/2014/main" id="{A0107E97-0523-4838-843E-5B548B7CD613}"/>
              </a:ext>
            </a:extLst>
          </p:cNvPr>
          <p:cNvSpPr>
            <a:spLocks noChangeArrowheads="1"/>
          </p:cNvSpPr>
          <p:nvPr/>
        </p:nvSpPr>
        <p:spPr bwMode="auto">
          <a:xfrm>
            <a:off x="2153089" y="3972685"/>
            <a:ext cx="1152144"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Engineering analysis is not linked to design. Relationship between analysis and design is not preserved.</a:t>
            </a:r>
          </a:p>
        </p:txBody>
      </p:sp>
      <p:sp>
        <p:nvSpPr>
          <p:cNvPr id="26" name="Rectangle 26">
            <a:extLst>
              <a:ext uri="{FF2B5EF4-FFF2-40B4-BE49-F238E27FC236}">
                <a16:creationId xmlns:a16="http://schemas.microsoft.com/office/drawing/2014/main" id="{0DFAEC34-ED04-45AD-85CF-5CD3FC08172F}"/>
              </a:ext>
            </a:extLst>
          </p:cNvPr>
          <p:cNvSpPr>
            <a:spLocks noChangeArrowheads="1"/>
          </p:cNvSpPr>
          <p:nvPr/>
        </p:nvSpPr>
        <p:spPr bwMode="auto">
          <a:xfrm>
            <a:off x="2153089" y="1144716"/>
            <a:ext cx="1152144" cy="132770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Robust simulation lifecycle management process is in place. Engineering analysis is linked with design data and managed throughout the lifecycle</a:t>
            </a:r>
          </a:p>
        </p:txBody>
      </p:sp>
      <p:sp>
        <p:nvSpPr>
          <p:cNvPr id="27" name="Rectangle 7">
            <a:extLst>
              <a:ext uri="{FF2B5EF4-FFF2-40B4-BE49-F238E27FC236}">
                <a16:creationId xmlns:a16="http://schemas.microsoft.com/office/drawing/2014/main" id="{D71A20CF-FD00-44EE-A963-BC99708349EB}"/>
              </a:ext>
            </a:extLst>
          </p:cNvPr>
          <p:cNvSpPr>
            <a:spLocks noChangeArrowheads="1"/>
          </p:cNvSpPr>
          <p:nvPr/>
        </p:nvSpPr>
        <p:spPr bwMode="auto">
          <a:xfrm>
            <a:off x="5958336" y="5414703"/>
            <a:ext cx="1152144" cy="635470"/>
          </a:xfrm>
          <a:prstGeom prst="roundRect">
            <a:avLst/>
          </a:prstGeom>
          <a:solidFill>
            <a:srgbClr val="FFFF00"/>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prstClr val="black"/>
                </a:solidFill>
                <a:effectLst/>
                <a:uLnTx/>
                <a:uFillTx/>
                <a:latin typeface="Verdana"/>
                <a:ea typeface="+mn-ea"/>
                <a:cs typeface="Tahoma" pitchFamily="34" charset="0"/>
              </a:rPr>
              <a:t>Release and Governance</a:t>
            </a:r>
          </a:p>
        </p:txBody>
      </p:sp>
      <p:sp>
        <p:nvSpPr>
          <p:cNvPr id="28" name="Rectangle 21">
            <a:extLst>
              <a:ext uri="{FF2B5EF4-FFF2-40B4-BE49-F238E27FC236}">
                <a16:creationId xmlns:a16="http://schemas.microsoft.com/office/drawing/2014/main" id="{1598B5B5-CB41-4A35-8902-096CE3297270}"/>
              </a:ext>
            </a:extLst>
          </p:cNvPr>
          <p:cNvSpPr>
            <a:spLocks noChangeArrowheads="1"/>
          </p:cNvSpPr>
          <p:nvPr/>
        </p:nvSpPr>
        <p:spPr bwMode="auto">
          <a:xfrm>
            <a:off x="5958336" y="3972685"/>
            <a:ext cx="1152144"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Disparate, non-integrated  releases, with out-of-sync rollups to upstream releases /milestones. Ad-hoc change processes</a:t>
            </a:r>
          </a:p>
        </p:txBody>
      </p:sp>
      <p:sp>
        <p:nvSpPr>
          <p:cNvPr id="29" name="Rectangle 29">
            <a:extLst>
              <a:ext uri="{FF2B5EF4-FFF2-40B4-BE49-F238E27FC236}">
                <a16:creationId xmlns:a16="http://schemas.microsoft.com/office/drawing/2014/main" id="{B85F1998-5B85-4C99-AC95-14B84E49449B}"/>
              </a:ext>
            </a:extLst>
          </p:cNvPr>
          <p:cNvSpPr>
            <a:spLocks noChangeArrowheads="1"/>
          </p:cNvSpPr>
          <p:nvPr/>
        </p:nvSpPr>
        <p:spPr bwMode="auto">
          <a:xfrm>
            <a:off x="5958336" y="1144716"/>
            <a:ext cx="1152144" cy="132770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Common release process across functional areas to synchronize flow, integration, roll-up, and execution. Changes require business case  justification and analysis across all affected systems</a:t>
            </a:r>
          </a:p>
        </p:txBody>
      </p:sp>
      <p:sp>
        <p:nvSpPr>
          <p:cNvPr id="30" name="Rectangle 37">
            <a:extLst>
              <a:ext uri="{FF2B5EF4-FFF2-40B4-BE49-F238E27FC236}">
                <a16:creationId xmlns:a16="http://schemas.microsoft.com/office/drawing/2014/main" id="{8D9A79CE-E855-4D66-9C71-C72A42A7D713}"/>
              </a:ext>
            </a:extLst>
          </p:cNvPr>
          <p:cNvSpPr>
            <a:spLocks noChangeArrowheads="1"/>
          </p:cNvSpPr>
          <p:nvPr/>
        </p:nvSpPr>
        <p:spPr bwMode="auto">
          <a:xfrm>
            <a:off x="5958336" y="2648311"/>
            <a:ext cx="1152144"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Well-defined release criteria and metrics to track design quality and  stability. Engineering responsible for releasing designs, but with little oversight</a:t>
            </a:r>
          </a:p>
        </p:txBody>
      </p:sp>
      <p:sp>
        <p:nvSpPr>
          <p:cNvPr id="31" name="Rectangle 7">
            <a:extLst>
              <a:ext uri="{FF2B5EF4-FFF2-40B4-BE49-F238E27FC236}">
                <a16:creationId xmlns:a16="http://schemas.microsoft.com/office/drawing/2014/main" id="{D6FD345F-8705-4FC7-934E-A9E25B9A251A}"/>
              </a:ext>
            </a:extLst>
          </p:cNvPr>
          <p:cNvSpPr>
            <a:spLocks noChangeArrowheads="1"/>
          </p:cNvSpPr>
          <p:nvPr/>
        </p:nvSpPr>
        <p:spPr bwMode="auto">
          <a:xfrm>
            <a:off x="7226752" y="5414703"/>
            <a:ext cx="1152144" cy="635470"/>
          </a:xfrm>
          <a:prstGeom prst="roundRect">
            <a:avLst/>
          </a:prstGeom>
          <a:solidFill>
            <a:srgbClr val="FFFF00"/>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prstClr val="black"/>
                </a:solidFill>
                <a:effectLst/>
                <a:uLnTx/>
                <a:uFillTx/>
                <a:latin typeface="Verdana"/>
                <a:ea typeface="+mn-ea"/>
                <a:cs typeface="Tahoma" pitchFamily="34" charset="0"/>
              </a:rPr>
              <a:t>Content Mgmt and Collaboration</a:t>
            </a:r>
          </a:p>
        </p:txBody>
      </p:sp>
      <p:sp>
        <p:nvSpPr>
          <p:cNvPr id="32" name="Rectangle 21">
            <a:extLst>
              <a:ext uri="{FF2B5EF4-FFF2-40B4-BE49-F238E27FC236}">
                <a16:creationId xmlns:a16="http://schemas.microsoft.com/office/drawing/2014/main" id="{3B61C4A1-557E-44EA-97BB-05D10144C306}"/>
              </a:ext>
            </a:extLst>
          </p:cNvPr>
          <p:cNvSpPr>
            <a:spLocks noChangeArrowheads="1"/>
          </p:cNvSpPr>
          <p:nvPr/>
        </p:nvSpPr>
        <p:spPr bwMode="auto">
          <a:xfrm>
            <a:off x="7226752" y="3972685"/>
            <a:ext cx="1152144"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Unstructured content stored in various formats and systems. Any sharing is manual, inconsistent, unsecure, and time-consuming </a:t>
            </a:r>
          </a:p>
        </p:txBody>
      </p:sp>
      <p:sp>
        <p:nvSpPr>
          <p:cNvPr id="33" name="Rectangle: Rounded Corners 32">
            <a:extLst>
              <a:ext uri="{FF2B5EF4-FFF2-40B4-BE49-F238E27FC236}">
                <a16:creationId xmlns:a16="http://schemas.microsoft.com/office/drawing/2014/main" id="{0DC118F6-E027-4E55-9CE6-35456C5FED58}"/>
              </a:ext>
            </a:extLst>
          </p:cNvPr>
          <p:cNvSpPr>
            <a:spLocks noChangeArrowheads="1"/>
          </p:cNvSpPr>
          <p:nvPr/>
        </p:nvSpPr>
        <p:spPr bwMode="auto">
          <a:xfrm>
            <a:off x="7226752" y="1144716"/>
            <a:ext cx="1152144" cy="132770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Centralized and structured electronic repository to enable efficient mgmt.,  secure collaboration, and feedback of designs / processes across systems / geographies</a:t>
            </a:r>
          </a:p>
        </p:txBody>
      </p:sp>
      <p:sp>
        <p:nvSpPr>
          <p:cNvPr id="34" name="Rectangle 37">
            <a:extLst>
              <a:ext uri="{FF2B5EF4-FFF2-40B4-BE49-F238E27FC236}">
                <a16:creationId xmlns:a16="http://schemas.microsoft.com/office/drawing/2014/main" id="{EF62AABD-A821-4BF9-8398-FC23B8ABD456}"/>
              </a:ext>
            </a:extLst>
          </p:cNvPr>
          <p:cNvSpPr>
            <a:spLocks noChangeArrowheads="1"/>
          </p:cNvSpPr>
          <p:nvPr/>
        </p:nvSpPr>
        <p:spPr bwMode="auto">
          <a:xfrm>
            <a:off x="7226752" y="2648311"/>
            <a:ext cx="1152144"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Structured content stored in standard formats in several  intranet repositories. Automated processes to secure access and manage updates, revisions</a:t>
            </a:r>
          </a:p>
        </p:txBody>
      </p:sp>
      <p:sp>
        <p:nvSpPr>
          <p:cNvPr id="35" name="Rectangle 7">
            <a:extLst>
              <a:ext uri="{FF2B5EF4-FFF2-40B4-BE49-F238E27FC236}">
                <a16:creationId xmlns:a16="http://schemas.microsoft.com/office/drawing/2014/main" id="{EC7D09AA-9FF6-41D7-B730-72E8ED3E7E11}"/>
              </a:ext>
            </a:extLst>
          </p:cNvPr>
          <p:cNvSpPr>
            <a:spLocks noChangeArrowheads="1"/>
          </p:cNvSpPr>
          <p:nvPr/>
        </p:nvSpPr>
        <p:spPr bwMode="auto">
          <a:xfrm>
            <a:off x="4689920" y="5414703"/>
            <a:ext cx="1152144" cy="635470"/>
          </a:xfrm>
          <a:prstGeom prst="roundRect">
            <a:avLst/>
          </a:prstGeom>
          <a:solidFill>
            <a:srgbClr val="FFFF00"/>
          </a:solidFill>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prstClr val="black"/>
                </a:solidFill>
                <a:effectLst/>
                <a:uLnTx/>
                <a:uFillTx/>
                <a:latin typeface="Verdana"/>
                <a:ea typeface="+mn-ea"/>
                <a:cs typeface="Tahoma" pitchFamily="34" charset="0"/>
              </a:rPr>
              <a:t>Integration and Traceability</a:t>
            </a:r>
          </a:p>
        </p:txBody>
      </p:sp>
      <p:sp>
        <p:nvSpPr>
          <p:cNvPr id="36" name="Rectangle 21">
            <a:extLst>
              <a:ext uri="{FF2B5EF4-FFF2-40B4-BE49-F238E27FC236}">
                <a16:creationId xmlns:a16="http://schemas.microsoft.com/office/drawing/2014/main" id="{189EECFA-5FE5-452D-87EF-5D41390DAE8B}"/>
              </a:ext>
            </a:extLst>
          </p:cNvPr>
          <p:cNvSpPr>
            <a:spLocks noChangeArrowheads="1"/>
          </p:cNvSpPr>
          <p:nvPr/>
        </p:nvSpPr>
        <p:spPr bwMode="auto">
          <a:xfrm>
            <a:off x="4689920" y="3972685"/>
            <a:ext cx="1152144"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No traceability or link to requirements, collaterals or process partners. Ad-hoc decomposition, lack of clarity drives “over” engineering</a:t>
            </a:r>
          </a:p>
        </p:txBody>
      </p:sp>
      <p:sp>
        <p:nvSpPr>
          <p:cNvPr id="37" name="Rectangle 29">
            <a:extLst>
              <a:ext uri="{FF2B5EF4-FFF2-40B4-BE49-F238E27FC236}">
                <a16:creationId xmlns:a16="http://schemas.microsoft.com/office/drawing/2014/main" id="{787F3959-43EE-49CB-AA47-F29908E8F3C1}"/>
              </a:ext>
            </a:extLst>
          </p:cNvPr>
          <p:cNvSpPr>
            <a:spLocks noChangeArrowheads="1"/>
          </p:cNvSpPr>
          <p:nvPr/>
        </p:nvSpPr>
        <p:spPr bwMode="auto">
          <a:xfrm>
            <a:off x="4689920" y="1144716"/>
            <a:ext cx="1152144" cy="132770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Synchronized traceability and linkage to requirements, dependencies, and  collaterals. Formal design flow-down  across all systems, and process partners</a:t>
            </a:r>
          </a:p>
        </p:txBody>
      </p:sp>
      <p:sp>
        <p:nvSpPr>
          <p:cNvPr id="38" name="Rectangle: Rounded Corners 37">
            <a:extLst>
              <a:ext uri="{FF2B5EF4-FFF2-40B4-BE49-F238E27FC236}">
                <a16:creationId xmlns:a16="http://schemas.microsoft.com/office/drawing/2014/main" id="{C41B125D-0A78-4BE1-8084-2062405AD67A}"/>
              </a:ext>
            </a:extLst>
          </p:cNvPr>
          <p:cNvSpPr>
            <a:spLocks noChangeArrowheads="1"/>
          </p:cNvSpPr>
          <p:nvPr/>
        </p:nvSpPr>
        <p:spPr bwMode="auto">
          <a:xfrm>
            <a:off x="4689920" y="2648311"/>
            <a:ext cx="1152144"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Static traceability to requirements, collaterals and process partners. Formally decompose requirements to design, and some formal hand-offs to process partners</a:t>
            </a:r>
          </a:p>
        </p:txBody>
      </p:sp>
      <p:sp>
        <p:nvSpPr>
          <p:cNvPr id="53" name="Rectangle 34">
            <a:extLst>
              <a:ext uri="{FF2B5EF4-FFF2-40B4-BE49-F238E27FC236}">
                <a16:creationId xmlns:a16="http://schemas.microsoft.com/office/drawing/2014/main" id="{061C8BF6-AE8C-4C35-BC9E-AE2182358604}"/>
              </a:ext>
            </a:extLst>
          </p:cNvPr>
          <p:cNvSpPr>
            <a:spLocks noChangeArrowheads="1"/>
          </p:cNvSpPr>
          <p:nvPr/>
        </p:nvSpPr>
        <p:spPr bwMode="auto">
          <a:xfrm>
            <a:off x="2153089" y="2648311"/>
            <a:ext cx="1152144"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The link between engineering analysis and design is maintained manually by engineers on local drives</a:t>
            </a:r>
          </a:p>
        </p:txBody>
      </p:sp>
      <p:sp>
        <p:nvSpPr>
          <p:cNvPr id="54" name="Rectangle 4">
            <a:extLst>
              <a:ext uri="{FF2B5EF4-FFF2-40B4-BE49-F238E27FC236}">
                <a16:creationId xmlns:a16="http://schemas.microsoft.com/office/drawing/2014/main" id="{A4605C65-7D6D-4E5B-B18E-882130F61956}"/>
              </a:ext>
            </a:extLst>
          </p:cNvPr>
          <p:cNvSpPr>
            <a:spLocks noChangeArrowheads="1"/>
          </p:cNvSpPr>
          <p:nvPr/>
        </p:nvSpPr>
        <p:spPr bwMode="auto">
          <a:xfrm>
            <a:off x="9768334" y="5414703"/>
            <a:ext cx="1166400" cy="635470"/>
          </a:xfrm>
          <a:prstGeom prst="roundRect">
            <a:avLst/>
          </a:prstGeom>
          <a:solidFill>
            <a:srgbClr val="FFFF00"/>
          </a:solidFill>
          <a:ln/>
        </p:spPr>
        <p:style>
          <a:lnRef idx="2">
            <a:schemeClr val="dk1"/>
          </a:lnRef>
          <a:fillRef idx="1">
            <a:schemeClr val="lt1"/>
          </a:fillRef>
          <a:effectRef idx="0">
            <a:schemeClr val="dk1"/>
          </a:effectRef>
          <a:fontRef idx="minor">
            <a:schemeClr val="dk1"/>
          </a:fontRef>
        </p:style>
        <p:txBody>
          <a:bodyPr lIns="21946" tIns="0" rIns="21946"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1" i="0" u="none" strike="noStrike" kern="0" cap="none" spc="0" normalizeH="0" baseline="0" noProof="0" dirty="0">
                <a:ln>
                  <a:noFill/>
                </a:ln>
                <a:solidFill>
                  <a:prstClr val="black"/>
                </a:solidFill>
                <a:effectLst/>
                <a:uLnTx/>
                <a:uFillTx/>
                <a:latin typeface="Verdana"/>
                <a:ea typeface="+mn-ea"/>
                <a:cs typeface="Tahoma" pitchFamily="34" charset="0"/>
              </a:rPr>
              <a:t>Revision/ Version Control</a:t>
            </a:r>
          </a:p>
        </p:txBody>
      </p:sp>
      <p:sp>
        <p:nvSpPr>
          <p:cNvPr id="55" name="Rectangle 18">
            <a:extLst>
              <a:ext uri="{FF2B5EF4-FFF2-40B4-BE49-F238E27FC236}">
                <a16:creationId xmlns:a16="http://schemas.microsoft.com/office/drawing/2014/main" id="{C5295436-2CDD-45AA-9E03-E946DC14C9BB}"/>
              </a:ext>
            </a:extLst>
          </p:cNvPr>
          <p:cNvSpPr>
            <a:spLocks noChangeArrowheads="1"/>
          </p:cNvSpPr>
          <p:nvPr/>
        </p:nvSpPr>
        <p:spPr bwMode="auto">
          <a:xfrm>
            <a:off x="9768334" y="3972685"/>
            <a:ext cx="1166400"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No revisioning /versioning of artifacts</a:t>
            </a:r>
          </a:p>
        </p:txBody>
      </p:sp>
      <p:sp>
        <p:nvSpPr>
          <p:cNvPr id="56" name="Rectangle 26">
            <a:extLst>
              <a:ext uri="{FF2B5EF4-FFF2-40B4-BE49-F238E27FC236}">
                <a16:creationId xmlns:a16="http://schemas.microsoft.com/office/drawing/2014/main" id="{BBEC9C29-2749-4FB3-B1DF-0DCE60B5A19D}"/>
              </a:ext>
            </a:extLst>
          </p:cNvPr>
          <p:cNvSpPr>
            <a:spLocks noChangeArrowheads="1"/>
          </p:cNvSpPr>
          <p:nvPr/>
        </p:nvSpPr>
        <p:spPr bwMode="auto">
          <a:xfrm>
            <a:off x="9768334" y="1145302"/>
            <a:ext cx="1166400" cy="132770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 Automated, configurable revision/ version sequencing; option to selectively maintain current links to other product data objects</a:t>
            </a:r>
          </a:p>
        </p:txBody>
      </p:sp>
      <p:sp>
        <p:nvSpPr>
          <p:cNvPr id="59" name="Rectangle 34">
            <a:extLst>
              <a:ext uri="{FF2B5EF4-FFF2-40B4-BE49-F238E27FC236}">
                <a16:creationId xmlns:a16="http://schemas.microsoft.com/office/drawing/2014/main" id="{DC13B918-807C-46A2-94D7-7470A1F975EC}"/>
              </a:ext>
            </a:extLst>
          </p:cNvPr>
          <p:cNvSpPr>
            <a:spLocks noChangeArrowheads="1"/>
          </p:cNvSpPr>
          <p:nvPr/>
        </p:nvSpPr>
        <p:spPr bwMode="auto">
          <a:xfrm>
            <a:off x="9768334" y="2648311"/>
            <a:ext cx="1166400" cy="1207008"/>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097280" rtl="0" eaLnBrk="0" fontAlgn="auto" latinLnBrk="0" hangingPunct="0">
              <a:lnSpc>
                <a:spcPct val="80000"/>
              </a:lnSpc>
              <a:spcBef>
                <a:spcPct val="50000"/>
              </a:spcBef>
              <a:spcAft>
                <a:spcPts val="0"/>
              </a:spcAft>
              <a:buClr>
                <a:srgbClr val="8099CC"/>
              </a:buClr>
              <a:buSzPct val="100000"/>
              <a:buFontTx/>
              <a:buNone/>
              <a:tabLst/>
              <a:defRPr/>
            </a:pPr>
            <a:r>
              <a:rPr kumimoji="0" lang="en-US" sz="8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Manual sequencing of revision/ version; option to maintain all or none product data object links</a:t>
            </a:r>
          </a:p>
        </p:txBody>
      </p:sp>
      <p:sp>
        <p:nvSpPr>
          <p:cNvPr id="60" name="Text Box 11">
            <a:extLst>
              <a:ext uri="{FF2B5EF4-FFF2-40B4-BE49-F238E27FC236}">
                <a16:creationId xmlns:a16="http://schemas.microsoft.com/office/drawing/2014/main" id="{0B792CCF-4348-46CC-A58D-2BD89EE18B72}"/>
              </a:ext>
            </a:extLst>
          </p:cNvPr>
          <p:cNvSpPr txBox="1">
            <a:spLocks noChangeArrowheads="1"/>
          </p:cNvSpPr>
          <p:nvPr/>
        </p:nvSpPr>
        <p:spPr bwMode="auto">
          <a:xfrm rot="-5400000">
            <a:off x="105533" y="4424165"/>
            <a:ext cx="574558" cy="312420"/>
          </a:xfrm>
          <a:prstGeom prst="rect">
            <a:avLst/>
          </a:prstGeom>
          <a:noFill/>
          <a:ln w="12700" algn="ctr">
            <a:noFill/>
            <a:miter lim="800000"/>
            <a:headEnd/>
            <a:tailEnd/>
          </a:ln>
        </p:spPr>
        <p:txBody>
          <a:bodyPr lIns="0" tIns="0" rIns="0" bIns="0" anchor="b"/>
          <a:lstStyle/>
          <a:p>
            <a:pPr marL="0" marR="0" lvl="0" indent="0" algn="ctr" defTabSz="1082040" rtl="0" eaLnBrk="0" fontAlgn="base" latinLnBrk="0" hangingPunct="0">
              <a:lnSpc>
                <a:spcPct val="90000"/>
              </a:lnSpc>
              <a:spcBef>
                <a:spcPct val="50000"/>
              </a:spcBef>
              <a:spcAft>
                <a:spcPct val="0"/>
              </a:spcAft>
              <a:buClr>
                <a:srgbClr val="8099CC"/>
              </a:buClr>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Low</a:t>
            </a:r>
          </a:p>
        </p:txBody>
      </p:sp>
      <p:sp>
        <p:nvSpPr>
          <p:cNvPr id="61" name="Text Box 12">
            <a:extLst>
              <a:ext uri="{FF2B5EF4-FFF2-40B4-BE49-F238E27FC236}">
                <a16:creationId xmlns:a16="http://schemas.microsoft.com/office/drawing/2014/main" id="{9CF6365F-4E10-43C3-AC45-45098626A490}"/>
              </a:ext>
            </a:extLst>
          </p:cNvPr>
          <p:cNvSpPr txBox="1">
            <a:spLocks noChangeArrowheads="1"/>
          </p:cNvSpPr>
          <p:nvPr/>
        </p:nvSpPr>
        <p:spPr bwMode="auto">
          <a:xfrm rot="-5400000">
            <a:off x="103946" y="1609347"/>
            <a:ext cx="759231" cy="255455"/>
          </a:xfrm>
          <a:prstGeom prst="rect">
            <a:avLst/>
          </a:prstGeom>
          <a:noFill/>
          <a:ln w="12700" algn="ctr">
            <a:noFill/>
            <a:miter lim="800000"/>
            <a:headEnd/>
            <a:tailEnd/>
          </a:ln>
        </p:spPr>
        <p:txBody>
          <a:bodyPr wrap="square" lIns="0" rIns="0" anchor="b">
            <a:spAutoFit/>
          </a:bodyPr>
          <a:lstStyle/>
          <a:p>
            <a:pPr marL="0" marR="0" lvl="0" indent="0" algn="ctr" defTabSz="1097280" rtl="0" eaLnBrk="0" fontAlgn="base" latinLnBrk="0" hangingPunct="0">
              <a:lnSpc>
                <a:spcPct val="106000"/>
              </a:lnSpc>
              <a:spcBef>
                <a:spcPct val="50000"/>
              </a:spcBef>
              <a:spcAft>
                <a:spcPct val="0"/>
              </a:spcAft>
              <a:buClrTx/>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Advanced</a:t>
            </a:r>
          </a:p>
        </p:txBody>
      </p:sp>
      <p:sp>
        <p:nvSpPr>
          <p:cNvPr id="62" name="Text Box 13">
            <a:extLst>
              <a:ext uri="{FF2B5EF4-FFF2-40B4-BE49-F238E27FC236}">
                <a16:creationId xmlns:a16="http://schemas.microsoft.com/office/drawing/2014/main" id="{46F7F56B-5EB8-4737-A0D1-398E6F8933E7}"/>
              </a:ext>
            </a:extLst>
          </p:cNvPr>
          <p:cNvSpPr txBox="1">
            <a:spLocks noChangeArrowheads="1"/>
          </p:cNvSpPr>
          <p:nvPr/>
        </p:nvSpPr>
        <p:spPr bwMode="auto">
          <a:xfrm rot="-5400000">
            <a:off x="215284" y="3144583"/>
            <a:ext cx="544176" cy="248914"/>
          </a:xfrm>
          <a:prstGeom prst="rect">
            <a:avLst/>
          </a:prstGeom>
          <a:noFill/>
          <a:ln w="12700" algn="ctr">
            <a:noFill/>
            <a:miter lim="800000"/>
            <a:headEnd/>
            <a:tailEnd/>
          </a:ln>
        </p:spPr>
        <p:txBody>
          <a:bodyPr wrap="square" lIns="0" rIns="0" anchor="b">
            <a:spAutoFit/>
          </a:bodyPr>
          <a:lstStyle/>
          <a:p>
            <a:pPr marL="0" marR="0" lvl="0" indent="0" algn="ctr" defTabSz="1097280" rtl="0" eaLnBrk="0" fontAlgn="base" latinLnBrk="0" hangingPunct="0">
              <a:lnSpc>
                <a:spcPct val="106000"/>
              </a:lnSpc>
              <a:spcBef>
                <a:spcPct val="50000"/>
              </a:spcBef>
              <a:spcAft>
                <a:spcPct val="0"/>
              </a:spcAft>
              <a:buClrTx/>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Basic</a:t>
            </a:r>
          </a:p>
        </p:txBody>
      </p:sp>
      <p:sp>
        <p:nvSpPr>
          <p:cNvPr id="63" name="Text Box 28">
            <a:extLst>
              <a:ext uri="{FF2B5EF4-FFF2-40B4-BE49-F238E27FC236}">
                <a16:creationId xmlns:a16="http://schemas.microsoft.com/office/drawing/2014/main" id="{7A278DE9-B0C5-4107-947E-D0F1BAE8AA9E}"/>
              </a:ext>
            </a:extLst>
          </p:cNvPr>
          <p:cNvSpPr txBox="1">
            <a:spLocks noChangeArrowheads="1"/>
          </p:cNvSpPr>
          <p:nvPr/>
        </p:nvSpPr>
        <p:spPr bwMode="auto">
          <a:xfrm>
            <a:off x="469900" y="931453"/>
            <a:ext cx="822946" cy="236337"/>
          </a:xfrm>
          <a:prstGeom prst="rect">
            <a:avLst/>
          </a:prstGeom>
          <a:noFill/>
          <a:ln w="25400">
            <a:noFill/>
            <a:miter lim="800000"/>
            <a:headEnd/>
            <a:tailEnd type="none" w="med" len="lg"/>
          </a:ln>
        </p:spPr>
        <p:txBody>
          <a:bodyPr wrap="square" lIns="0" tIns="54859" rIns="109718" bIns="54859">
            <a:spAutoFit/>
          </a:bodyPr>
          <a:lstStyle/>
          <a:p>
            <a:pPr marL="274320" marR="0" lvl="0" indent="-274320" algn="r" defTabSz="1082040" rtl="0" eaLnBrk="0" fontAlgn="base" latinLnBrk="0" hangingPunct="0">
              <a:lnSpc>
                <a:spcPct val="85000"/>
              </a:lnSpc>
              <a:spcBef>
                <a:spcPct val="0"/>
              </a:spcBef>
              <a:spcAft>
                <a:spcPct val="0"/>
              </a:spcAft>
              <a:buClr>
                <a:srgbClr val="8099CC"/>
              </a:buClr>
              <a:buSzTx/>
              <a:buFontTx/>
              <a:buNone/>
              <a:tabLst/>
              <a:defRPr/>
            </a:pPr>
            <a:r>
              <a:rPr kumimoji="0" lang="en-US" altLang="en-US" sz="960" b="1" i="0" u="none" strike="noStrike" kern="1200" cap="none" spc="0" normalizeH="0" baseline="0" noProof="0" dirty="0">
                <a:ln>
                  <a:noFill/>
                </a:ln>
                <a:solidFill>
                  <a:prstClr val="black"/>
                </a:solidFill>
                <a:effectLst/>
                <a:uLnTx/>
                <a:uFillTx/>
                <a:latin typeface="Verdana"/>
                <a:ea typeface="+mn-ea"/>
                <a:cs typeface="Arial" charset="0"/>
              </a:rPr>
              <a:t>Maturity</a:t>
            </a:r>
          </a:p>
        </p:txBody>
      </p:sp>
      <p:sp>
        <p:nvSpPr>
          <p:cNvPr id="64" name="Line 15">
            <a:extLst>
              <a:ext uri="{FF2B5EF4-FFF2-40B4-BE49-F238E27FC236}">
                <a16:creationId xmlns:a16="http://schemas.microsoft.com/office/drawing/2014/main" id="{5821EF53-8088-435A-A70A-26B5D5259B40}"/>
              </a:ext>
            </a:extLst>
          </p:cNvPr>
          <p:cNvSpPr>
            <a:spLocks noChangeShapeType="1"/>
          </p:cNvSpPr>
          <p:nvPr/>
        </p:nvSpPr>
        <p:spPr bwMode="auto">
          <a:xfrm flipV="1">
            <a:off x="652859" y="1211825"/>
            <a:ext cx="0" cy="4031776"/>
          </a:xfrm>
          <a:prstGeom prst="line">
            <a:avLst/>
          </a:prstGeom>
          <a:noFill/>
          <a:ln w="38100">
            <a:solidFill>
              <a:schemeClr val="tx1"/>
            </a:solidFill>
            <a:round/>
            <a:headEnd/>
            <a:tailEnd type="triangle" w="med" len="med"/>
          </a:ln>
        </p:spPr>
        <p:txBody>
          <a:bodyPr/>
          <a:lstStyle/>
          <a:p>
            <a:pPr marL="0" marR="0" lvl="0" indent="0" algn="l" defTabSz="1097280" rtl="0" eaLnBrk="0" fontAlgn="auto" latinLnBrk="0" hangingPunct="0">
              <a:lnSpc>
                <a:spcPct val="106000"/>
              </a:lnSpc>
              <a:spcBef>
                <a:spcPct val="50000"/>
              </a:spcBef>
              <a:spcAft>
                <a:spcPts val="0"/>
              </a:spcAft>
              <a:buClrTx/>
              <a:buSzPct val="100000"/>
              <a:buFontTx/>
              <a:buNone/>
              <a:tabLst/>
              <a:defRPr/>
            </a:pPr>
            <a:endParaRPr kumimoji="0" lang="en-US" sz="780" b="0" i="0" u="none" strike="noStrike" kern="0" cap="none" spc="0" normalizeH="0" baseline="0" noProof="0" dirty="0">
              <a:ln>
                <a:noFill/>
              </a:ln>
              <a:solidFill>
                <a:prstClr val="black"/>
              </a:solidFill>
              <a:effectLst/>
              <a:uLnTx/>
              <a:uFillTx/>
              <a:latin typeface="Verdana"/>
              <a:ea typeface="+mn-ea"/>
              <a:cs typeface="Arial" charset="0"/>
            </a:endParaRPr>
          </a:p>
        </p:txBody>
      </p:sp>
      <p:sp>
        <p:nvSpPr>
          <p:cNvPr id="65" name="Line 16">
            <a:extLst>
              <a:ext uri="{FF2B5EF4-FFF2-40B4-BE49-F238E27FC236}">
                <a16:creationId xmlns:a16="http://schemas.microsoft.com/office/drawing/2014/main" id="{2FADEB72-ADE4-45B0-9E92-BC4B0D37D792}"/>
              </a:ext>
            </a:extLst>
          </p:cNvPr>
          <p:cNvSpPr>
            <a:spLocks noChangeShapeType="1"/>
          </p:cNvSpPr>
          <p:nvPr/>
        </p:nvSpPr>
        <p:spPr bwMode="auto">
          <a:xfrm flipV="1">
            <a:off x="634041" y="5243602"/>
            <a:ext cx="10290659" cy="0"/>
          </a:xfrm>
          <a:prstGeom prst="line">
            <a:avLst/>
          </a:prstGeom>
          <a:noFill/>
          <a:ln w="38100">
            <a:solidFill>
              <a:schemeClr val="tx1"/>
            </a:solidFill>
            <a:round/>
            <a:headEnd/>
            <a:tailEnd/>
          </a:ln>
        </p:spPr>
        <p:txBody>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960" b="0" i="0" u="none" strike="noStrike" kern="1200" cap="none" spc="0" normalizeH="0" baseline="0" noProof="0" dirty="0">
              <a:ln>
                <a:noFill/>
              </a:ln>
              <a:solidFill>
                <a:prstClr val="black"/>
              </a:solidFill>
              <a:effectLst/>
              <a:uLnTx/>
              <a:uFillTx/>
              <a:latin typeface="Verdana"/>
              <a:ea typeface="+mn-ea"/>
              <a:cs typeface="Arial" charset="0"/>
            </a:endParaRPr>
          </a:p>
        </p:txBody>
      </p:sp>
      <p:cxnSp>
        <p:nvCxnSpPr>
          <p:cNvPr id="66" name="Straight Arrow Connector 65">
            <a:extLst>
              <a:ext uri="{FF2B5EF4-FFF2-40B4-BE49-F238E27FC236}">
                <a16:creationId xmlns:a16="http://schemas.microsoft.com/office/drawing/2014/main" id="{AE01ACE7-5D00-479D-8BE9-7735B24CE3AC}"/>
              </a:ext>
            </a:extLst>
          </p:cNvPr>
          <p:cNvCxnSpPr>
            <a:cxnSpLocks/>
            <a:stCxn id="59" idx="0"/>
            <a:endCxn id="56" idx="2"/>
          </p:cNvCxnSpPr>
          <p:nvPr/>
        </p:nvCxnSpPr>
        <p:spPr>
          <a:xfrm flipV="1">
            <a:off x="10351534" y="2473011"/>
            <a:ext cx="0" cy="17530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8" name="Straight Arrow Connector 67">
            <a:extLst>
              <a:ext uri="{FF2B5EF4-FFF2-40B4-BE49-F238E27FC236}">
                <a16:creationId xmlns:a16="http://schemas.microsoft.com/office/drawing/2014/main" id="{BE9C7B5B-1464-4F00-9B97-86FCD904ED1C}"/>
              </a:ext>
            </a:extLst>
          </p:cNvPr>
          <p:cNvCxnSpPr>
            <a:cxnSpLocks/>
            <a:stCxn id="15" idx="0"/>
            <a:endCxn id="14" idx="2"/>
          </p:cNvCxnSpPr>
          <p:nvPr/>
        </p:nvCxnSpPr>
        <p:spPr>
          <a:xfrm flipV="1">
            <a:off x="9071239" y="2472425"/>
            <a:ext cx="0" cy="17588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0" name="Straight Arrow Connector 69">
            <a:extLst>
              <a:ext uri="{FF2B5EF4-FFF2-40B4-BE49-F238E27FC236}">
                <a16:creationId xmlns:a16="http://schemas.microsoft.com/office/drawing/2014/main" id="{0D381D2E-A489-44A1-A490-A57CF3640695}"/>
              </a:ext>
            </a:extLst>
          </p:cNvPr>
          <p:cNvCxnSpPr>
            <a:cxnSpLocks/>
            <a:stCxn id="34" idx="0"/>
            <a:endCxn id="33" idx="2"/>
          </p:cNvCxnSpPr>
          <p:nvPr/>
        </p:nvCxnSpPr>
        <p:spPr>
          <a:xfrm flipV="1">
            <a:off x="7802824" y="2472425"/>
            <a:ext cx="0" cy="17588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2" name="Straight Arrow Connector 71">
            <a:extLst>
              <a:ext uri="{FF2B5EF4-FFF2-40B4-BE49-F238E27FC236}">
                <a16:creationId xmlns:a16="http://schemas.microsoft.com/office/drawing/2014/main" id="{9711FCBD-9E86-4C50-B971-087D40680968}"/>
              </a:ext>
            </a:extLst>
          </p:cNvPr>
          <p:cNvCxnSpPr>
            <a:cxnSpLocks/>
            <a:stCxn id="30" idx="0"/>
            <a:endCxn id="29" idx="2"/>
          </p:cNvCxnSpPr>
          <p:nvPr/>
        </p:nvCxnSpPr>
        <p:spPr>
          <a:xfrm flipV="1">
            <a:off x="6534408" y="2472425"/>
            <a:ext cx="0" cy="17588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4" name="Straight Arrow Connector 73">
            <a:extLst>
              <a:ext uri="{FF2B5EF4-FFF2-40B4-BE49-F238E27FC236}">
                <a16:creationId xmlns:a16="http://schemas.microsoft.com/office/drawing/2014/main" id="{1DE03366-0EB3-484E-8A9E-8F2416F63DE8}"/>
              </a:ext>
            </a:extLst>
          </p:cNvPr>
          <p:cNvCxnSpPr>
            <a:cxnSpLocks/>
            <a:stCxn id="38" idx="0"/>
            <a:endCxn id="37" idx="2"/>
          </p:cNvCxnSpPr>
          <p:nvPr/>
        </p:nvCxnSpPr>
        <p:spPr>
          <a:xfrm flipV="1">
            <a:off x="5265992" y="2472425"/>
            <a:ext cx="0" cy="17588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6" name="Straight Arrow Connector 75">
            <a:extLst>
              <a:ext uri="{FF2B5EF4-FFF2-40B4-BE49-F238E27FC236}">
                <a16:creationId xmlns:a16="http://schemas.microsoft.com/office/drawing/2014/main" id="{B3B1B6D9-62F9-4300-B3C0-E451A797A982}"/>
              </a:ext>
            </a:extLst>
          </p:cNvPr>
          <p:cNvCxnSpPr>
            <a:cxnSpLocks/>
            <a:stCxn id="19" idx="0"/>
            <a:endCxn id="18" idx="2"/>
          </p:cNvCxnSpPr>
          <p:nvPr/>
        </p:nvCxnSpPr>
        <p:spPr>
          <a:xfrm flipV="1">
            <a:off x="3997577" y="2472425"/>
            <a:ext cx="0" cy="17588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8" name="Straight Arrow Connector 77">
            <a:extLst>
              <a:ext uri="{FF2B5EF4-FFF2-40B4-BE49-F238E27FC236}">
                <a16:creationId xmlns:a16="http://schemas.microsoft.com/office/drawing/2014/main" id="{CC43876E-ABC3-4B08-B99F-DADDB7839BFC}"/>
              </a:ext>
            </a:extLst>
          </p:cNvPr>
          <p:cNvCxnSpPr>
            <a:cxnSpLocks/>
            <a:stCxn id="53" idx="0"/>
            <a:endCxn id="26" idx="2"/>
          </p:cNvCxnSpPr>
          <p:nvPr/>
        </p:nvCxnSpPr>
        <p:spPr>
          <a:xfrm flipV="1">
            <a:off x="2729161" y="2472425"/>
            <a:ext cx="0" cy="17588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A2C6D355-B691-4452-9730-0D4364310BE3}"/>
              </a:ext>
            </a:extLst>
          </p:cNvPr>
          <p:cNvCxnSpPr>
            <a:cxnSpLocks/>
            <a:stCxn id="23" idx="0"/>
            <a:endCxn id="22" idx="2"/>
          </p:cNvCxnSpPr>
          <p:nvPr/>
        </p:nvCxnSpPr>
        <p:spPr>
          <a:xfrm flipV="1">
            <a:off x="1460746" y="2472425"/>
            <a:ext cx="0" cy="17588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DC17A893-D783-4628-BF30-055D6BCA85F9}"/>
              </a:ext>
            </a:extLst>
          </p:cNvPr>
          <p:cNvCxnSpPr>
            <a:cxnSpLocks/>
            <a:stCxn id="55" idx="0"/>
            <a:endCxn id="59" idx="2"/>
          </p:cNvCxnSpPr>
          <p:nvPr/>
        </p:nvCxnSpPr>
        <p:spPr>
          <a:xfrm flipV="1">
            <a:off x="10351534" y="3855319"/>
            <a:ext cx="0" cy="11736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4" name="Straight Arrow Connector 83">
            <a:extLst>
              <a:ext uri="{FF2B5EF4-FFF2-40B4-BE49-F238E27FC236}">
                <a16:creationId xmlns:a16="http://schemas.microsoft.com/office/drawing/2014/main" id="{E0F49467-C8E5-437C-853F-B1DFFB813C11}"/>
              </a:ext>
            </a:extLst>
          </p:cNvPr>
          <p:cNvCxnSpPr>
            <a:cxnSpLocks/>
            <a:endCxn id="15" idx="2"/>
          </p:cNvCxnSpPr>
          <p:nvPr/>
        </p:nvCxnSpPr>
        <p:spPr>
          <a:xfrm flipV="1">
            <a:off x="9071239" y="3855319"/>
            <a:ext cx="0" cy="11736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6" name="Straight Arrow Connector 85">
            <a:extLst>
              <a:ext uri="{FF2B5EF4-FFF2-40B4-BE49-F238E27FC236}">
                <a16:creationId xmlns:a16="http://schemas.microsoft.com/office/drawing/2014/main" id="{ED113E28-7D75-4EEA-B0FD-40958E2C048B}"/>
              </a:ext>
            </a:extLst>
          </p:cNvPr>
          <p:cNvCxnSpPr>
            <a:cxnSpLocks/>
            <a:endCxn id="34" idx="2"/>
          </p:cNvCxnSpPr>
          <p:nvPr/>
        </p:nvCxnSpPr>
        <p:spPr>
          <a:xfrm flipV="1">
            <a:off x="7802824" y="3855319"/>
            <a:ext cx="0" cy="11736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75DBB297-24A0-491C-A86A-46433330065E}"/>
              </a:ext>
            </a:extLst>
          </p:cNvPr>
          <p:cNvCxnSpPr>
            <a:cxnSpLocks/>
            <a:endCxn id="30" idx="2"/>
          </p:cNvCxnSpPr>
          <p:nvPr/>
        </p:nvCxnSpPr>
        <p:spPr>
          <a:xfrm flipV="1">
            <a:off x="6534408" y="3855319"/>
            <a:ext cx="0" cy="11736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391A2F82-30AC-4304-A4B5-F8FD7B99FAD8}"/>
              </a:ext>
            </a:extLst>
          </p:cNvPr>
          <p:cNvCxnSpPr>
            <a:cxnSpLocks/>
            <a:endCxn id="38" idx="2"/>
          </p:cNvCxnSpPr>
          <p:nvPr/>
        </p:nvCxnSpPr>
        <p:spPr>
          <a:xfrm flipV="1">
            <a:off x="5265992" y="3855319"/>
            <a:ext cx="0" cy="11736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2" name="Straight Arrow Connector 91">
            <a:extLst>
              <a:ext uri="{FF2B5EF4-FFF2-40B4-BE49-F238E27FC236}">
                <a16:creationId xmlns:a16="http://schemas.microsoft.com/office/drawing/2014/main" id="{7BBEA0AA-70CA-48A0-BA7B-B24FCFD1499F}"/>
              </a:ext>
            </a:extLst>
          </p:cNvPr>
          <p:cNvCxnSpPr>
            <a:cxnSpLocks/>
            <a:endCxn id="19" idx="2"/>
          </p:cNvCxnSpPr>
          <p:nvPr/>
        </p:nvCxnSpPr>
        <p:spPr>
          <a:xfrm flipV="1">
            <a:off x="3997577" y="3855319"/>
            <a:ext cx="0" cy="11736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DC0D4A2C-66B3-4ADF-ACC6-F2283AC645A7}"/>
              </a:ext>
            </a:extLst>
          </p:cNvPr>
          <p:cNvCxnSpPr>
            <a:cxnSpLocks/>
            <a:endCxn id="53" idx="2"/>
          </p:cNvCxnSpPr>
          <p:nvPr/>
        </p:nvCxnSpPr>
        <p:spPr>
          <a:xfrm flipV="1">
            <a:off x="2729161" y="3855319"/>
            <a:ext cx="0" cy="11736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6" name="Straight Arrow Connector 95">
            <a:extLst>
              <a:ext uri="{FF2B5EF4-FFF2-40B4-BE49-F238E27FC236}">
                <a16:creationId xmlns:a16="http://schemas.microsoft.com/office/drawing/2014/main" id="{C40E3995-583A-4F85-847F-140F7175A292}"/>
              </a:ext>
            </a:extLst>
          </p:cNvPr>
          <p:cNvCxnSpPr>
            <a:cxnSpLocks/>
            <a:endCxn id="23" idx="2"/>
          </p:cNvCxnSpPr>
          <p:nvPr/>
        </p:nvCxnSpPr>
        <p:spPr>
          <a:xfrm flipV="1">
            <a:off x="1460746" y="3855319"/>
            <a:ext cx="0" cy="11736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 name="Slide Number Placeholder 1">
            <a:extLst>
              <a:ext uri="{FF2B5EF4-FFF2-40B4-BE49-F238E27FC236}">
                <a16:creationId xmlns:a16="http://schemas.microsoft.com/office/drawing/2014/main" id="{C3437D64-04B6-4CA4-A2F3-BCCF0B6455A4}"/>
              </a:ext>
            </a:extLst>
          </p:cNvPr>
          <p:cNvSpPr>
            <a:spLocks noGrp="1"/>
          </p:cNvSpPr>
          <p:nvPr>
            <p:ph type="sldNum" sz="quarter" idx="4"/>
          </p:nvPr>
        </p:nvSpPr>
        <p:spPr>
          <a:xfrm>
            <a:off x="10800517" y="6358098"/>
            <a:ext cx="609600"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04F2263D-2B56-3241-AE08-5B72161B4332}" type="slidenum">
              <a:rPr kumimoji="0" lang="it-IT" sz="1080" b="0" i="0" u="none" strike="noStrike" kern="1200" cap="none" spc="0" normalizeH="0" baseline="0" noProof="0" smtClean="0">
                <a:ln>
                  <a:noFill/>
                </a:ln>
                <a:solidFill>
                  <a:prstClr val="white"/>
                </a:solidFill>
                <a:effectLst/>
                <a:uLnTx/>
                <a:uFillTx/>
                <a:latin typeface="Arial"/>
                <a:ea typeface="+mn-ea"/>
                <a:cs typeface="Arial"/>
              </a:rPr>
              <a:pPr marL="0" marR="0" lvl="0" indent="0" algn="l" defTabSz="1219170" rtl="0" eaLnBrk="1" fontAlgn="auto" latinLnBrk="0" hangingPunct="1">
                <a:lnSpc>
                  <a:spcPct val="100000"/>
                </a:lnSpc>
                <a:spcBef>
                  <a:spcPts val="0"/>
                </a:spcBef>
                <a:spcAft>
                  <a:spcPts val="0"/>
                </a:spcAft>
                <a:buClrTx/>
                <a:buSzTx/>
                <a:buFontTx/>
                <a:buNone/>
                <a:tabLst/>
                <a:defRPr/>
              </a:pPr>
              <a:t>18</a:t>
            </a:fld>
            <a:endParaRPr kumimoji="0" lang="it-IT" sz="1080" b="0" i="0" u="none" strike="noStrike" kern="1200" cap="none" spc="0" normalizeH="0" baseline="0" noProof="0">
              <a:ln>
                <a:noFill/>
              </a:ln>
              <a:solidFill>
                <a:prstClr val="white"/>
              </a:solidFill>
              <a:effectLst/>
              <a:uLnTx/>
              <a:uFillTx/>
              <a:latin typeface="Arial"/>
              <a:ea typeface="+mn-ea"/>
              <a:cs typeface="Arial"/>
            </a:endParaRPr>
          </a:p>
        </p:txBody>
      </p:sp>
      <p:sp>
        <p:nvSpPr>
          <p:cNvPr id="69" name="Title 1">
            <a:extLst>
              <a:ext uri="{FF2B5EF4-FFF2-40B4-BE49-F238E27FC236}">
                <a16:creationId xmlns:a16="http://schemas.microsoft.com/office/drawing/2014/main" id="{4D03B505-588F-494C-948F-1171DA29DC62}"/>
              </a:ext>
            </a:extLst>
          </p:cNvPr>
          <p:cNvSpPr txBox="1">
            <a:spLocks/>
          </p:cNvSpPr>
          <p:nvPr/>
        </p:nvSpPr>
        <p:spPr>
          <a:xfrm>
            <a:off x="469900" y="402587"/>
            <a:ext cx="8397735" cy="717944"/>
          </a:xfrm>
          <a:prstGeom prst="rect">
            <a:avLst/>
          </a:prstGeom>
        </p:spPr>
        <p:txBody>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Verdana"/>
                <a:ea typeface="+mj-ea"/>
                <a:cs typeface="+mj-cs"/>
              </a:rPr>
              <a:t>Design (CAD) Management and Collaboration</a:t>
            </a:r>
          </a:p>
        </p:txBody>
      </p:sp>
      <p:sp>
        <p:nvSpPr>
          <p:cNvPr id="116" name="Freeform 42">
            <a:extLst>
              <a:ext uri="{FF2B5EF4-FFF2-40B4-BE49-F238E27FC236}">
                <a16:creationId xmlns:a16="http://schemas.microsoft.com/office/drawing/2014/main" id="{BB99DD59-DA1A-4413-86C8-7F3BC56D564F}"/>
              </a:ext>
            </a:extLst>
          </p:cNvPr>
          <p:cNvSpPr/>
          <p:nvPr/>
        </p:nvSpPr>
        <p:spPr bwMode="auto">
          <a:xfrm flipV="1">
            <a:off x="1481533" y="1254436"/>
            <a:ext cx="8886933" cy="1169574"/>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1317807 w 7136640"/>
              <a:gd name="connsiteY1" fmla="*/ 194447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1155002 w 7136640"/>
              <a:gd name="connsiteY1" fmla="*/ 192612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1155002 w 7136640"/>
              <a:gd name="connsiteY1" fmla="*/ 192612 h 281116"/>
              <a:gd name="connsiteX2" fmla="*/ 2057502 w 7136640"/>
              <a:gd name="connsiteY2" fmla="*/ 223890 h 281116"/>
              <a:gd name="connsiteX3" fmla="*/ 2857293 w 7136640"/>
              <a:gd name="connsiteY3" fmla="*/ 217897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1155002 w 7136640"/>
              <a:gd name="connsiteY1" fmla="*/ 192612 h 281116"/>
              <a:gd name="connsiteX2" fmla="*/ 2057502 w 7136640"/>
              <a:gd name="connsiteY2" fmla="*/ 223890 h 281116"/>
              <a:gd name="connsiteX3" fmla="*/ 2857293 w 7136640"/>
              <a:gd name="connsiteY3" fmla="*/ 217897 h 281116"/>
              <a:gd name="connsiteX4" fmla="*/ 4211883 w 7136640"/>
              <a:gd name="connsiteY4" fmla="*/ 110665 h 281116"/>
              <a:gd name="connsiteX5" fmla="*/ 4942580 w 7136640"/>
              <a:gd name="connsiteY5" fmla="*/ 125321 h 281116"/>
              <a:gd name="connsiteX6" fmla="*/ 5636849 w 7136640"/>
              <a:gd name="connsiteY6" fmla="*/ 172302 h 281116"/>
              <a:gd name="connsiteX7" fmla="*/ 6344970 w 7136640"/>
              <a:gd name="connsiteY7" fmla="*/ 119271 h 281116"/>
              <a:gd name="connsiteX8" fmla="*/ 6500954 w 7136640"/>
              <a:gd name="connsiteY8" fmla="*/ 660 h 281116"/>
              <a:gd name="connsiteX9" fmla="*/ 7136640 w 7136640"/>
              <a:gd name="connsiteY9" fmla="*/ 281116 h 281116"/>
              <a:gd name="connsiteX0" fmla="*/ 0 w 7136640"/>
              <a:gd name="connsiteY0" fmla="*/ 190735 h 281116"/>
              <a:gd name="connsiteX1" fmla="*/ 1155002 w 7136640"/>
              <a:gd name="connsiteY1" fmla="*/ 192612 h 281116"/>
              <a:gd name="connsiteX2" fmla="*/ 2057502 w 7136640"/>
              <a:gd name="connsiteY2" fmla="*/ 223890 h 281116"/>
              <a:gd name="connsiteX3" fmla="*/ 2857293 w 7136640"/>
              <a:gd name="connsiteY3" fmla="*/ 217897 h 281116"/>
              <a:gd name="connsiteX4" fmla="*/ 3917582 w 7136640"/>
              <a:gd name="connsiteY4" fmla="*/ 97819 h 281116"/>
              <a:gd name="connsiteX5" fmla="*/ 4942580 w 7136640"/>
              <a:gd name="connsiteY5" fmla="*/ 125321 h 281116"/>
              <a:gd name="connsiteX6" fmla="*/ 5636849 w 7136640"/>
              <a:gd name="connsiteY6" fmla="*/ 172302 h 281116"/>
              <a:gd name="connsiteX7" fmla="*/ 6344970 w 7136640"/>
              <a:gd name="connsiteY7" fmla="*/ 119271 h 281116"/>
              <a:gd name="connsiteX8" fmla="*/ 6500954 w 7136640"/>
              <a:gd name="connsiteY8" fmla="*/ 660 h 281116"/>
              <a:gd name="connsiteX9" fmla="*/ 7136640 w 7136640"/>
              <a:gd name="connsiteY9" fmla="*/ 281116 h 281116"/>
              <a:gd name="connsiteX0" fmla="*/ 0 w 7136640"/>
              <a:gd name="connsiteY0" fmla="*/ 191434 h 281815"/>
              <a:gd name="connsiteX1" fmla="*/ 1155002 w 7136640"/>
              <a:gd name="connsiteY1" fmla="*/ 193311 h 281815"/>
              <a:gd name="connsiteX2" fmla="*/ 2057502 w 7136640"/>
              <a:gd name="connsiteY2" fmla="*/ 224589 h 281815"/>
              <a:gd name="connsiteX3" fmla="*/ 2857293 w 7136640"/>
              <a:gd name="connsiteY3" fmla="*/ 218596 h 281815"/>
              <a:gd name="connsiteX4" fmla="*/ 3917582 w 7136640"/>
              <a:gd name="connsiteY4" fmla="*/ 98518 h 281815"/>
              <a:gd name="connsiteX5" fmla="*/ 4942580 w 7136640"/>
              <a:gd name="connsiteY5" fmla="*/ 126020 h 281815"/>
              <a:gd name="connsiteX6" fmla="*/ 5636849 w 7136640"/>
              <a:gd name="connsiteY6" fmla="*/ 173001 h 281815"/>
              <a:gd name="connsiteX7" fmla="*/ 6500954 w 7136640"/>
              <a:gd name="connsiteY7" fmla="*/ 1359 h 281815"/>
              <a:gd name="connsiteX8" fmla="*/ 7136640 w 7136640"/>
              <a:gd name="connsiteY8" fmla="*/ 281815 h 281815"/>
              <a:gd name="connsiteX0" fmla="*/ 0 w 7136640"/>
              <a:gd name="connsiteY0" fmla="*/ 94803 h 185184"/>
              <a:gd name="connsiteX1" fmla="*/ 1155002 w 7136640"/>
              <a:gd name="connsiteY1" fmla="*/ 96680 h 185184"/>
              <a:gd name="connsiteX2" fmla="*/ 2057502 w 7136640"/>
              <a:gd name="connsiteY2" fmla="*/ 127958 h 185184"/>
              <a:gd name="connsiteX3" fmla="*/ 2857293 w 7136640"/>
              <a:gd name="connsiteY3" fmla="*/ 121965 h 185184"/>
              <a:gd name="connsiteX4" fmla="*/ 3917582 w 7136640"/>
              <a:gd name="connsiteY4" fmla="*/ 1887 h 185184"/>
              <a:gd name="connsiteX5" fmla="*/ 4942580 w 7136640"/>
              <a:gd name="connsiteY5" fmla="*/ 29389 h 185184"/>
              <a:gd name="connsiteX6" fmla="*/ 5636849 w 7136640"/>
              <a:gd name="connsiteY6" fmla="*/ 76370 h 185184"/>
              <a:gd name="connsiteX7" fmla="*/ 7136640 w 7136640"/>
              <a:gd name="connsiteY7" fmla="*/ 185184 h 185184"/>
              <a:gd name="connsiteX0" fmla="*/ 0 w 7136640"/>
              <a:gd name="connsiteY0" fmla="*/ 65796 h 156177"/>
              <a:gd name="connsiteX1" fmla="*/ 1155002 w 7136640"/>
              <a:gd name="connsiteY1" fmla="*/ 67673 h 156177"/>
              <a:gd name="connsiteX2" fmla="*/ 2057502 w 7136640"/>
              <a:gd name="connsiteY2" fmla="*/ 98951 h 156177"/>
              <a:gd name="connsiteX3" fmla="*/ 2857293 w 7136640"/>
              <a:gd name="connsiteY3" fmla="*/ 92958 h 156177"/>
              <a:gd name="connsiteX4" fmla="*/ 3924710 w 7136640"/>
              <a:gd name="connsiteY4" fmla="*/ 107098 h 156177"/>
              <a:gd name="connsiteX5" fmla="*/ 4942580 w 7136640"/>
              <a:gd name="connsiteY5" fmla="*/ 382 h 156177"/>
              <a:gd name="connsiteX6" fmla="*/ 5636849 w 7136640"/>
              <a:gd name="connsiteY6" fmla="*/ 47363 h 156177"/>
              <a:gd name="connsiteX7" fmla="*/ 7136640 w 7136640"/>
              <a:gd name="connsiteY7" fmla="*/ 156177 h 156177"/>
              <a:gd name="connsiteX0" fmla="*/ 0 w 7136640"/>
              <a:gd name="connsiteY0" fmla="*/ 23637 h 114018"/>
              <a:gd name="connsiteX1" fmla="*/ 1155002 w 7136640"/>
              <a:gd name="connsiteY1" fmla="*/ 25514 h 114018"/>
              <a:gd name="connsiteX2" fmla="*/ 2057502 w 7136640"/>
              <a:gd name="connsiteY2" fmla="*/ 56792 h 114018"/>
              <a:gd name="connsiteX3" fmla="*/ 2857293 w 7136640"/>
              <a:gd name="connsiteY3" fmla="*/ 50799 h 114018"/>
              <a:gd name="connsiteX4" fmla="*/ 3924710 w 7136640"/>
              <a:gd name="connsiteY4" fmla="*/ 64939 h 114018"/>
              <a:gd name="connsiteX5" fmla="*/ 4949708 w 7136640"/>
              <a:gd name="connsiteY5" fmla="*/ 58885 h 114018"/>
              <a:gd name="connsiteX6" fmla="*/ 5636849 w 7136640"/>
              <a:gd name="connsiteY6" fmla="*/ 5204 h 114018"/>
              <a:gd name="connsiteX7" fmla="*/ 7136640 w 7136640"/>
              <a:gd name="connsiteY7" fmla="*/ 114018 h 114018"/>
              <a:gd name="connsiteX0" fmla="*/ 0 w 7136640"/>
              <a:gd name="connsiteY0" fmla="*/ 23637 h 114018"/>
              <a:gd name="connsiteX1" fmla="*/ 1155002 w 7136640"/>
              <a:gd name="connsiteY1" fmla="*/ 25514 h 114018"/>
              <a:gd name="connsiteX2" fmla="*/ 2057502 w 7136640"/>
              <a:gd name="connsiteY2" fmla="*/ 56792 h 114018"/>
              <a:gd name="connsiteX3" fmla="*/ 2857293 w 7136640"/>
              <a:gd name="connsiteY3" fmla="*/ 50799 h 114018"/>
              <a:gd name="connsiteX4" fmla="*/ 3924710 w 7136640"/>
              <a:gd name="connsiteY4" fmla="*/ 64939 h 114018"/>
              <a:gd name="connsiteX5" fmla="*/ 4949708 w 7136640"/>
              <a:gd name="connsiteY5" fmla="*/ 58885 h 114018"/>
              <a:gd name="connsiteX6" fmla="*/ 5651105 w 7136640"/>
              <a:gd name="connsiteY6" fmla="*/ 5204 h 114018"/>
              <a:gd name="connsiteX7" fmla="*/ 7136640 w 7136640"/>
              <a:gd name="connsiteY7" fmla="*/ 114018 h 114018"/>
              <a:gd name="connsiteX0" fmla="*/ 0 w 7136640"/>
              <a:gd name="connsiteY0" fmla="*/ 23637 h 114018"/>
              <a:gd name="connsiteX1" fmla="*/ 1155002 w 7136640"/>
              <a:gd name="connsiteY1" fmla="*/ 25514 h 114018"/>
              <a:gd name="connsiteX2" fmla="*/ 2057502 w 7136640"/>
              <a:gd name="connsiteY2" fmla="*/ 56792 h 114018"/>
              <a:gd name="connsiteX3" fmla="*/ 3135293 w 7136640"/>
              <a:gd name="connsiteY3" fmla="*/ 17242 h 114018"/>
              <a:gd name="connsiteX4" fmla="*/ 3924710 w 7136640"/>
              <a:gd name="connsiteY4" fmla="*/ 64939 h 114018"/>
              <a:gd name="connsiteX5" fmla="*/ 4949708 w 7136640"/>
              <a:gd name="connsiteY5" fmla="*/ 58885 h 114018"/>
              <a:gd name="connsiteX6" fmla="*/ 5651105 w 7136640"/>
              <a:gd name="connsiteY6" fmla="*/ 5204 h 114018"/>
              <a:gd name="connsiteX7" fmla="*/ 7136640 w 7136640"/>
              <a:gd name="connsiteY7" fmla="*/ 114018 h 114018"/>
              <a:gd name="connsiteX0" fmla="*/ 0 w 7136640"/>
              <a:gd name="connsiteY0" fmla="*/ 23637 h 132442"/>
              <a:gd name="connsiteX1" fmla="*/ 1155002 w 7136640"/>
              <a:gd name="connsiteY1" fmla="*/ 25514 h 132442"/>
              <a:gd name="connsiteX2" fmla="*/ 2057502 w 7136640"/>
              <a:gd name="connsiteY2" fmla="*/ 56792 h 132442"/>
              <a:gd name="connsiteX3" fmla="*/ 3135293 w 7136640"/>
              <a:gd name="connsiteY3" fmla="*/ 17242 h 132442"/>
              <a:gd name="connsiteX4" fmla="*/ 4010249 w 7136640"/>
              <a:gd name="connsiteY4" fmla="*/ 132050 h 132442"/>
              <a:gd name="connsiteX5" fmla="*/ 4949708 w 7136640"/>
              <a:gd name="connsiteY5" fmla="*/ 58885 h 132442"/>
              <a:gd name="connsiteX6" fmla="*/ 5651105 w 7136640"/>
              <a:gd name="connsiteY6" fmla="*/ 5204 h 132442"/>
              <a:gd name="connsiteX7" fmla="*/ 7136640 w 7136640"/>
              <a:gd name="connsiteY7" fmla="*/ 114018 h 132442"/>
              <a:gd name="connsiteX0" fmla="*/ 0 w 7136640"/>
              <a:gd name="connsiteY0" fmla="*/ 22302 h 132453"/>
              <a:gd name="connsiteX1" fmla="*/ 1155002 w 7136640"/>
              <a:gd name="connsiteY1" fmla="*/ 24179 h 132453"/>
              <a:gd name="connsiteX2" fmla="*/ 2057502 w 7136640"/>
              <a:gd name="connsiteY2" fmla="*/ 55457 h 132453"/>
              <a:gd name="connsiteX3" fmla="*/ 3135293 w 7136640"/>
              <a:gd name="connsiteY3" fmla="*/ 15907 h 132453"/>
              <a:gd name="connsiteX4" fmla="*/ 4010249 w 7136640"/>
              <a:gd name="connsiteY4" fmla="*/ 130715 h 132453"/>
              <a:gd name="connsiteX5" fmla="*/ 5049503 w 7136640"/>
              <a:gd name="connsiteY5" fmla="*/ 91105 h 132453"/>
              <a:gd name="connsiteX6" fmla="*/ 5651105 w 7136640"/>
              <a:gd name="connsiteY6" fmla="*/ 3869 h 132453"/>
              <a:gd name="connsiteX7" fmla="*/ 7136640 w 7136640"/>
              <a:gd name="connsiteY7" fmla="*/ 112683 h 132453"/>
              <a:gd name="connsiteX0" fmla="*/ 0 w 7136640"/>
              <a:gd name="connsiteY0" fmla="*/ 8388 h 118539"/>
              <a:gd name="connsiteX1" fmla="*/ 1155002 w 7136640"/>
              <a:gd name="connsiteY1" fmla="*/ 10265 h 118539"/>
              <a:gd name="connsiteX2" fmla="*/ 2057502 w 7136640"/>
              <a:gd name="connsiteY2" fmla="*/ 41543 h 118539"/>
              <a:gd name="connsiteX3" fmla="*/ 3135293 w 7136640"/>
              <a:gd name="connsiteY3" fmla="*/ 1993 h 118539"/>
              <a:gd name="connsiteX4" fmla="*/ 4010249 w 7136640"/>
              <a:gd name="connsiteY4" fmla="*/ 116801 h 118539"/>
              <a:gd name="connsiteX5" fmla="*/ 5049503 w 7136640"/>
              <a:gd name="connsiteY5" fmla="*/ 77191 h 118539"/>
              <a:gd name="connsiteX6" fmla="*/ 6007515 w 7136640"/>
              <a:gd name="connsiteY6" fmla="*/ 57066 h 118539"/>
              <a:gd name="connsiteX7" fmla="*/ 7136640 w 7136640"/>
              <a:gd name="connsiteY7" fmla="*/ 98769 h 118539"/>
              <a:gd name="connsiteX0" fmla="*/ 0 w 6841340"/>
              <a:gd name="connsiteY0" fmla="*/ 0 h 7569115"/>
              <a:gd name="connsiteX1" fmla="*/ 859702 w 6841340"/>
              <a:gd name="connsiteY1" fmla="*/ 7460841 h 7569115"/>
              <a:gd name="connsiteX2" fmla="*/ 1762202 w 6841340"/>
              <a:gd name="connsiteY2" fmla="*/ 7492119 h 7569115"/>
              <a:gd name="connsiteX3" fmla="*/ 2839993 w 6841340"/>
              <a:gd name="connsiteY3" fmla="*/ 7452569 h 7569115"/>
              <a:gd name="connsiteX4" fmla="*/ 3714949 w 6841340"/>
              <a:gd name="connsiteY4" fmla="*/ 7567377 h 7569115"/>
              <a:gd name="connsiteX5" fmla="*/ 4754203 w 6841340"/>
              <a:gd name="connsiteY5" fmla="*/ 7527767 h 7569115"/>
              <a:gd name="connsiteX6" fmla="*/ 5712215 w 6841340"/>
              <a:gd name="connsiteY6" fmla="*/ 7507642 h 7569115"/>
              <a:gd name="connsiteX7" fmla="*/ 6841340 w 6841340"/>
              <a:gd name="connsiteY7" fmla="*/ 7549345 h 7569115"/>
              <a:gd name="connsiteX0" fmla="*/ 0 w 6841340"/>
              <a:gd name="connsiteY0" fmla="*/ 0 h 8018710"/>
              <a:gd name="connsiteX1" fmla="*/ 989346 w 6841340"/>
              <a:gd name="connsiteY1" fmla="*/ 171398 h 8018710"/>
              <a:gd name="connsiteX2" fmla="*/ 1762202 w 6841340"/>
              <a:gd name="connsiteY2" fmla="*/ 7492119 h 8018710"/>
              <a:gd name="connsiteX3" fmla="*/ 2839993 w 6841340"/>
              <a:gd name="connsiteY3" fmla="*/ 7452569 h 8018710"/>
              <a:gd name="connsiteX4" fmla="*/ 3714949 w 6841340"/>
              <a:gd name="connsiteY4" fmla="*/ 7567377 h 8018710"/>
              <a:gd name="connsiteX5" fmla="*/ 4754203 w 6841340"/>
              <a:gd name="connsiteY5" fmla="*/ 7527767 h 8018710"/>
              <a:gd name="connsiteX6" fmla="*/ 5712215 w 6841340"/>
              <a:gd name="connsiteY6" fmla="*/ 7507642 h 8018710"/>
              <a:gd name="connsiteX7" fmla="*/ 6841340 w 6841340"/>
              <a:gd name="connsiteY7" fmla="*/ 7549345 h 8018710"/>
              <a:gd name="connsiteX0" fmla="*/ 0 w 6841340"/>
              <a:gd name="connsiteY0" fmla="*/ 2337527 h 10542012"/>
              <a:gd name="connsiteX1" fmla="*/ 960536 w 6841340"/>
              <a:gd name="connsiteY1" fmla="*/ 0 h 10542012"/>
              <a:gd name="connsiteX2" fmla="*/ 1762202 w 6841340"/>
              <a:gd name="connsiteY2" fmla="*/ 9829646 h 10542012"/>
              <a:gd name="connsiteX3" fmla="*/ 2839993 w 6841340"/>
              <a:gd name="connsiteY3" fmla="*/ 9790096 h 10542012"/>
              <a:gd name="connsiteX4" fmla="*/ 3714949 w 6841340"/>
              <a:gd name="connsiteY4" fmla="*/ 9904904 h 10542012"/>
              <a:gd name="connsiteX5" fmla="*/ 4754203 w 6841340"/>
              <a:gd name="connsiteY5" fmla="*/ 9865294 h 10542012"/>
              <a:gd name="connsiteX6" fmla="*/ 5712215 w 6841340"/>
              <a:gd name="connsiteY6" fmla="*/ 9845169 h 10542012"/>
              <a:gd name="connsiteX7" fmla="*/ 6841340 w 6841340"/>
              <a:gd name="connsiteY7" fmla="*/ 9886872 h 10542012"/>
              <a:gd name="connsiteX0" fmla="*/ 0 w 6841340"/>
              <a:gd name="connsiteY0" fmla="*/ 2341129 h 10447799"/>
              <a:gd name="connsiteX1" fmla="*/ 960536 w 6841340"/>
              <a:gd name="connsiteY1" fmla="*/ 3602 h 10447799"/>
              <a:gd name="connsiteX2" fmla="*/ 1927858 w 6841340"/>
              <a:gd name="connsiteY2" fmla="*/ 1458864 h 10447799"/>
              <a:gd name="connsiteX3" fmla="*/ 2839993 w 6841340"/>
              <a:gd name="connsiteY3" fmla="*/ 9793698 h 10447799"/>
              <a:gd name="connsiteX4" fmla="*/ 3714949 w 6841340"/>
              <a:gd name="connsiteY4" fmla="*/ 9908506 h 10447799"/>
              <a:gd name="connsiteX5" fmla="*/ 4754203 w 6841340"/>
              <a:gd name="connsiteY5" fmla="*/ 9868896 h 10447799"/>
              <a:gd name="connsiteX6" fmla="*/ 5712215 w 6841340"/>
              <a:gd name="connsiteY6" fmla="*/ 9848771 h 10447799"/>
              <a:gd name="connsiteX7" fmla="*/ 6841340 w 6841340"/>
              <a:gd name="connsiteY7" fmla="*/ 9890474 h 10447799"/>
              <a:gd name="connsiteX0" fmla="*/ 0 w 6841340"/>
              <a:gd name="connsiteY0" fmla="*/ 2337527 h 10444197"/>
              <a:gd name="connsiteX1" fmla="*/ 960536 w 6841340"/>
              <a:gd name="connsiteY1" fmla="*/ 0 h 10444197"/>
              <a:gd name="connsiteX2" fmla="*/ 1927858 w 6841340"/>
              <a:gd name="connsiteY2" fmla="*/ 1455262 h 10444197"/>
              <a:gd name="connsiteX3" fmla="*/ 2839993 w 6841340"/>
              <a:gd name="connsiteY3" fmla="*/ 9790096 h 10444197"/>
              <a:gd name="connsiteX4" fmla="*/ 3714949 w 6841340"/>
              <a:gd name="connsiteY4" fmla="*/ 9904904 h 10444197"/>
              <a:gd name="connsiteX5" fmla="*/ 4754203 w 6841340"/>
              <a:gd name="connsiteY5" fmla="*/ 9865294 h 10444197"/>
              <a:gd name="connsiteX6" fmla="*/ 5712215 w 6841340"/>
              <a:gd name="connsiteY6" fmla="*/ 9845169 h 10444197"/>
              <a:gd name="connsiteX7" fmla="*/ 6841340 w 6841340"/>
              <a:gd name="connsiteY7" fmla="*/ 9886872 h 10444197"/>
              <a:gd name="connsiteX0" fmla="*/ 0 w 6711696"/>
              <a:gd name="connsiteY0" fmla="*/ 2337527 h 10444197"/>
              <a:gd name="connsiteX1" fmla="*/ 960536 w 6711696"/>
              <a:gd name="connsiteY1" fmla="*/ 0 h 10444197"/>
              <a:gd name="connsiteX2" fmla="*/ 1927858 w 6711696"/>
              <a:gd name="connsiteY2" fmla="*/ 1455262 h 10444197"/>
              <a:gd name="connsiteX3" fmla="*/ 2839993 w 6711696"/>
              <a:gd name="connsiteY3" fmla="*/ 9790096 h 10444197"/>
              <a:gd name="connsiteX4" fmla="*/ 3714949 w 6711696"/>
              <a:gd name="connsiteY4" fmla="*/ 9904904 h 10444197"/>
              <a:gd name="connsiteX5" fmla="*/ 4754203 w 6711696"/>
              <a:gd name="connsiteY5" fmla="*/ 9865294 h 10444197"/>
              <a:gd name="connsiteX6" fmla="*/ 5712215 w 6711696"/>
              <a:gd name="connsiteY6" fmla="*/ 9845169 h 10444197"/>
              <a:gd name="connsiteX7" fmla="*/ 6711696 w 6711696"/>
              <a:gd name="connsiteY7" fmla="*/ 563165 h 10444197"/>
              <a:gd name="connsiteX0" fmla="*/ 0 w 6711696"/>
              <a:gd name="connsiteY0" fmla="*/ 2337527 h 10444197"/>
              <a:gd name="connsiteX1" fmla="*/ 960536 w 6711696"/>
              <a:gd name="connsiteY1" fmla="*/ 0 h 10444197"/>
              <a:gd name="connsiteX2" fmla="*/ 1927858 w 6711696"/>
              <a:gd name="connsiteY2" fmla="*/ 1455262 h 10444197"/>
              <a:gd name="connsiteX3" fmla="*/ 2839993 w 6711696"/>
              <a:gd name="connsiteY3" fmla="*/ 9790096 h 10444197"/>
              <a:gd name="connsiteX4" fmla="*/ 3714949 w 6711696"/>
              <a:gd name="connsiteY4" fmla="*/ 9904904 h 10444197"/>
              <a:gd name="connsiteX5" fmla="*/ 4754203 w 6711696"/>
              <a:gd name="connsiteY5" fmla="*/ 9865294 h 10444197"/>
              <a:gd name="connsiteX6" fmla="*/ 5733823 w 6711696"/>
              <a:gd name="connsiteY6" fmla="*/ 216322 h 10444197"/>
              <a:gd name="connsiteX7" fmla="*/ 6711696 w 6711696"/>
              <a:gd name="connsiteY7" fmla="*/ 563165 h 10444197"/>
              <a:gd name="connsiteX0" fmla="*/ 0 w 6711696"/>
              <a:gd name="connsiteY0" fmla="*/ 2337527 h 10444197"/>
              <a:gd name="connsiteX1" fmla="*/ 960536 w 6711696"/>
              <a:gd name="connsiteY1" fmla="*/ 0 h 10444197"/>
              <a:gd name="connsiteX2" fmla="*/ 1927858 w 6711696"/>
              <a:gd name="connsiteY2" fmla="*/ 1455262 h 10444197"/>
              <a:gd name="connsiteX3" fmla="*/ 2839993 w 6711696"/>
              <a:gd name="connsiteY3" fmla="*/ 9790096 h 10444197"/>
              <a:gd name="connsiteX4" fmla="*/ 3714949 w 6711696"/>
              <a:gd name="connsiteY4" fmla="*/ 9904904 h 10444197"/>
              <a:gd name="connsiteX5" fmla="*/ 4754203 w 6711696"/>
              <a:gd name="connsiteY5" fmla="*/ 9865295 h 10444197"/>
              <a:gd name="connsiteX6" fmla="*/ 5733823 w 6711696"/>
              <a:gd name="connsiteY6" fmla="*/ 216322 h 10444197"/>
              <a:gd name="connsiteX7" fmla="*/ 6711696 w 6711696"/>
              <a:gd name="connsiteY7" fmla="*/ 563165 h 10444197"/>
              <a:gd name="connsiteX0" fmla="*/ 0 w 6711696"/>
              <a:gd name="connsiteY0" fmla="*/ 3688890 h 11216658"/>
              <a:gd name="connsiteX1" fmla="*/ 960536 w 6711696"/>
              <a:gd name="connsiteY1" fmla="*/ 1351363 h 11216658"/>
              <a:gd name="connsiteX2" fmla="*/ 1927858 w 6711696"/>
              <a:gd name="connsiteY2" fmla="*/ 2806625 h 11216658"/>
              <a:gd name="connsiteX3" fmla="*/ 2839993 w 6711696"/>
              <a:gd name="connsiteY3" fmla="*/ 11141459 h 11216658"/>
              <a:gd name="connsiteX4" fmla="*/ 3794176 w 6711696"/>
              <a:gd name="connsiteY4" fmla="*/ 10 h 11216658"/>
              <a:gd name="connsiteX5" fmla="*/ 4754203 w 6711696"/>
              <a:gd name="connsiteY5" fmla="*/ 11216658 h 11216658"/>
              <a:gd name="connsiteX6" fmla="*/ 5733823 w 6711696"/>
              <a:gd name="connsiteY6" fmla="*/ 1567685 h 11216658"/>
              <a:gd name="connsiteX7" fmla="*/ 6711696 w 6711696"/>
              <a:gd name="connsiteY7" fmla="*/ 1914528 h 11216658"/>
              <a:gd name="connsiteX0" fmla="*/ 0 w 6711696"/>
              <a:gd name="connsiteY0" fmla="*/ 4371174 h 11898942"/>
              <a:gd name="connsiteX1" fmla="*/ 960536 w 6711696"/>
              <a:gd name="connsiteY1" fmla="*/ 2033647 h 11898942"/>
              <a:gd name="connsiteX2" fmla="*/ 1927858 w 6711696"/>
              <a:gd name="connsiteY2" fmla="*/ 3488909 h 11898942"/>
              <a:gd name="connsiteX3" fmla="*/ 2890410 w 6711696"/>
              <a:gd name="connsiteY3" fmla="*/ 1482905 h 11898942"/>
              <a:gd name="connsiteX4" fmla="*/ 3794176 w 6711696"/>
              <a:gd name="connsiteY4" fmla="*/ 682294 h 11898942"/>
              <a:gd name="connsiteX5" fmla="*/ 4754203 w 6711696"/>
              <a:gd name="connsiteY5" fmla="*/ 11898942 h 11898942"/>
              <a:gd name="connsiteX6" fmla="*/ 5733823 w 6711696"/>
              <a:gd name="connsiteY6" fmla="*/ 2249969 h 11898942"/>
              <a:gd name="connsiteX7" fmla="*/ 6711696 w 6711696"/>
              <a:gd name="connsiteY7" fmla="*/ 2596812 h 11898942"/>
              <a:gd name="connsiteX0" fmla="*/ 0 w 6711696"/>
              <a:gd name="connsiteY0" fmla="*/ 3758741 h 3758742"/>
              <a:gd name="connsiteX1" fmla="*/ 960536 w 6711696"/>
              <a:gd name="connsiteY1" fmla="*/ 1421214 h 3758742"/>
              <a:gd name="connsiteX2" fmla="*/ 1927858 w 6711696"/>
              <a:gd name="connsiteY2" fmla="*/ 2876476 h 3758742"/>
              <a:gd name="connsiteX3" fmla="*/ 2890410 w 6711696"/>
              <a:gd name="connsiteY3" fmla="*/ 870472 h 3758742"/>
              <a:gd name="connsiteX4" fmla="*/ 3794176 w 6711696"/>
              <a:gd name="connsiteY4" fmla="*/ 69861 h 3758742"/>
              <a:gd name="connsiteX5" fmla="*/ 4761405 w 6711696"/>
              <a:gd name="connsiteY5" fmla="*/ 2539177 h 3758742"/>
              <a:gd name="connsiteX6" fmla="*/ 5733823 w 6711696"/>
              <a:gd name="connsiteY6" fmla="*/ 1637536 h 3758742"/>
              <a:gd name="connsiteX7" fmla="*/ 6711696 w 6711696"/>
              <a:gd name="connsiteY7" fmla="*/ 1984379 h 3758742"/>
              <a:gd name="connsiteX0" fmla="*/ 0 w 6798125"/>
              <a:gd name="connsiteY0" fmla="*/ 1602423 h 2880994"/>
              <a:gd name="connsiteX1" fmla="*/ 1046965 w 6798125"/>
              <a:gd name="connsiteY1" fmla="*/ 1421214 h 2880994"/>
              <a:gd name="connsiteX2" fmla="*/ 2014287 w 6798125"/>
              <a:gd name="connsiteY2" fmla="*/ 2876476 h 2880994"/>
              <a:gd name="connsiteX3" fmla="*/ 2976839 w 6798125"/>
              <a:gd name="connsiteY3" fmla="*/ 870472 h 2880994"/>
              <a:gd name="connsiteX4" fmla="*/ 3880605 w 6798125"/>
              <a:gd name="connsiteY4" fmla="*/ 69861 h 2880994"/>
              <a:gd name="connsiteX5" fmla="*/ 4847834 w 6798125"/>
              <a:gd name="connsiteY5" fmla="*/ 2539177 h 2880994"/>
              <a:gd name="connsiteX6" fmla="*/ 5820252 w 6798125"/>
              <a:gd name="connsiteY6" fmla="*/ 1637536 h 2880994"/>
              <a:gd name="connsiteX7" fmla="*/ 6798125 w 6798125"/>
              <a:gd name="connsiteY7" fmla="*/ 1984379 h 2880994"/>
              <a:gd name="connsiteX0" fmla="*/ 0 w 6798125"/>
              <a:gd name="connsiteY0" fmla="*/ 1590374 h 2527128"/>
              <a:gd name="connsiteX1" fmla="*/ 1046965 w 6798125"/>
              <a:gd name="connsiteY1" fmla="*/ 1409165 h 2527128"/>
              <a:gd name="connsiteX2" fmla="*/ 1971072 w 6798125"/>
              <a:gd name="connsiteY2" fmla="*/ 1725240 h 2527128"/>
              <a:gd name="connsiteX3" fmla="*/ 2976839 w 6798125"/>
              <a:gd name="connsiteY3" fmla="*/ 858423 h 2527128"/>
              <a:gd name="connsiteX4" fmla="*/ 3880605 w 6798125"/>
              <a:gd name="connsiteY4" fmla="*/ 57812 h 2527128"/>
              <a:gd name="connsiteX5" fmla="*/ 4847834 w 6798125"/>
              <a:gd name="connsiteY5" fmla="*/ 2527128 h 2527128"/>
              <a:gd name="connsiteX6" fmla="*/ 5820252 w 6798125"/>
              <a:gd name="connsiteY6" fmla="*/ 1625487 h 2527128"/>
              <a:gd name="connsiteX7" fmla="*/ 6798125 w 6798125"/>
              <a:gd name="connsiteY7" fmla="*/ 1972330 h 2527128"/>
              <a:gd name="connsiteX0" fmla="*/ 0 w 6798125"/>
              <a:gd name="connsiteY0" fmla="*/ 1554117 h 2490871"/>
              <a:gd name="connsiteX1" fmla="*/ 1046965 w 6798125"/>
              <a:gd name="connsiteY1" fmla="*/ 1372908 h 2490871"/>
              <a:gd name="connsiteX2" fmla="*/ 1971072 w 6798125"/>
              <a:gd name="connsiteY2" fmla="*/ 1688983 h 2490871"/>
              <a:gd name="connsiteX3" fmla="*/ 2976839 w 6798125"/>
              <a:gd name="connsiteY3" fmla="*/ 1310390 h 2490871"/>
              <a:gd name="connsiteX4" fmla="*/ 3880605 w 6798125"/>
              <a:gd name="connsiteY4" fmla="*/ 21555 h 2490871"/>
              <a:gd name="connsiteX5" fmla="*/ 4847834 w 6798125"/>
              <a:gd name="connsiteY5" fmla="*/ 2490871 h 2490871"/>
              <a:gd name="connsiteX6" fmla="*/ 5820252 w 6798125"/>
              <a:gd name="connsiteY6" fmla="*/ 1589230 h 2490871"/>
              <a:gd name="connsiteX7" fmla="*/ 6798125 w 6798125"/>
              <a:gd name="connsiteY7" fmla="*/ 1936073 h 2490871"/>
              <a:gd name="connsiteX0" fmla="*/ 0 w 6798125"/>
              <a:gd name="connsiteY0" fmla="*/ 337802 h 1274556"/>
              <a:gd name="connsiteX1" fmla="*/ 1046965 w 6798125"/>
              <a:gd name="connsiteY1" fmla="*/ 156593 h 1274556"/>
              <a:gd name="connsiteX2" fmla="*/ 1971072 w 6798125"/>
              <a:gd name="connsiteY2" fmla="*/ 472668 h 1274556"/>
              <a:gd name="connsiteX3" fmla="*/ 2976839 w 6798125"/>
              <a:gd name="connsiteY3" fmla="*/ 94075 h 1274556"/>
              <a:gd name="connsiteX4" fmla="*/ 3880605 w 6798125"/>
              <a:gd name="connsiteY4" fmla="*/ 107170 h 1274556"/>
              <a:gd name="connsiteX5" fmla="*/ 4847834 w 6798125"/>
              <a:gd name="connsiteY5" fmla="*/ 1274556 h 1274556"/>
              <a:gd name="connsiteX6" fmla="*/ 5820252 w 6798125"/>
              <a:gd name="connsiteY6" fmla="*/ 372915 h 1274556"/>
              <a:gd name="connsiteX7" fmla="*/ 6798125 w 6798125"/>
              <a:gd name="connsiteY7" fmla="*/ 719758 h 1274556"/>
              <a:gd name="connsiteX0" fmla="*/ 0 w 6798125"/>
              <a:gd name="connsiteY0" fmla="*/ 273581 h 655538"/>
              <a:gd name="connsiteX1" fmla="*/ 1046965 w 6798125"/>
              <a:gd name="connsiteY1" fmla="*/ 92372 h 655538"/>
              <a:gd name="connsiteX2" fmla="*/ 1971072 w 6798125"/>
              <a:gd name="connsiteY2" fmla="*/ 408447 h 655538"/>
              <a:gd name="connsiteX3" fmla="*/ 2976839 w 6798125"/>
              <a:gd name="connsiteY3" fmla="*/ 29854 h 655538"/>
              <a:gd name="connsiteX4" fmla="*/ 3880605 w 6798125"/>
              <a:gd name="connsiteY4" fmla="*/ 42949 h 655538"/>
              <a:gd name="connsiteX5" fmla="*/ 4847834 w 6798125"/>
              <a:gd name="connsiteY5" fmla="*/ 193203 h 655538"/>
              <a:gd name="connsiteX6" fmla="*/ 5820252 w 6798125"/>
              <a:gd name="connsiteY6" fmla="*/ 308694 h 655538"/>
              <a:gd name="connsiteX7" fmla="*/ 6798125 w 6798125"/>
              <a:gd name="connsiteY7" fmla="*/ 655537 h 655538"/>
              <a:gd name="connsiteX0" fmla="*/ 0 w 6798125"/>
              <a:gd name="connsiteY0" fmla="*/ 273581 h 408707"/>
              <a:gd name="connsiteX1" fmla="*/ 1046965 w 6798125"/>
              <a:gd name="connsiteY1" fmla="*/ 92372 h 408707"/>
              <a:gd name="connsiteX2" fmla="*/ 1971072 w 6798125"/>
              <a:gd name="connsiteY2" fmla="*/ 408447 h 408707"/>
              <a:gd name="connsiteX3" fmla="*/ 2976839 w 6798125"/>
              <a:gd name="connsiteY3" fmla="*/ 29854 h 408707"/>
              <a:gd name="connsiteX4" fmla="*/ 3880605 w 6798125"/>
              <a:gd name="connsiteY4" fmla="*/ 42949 h 408707"/>
              <a:gd name="connsiteX5" fmla="*/ 4847834 w 6798125"/>
              <a:gd name="connsiteY5" fmla="*/ 193203 h 408707"/>
              <a:gd name="connsiteX6" fmla="*/ 5820252 w 6798125"/>
              <a:gd name="connsiteY6" fmla="*/ 308694 h 408707"/>
              <a:gd name="connsiteX7" fmla="*/ 6798125 w 6798125"/>
              <a:gd name="connsiteY7" fmla="*/ 85944 h 408707"/>
              <a:gd name="connsiteX0" fmla="*/ 0 w 6756038"/>
              <a:gd name="connsiteY0" fmla="*/ 8700382 h 8700382"/>
              <a:gd name="connsiteX1" fmla="*/ 1004878 w 6756038"/>
              <a:gd name="connsiteY1" fmla="*/ 509483 h 8700382"/>
              <a:gd name="connsiteX2" fmla="*/ 1928985 w 6756038"/>
              <a:gd name="connsiteY2" fmla="*/ 825558 h 8700382"/>
              <a:gd name="connsiteX3" fmla="*/ 2934752 w 6756038"/>
              <a:gd name="connsiteY3" fmla="*/ 446965 h 8700382"/>
              <a:gd name="connsiteX4" fmla="*/ 3838518 w 6756038"/>
              <a:gd name="connsiteY4" fmla="*/ 460060 h 8700382"/>
              <a:gd name="connsiteX5" fmla="*/ 4805747 w 6756038"/>
              <a:gd name="connsiteY5" fmla="*/ 610314 h 8700382"/>
              <a:gd name="connsiteX6" fmla="*/ 5778165 w 6756038"/>
              <a:gd name="connsiteY6" fmla="*/ 725805 h 8700382"/>
              <a:gd name="connsiteX7" fmla="*/ 6756038 w 6756038"/>
              <a:gd name="connsiteY7" fmla="*/ 503055 h 8700382"/>
              <a:gd name="connsiteX0" fmla="*/ 0 w 6756038"/>
              <a:gd name="connsiteY0" fmla="*/ 8353158 h 8353158"/>
              <a:gd name="connsiteX1" fmla="*/ 890642 w 6756038"/>
              <a:gd name="connsiteY1" fmla="*/ 5058642 h 8353158"/>
              <a:gd name="connsiteX2" fmla="*/ 1928985 w 6756038"/>
              <a:gd name="connsiteY2" fmla="*/ 478334 h 8353158"/>
              <a:gd name="connsiteX3" fmla="*/ 2934752 w 6756038"/>
              <a:gd name="connsiteY3" fmla="*/ 99741 h 8353158"/>
              <a:gd name="connsiteX4" fmla="*/ 3838518 w 6756038"/>
              <a:gd name="connsiteY4" fmla="*/ 112836 h 8353158"/>
              <a:gd name="connsiteX5" fmla="*/ 4805747 w 6756038"/>
              <a:gd name="connsiteY5" fmla="*/ 263090 h 8353158"/>
              <a:gd name="connsiteX6" fmla="*/ 5778165 w 6756038"/>
              <a:gd name="connsiteY6" fmla="*/ 378581 h 8353158"/>
              <a:gd name="connsiteX7" fmla="*/ 6756038 w 6756038"/>
              <a:gd name="connsiteY7" fmla="*/ 155831 h 8353158"/>
              <a:gd name="connsiteX0" fmla="*/ 0 w 6756038"/>
              <a:gd name="connsiteY0" fmla="*/ 8353158 h 8353158"/>
              <a:gd name="connsiteX1" fmla="*/ 890642 w 6756038"/>
              <a:gd name="connsiteY1" fmla="*/ 5058642 h 8353158"/>
              <a:gd name="connsiteX2" fmla="*/ 1928985 w 6756038"/>
              <a:gd name="connsiteY2" fmla="*/ 478334 h 8353158"/>
              <a:gd name="connsiteX3" fmla="*/ 2934752 w 6756038"/>
              <a:gd name="connsiteY3" fmla="*/ 99741 h 8353158"/>
              <a:gd name="connsiteX4" fmla="*/ 3838518 w 6756038"/>
              <a:gd name="connsiteY4" fmla="*/ 112836 h 8353158"/>
              <a:gd name="connsiteX5" fmla="*/ 4805747 w 6756038"/>
              <a:gd name="connsiteY5" fmla="*/ 263090 h 8353158"/>
              <a:gd name="connsiteX6" fmla="*/ 5778165 w 6756038"/>
              <a:gd name="connsiteY6" fmla="*/ 378581 h 8353158"/>
              <a:gd name="connsiteX7" fmla="*/ 6756038 w 6756038"/>
              <a:gd name="connsiteY7" fmla="*/ 155831 h 8353158"/>
              <a:gd name="connsiteX0" fmla="*/ 0 w 6756038"/>
              <a:gd name="connsiteY0" fmla="*/ 8391590 h 8391590"/>
              <a:gd name="connsiteX1" fmla="*/ 926717 w 6756038"/>
              <a:gd name="connsiteY1" fmla="*/ 5663130 h 8391590"/>
              <a:gd name="connsiteX2" fmla="*/ 1928985 w 6756038"/>
              <a:gd name="connsiteY2" fmla="*/ 516766 h 8391590"/>
              <a:gd name="connsiteX3" fmla="*/ 2934752 w 6756038"/>
              <a:gd name="connsiteY3" fmla="*/ 138173 h 8391590"/>
              <a:gd name="connsiteX4" fmla="*/ 3838518 w 6756038"/>
              <a:gd name="connsiteY4" fmla="*/ 151268 h 8391590"/>
              <a:gd name="connsiteX5" fmla="*/ 4805747 w 6756038"/>
              <a:gd name="connsiteY5" fmla="*/ 301522 h 8391590"/>
              <a:gd name="connsiteX6" fmla="*/ 5778165 w 6756038"/>
              <a:gd name="connsiteY6" fmla="*/ 417013 h 8391590"/>
              <a:gd name="connsiteX7" fmla="*/ 6756038 w 6756038"/>
              <a:gd name="connsiteY7" fmla="*/ 194263 h 8391590"/>
              <a:gd name="connsiteX0" fmla="*/ 0 w 6774075"/>
              <a:gd name="connsiteY0" fmla="*/ 7400995 h 7400995"/>
              <a:gd name="connsiteX1" fmla="*/ 944754 w 6774075"/>
              <a:gd name="connsiteY1" fmla="*/ 5663130 h 7400995"/>
              <a:gd name="connsiteX2" fmla="*/ 1947022 w 6774075"/>
              <a:gd name="connsiteY2" fmla="*/ 516766 h 7400995"/>
              <a:gd name="connsiteX3" fmla="*/ 2952789 w 6774075"/>
              <a:gd name="connsiteY3" fmla="*/ 138173 h 7400995"/>
              <a:gd name="connsiteX4" fmla="*/ 3856555 w 6774075"/>
              <a:gd name="connsiteY4" fmla="*/ 151268 h 7400995"/>
              <a:gd name="connsiteX5" fmla="*/ 4823784 w 6774075"/>
              <a:gd name="connsiteY5" fmla="*/ 301522 h 7400995"/>
              <a:gd name="connsiteX6" fmla="*/ 5796202 w 6774075"/>
              <a:gd name="connsiteY6" fmla="*/ 417013 h 7400995"/>
              <a:gd name="connsiteX7" fmla="*/ 6774075 w 6774075"/>
              <a:gd name="connsiteY7" fmla="*/ 194263 h 7400995"/>
              <a:gd name="connsiteX0" fmla="*/ 0 w 6774075"/>
              <a:gd name="connsiteY0" fmla="*/ 7592362 h 7592362"/>
              <a:gd name="connsiteX1" fmla="*/ 944754 w 6774075"/>
              <a:gd name="connsiteY1" fmla="*/ 5854497 h 7592362"/>
              <a:gd name="connsiteX2" fmla="*/ 1953034 w 6774075"/>
              <a:gd name="connsiteY2" fmla="*/ 4755433 h 7592362"/>
              <a:gd name="connsiteX3" fmla="*/ 2952789 w 6774075"/>
              <a:gd name="connsiteY3" fmla="*/ 329540 h 7592362"/>
              <a:gd name="connsiteX4" fmla="*/ 3856555 w 6774075"/>
              <a:gd name="connsiteY4" fmla="*/ 342635 h 7592362"/>
              <a:gd name="connsiteX5" fmla="*/ 4823784 w 6774075"/>
              <a:gd name="connsiteY5" fmla="*/ 492889 h 7592362"/>
              <a:gd name="connsiteX6" fmla="*/ 5796202 w 6774075"/>
              <a:gd name="connsiteY6" fmla="*/ 608380 h 7592362"/>
              <a:gd name="connsiteX7" fmla="*/ 6774075 w 6774075"/>
              <a:gd name="connsiteY7" fmla="*/ 385630 h 7592362"/>
              <a:gd name="connsiteX0" fmla="*/ 0 w 6774075"/>
              <a:gd name="connsiteY0" fmla="*/ 7592362 h 7592362"/>
              <a:gd name="connsiteX1" fmla="*/ 944754 w 6774075"/>
              <a:gd name="connsiteY1" fmla="*/ 5854497 h 7592362"/>
              <a:gd name="connsiteX2" fmla="*/ 1953034 w 6774075"/>
              <a:gd name="connsiteY2" fmla="*/ 4755433 h 7592362"/>
              <a:gd name="connsiteX3" fmla="*/ 2952789 w 6774075"/>
              <a:gd name="connsiteY3" fmla="*/ 329540 h 7592362"/>
              <a:gd name="connsiteX4" fmla="*/ 3856555 w 6774075"/>
              <a:gd name="connsiteY4" fmla="*/ 342635 h 7592362"/>
              <a:gd name="connsiteX5" fmla="*/ 4823784 w 6774075"/>
              <a:gd name="connsiteY5" fmla="*/ 492889 h 7592362"/>
              <a:gd name="connsiteX6" fmla="*/ 5796202 w 6774075"/>
              <a:gd name="connsiteY6" fmla="*/ 608380 h 7592362"/>
              <a:gd name="connsiteX7" fmla="*/ 6774075 w 6774075"/>
              <a:gd name="connsiteY7" fmla="*/ 385630 h 7592362"/>
              <a:gd name="connsiteX0" fmla="*/ 0 w 6774075"/>
              <a:gd name="connsiteY0" fmla="*/ 7592362 h 7592362"/>
              <a:gd name="connsiteX1" fmla="*/ 944754 w 6774075"/>
              <a:gd name="connsiteY1" fmla="*/ 5854497 h 7592362"/>
              <a:gd name="connsiteX2" fmla="*/ 1904934 w 6774075"/>
              <a:gd name="connsiteY2" fmla="*/ 4755433 h 7592362"/>
              <a:gd name="connsiteX3" fmla="*/ 2952789 w 6774075"/>
              <a:gd name="connsiteY3" fmla="*/ 329540 h 7592362"/>
              <a:gd name="connsiteX4" fmla="*/ 3856555 w 6774075"/>
              <a:gd name="connsiteY4" fmla="*/ 342635 h 7592362"/>
              <a:gd name="connsiteX5" fmla="*/ 4823784 w 6774075"/>
              <a:gd name="connsiteY5" fmla="*/ 492889 h 7592362"/>
              <a:gd name="connsiteX6" fmla="*/ 5796202 w 6774075"/>
              <a:gd name="connsiteY6" fmla="*/ 608380 h 7592362"/>
              <a:gd name="connsiteX7" fmla="*/ 6774075 w 6774075"/>
              <a:gd name="connsiteY7" fmla="*/ 385630 h 7592362"/>
              <a:gd name="connsiteX0" fmla="*/ 0 w 6774075"/>
              <a:gd name="connsiteY0" fmla="*/ 7397518 h 7397518"/>
              <a:gd name="connsiteX1" fmla="*/ 944754 w 6774075"/>
              <a:gd name="connsiteY1" fmla="*/ 5659653 h 7397518"/>
              <a:gd name="connsiteX2" fmla="*/ 1904934 w 6774075"/>
              <a:gd name="connsiteY2" fmla="*/ 4560589 h 7397518"/>
              <a:gd name="connsiteX3" fmla="*/ 2862602 w 6774075"/>
              <a:gd name="connsiteY3" fmla="*/ 2710250 h 7397518"/>
              <a:gd name="connsiteX4" fmla="*/ 3856555 w 6774075"/>
              <a:gd name="connsiteY4" fmla="*/ 147791 h 7397518"/>
              <a:gd name="connsiteX5" fmla="*/ 4823784 w 6774075"/>
              <a:gd name="connsiteY5" fmla="*/ 298045 h 7397518"/>
              <a:gd name="connsiteX6" fmla="*/ 5796202 w 6774075"/>
              <a:gd name="connsiteY6" fmla="*/ 413536 h 7397518"/>
              <a:gd name="connsiteX7" fmla="*/ 6774075 w 6774075"/>
              <a:gd name="connsiteY7" fmla="*/ 190786 h 7397518"/>
              <a:gd name="connsiteX0" fmla="*/ 0 w 6774075"/>
              <a:gd name="connsiteY0" fmla="*/ 7397518 h 7397518"/>
              <a:gd name="connsiteX1" fmla="*/ 944754 w 6774075"/>
              <a:gd name="connsiteY1" fmla="*/ 5659653 h 7397518"/>
              <a:gd name="connsiteX2" fmla="*/ 1904934 w 6774075"/>
              <a:gd name="connsiteY2" fmla="*/ 4560589 h 7397518"/>
              <a:gd name="connsiteX3" fmla="*/ 2862602 w 6774075"/>
              <a:gd name="connsiteY3" fmla="*/ 2710250 h 7397518"/>
              <a:gd name="connsiteX4" fmla="*/ 3856555 w 6774075"/>
              <a:gd name="connsiteY4" fmla="*/ 147791 h 7397518"/>
              <a:gd name="connsiteX5" fmla="*/ 4823784 w 6774075"/>
              <a:gd name="connsiteY5" fmla="*/ 298045 h 7397518"/>
              <a:gd name="connsiteX6" fmla="*/ 5796202 w 6774075"/>
              <a:gd name="connsiteY6" fmla="*/ 413536 h 7397518"/>
              <a:gd name="connsiteX7" fmla="*/ 6774075 w 6774075"/>
              <a:gd name="connsiteY7" fmla="*/ 190786 h 7397518"/>
              <a:gd name="connsiteX0" fmla="*/ 0 w 6774075"/>
              <a:gd name="connsiteY0" fmla="*/ 7206732 h 7206732"/>
              <a:gd name="connsiteX1" fmla="*/ 944754 w 6774075"/>
              <a:gd name="connsiteY1" fmla="*/ 5468867 h 7206732"/>
              <a:gd name="connsiteX2" fmla="*/ 1904934 w 6774075"/>
              <a:gd name="connsiteY2" fmla="*/ 4369803 h 7206732"/>
              <a:gd name="connsiteX3" fmla="*/ 2862602 w 6774075"/>
              <a:gd name="connsiteY3" fmla="*/ 2519464 h 7206732"/>
              <a:gd name="connsiteX4" fmla="*/ 3862568 w 6774075"/>
              <a:gd name="connsiteY4" fmla="*/ 6042102 h 7206732"/>
              <a:gd name="connsiteX5" fmla="*/ 4823784 w 6774075"/>
              <a:gd name="connsiteY5" fmla="*/ 107259 h 7206732"/>
              <a:gd name="connsiteX6" fmla="*/ 5796202 w 6774075"/>
              <a:gd name="connsiteY6" fmla="*/ 222750 h 7206732"/>
              <a:gd name="connsiteX7" fmla="*/ 6774075 w 6774075"/>
              <a:gd name="connsiteY7" fmla="*/ 0 h 7206732"/>
              <a:gd name="connsiteX0" fmla="*/ 0 w 6774075"/>
              <a:gd name="connsiteY0" fmla="*/ 7206732 h 7206732"/>
              <a:gd name="connsiteX1" fmla="*/ 944754 w 6774075"/>
              <a:gd name="connsiteY1" fmla="*/ 5468867 h 7206732"/>
              <a:gd name="connsiteX2" fmla="*/ 1904934 w 6774075"/>
              <a:gd name="connsiteY2" fmla="*/ 4369803 h 7206732"/>
              <a:gd name="connsiteX3" fmla="*/ 2862602 w 6774075"/>
              <a:gd name="connsiteY3" fmla="*/ 2519464 h 7206732"/>
              <a:gd name="connsiteX4" fmla="*/ 3862568 w 6774075"/>
              <a:gd name="connsiteY4" fmla="*/ 6042102 h 7206732"/>
              <a:gd name="connsiteX5" fmla="*/ 4823784 w 6774075"/>
              <a:gd name="connsiteY5" fmla="*/ 107259 h 7206732"/>
              <a:gd name="connsiteX6" fmla="*/ 5796202 w 6774075"/>
              <a:gd name="connsiteY6" fmla="*/ 222750 h 7206732"/>
              <a:gd name="connsiteX7" fmla="*/ 6774075 w 6774075"/>
              <a:gd name="connsiteY7" fmla="*/ 0 h 7206732"/>
              <a:gd name="connsiteX0" fmla="*/ 0 w 6774075"/>
              <a:gd name="connsiteY0" fmla="*/ 7206732 h 7206732"/>
              <a:gd name="connsiteX1" fmla="*/ 944754 w 6774075"/>
              <a:gd name="connsiteY1" fmla="*/ 5468867 h 7206732"/>
              <a:gd name="connsiteX2" fmla="*/ 1904934 w 6774075"/>
              <a:gd name="connsiteY2" fmla="*/ 4369803 h 7206732"/>
              <a:gd name="connsiteX3" fmla="*/ 2862602 w 6774075"/>
              <a:gd name="connsiteY3" fmla="*/ 2519464 h 7206732"/>
              <a:gd name="connsiteX4" fmla="*/ 3862568 w 6774075"/>
              <a:gd name="connsiteY4" fmla="*/ 6042102 h 7206732"/>
              <a:gd name="connsiteX5" fmla="*/ 4775684 w 6774075"/>
              <a:gd name="connsiteY5" fmla="*/ 4494190 h 7206732"/>
              <a:gd name="connsiteX6" fmla="*/ 5796202 w 6774075"/>
              <a:gd name="connsiteY6" fmla="*/ 222750 h 7206732"/>
              <a:gd name="connsiteX7" fmla="*/ 6774075 w 6774075"/>
              <a:gd name="connsiteY7" fmla="*/ 0 h 7206732"/>
              <a:gd name="connsiteX0" fmla="*/ 0 w 6774075"/>
              <a:gd name="connsiteY0" fmla="*/ 7206732 h 7206732"/>
              <a:gd name="connsiteX1" fmla="*/ 944754 w 6774075"/>
              <a:gd name="connsiteY1" fmla="*/ 5468867 h 7206732"/>
              <a:gd name="connsiteX2" fmla="*/ 1904934 w 6774075"/>
              <a:gd name="connsiteY2" fmla="*/ 4369803 h 7206732"/>
              <a:gd name="connsiteX3" fmla="*/ 2862602 w 6774075"/>
              <a:gd name="connsiteY3" fmla="*/ 2519464 h 7206732"/>
              <a:gd name="connsiteX4" fmla="*/ 3862568 w 6774075"/>
              <a:gd name="connsiteY4" fmla="*/ 6042102 h 7206732"/>
              <a:gd name="connsiteX5" fmla="*/ 4859858 w 6774075"/>
              <a:gd name="connsiteY5" fmla="*/ 3758317 h 7206732"/>
              <a:gd name="connsiteX6" fmla="*/ 5796202 w 6774075"/>
              <a:gd name="connsiteY6" fmla="*/ 222750 h 7206732"/>
              <a:gd name="connsiteX7" fmla="*/ 6774075 w 6774075"/>
              <a:gd name="connsiteY7" fmla="*/ 0 h 7206732"/>
              <a:gd name="connsiteX0" fmla="*/ 0 w 6774075"/>
              <a:gd name="connsiteY0" fmla="*/ 7206732 h 7206732"/>
              <a:gd name="connsiteX1" fmla="*/ 944754 w 6774075"/>
              <a:gd name="connsiteY1" fmla="*/ 5468867 h 7206732"/>
              <a:gd name="connsiteX2" fmla="*/ 1904934 w 6774075"/>
              <a:gd name="connsiteY2" fmla="*/ 4369803 h 7206732"/>
              <a:gd name="connsiteX3" fmla="*/ 2862602 w 6774075"/>
              <a:gd name="connsiteY3" fmla="*/ 2519464 h 7206732"/>
              <a:gd name="connsiteX4" fmla="*/ 3862568 w 6774075"/>
              <a:gd name="connsiteY4" fmla="*/ 6042102 h 7206732"/>
              <a:gd name="connsiteX5" fmla="*/ 4859858 w 6774075"/>
              <a:gd name="connsiteY5" fmla="*/ 3758317 h 7206732"/>
              <a:gd name="connsiteX6" fmla="*/ 5796203 w 6774075"/>
              <a:gd name="connsiteY6" fmla="*/ 4722896 h 7206732"/>
              <a:gd name="connsiteX7" fmla="*/ 6774075 w 6774075"/>
              <a:gd name="connsiteY7" fmla="*/ 0 h 7206732"/>
              <a:gd name="connsiteX0" fmla="*/ 0 w 6774075"/>
              <a:gd name="connsiteY0" fmla="*/ 7206732 h 7206732"/>
              <a:gd name="connsiteX1" fmla="*/ 944754 w 6774075"/>
              <a:gd name="connsiteY1" fmla="*/ 5468867 h 7206732"/>
              <a:gd name="connsiteX2" fmla="*/ 1904934 w 6774075"/>
              <a:gd name="connsiteY2" fmla="*/ 4369803 h 7206732"/>
              <a:gd name="connsiteX3" fmla="*/ 2862602 w 6774075"/>
              <a:gd name="connsiteY3" fmla="*/ 2519464 h 7206732"/>
              <a:gd name="connsiteX4" fmla="*/ 3862568 w 6774075"/>
              <a:gd name="connsiteY4" fmla="*/ 6042102 h 7206732"/>
              <a:gd name="connsiteX5" fmla="*/ 4859858 w 6774075"/>
              <a:gd name="connsiteY5" fmla="*/ 3758317 h 7206732"/>
              <a:gd name="connsiteX6" fmla="*/ 5796203 w 6774075"/>
              <a:gd name="connsiteY6" fmla="*/ 4722896 h 7206732"/>
              <a:gd name="connsiteX7" fmla="*/ 6774075 w 6774075"/>
              <a:gd name="connsiteY7" fmla="*/ 0 h 7206732"/>
              <a:gd name="connsiteX0" fmla="*/ 0 w 6774075"/>
              <a:gd name="connsiteY0" fmla="*/ 7206732 h 7206732"/>
              <a:gd name="connsiteX1" fmla="*/ 944754 w 6774075"/>
              <a:gd name="connsiteY1" fmla="*/ 5468867 h 7206732"/>
              <a:gd name="connsiteX2" fmla="*/ 1904934 w 6774075"/>
              <a:gd name="connsiteY2" fmla="*/ 4369803 h 7206732"/>
              <a:gd name="connsiteX3" fmla="*/ 2862602 w 6774075"/>
              <a:gd name="connsiteY3" fmla="*/ 2519464 h 7206732"/>
              <a:gd name="connsiteX4" fmla="*/ 3862568 w 6774075"/>
              <a:gd name="connsiteY4" fmla="*/ 6042102 h 7206732"/>
              <a:gd name="connsiteX5" fmla="*/ 4859858 w 6774075"/>
              <a:gd name="connsiteY5" fmla="*/ 3758317 h 7206732"/>
              <a:gd name="connsiteX6" fmla="*/ 5796203 w 6774075"/>
              <a:gd name="connsiteY6" fmla="*/ 4722896 h 7206732"/>
              <a:gd name="connsiteX7" fmla="*/ 6774075 w 6774075"/>
              <a:gd name="connsiteY7" fmla="*/ 0 h 7206732"/>
              <a:gd name="connsiteX0" fmla="*/ 0 w 6792112"/>
              <a:gd name="connsiteY0" fmla="*/ 4718969 h 4718969"/>
              <a:gd name="connsiteX1" fmla="*/ 944754 w 6792112"/>
              <a:gd name="connsiteY1" fmla="*/ 2981104 h 4718969"/>
              <a:gd name="connsiteX2" fmla="*/ 1904934 w 6792112"/>
              <a:gd name="connsiteY2" fmla="*/ 1882040 h 4718969"/>
              <a:gd name="connsiteX3" fmla="*/ 2862602 w 6792112"/>
              <a:gd name="connsiteY3" fmla="*/ 31701 h 4718969"/>
              <a:gd name="connsiteX4" fmla="*/ 3862568 w 6792112"/>
              <a:gd name="connsiteY4" fmla="*/ 3554339 h 4718969"/>
              <a:gd name="connsiteX5" fmla="*/ 4859858 w 6792112"/>
              <a:gd name="connsiteY5" fmla="*/ 1270554 h 4718969"/>
              <a:gd name="connsiteX6" fmla="*/ 5796203 w 6792112"/>
              <a:gd name="connsiteY6" fmla="*/ 2235133 h 4718969"/>
              <a:gd name="connsiteX7" fmla="*/ 6792112 w 6792112"/>
              <a:gd name="connsiteY7" fmla="*/ 1474628 h 4718969"/>
              <a:gd name="connsiteX0" fmla="*/ 0 w 6792112"/>
              <a:gd name="connsiteY0" fmla="*/ 4718969 h 4718969"/>
              <a:gd name="connsiteX1" fmla="*/ 944754 w 6792112"/>
              <a:gd name="connsiteY1" fmla="*/ 2981104 h 4718969"/>
              <a:gd name="connsiteX2" fmla="*/ 1904934 w 6792112"/>
              <a:gd name="connsiteY2" fmla="*/ 1882040 h 4718969"/>
              <a:gd name="connsiteX3" fmla="*/ 2862602 w 6792112"/>
              <a:gd name="connsiteY3" fmla="*/ 31701 h 4718969"/>
              <a:gd name="connsiteX4" fmla="*/ 3862568 w 6792112"/>
              <a:gd name="connsiteY4" fmla="*/ 3554339 h 4718969"/>
              <a:gd name="connsiteX5" fmla="*/ 4859858 w 6792112"/>
              <a:gd name="connsiteY5" fmla="*/ 1270554 h 4718969"/>
              <a:gd name="connsiteX6" fmla="*/ 5796203 w 6792112"/>
              <a:gd name="connsiteY6" fmla="*/ 2235133 h 4718969"/>
              <a:gd name="connsiteX7" fmla="*/ 6792112 w 6792112"/>
              <a:gd name="connsiteY7" fmla="*/ 1474628 h 4718969"/>
              <a:gd name="connsiteX0" fmla="*/ 0 w 6804137"/>
              <a:gd name="connsiteY0" fmla="*/ 2850986 h 3566469"/>
              <a:gd name="connsiteX1" fmla="*/ 956779 w 6804137"/>
              <a:gd name="connsiteY1" fmla="*/ 2981104 h 3566469"/>
              <a:gd name="connsiteX2" fmla="*/ 1916959 w 6804137"/>
              <a:gd name="connsiteY2" fmla="*/ 1882040 h 3566469"/>
              <a:gd name="connsiteX3" fmla="*/ 2874627 w 6804137"/>
              <a:gd name="connsiteY3" fmla="*/ 31701 h 3566469"/>
              <a:gd name="connsiteX4" fmla="*/ 3874593 w 6804137"/>
              <a:gd name="connsiteY4" fmla="*/ 3554339 h 3566469"/>
              <a:gd name="connsiteX5" fmla="*/ 4871883 w 6804137"/>
              <a:gd name="connsiteY5" fmla="*/ 1270554 h 3566469"/>
              <a:gd name="connsiteX6" fmla="*/ 5808228 w 6804137"/>
              <a:gd name="connsiteY6" fmla="*/ 2235133 h 3566469"/>
              <a:gd name="connsiteX7" fmla="*/ 6804137 w 6804137"/>
              <a:gd name="connsiteY7" fmla="*/ 1474628 h 3566469"/>
              <a:gd name="connsiteX0" fmla="*/ 0 w 6629775"/>
              <a:gd name="connsiteY0" fmla="*/ 0 h 33016059"/>
              <a:gd name="connsiteX1" fmla="*/ 782417 w 6629775"/>
              <a:gd name="connsiteY1" fmla="*/ 30965084 h 33016059"/>
              <a:gd name="connsiteX2" fmla="*/ 1742597 w 6629775"/>
              <a:gd name="connsiteY2" fmla="*/ 29866020 h 33016059"/>
              <a:gd name="connsiteX3" fmla="*/ 2700265 w 6629775"/>
              <a:gd name="connsiteY3" fmla="*/ 28015681 h 33016059"/>
              <a:gd name="connsiteX4" fmla="*/ 3700231 w 6629775"/>
              <a:gd name="connsiteY4" fmla="*/ 31538319 h 33016059"/>
              <a:gd name="connsiteX5" fmla="*/ 4697521 w 6629775"/>
              <a:gd name="connsiteY5" fmla="*/ 29254534 h 33016059"/>
              <a:gd name="connsiteX6" fmla="*/ 5633866 w 6629775"/>
              <a:gd name="connsiteY6" fmla="*/ 30219113 h 33016059"/>
              <a:gd name="connsiteX7" fmla="*/ 6629775 w 6629775"/>
              <a:gd name="connsiteY7" fmla="*/ 29458608 h 33016059"/>
              <a:gd name="connsiteX0" fmla="*/ 0 w 6629775"/>
              <a:gd name="connsiteY0" fmla="*/ 1457114 h 33007563"/>
              <a:gd name="connsiteX1" fmla="*/ 974816 w 6629775"/>
              <a:gd name="connsiteY1" fmla="*/ 2528739 h 33007563"/>
              <a:gd name="connsiteX2" fmla="*/ 1742597 w 6629775"/>
              <a:gd name="connsiteY2" fmla="*/ 31323134 h 33007563"/>
              <a:gd name="connsiteX3" fmla="*/ 2700265 w 6629775"/>
              <a:gd name="connsiteY3" fmla="*/ 29472795 h 33007563"/>
              <a:gd name="connsiteX4" fmla="*/ 3700231 w 6629775"/>
              <a:gd name="connsiteY4" fmla="*/ 32995433 h 33007563"/>
              <a:gd name="connsiteX5" fmla="*/ 4697521 w 6629775"/>
              <a:gd name="connsiteY5" fmla="*/ 30711648 h 33007563"/>
              <a:gd name="connsiteX6" fmla="*/ 5633866 w 6629775"/>
              <a:gd name="connsiteY6" fmla="*/ 31676227 h 33007563"/>
              <a:gd name="connsiteX7" fmla="*/ 6629775 w 6629775"/>
              <a:gd name="connsiteY7" fmla="*/ 30915722 h 33007563"/>
              <a:gd name="connsiteX0" fmla="*/ 0 w 6629775"/>
              <a:gd name="connsiteY0" fmla="*/ 0 h 31550449"/>
              <a:gd name="connsiteX1" fmla="*/ 974816 w 6629775"/>
              <a:gd name="connsiteY1" fmla="*/ 1071625 h 31550449"/>
              <a:gd name="connsiteX2" fmla="*/ 1742597 w 6629775"/>
              <a:gd name="connsiteY2" fmla="*/ 29866020 h 31550449"/>
              <a:gd name="connsiteX3" fmla="*/ 2700265 w 6629775"/>
              <a:gd name="connsiteY3" fmla="*/ 28015681 h 31550449"/>
              <a:gd name="connsiteX4" fmla="*/ 3700231 w 6629775"/>
              <a:gd name="connsiteY4" fmla="*/ 31538319 h 31550449"/>
              <a:gd name="connsiteX5" fmla="*/ 4697521 w 6629775"/>
              <a:gd name="connsiteY5" fmla="*/ 29254534 h 31550449"/>
              <a:gd name="connsiteX6" fmla="*/ 5633866 w 6629775"/>
              <a:gd name="connsiteY6" fmla="*/ 30219113 h 31550449"/>
              <a:gd name="connsiteX7" fmla="*/ 6629775 w 6629775"/>
              <a:gd name="connsiteY7" fmla="*/ 29458608 h 31550449"/>
              <a:gd name="connsiteX0" fmla="*/ 0 w 6629775"/>
              <a:gd name="connsiteY0" fmla="*/ 0 h 31550449"/>
              <a:gd name="connsiteX1" fmla="*/ 974816 w 6629775"/>
              <a:gd name="connsiteY1" fmla="*/ 836223 h 31550449"/>
              <a:gd name="connsiteX2" fmla="*/ 1742597 w 6629775"/>
              <a:gd name="connsiteY2" fmla="*/ 29866020 h 31550449"/>
              <a:gd name="connsiteX3" fmla="*/ 2700265 w 6629775"/>
              <a:gd name="connsiteY3" fmla="*/ 28015681 h 31550449"/>
              <a:gd name="connsiteX4" fmla="*/ 3700231 w 6629775"/>
              <a:gd name="connsiteY4" fmla="*/ 31538319 h 31550449"/>
              <a:gd name="connsiteX5" fmla="*/ 4697521 w 6629775"/>
              <a:gd name="connsiteY5" fmla="*/ 29254534 h 31550449"/>
              <a:gd name="connsiteX6" fmla="*/ 5633866 w 6629775"/>
              <a:gd name="connsiteY6" fmla="*/ 30219113 h 31550449"/>
              <a:gd name="connsiteX7" fmla="*/ 6629775 w 6629775"/>
              <a:gd name="connsiteY7" fmla="*/ 29458608 h 31550449"/>
              <a:gd name="connsiteX0" fmla="*/ 0 w 6629775"/>
              <a:gd name="connsiteY0" fmla="*/ 0 h 31550449"/>
              <a:gd name="connsiteX1" fmla="*/ 974816 w 6629775"/>
              <a:gd name="connsiteY1" fmla="*/ 836223 h 31550449"/>
              <a:gd name="connsiteX2" fmla="*/ 1742597 w 6629775"/>
              <a:gd name="connsiteY2" fmla="*/ 29866020 h 31550449"/>
              <a:gd name="connsiteX3" fmla="*/ 2700265 w 6629775"/>
              <a:gd name="connsiteY3" fmla="*/ 28015681 h 31550449"/>
              <a:gd name="connsiteX4" fmla="*/ 3700231 w 6629775"/>
              <a:gd name="connsiteY4" fmla="*/ 31538319 h 31550449"/>
              <a:gd name="connsiteX5" fmla="*/ 4697521 w 6629775"/>
              <a:gd name="connsiteY5" fmla="*/ 29254534 h 31550449"/>
              <a:gd name="connsiteX6" fmla="*/ 5633866 w 6629775"/>
              <a:gd name="connsiteY6" fmla="*/ 30219113 h 31550449"/>
              <a:gd name="connsiteX7" fmla="*/ 6629775 w 6629775"/>
              <a:gd name="connsiteY7" fmla="*/ 29458608 h 31550449"/>
              <a:gd name="connsiteX0" fmla="*/ 0 w 6629775"/>
              <a:gd name="connsiteY0" fmla="*/ 0 h 31550449"/>
              <a:gd name="connsiteX1" fmla="*/ 974816 w 6629775"/>
              <a:gd name="connsiteY1" fmla="*/ 600850 h 31550449"/>
              <a:gd name="connsiteX2" fmla="*/ 1742597 w 6629775"/>
              <a:gd name="connsiteY2" fmla="*/ 29866020 h 31550449"/>
              <a:gd name="connsiteX3" fmla="*/ 2700265 w 6629775"/>
              <a:gd name="connsiteY3" fmla="*/ 28015681 h 31550449"/>
              <a:gd name="connsiteX4" fmla="*/ 3700231 w 6629775"/>
              <a:gd name="connsiteY4" fmla="*/ 31538319 h 31550449"/>
              <a:gd name="connsiteX5" fmla="*/ 4697521 w 6629775"/>
              <a:gd name="connsiteY5" fmla="*/ 29254534 h 31550449"/>
              <a:gd name="connsiteX6" fmla="*/ 5633866 w 6629775"/>
              <a:gd name="connsiteY6" fmla="*/ 30219113 h 31550449"/>
              <a:gd name="connsiteX7" fmla="*/ 6629775 w 6629775"/>
              <a:gd name="connsiteY7" fmla="*/ 29458608 h 31550449"/>
              <a:gd name="connsiteX0" fmla="*/ 0 w 6629775"/>
              <a:gd name="connsiteY0" fmla="*/ 501592 h 32052041"/>
              <a:gd name="connsiteX1" fmla="*/ 956779 w 6629775"/>
              <a:gd name="connsiteY1" fmla="*/ 160922 h 32052041"/>
              <a:gd name="connsiteX2" fmla="*/ 1742597 w 6629775"/>
              <a:gd name="connsiteY2" fmla="*/ 30367612 h 32052041"/>
              <a:gd name="connsiteX3" fmla="*/ 2700265 w 6629775"/>
              <a:gd name="connsiteY3" fmla="*/ 28517273 h 32052041"/>
              <a:gd name="connsiteX4" fmla="*/ 3700231 w 6629775"/>
              <a:gd name="connsiteY4" fmla="*/ 32039911 h 32052041"/>
              <a:gd name="connsiteX5" fmla="*/ 4697521 w 6629775"/>
              <a:gd name="connsiteY5" fmla="*/ 29756126 h 32052041"/>
              <a:gd name="connsiteX6" fmla="*/ 5633866 w 6629775"/>
              <a:gd name="connsiteY6" fmla="*/ 30720705 h 32052041"/>
              <a:gd name="connsiteX7" fmla="*/ 6629775 w 6629775"/>
              <a:gd name="connsiteY7" fmla="*/ 29960200 h 32052041"/>
              <a:gd name="connsiteX0" fmla="*/ 0 w 6629775"/>
              <a:gd name="connsiteY0" fmla="*/ 133865 h 31684314"/>
              <a:gd name="connsiteX1" fmla="*/ 956779 w 6629775"/>
              <a:gd name="connsiteY1" fmla="*/ 263969 h 31684314"/>
              <a:gd name="connsiteX2" fmla="*/ 1742597 w 6629775"/>
              <a:gd name="connsiteY2" fmla="*/ 29999885 h 31684314"/>
              <a:gd name="connsiteX3" fmla="*/ 2700265 w 6629775"/>
              <a:gd name="connsiteY3" fmla="*/ 28149546 h 31684314"/>
              <a:gd name="connsiteX4" fmla="*/ 3700231 w 6629775"/>
              <a:gd name="connsiteY4" fmla="*/ 31672184 h 31684314"/>
              <a:gd name="connsiteX5" fmla="*/ 4697521 w 6629775"/>
              <a:gd name="connsiteY5" fmla="*/ 29388399 h 31684314"/>
              <a:gd name="connsiteX6" fmla="*/ 5633866 w 6629775"/>
              <a:gd name="connsiteY6" fmla="*/ 30352978 h 31684314"/>
              <a:gd name="connsiteX7" fmla="*/ 6629775 w 6629775"/>
              <a:gd name="connsiteY7" fmla="*/ 29592473 h 31684314"/>
              <a:gd name="connsiteX0" fmla="*/ 0 w 6629775"/>
              <a:gd name="connsiteY0" fmla="*/ 835454 h 32483208"/>
              <a:gd name="connsiteX1" fmla="*/ 956779 w 6629775"/>
              <a:gd name="connsiteY1" fmla="*/ 965558 h 32483208"/>
              <a:gd name="connsiteX2" fmla="*/ 1904934 w 6629775"/>
              <a:gd name="connsiteY2" fmla="*/ 2455650 h 32483208"/>
              <a:gd name="connsiteX3" fmla="*/ 2700265 w 6629775"/>
              <a:gd name="connsiteY3" fmla="*/ 28851135 h 32483208"/>
              <a:gd name="connsiteX4" fmla="*/ 3700231 w 6629775"/>
              <a:gd name="connsiteY4" fmla="*/ 32373773 h 32483208"/>
              <a:gd name="connsiteX5" fmla="*/ 4697521 w 6629775"/>
              <a:gd name="connsiteY5" fmla="*/ 30089988 h 32483208"/>
              <a:gd name="connsiteX6" fmla="*/ 5633866 w 6629775"/>
              <a:gd name="connsiteY6" fmla="*/ 31054567 h 32483208"/>
              <a:gd name="connsiteX7" fmla="*/ 6629775 w 6629775"/>
              <a:gd name="connsiteY7" fmla="*/ 30294062 h 32483208"/>
              <a:gd name="connsiteX0" fmla="*/ 0 w 6629775"/>
              <a:gd name="connsiteY0" fmla="*/ 36028 h 31683782"/>
              <a:gd name="connsiteX1" fmla="*/ 956779 w 6629775"/>
              <a:gd name="connsiteY1" fmla="*/ 166132 h 31683782"/>
              <a:gd name="connsiteX2" fmla="*/ 1904934 w 6629775"/>
              <a:gd name="connsiteY2" fmla="*/ 1656224 h 31683782"/>
              <a:gd name="connsiteX3" fmla="*/ 2700265 w 6629775"/>
              <a:gd name="connsiteY3" fmla="*/ 28051709 h 31683782"/>
              <a:gd name="connsiteX4" fmla="*/ 3700231 w 6629775"/>
              <a:gd name="connsiteY4" fmla="*/ 31574347 h 31683782"/>
              <a:gd name="connsiteX5" fmla="*/ 4697521 w 6629775"/>
              <a:gd name="connsiteY5" fmla="*/ 29290562 h 31683782"/>
              <a:gd name="connsiteX6" fmla="*/ 5633866 w 6629775"/>
              <a:gd name="connsiteY6" fmla="*/ 30255141 h 31683782"/>
              <a:gd name="connsiteX7" fmla="*/ 6629775 w 6629775"/>
              <a:gd name="connsiteY7" fmla="*/ 29494636 h 31683782"/>
              <a:gd name="connsiteX0" fmla="*/ 0 w 6629775"/>
              <a:gd name="connsiteY0" fmla="*/ 1 h 31690620"/>
              <a:gd name="connsiteX1" fmla="*/ 956779 w 6629775"/>
              <a:gd name="connsiteY1" fmla="*/ 130105 h 31690620"/>
              <a:gd name="connsiteX2" fmla="*/ 1904934 w 6629775"/>
              <a:gd name="connsiteY2" fmla="*/ 678676 h 31690620"/>
              <a:gd name="connsiteX3" fmla="*/ 2700265 w 6629775"/>
              <a:gd name="connsiteY3" fmla="*/ 28015682 h 31690620"/>
              <a:gd name="connsiteX4" fmla="*/ 3700231 w 6629775"/>
              <a:gd name="connsiteY4" fmla="*/ 31538320 h 31690620"/>
              <a:gd name="connsiteX5" fmla="*/ 4697521 w 6629775"/>
              <a:gd name="connsiteY5" fmla="*/ 29254535 h 31690620"/>
              <a:gd name="connsiteX6" fmla="*/ 5633866 w 6629775"/>
              <a:gd name="connsiteY6" fmla="*/ 30219114 h 31690620"/>
              <a:gd name="connsiteX7" fmla="*/ 6629775 w 6629775"/>
              <a:gd name="connsiteY7" fmla="*/ 29458609 h 31690620"/>
              <a:gd name="connsiteX0" fmla="*/ 0 w 6629775"/>
              <a:gd name="connsiteY0" fmla="*/ 34882288 h 70604438"/>
              <a:gd name="connsiteX1" fmla="*/ 956779 w 6629775"/>
              <a:gd name="connsiteY1" fmla="*/ 35012392 h 70604438"/>
              <a:gd name="connsiteX2" fmla="*/ 1904934 w 6629775"/>
              <a:gd name="connsiteY2" fmla="*/ 35560963 h 70604438"/>
              <a:gd name="connsiteX3" fmla="*/ 2898677 w 6629775"/>
              <a:gd name="connsiteY3" fmla="*/ 521811 h 70604438"/>
              <a:gd name="connsiteX4" fmla="*/ 3700231 w 6629775"/>
              <a:gd name="connsiteY4" fmla="*/ 66420607 h 70604438"/>
              <a:gd name="connsiteX5" fmla="*/ 4697521 w 6629775"/>
              <a:gd name="connsiteY5" fmla="*/ 64136822 h 70604438"/>
              <a:gd name="connsiteX6" fmla="*/ 5633866 w 6629775"/>
              <a:gd name="connsiteY6" fmla="*/ 65101401 h 70604438"/>
              <a:gd name="connsiteX7" fmla="*/ 6629775 w 6629775"/>
              <a:gd name="connsiteY7" fmla="*/ 64340896 h 70604438"/>
              <a:gd name="connsiteX0" fmla="*/ 0 w 6629775"/>
              <a:gd name="connsiteY0" fmla="*/ 34360507 h 70082657"/>
              <a:gd name="connsiteX1" fmla="*/ 956779 w 6629775"/>
              <a:gd name="connsiteY1" fmla="*/ 34490611 h 70082657"/>
              <a:gd name="connsiteX2" fmla="*/ 1904934 w 6629775"/>
              <a:gd name="connsiteY2" fmla="*/ 35039182 h 70082657"/>
              <a:gd name="connsiteX3" fmla="*/ 2898677 w 6629775"/>
              <a:gd name="connsiteY3" fmla="*/ 30 h 70082657"/>
              <a:gd name="connsiteX4" fmla="*/ 3700231 w 6629775"/>
              <a:gd name="connsiteY4" fmla="*/ 65898826 h 70082657"/>
              <a:gd name="connsiteX5" fmla="*/ 4697521 w 6629775"/>
              <a:gd name="connsiteY5" fmla="*/ 63615041 h 70082657"/>
              <a:gd name="connsiteX6" fmla="*/ 5633866 w 6629775"/>
              <a:gd name="connsiteY6" fmla="*/ 64579620 h 70082657"/>
              <a:gd name="connsiteX7" fmla="*/ 6629775 w 6629775"/>
              <a:gd name="connsiteY7" fmla="*/ 63819115 h 70082657"/>
              <a:gd name="connsiteX0" fmla="*/ 0 w 6629775"/>
              <a:gd name="connsiteY0" fmla="*/ 34360507 h 70082657"/>
              <a:gd name="connsiteX1" fmla="*/ 956779 w 6629775"/>
              <a:gd name="connsiteY1" fmla="*/ 34490611 h 70082657"/>
              <a:gd name="connsiteX2" fmla="*/ 1904934 w 6629775"/>
              <a:gd name="connsiteY2" fmla="*/ 35039182 h 70082657"/>
              <a:gd name="connsiteX3" fmla="*/ 2898677 w 6629775"/>
              <a:gd name="connsiteY3" fmla="*/ 30 h 70082657"/>
              <a:gd name="connsiteX4" fmla="*/ 3700231 w 6629775"/>
              <a:gd name="connsiteY4" fmla="*/ 65898826 h 70082657"/>
              <a:gd name="connsiteX5" fmla="*/ 4697521 w 6629775"/>
              <a:gd name="connsiteY5" fmla="*/ 63615041 h 70082657"/>
              <a:gd name="connsiteX6" fmla="*/ 5633866 w 6629775"/>
              <a:gd name="connsiteY6" fmla="*/ 64579620 h 70082657"/>
              <a:gd name="connsiteX7" fmla="*/ 6629775 w 6629775"/>
              <a:gd name="connsiteY7" fmla="*/ 63819115 h 70082657"/>
              <a:gd name="connsiteX0" fmla="*/ 0 w 6629775"/>
              <a:gd name="connsiteY0" fmla="*/ 34360507 h 70082657"/>
              <a:gd name="connsiteX1" fmla="*/ 956779 w 6629775"/>
              <a:gd name="connsiteY1" fmla="*/ 34490611 h 70082657"/>
              <a:gd name="connsiteX2" fmla="*/ 1904934 w 6629775"/>
              <a:gd name="connsiteY2" fmla="*/ 35039182 h 70082657"/>
              <a:gd name="connsiteX3" fmla="*/ 2898677 w 6629775"/>
              <a:gd name="connsiteY3" fmla="*/ 30 h 70082657"/>
              <a:gd name="connsiteX4" fmla="*/ 3700231 w 6629775"/>
              <a:gd name="connsiteY4" fmla="*/ 65898826 h 70082657"/>
              <a:gd name="connsiteX5" fmla="*/ 4697521 w 6629775"/>
              <a:gd name="connsiteY5" fmla="*/ 63615041 h 70082657"/>
              <a:gd name="connsiteX6" fmla="*/ 5633866 w 6629775"/>
              <a:gd name="connsiteY6" fmla="*/ 64579620 h 70082657"/>
              <a:gd name="connsiteX7" fmla="*/ 6629775 w 6629775"/>
              <a:gd name="connsiteY7" fmla="*/ 63819115 h 70082657"/>
              <a:gd name="connsiteX0" fmla="*/ 0 w 6629775"/>
              <a:gd name="connsiteY0" fmla="*/ 40053649 h 70414683"/>
              <a:gd name="connsiteX1" fmla="*/ 956779 w 6629775"/>
              <a:gd name="connsiteY1" fmla="*/ 40183753 h 70414683"/>
              <a:gd name="connsiteX2" fmla="*/ 1904934 w 6629775"/>
              <a:gd name="connsiteY2" fmla="*/ 40732324 h 70414683"/>
              <a:gd name="connsiteX3" fmla="*/ 2898677 w 6629775"/>
              <a:gd name="connsiteY3" fmla="*/ 5693172 h 70414683"/>
              <a:gd name="connsiteX4" fmla="*/ 3838518 w 6629775"/>
              <a:gd name="connsiteY4" fmla="*/ 6626610 h 70414683"/>
              <a:gd name="connsiteX5" fmla="*/ 4697521 w 6629775"/>
              <a:gd name="connsiteY5" fmla="*/ 69308183 h 70414683"/>
              <a:gd name="connsiteX6" fmla="*/ 5633866 w 6629775"/>
              <a:gd name="connsiteY6" fmla="*/ 70272762 h 70414683"/>
              <a:gd name="connsiteX7" fmla="*/ 6629775 w 6629775"/>
              <a:gd name="connsiteY7" fmla="*/ 69512257 h 70414683"/>
              <a:gd name="connsiteX0" fmla="*/ 0 w 6629775"/>
              <a:gd name="connsiteY0" fmla="*/ 36712932 h 67073966"/>
              <a:gd name="connsiteX1" fmla="*/ 956779 w 6629775"/>
              <a:gd name="connsiteY1" fmla="*/ 36843036 h 67073966"/>
              <a:gd name="connsiteX2" fmla="*/ 1904934 w 6629775"/>
              <a:gd name="connsiteY2" fmla="*/ 37391607 h 67073966"/>
              <a:gd name="connsiteX3" fmla="*/ 2898677 w 6629775"/>
              <a:gd name="connsiteY3" fmla="*/ 2352455 h 67073966"/>
              <a:gd name="connsiteX4" fmla="*/ 3838518 w 6629775"/>
              <a:gd name="connsiteY4" fmla="*/ 3285893 h 67073966"/>
              <a:gd name="connsiteX5" fmla="*/ 4697521 w 6629775"/>
              <a:gd name="connsiteY5" fmla="*/ 65967466 h 67073966"/>
              <a:gd name="connsiteX6" fmla="*/ 5633866 w 6629775"/>
              <a:gd name="connsiteY6" fmla="*/ 66932045 h 67073966"/>
              <a:gd name="connsiteX7" fmla="*/ 6629775 w 6629775"/>
              <a:gd name="connsiteY7" fmla="*/ 66171540 h 67073966"/>
              <a:gd name="connsiteX0" fmla="*/ 0 w 6629775"/>
              <a:gd name="connsiteY0" fmla="*/ 36858282 h 67219316"/>
              <a:gd name="connsiteX1" fmla="*/ 956779 w 6629775"/>
              <a:gd name="connsiteY1" fmla="*/ 36988386 h 67219316"/>
              <a:gd name="connsiteX2" fmla="*/ 1904934 w 6629775"/>
              <a:gd name="connsiteY2" fmla="*/ 37536957 h 67219316"/>
              <a:gd name="connsiteX3" fmla="*/ 2898677 w 6629775"/>
              <a:gd name="connsiteY3" fmla="*/ 2497805 h 67219316"/>
              <a:gd name="connsiteX4" fmla="*/ 3838518 w 6629775"/>
              <a:gd name="connsiteY4" fmla="*/ 2960468 h 67219316"/>
              <a:gd name="connsiteX5" fmla="*/ 4697521 w 6629775"/>
              <a:gd name="connsiteY5" fmla="*/ 66112816 h 67219316"/>
              <a:gd name="connsiteX6" fmla="*/ 5633866 w 6629775"/>
              <a:gd name="connsiteY6" fmla="*/ 67077395 h 67219316"/>
              <a:gd name="connsiteX7" fmla="*/ 6629775 w 6629775"/>
              <a:gd name="connsiteY7" fmla="*/ 66316890 h 67219316"/>
              <a:gd name="connsiteX0" fmla="*/ 0 w 6629775"/>
              <a:gd name="connsiteY0" fmla="*/ 36809141 h 67170175"/>
              <a:gd name="connsiteX1" fmla="*/ 956779 w 6629775"/>
              <a:gd name="connsiteY1" fmla="*/ 36939245 h 67170175"/>
              <a:gd name="connsiteX2" fmla="*/ 1904934 w 6629775"/>
              <a:gd name="connsiteY2" fmla="*/ 37487816 h 67170175"/>
              <a:gd name="connsiteX3" fmla="*/ 2898677 w 6629775"/>
              <a:gd name="connsiteY3" fmla="*/ 2448664 h 67170175"/>
              <a:gd name="connsiteX4" fmla="*/ 3838518 w 6629775"/>
              <a:gd name="connsiteY4" fmla="*/ 2911327 h 67170175"/>
              <a:gd name="connsiteX5" fmla="*/ 4697521 w 6629775"/>
              <a:gd name="connsiteY5" fmla="*/ 66063675 h 67170175"/>
              <a:gd name="connsiteX6" fmla="*/ 5633866 w 6629775"/>
              <a:gd name="connsiteY6" fmla="*/ 67028254 h 67170175"/>
              <a:gd name="connsiteX7" fmla="*/ 6629775 w 6629775"/>
              <a:gd name="connsiteY7" fmla="*/ 66267749 h 67170175"/>
              <a:gd name="connsiteX0" fmla="*/ 0 w 6629775"/>
              <a:gd name="connsiteY0" fmla="*/ 36809141 h 67170175"/>
              <a:gd name="connsiteX1" fmla="*/ 956779 w 6629775"/>
              <a:gd name="connsiteY1" fmla="*/ 36939245 h 67170175"/>
              <a:gd name="connsiteX2" fmla="*/ 1904934 w 6629775"/>
              <a:gd name="connsiteY2" fmla="*/ 37487816 h 67170175"/>
              <a:gd name="connsiteX3" fmla="*/ 2898677 w 6629775"/>
              <a:gd name="connsiteY3" fmla="*/ 2448664 h 67170175"/>
              <a:gd name="connsiteX4" fmla="*/ 3838518 w 6629775"/>
              <a:gd name="connsiteY4" fmla="*/ 2911327 h 67170175"/>
              <a:gd name="connsiteX5" fmla="*/ 4697521 w 6629775"/>
              <a:gd name="connsiteY5" fmla="*/ 66063675 h 67170175"/>
              <a:gd name="connsiteX6" fmla="*/ 5633866 w 6629775"/>
              <a:gd name="connsiteY6" fmla="*/ 67028254 h 67170175"/>
              <a:gd name="connsiteX7" fmla="*/ 6629775 w 6629775"/>
              <a:gd name="connsiteY7" fmla="*/ 66267749 h 67170175"/>
              <a:gd name="connsiteX0" fmla="*/ 0 w 6629775"/>
              <a:gd name="connsiteY0" fmla="*/ 35040811 h 65401845"/>
              <a:gd name="connsiteX1" fmla="*/ 956779 w 6629775"/>
              <a:gd name="connsiteY1" fmla="*/ 35170915 h 65401845"/>
              <a:gd name="connsiteX2" fmla="*/ 1904934 w 6629775"/>
              <a:gd name="connsiteY2" fmla="*/ 35719486 h 65401845"/>
              <a:gd name="connsiteX3" fmla="*/ 2898677 w 6629775"/>
              <a:gd name="connsiteY3" fmla="*/ 680334 h 65401845"/>
              <a:gd name="connsiteX4" fmla="*/ 3838518 w 6629775"/>
              <a:gd name="connsiteY4" fmla="*/ 1142997 h 65401845"/>
              <a:gd name="connsiteX5" fmla="*/ 4697521 w 6629775"/>
              <a:gd name="connsiteY5" fmla="*/ 64295345 h 65401845"/>
              <a:gd name="connsiteX6" fmla="*/ 5633866 w 6629775"/>
              <a:gd name="connsiteY6" fmla="*/ 65259924 h 65401845"/>
              <a:gd name="connsiteX7" fmla="*/ 6629775 w 6629775"/>
              <a:gd name="connsiteY7" fmla="*/ 64499419 h 65401845"/>
              <a:gd name="connsiteX0" fmla="*/ 0 w 6629775"/>
              <a:gd name="connsiteY0" fmla="*/ 36809141 h 67170175"/>
              <a:gd name="connsiteX1" fmla="*/ 956779 w 6629775"/>
              <a:gd name="connsiteY1" fmla="*/ 36939245 h 67170175"/>
              <a:gd name="connsiteX2" fmla="*/ 1904934 w 6629775"/>
              <a:gd name="connsiteY2" fmla="*/ 37487816 h 67170175"/>
              <a:gd name="connsiteX3" fmla="*/ 2898677 w 6629775"/>
              <a:gd name="connsiteY3" fmla="*/ 2448664 h 67170175"/>
              <a:gd name="connsiteX4" fmla="*/ 3838518 w 6629775"/>
              <a:gd name="connsiteY4" fmla="*/ 2911328 h 67170175"/>
              <a:gd name="connsiteX5" fmla="*/ 4697521 w 6629775"/>
              <a:gd name="connsiteY5" fmla="*/ 66063675 h 67170175"/>
              <a:gd name="connsiteX6" fmla="*/ 5633866 w 6629775"/>
              <a:gd name="connsiteY6" fmla="*/ 67028254 h 67170175"/>
              <a:gd name="connsiteX7" fmla="*/ 6629775 w 6629775"/>
              <a:gd name="connsiteY7" fmla="*/ 66267749 h 67170175"/>
              <a:gd name="connsiteX0" fmla="*/ 0 w 6629775"/>
              <a:gd name="connsiteY0" fmla="*/ 37246080 h 67607114"/>
              <a:gd name="connsiteX1" fmla="*/ 956779 w 6629775"/>
              <a:gd name="connsiteY1" fmla="*/ 37376184 h 67607114"/>
              <a:gd name="connsiteX2" fmla="*/ 1904934 w 6629775"/>
              <a:gd name="connsiteY2" fmla="*/ 37924755 h 67607114"/>
              <a:gd name="connsiteX3" fmla="*/ 2898677 w 6629775"/>
              <a:gd name="connsiteY3" fmla="*/ 2885603 h 67607114"/>
              <a:gd name="connsiteX4" fmla="*/ 3838518 w 6629775"/>
              <a:gd name="connsiteY4" fmla="*/ 3348267 h 67607114"/>
              <a:gd name="connsiteX5" fmla="*/ 4697521 w 6629775"/>
              <a:gd name="connsiteY5" fmla="*/ 66500614 h 67607114"/>
              <a:gd name="connsiteX6" fmla="*/ 5633866 w 6629775"/>
              <a:gd name="connsiteY6" fmla="*/ 67465193 h 67607114"/>
              <a:gd name="connsiteX7" fmla="*/ 6629775 w 6629775"/>
              <a:gd name="connsiteY7" fmla="*/ 66704688 h 67607114"/>
              <a:gd name="connsiteX0" fmla="*/ 0 w 6629775"/>
              <a:gd name="connsiteY0" fmla="*/ 37572038 h 67933072"/>
              <a:gd name="connsiteX1" fmla="*/ 956779 w 6629775"/>
              <a:gd name="connsiteY1" fmla="*/ 37702142 h 67933072"/>
              <a:gd name="connsiteX2" fmla="*/ 1904934 w 6629775"/>
              <a:gd name="connsiteY2" fmla="*/ 38250713 h 67933072"/>
              <a:gd name="connsiteX3" fmla="*/ 2898677 w 6629775"/>
              <a:gd name="connsiteY3" fmla="*/ 3211561 h 67933072"/>
              <a:gd name="connsiteX4" fmla="*/ 3838518 w 6629775"/>
              <a:gd name="connsiteY4" fmla="*/ 3674225 h 67933072"/>
              <a:gd name="connsiteX5" fmla="*/ 4697521 w 6629775"/>
              <a:gd name="connsiteY5" fmla="*/ 66826572 h 67933072"/>
              <a:gd name="connsiteX6" fmla="*/ 5633866 w 6629775"/>
              <a:gd name="connsiteY6" fmla="*/ 67791151 h 67933072"/>
              <a:gd name="connsiteX7" fmla="*/ 6629775 w 6629775"/>
              <a:gd name="connsiteY7" fmla="*/ 67030646 h 67933072"/>
              <a:gd name="connsiteX0" fmla="*/ 0 w 6629775"/>
              <a:gd name="connsiteY0" fmla="*/ 36809142 h 67170176"/>
              <a:gd name="connsiteX1" fmla="*/ 956779 w 6629775"/>
              <a:gd name="connsiteY1" fmla="*/ 36939246 h 67170176"/>
              <a:gd name="connsiteX2" fmla="*/ 1904934 w 6629775"/>
              <a:gd name="connsiteY2" fmla="*/ 37487817 h 67170176"/>
              <a:gd name="connsiteX3" fmla="*/ 2898677 w 6629775"/>
              <a:gd name="connsiteY3" fmla="*/ 2448665 h 67170176"/>
              <a:gd name="connsiteX4" fmla="*/ 3838518 w 6629775"/>
              <a:gd name="connsiteY4" fmla="*/ 2911329 h 67170176"/>
              <a:gd name="connsiteX5" fmla="*/ 4787708 w 6629775"/>
              <a:gd name="connsiteY5" fmla="*/ 2510623 h 67170176"/>
              <a:gd name="connsiteX6" fmla="*/ 5633866 w 6629775"/>
              <a:gd name="connsiteY6" fmla="*/ 67028255 h 67170176"/>
              <a:gd name="connsiteX7" fmla="*/ 6629775 w 6629775"/>
              <a:gd name="connsiteY7" fmla="*/ 66267750 h 67170176"/>
              <a:gd name="connsiteX0" fmla="*/ 0 w 6629775"/>
              <a:gd name="connsiteY0" fmla="*/ 34375517 h 64736551"/>
              <a:gd name="connsiteX1" fmla="*/ 956779 w 6629775"/>
              <a:gd name="connsiteY1" fmla="*/ 34505621 h 64736551"/>
              <a:gd name="connsiteX2" fmla="*/ 1904934 w 6629775"/>
              <a:gd name="connsiteY2" fmla="*/ 35054192 h 64736551"/>
              <a:gd name="connsiteX3" fmla="*/ 2898677 w 6629775"/>
              <a:gd name="connsiteY3" fmla="*/ 15040 h 64736551"/>
              <a:gd name="connsiteX4" fmla="*/ 3838518 w 6629775"/>
              <a:gd name="connsiteY4" fmla="*/ 477704 h 64736551"/>
              <a:gd name="connsiteX5" fmla="*/ 4787708 w 6629775"/>
              <a:gd name="connsiteY5" fmla="*/ 76998 h 64736551"/>
              <a:gd name="connsiteX6" fmla="*/ 5633866 w 6629775"/>
              <a:gd name="connsiteY6" fmla="*/ 64594630 h 64736551"/>
              <a:gd name="connsiteX7" fmla="*/ 6629775 w 6629775"/>
              <a:gd name="connsiteY7" fmla="*/ 63834125 h 64736551"/>
              <a:gd name="connsiteX0" fmla="*/ 0 w 6629775"/>
              <a:gd name="connsiteY0" fmla="*/ 34375517 h 64736551"/>
              <a:gd name="connsiteX1" fmla="*/ 956779 w 6629775"/>
              <a:gd name="connsiteY1" fmla="*/ 34505621 h 64736551"/>
              <a:gd name="connsiteX2" fmla="*/ 1904934 w 6629775"/>
              <a:gd name="connsiteY2" fmla="*/ 35054192 h 64736551"/>
              <a:gd name="connsiteX3" fmla="*/ 2898677 w 6629775"/>
              <a:gd name="connsiteY3" fmla="*/ 15040 h 64736551"/>
              <a:gd name="connsiteX4" fmla="*/ 3838518 w 6629775"/>
              <a:gd name="connsiteY4" fmla="*/ 477704 h 64736551"/>
              <a:gd name="connsiteX5" fmla="*/ 4787708 w 6629775"/>
              <a:gd name="connsiteY5" fmla="*/ 76998 h 64736551"/>
              <a:gd name="connsiteX6" fmla="*/ 5633866 w 6629775"/>
              <a:gd name="connsiteY6" fmla="*/ 64594630 h 64736551"/>
              <a:gd name="connsiteX7" fmla="*/ 6629775 w 6629775"/>
              <a:gd name="connsiteY7" fmla="*/ 63834125 h 64736551"/>
              <a:gd name="connsiteX0" fmla="*/ 0 w 6629775"/>
              <a:gd name="connsiteY0" fmla="*/ 36756923 h 67117957"/>
              <a:gd name="connsiteX1" fmla="*/ 956779 w 6629775"/>
              <a:gd name="connsiteY1" fmla="*/ 36887027 h 67117957"/>
              <a:gd name="connsiteX2" fmla="*/ 1904934 w 6629775"/>
              <a:gd name="connsiteY2" fmla="*/ 36729450 h 67117957"/>
              <a:gd name="connsiteX3" fmla="*/ 2898677 w 6629775"/>
              <a:gd name="connsiteY3" fmla="*/ 2396446 h 67117957"/>
              <a:gd name="connsiteX4" fmla="*/ 3838518 w 6629775"/>
              <a:gd name="connsiteY4" fmla="*/ 2859110 h 67117957"/>
              <a:gd name="connsiteX5" fmla="*/ 4787708 w 6629775"/>
              <a:gd name="connsiteY5" fmla="*/ 2458404 h 67117957"/>
              <a:gd name="connsiteX6" fmla="*/ 5633866 w 6629775"/>
              <a:gd name="connsiteY6" fmla="*/ 66976036 h 67117957"/>
              <a:gd name="connsiteX7" fmla="*/ 6629775 w 6629775"/>
              <a:gd name="connsiteY7" fmla="*/ 66215531 h 67117957"/>
              <a:gd name="connsiteX0" fmla="*/ 0 w 6629775"/>
              <a:gd name="connsiteY0" fmla="*/ 34492567 h 64853601"/>
              <a:gd name="connsiteX1" fmla="*/ 956779 w 6629775"/>
              <a:gd name="connsiteY1" fmla="*/ 34622671 h 64853601"/>
              <a:gd name="connsiteX2" fmla="*/ 1904934 w 6629775"/>
              <a:gd name="connsiteY2" fmla="*/ 34465094 h 64853601"/>
              <a:gd name="connsiteX3" fmla="*/ 2898677 w 6629775"/>
              <a:gd name="connsiteY3" fmla="*/ 132090 h 64853601"/>
              <a:gd name="connsiteX4" fmla="*/ 3838518 w 6629775"/>
              <a:gd name="connsiteY4" fmla="*/ 594754 h 64853601"/>
              <a:gd name="connsiteX5" fmla="*/ 4787708 w 6629775"/>
              <a:gd name="connsiteY5" fmla="*/ 194048 h 64853601"/>
              <a:gd name="connsiteX6" fmla="*/ 5633866 w 6629775"/>
              <a:gd name="connsiteY6" fmla="*/ 64711680 h 64853601"/>
              <a:gd name="connsiteX7" fmla="*/ 6629775 w 6629775"/>
              <a:gd name="connsiteY7" fmla="*/ 63951175 h 64853601"/>
              <a:gd name="connsiteX0" fmla="*/ 0 w 6629775"/>
              <a:gd name="connsiteY0" fmla="*/ 34492567 h 63976526"/>
              <a:gd name="connsiteX1" fmla="*/ 956779 w 6629775"/>
              <a:gd name="connsiteY1" fmla="*/ 34622671 h 63976526"/>
              <a:gd name="connsiteX2" fmla="*/ 1904934 w 6629775"/>
              <a:gd name="connsiteY2" fmla="*/ 34465094 h 63976526"/>
              <a:gd name="connsiteX3" fmla="*/ 2898677 w 6629775"/>
              <a:gd name="connsiteY3" fmla="*/ 132090 h 63976526"/>
              <a:gd name="connsiteX4" fmla="*/ 3838518 w 6629775"/>
              <a:gd name="connsiteY4" fmla="*/ 594754 h 63976526"/>
              <a:gd name="connsiteX5" fmla="*/ 4787708 w 6629775"/>
              <a:gd name="connsiteY5" fmla="*/ 194048 h 63976526"/>
              <a:gd name="connsiteX6" fmla="*/ 5760128 w 6629775"/>
              <a:gd name="connsiteY6" fmla="*/ 26579857 h 63976526"/>
              <a:gd name="connsiteX7" fmla="*/ 6629775 w 6629775"/>
              <a:gd name="connsiteY7" fmla="*/ 63951175 h 63976526"/>
              <a:gd name="connsiteX0" fmla="*/ 0 w 6629775"/>
              <a:gd name="connsiteY0" fmla="*/ 34492567 h 63976378"/>
              <a:gd name="connsiteX1" fmla="*/ 956779 w 6629775"/>
              <a:gd name="connsiteY1" fmla="*/ 34622671 h 63976378"/>
              <a:gd name="connsiteX2" fmla="*/ 1904934 w 6629775"/>
              <a:gd name="connsiteY2" fmla="*/ 34465094 h 63976378"/>
              <a:gd name="connsiteX3" fmla="*/ 2898677 w 6629775"/>
              <a:gd name="connsiteY3" fmla="*/ 132090 h 63976378"/>
              <a:gd name="connsiteX4" fmla="*/ 3838518 w 6629775"/>
              <a:gd name="connsiteY4" fmla="*/ 594754 h 63976378"/>
              <a:gd name="connsiteX5" fmla="*/ 4787708 w 6629775"/>
              <a:gd name="connsiteY5" fmla="*/ 194048 h 63976378"/>
              <a:gd name="connsiteX6" fmla="*/ 5760128 w 6629775"/>
              <a:gd name="connsiteY6" fmla="*/ 26579857 h 63976378"/>
              <a:gd name="connsiteX7" fmla="*/ 6629775 w 6629775"/>
              <a:gd name="connsiteY7" fmla="*/ 63951175 h 63976378"/>
              <a:gd name="connsiteX0" fmla="*/ 0 w 6629775"/>
              <a:gd name="connsiteY0" fmla="*/ 34492567 h 63976378"/>
              <a:gd name="connsiteX1" fmla="*/ 956779 w 6629775"/>
              <a:gd name="connsiteY1" fmla="*/ 34622671 h 63976378"/>
              <a:gd name="connsiteX2" fmla="*/ 1904934 w 6629775"/>
              <a:gd name="connsiteY2" fmla="*/ 34465094 h 63976378"/>
              <a:gd name="connsiteX3" fmla="*/ 2898677 w 6629775"/>
              <a:gd name="connsiteY3" fmla="*/ 132090 h 63976378"/>
              <a:gd name="connsiteX4" fmla="*/ 3838518 w 6629775"/>
              <a:gd name="connsiteY4" fmla="*/ 594754 h 63976378"/>
              <a:gd name="connsiteX5" fmla="*/ 4787708 w 6629775"/>
              <a:gd name="connsiteY5" fmla="*/ 194048 h 63976378"/>
              <a:gd name="connsiteX6" fmla="*/ 5760128 w 6629775"/>
              <a:gd name="connsiteY6" fmla="*/ 26579857 h 63976378"/>
              <a:gd name="connsiteX7" fmla="*/ 6629775 w 6629775"/>
              <a:gd name="connsiteY7" fmla="*/ 63951175 h 63976378"/>
              <a:gd name="connsiteX0" fmla="*/ 0 w 6605725"/>
              <a:gd name="connsiteY0" fmla="*/ 34492567 h 34622788"/>
              <a:gd name="connsiteX1" fmla="*/ 956779 w 6605725"/>
              <a:gd name="connsiteY1" fmla="*/ 34622671 h 34622788"/>
              <a:gd name="connsiteX2" fmla="*/ 1904934 w 6605725"/>
              <a:gd name="connsiteY2" fmla="*/ 34465094 h 34622788"/>
              <a:gd name="connsiteX3" fmla="*/ 2898677 w 6605725"/>
              <a:gd name="connsiteY3" fmla="*/ 132090 h 34622788"/>
              <a:gd name="connsiteX4" fmla="*/ 3838518 w 6605725"/>
              <a:gd name="connsiteY4" fmla="*/ 594754 h 34622788"/>
              <a:gd name="connsiteX5" fmla="*/ 4787708 w 6605725"/>
              <a:gd name="connsiteY5" fmla="*/ 194048 h 34622788"/>
              <a:gd name="connsiteX6" fmla="*/ 5760128 w 6605725"/>
              <a:gd name="connsiteY6" fmla="*/ 26579857 h 34622788"/>
              <a:gd name="connsiteX7" fmla="*/ 6605725 w 6605725"/>
              <a:gd name="connsiteY7" fmla="*/ 22759365 h 34622788"/>
              <a:gd name="connsiteX0" fmla="*/ 0 w 6719961"/>
              <a:gd name="connsiteY0" fmla="*/ 34492567 h 34622788"/>
              <a:gd name="connsiteX1" fmla="*/ 956779 w 6719961"/>
              <a:gd name="connsiteY1" fmla="*/ 34622671 h 34622788"/>
              <a:gd name="connsiteX2" fmla="*/ 1904934 w 6719961"/>
              <a:gd name="connsiteY2" fmla="*/ 34465094 h 34622788"/>
              <a:gd name="connsiteX3" fmla="*/ 2898677 w 6719961"/>
              <a:gd name="connsiteY3" fmla="*/ 132090 h 34622788"/>
              <a:gd name="connsiteX4" fmla="*/ 3838518 w 6719961"/>
              <a:gd name="connsiteY4" fmla="*/ 594754 h 34622788"/>
              <a:gd name="connsiteX5" fmla="*/ 4787708 w 6719961"/>
              <a:gd name="connsiteY5" fmla="*/ 194048 h 34622788"/>
              <a:gd name="connsiteX6" fmla="*/ 5760128 w 6719961"/>
              <a:gd name="connsiteY6" fmla="*/ 26579857 h 34622788"/>
              <a:gd name="connsiteX7" fmla="*/ 6719961 w 6719961"/>
              <a:gd name="connsiteY7" fmla="*/ 19934774 h 34622788"/>
              <a:gd name="connsiteX0" fmla="*/ 0 w 6719961"/>
              <a:gd name="connsiteY0" fmla="*/ 34492567 h 34622788"/>
              <a:gd name="connsiteX1" fmla="*/ 956779 w 6719961"/>
              <a:gd name="connsiteY1" fmla="*/ 34622671 h 34622788"/>
              <a:gd name="connsiteX2" fmla="*/ 1904934 w 6719961"/>
              <a:gd name="connsiteY2" fmla="*/ 34465094 h 34622788"/>
              <a:gd name="connsiteX3" fmla="*/ 2898677 w 6719961"/>
              <a:gd name="connsiteY3" fmla="*/ 132090 h 34622788"/>
              <a:gd name="connsiteX4" fmla="*/ 3838518 w 6719961"/>
              <a:gd name="connsiteY4" fmla="*/ 594754 h 34622788"/>
              <a:gd name="connsiteX5" fmla="*/ 4787708 w 6719961"/>
              <a:gd name="connsiteY5" fmla="*/ 194048 h 34622788"/>
              <a:gd name="connsiteX6" fmla="*/ 5760128 w 6719961"/>
              <a:gd name="connsiteY6" fmla="*/ 26579857 h 34622788"/>
              <a:gd name="connsiteX7" fmla="*/ 6719961 w 6719961"/>
              <a:gd name="connsiteY7" fmla="*/ 18051733 h 34622788"/>
              <a:gd name="connsiteX0" fmla="*/ 0 w 6719961"/>
              <a:gd name="connsiteY0" fmla="*/ 34492567 h 34622788"/>
              <a:gd name="connsiteX1" fmla="*/ 956779 w 6719961"/>
              <a:gd name="connsiteY1" fmla="*/ 34622671 h 34622788"/>
              <a:gd name="connsiteX2" fmla="*/ 1904934 w 6719961"/>
              <a:gd name="connsiteY2" fmla="*/ 34465094 h 34622788"/>
              <a:gd name="connsiteX3" fmla="*/ 2898677 w 6719961"/>
              <a:gd name="connsiteY3" fmla="*/ 132090 h 34622788"/>
              <a:gd name="connsiteX4" fmla="*/ 3838518 w 6719961"/>
              <a:gd name="connsiteY4" fmla="*/ 594754 h 34622788"/>
              <a:gd name="connsiteX5" fmla="*/ 4787708 w 6719961"/>
              <a:gd name="connsiteY5" fmla="*/ 194048 h 34622788"/>
              <a:gd name="connsiteX6" fmla="*/ 5760128 w 6719961"/>
              <a:gd name="connsiteY6" fmla="*/ 26579857 h 34622788"/>
              <a:gd name="connsiteX7" fmla="*/ 6719961 w 6719961"/>
              <a:gd name="connsiteY7" fmla="*/ 18051733 h 3462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19961" h="34622788">
                <a:moveTo>
                  <a:pt x="0" y="34492567"/>
                </a:moveTo>
                <a:cubicBezTo>
                  <a:pt x="385001" y="34493193"/>
                  <a:pt x="639290" y="34627250"/>
                  <a:pt x="956779" y="34622671"/>
                </a:cubicBezTo>
                <a:cubicBezTo>
                  <a:pt x="1274268" y="34618092"/>
                  <a:pt x="1587296" y="34564383"/>
                  <a:pt x="1904934" y="34465094"/>
                </a:cubicBezTo>
                <a:cubicBezTo>
                  <a:pt x="2222572" y="34365805"/>
                  <a:pt x="2576412" y="598752"/>
                  <a:pt x="2898677" y="132090"/>
                </a:cubicBezTo>
                <a:cubicBezTo>
                  <a:pt x="3220942" y="-334572"/>
                  <a:pt x="3523680" y="584428"/>
                  <a:pt x="3838518" y="594754"/>
                </a:cubicBezTo>
                <a:cubicBezTo>
                  <a:pt x="4153356" y="605080"/>
                  <a:pt x="4522004" y="186553"/>
                  <a:pt x="4787708" y="194048"/>
                </a:cubicBezTo>
                <a:cubicBezTo>
                  <a:pt x="5133574" y="194077"/>
                  <a:pt x="5448565" y="25931227"/>
                  <a:pt x="5760128" y="26579857"/>
                </a:cubicBezTo>
                <a:cubicBezTo>
                  <a:pt x="6037985" y="26524943"/>
                  <a:pt x="6327866" y="20849148"/>
                  <a:pt x="6719961" y="18051733"/>
                </a:cubicBezTo>
              </a:path>
            </a:pathLst>
          </a:custGeom>
          <a:noFill/>
          <a:ln w="136525" cap="rnd" cmpd="sng" algn="ctr">
            <a:solidFill>
              <a:srgbClr val="43B02A">
                <a:alpha val="50000"/>
              </a:srgb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121" name="Freeform 42">
            <a:extLst>
              <a:ext uri="{FF2B5EF4-FFF2-40B4-BE49-F238E27FC236}">
                <a16:creationId xmlns:a16="http://schemas.microsoft.com/office/drawing/2014/main" id="{93424051-555E-4B36-8A19-6E3E1FE22E02}"/>
              </a:ext>
            </a:extLst>
          </p:cNvPr>
          <p:cNvSpPr/>
          <p:nvPr/>
        </p:nvSpPr>
        <p:spPr bwMode="auto">
          <a:xfrm flipV="1">
            <a:off x="1449860" y="3249329"/>
            <a:ext cx="8918744" cy="1327819"/>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1317807 w 7136640"/>
              <a:gd name="connsiteY1" fmla="*/ 194447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1155002 w 7136640"/>
              <a:gd name="connsiteY1" fmla="*/ 192612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1155002 w 7136640"/>
              <a:gd name="connsiteY1" fmla="*/ 192612 h 281116"/>
              <a:gd name="connsiteX2" fmla="*/ 2057502 w 7136640"/>
              <a:gd name="connsiteY2" fmla="*/ 223890 h 281116"/>
              <a:gd name="connsiteX3" fmla="*/ 2857293 w 7136640"/>
              <a:gd name="connsiteY3" fmla="*/ 217897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1155002 w 7136640"/>
              <a:gd name="connsiteY1" fmla="*/ 192612 h 281116"/>
              <a:gd name="connsiteX2" fmla="*/ 2057502 w 7136640"/>
              <a:gd name="connsiteY2" fmla="*/ 223890 h 281116"/>
              <a:gd name="connsiteX3" fmla="*/ 2857293 w 7136640"/>
              <a:gd name="connsiteY3" fmla="*/ 217897 h 281116"/>
              <a:gd name="connsiteX4" fmla="*/ 4211883 w 7136640"/>
              <a:gd name="connsiteY4" fmla="*/ 110665 h 281116"/>
              <a:gd name="connsiteX5" fmla="*/ 4942580 w 7136640"/>
              <a:gd name="connsiteY5" fmla="*/ 125321 h 281116"/>
              <a:gd name="connsiteX6" fmla="*/ 5636849 w 7136640"/>
              <a:gd name="connsiteY6" fmla="*/ 172302 h 281116"/>
              <a:gd name="connsiteX7" fmla="*/ 6344970 w 7136640"/>
              <a:gd name="connsiteY7" fmla="*/ 119271 h 281116"/>
              <a:gd name="connsiteX8" fmla="*/ 6500954 w 7136640"/>
              <a:gd name="connsiteY8" fmla="*/ 660 h 281116"/>
              <a:gd name="connsiteX9" fmla="*/ 7136640 w 7136640"/>
              <a:gd name="connsiteY9" fmla="*/ 281116 h 281116"/>
              <a:gd name="connsiteX0" fmla="*/ 0 w 7136640"/>
              <a:gd name="connsiteY0" fmla="*/ 190735 h 281116"/>
              <a:gd name="connsiteX1" fmla="*/ 1155002 w 7136640"/>
              <a:gd name="connsiteY1" fmla="*/ 192612 h 281116"/>
              <a:gd name="connsiteX2" fmla="*/ 2057502 w 7136640"/>
              <a:gd name="connsiteY2" fmla="*/ 223890 h 281116"/>
              <a:gd name="connsiteX3" fmla="*/ 2857293 w 7136640"/>
              <a:gd name="connsiteY3" fmla="*/ 217897 h 281116"/>
              <a:gd name="connsiteX4" fmla="*/ 3917582 w 7136640"/>
              <a:gd name="connsiteY4" fmla="*/ 97819 h 281116"/>
              <a:gd name="connsiteX5" fmla="*/ 4942580 w 7136640"/>
              <a:gd name="connsiteY5" fmla="*/ 125321 h 281116"/>
              <a:gd name="connsiteX6" fmla="*/ 5636849 w 7136640"/>
              <a:gd name="connsiteY6" fmla="*/ 172302 h 281116"/>
              <a:gd name="connsiteX7" fmla="*/ 6344970 w 7136640"/>
              <a:gd name="connsiteY7" fmla="*/ 119271 h 281116"/>
              <a:gd name="connsiteX8" fmla="*/ 6500954 w 7136640"/>
              <a:gd name="connsiteY8" fmla="*/ 660 h 281116"/>
              <a:gd name="connsiteX9" fmla="*/ 7136640 w 7136640"/>
              <a:gd name="connsiteY9" fmla="*/ 281116 h 281116"/>
              <a:gd name="connsiteX0" fmla="*/ 0 w 7136640"/>
              <a:gd name="connsiteY0" fmla="*/ 191434 h 281815"/>
              <a:gd name="connsiteX1" fmla="*/ 1155002 w 7136640"/>
              <a:gd name="connsiteY1" fmla="*/ 193311 h 281815"/>
              <a:gd name="connsiteX2" fmla="*/ 2057502 w 7136640"/>
              <a:gd name="connsiteY2" fmla="*/ 224589 h 281815"/>
              <a:gd name="connsiteX3" fmla="*/ 2857293 w 7136640"/>
              <a:gd name="connsiteY3" fmla="*/ 218596 h 281815"/>
              <a:gd name="connsiteX4" fmla="*/ 3917582 w 7136640"/>
              <a:gd name="connsiteY4" fmla="*/ 98518 h 281815"/>
              <a:gd name="connsiteX5" fmla="*/ 4942580 w 7136640"/>
              <a:gd name="connsiteY5" fmla="*/ 126020 h 281815"/>
              <a:gd name="connsiteX6" fmla="*/ 5636849 w 7136640"/>
              <a:gd name="connsiteY6" fmla="*/ 173001 h 281815"/>
              <a:gd name="connsiteX7" fmla="*/ 6500954 w 7136640"/>
              <a:gd name="connsiteY7" fmla="*/ 1359 h 281815"/>
              <a:gd name="connsiteX8" fmla="*/ 7136640 w 7136640"/>
              <a:gd name="connsiteY8" fmla="*/ 281815 h 281815"/>
              <a:gd name="connsiteX0" fmla="*/ 0 w 7136640"/>
              <a:gd name="connsiteY0" fmla="*/ 94803 h 185184"/>
              <a:gd name="connsiteX1" fmla="*/ 1155002 w 7136640"/>
              <a:gd name="connsiteY1" fmla="*/ 96680 h 185184"/>
              <a:gd name="connsiteX2" fmla="*/ 2057502 w 7136640"/>
              <a:gd name="connsiteY2" fmla="*/ 127958 h 185184"/>
              <a:gd name="connsiteX3" fmla="*/ 2857293 w 7136640"/>
              <a:gd name="connsiteY3" fmla="*/ 121965 h 185184"/>
              <a:gd name="connsiteX4" fmla="*/ 3917582 w 7136640"/>
              <a:gd name="connsiteY4" fmla="*/ 1887 h 185184"/>
              <a:gd name="connsiteX5" fmla="*/ 4942580 w 7136640"/>
              <a:gd name="connsiteY5" fmla="*/ 29389 h 185184"/>
              <a:gd name="connsiteX6" fmla="*/ 5636849 w 7136640"/>
              <a:gd name="connsiteY6" fmla="*/ 76370 h 185184"/>
              <a:gd name="connsiteX7" fmla="*/ 7136640 w 7136640"/>
              <a:gd name="connsiteY7" fmla="*/ 185184 h 185184"/>
              <a:gd name="connsiteX0" fmla="*/ 0 w 7136640"/>
              <a:gd name="connsiteY0" fmla="*/ 65796 h 156177"/>
              <a:gd name="connsiteX1" fmla="*/ 1155002 w 7136640"/>
              <a:gd name="connsiteY1" fmla="*/ 67673 h 156177"/>
              <a:gd name="connsiteX2" fmla="*/ 2057502 w 7136640"/>
              <a:gd name="connsiteY2" fmla="*/ 98951 h 156177"/>
              <a:gd name="connsiteX3" fmla="*/ 2857293 w 7136640"/>
              <a:gd name="connsiteY3" fmla="*/ 92958 h 156177"/>
              <a:gd name="connsiteX4" fmla="*/ 3924710 w 7136640"/>
              <a:gd name="connsiteY4" fmla="*/ 107098 h 156177"/>
              <a:gd name="connsiteX5" fmla="*/ 4942580 w 7136640"/>
              <a:gd name="connsiteY5" fmla="*/ 382 h 156177"/>
              <a:gd name="connsiteX6" fmla="*/ 5636849 w 7136640"/>
              <a:gd name="connsiteY6" fmla="*/ 47363 h 156177"/>
              <a:gd name="connsiteX7" fmla="*/ 7136640 w 7136640"/>
              <a:gd name="connsiteY7" fmla="*/ 156177 h 156177"/>
              <a:gd name="connsiteX0" fmla="*/ 0 w 7136640"/>
              <a:gd name="connsiteY0" fmla="*/ 23637 h 114018"/>
              <a:gd name="connsiteX1" fmla="*/ 1155002 w 7136640"/>
              <a:gd name="connsiteY1" fmla="*/ 25514 h 114018"/>
              <a:gd name="connsiteX2" fmla="*/ 2057502 w 7136640"/>
              <a:gd name="connsiteY2" fmla="*/ 56792 h 114018"/>
              <a:gd name="connsiteX3" fmla="*/ 2857293 w 7136640"/>
              <a:gd name="connsiteY3" fmla="*/ 50799 h 114018"/>
              <a:gd name="connsiteX4" fmla="*/ 3924710 w 7136640"/>
              <a:gd name="connsiteY4" fmla="*/ 64939 h 114018"/>
              <a:gd name="connsiteX5" fmla="*/ 4949708 w 7136640"/>
              <a:gd name="connsiteY5" fmla="*/ 58885 h 114018"/>
              <a:gd name="connsiteX6" fmla="*/ 5636849 w 7136640"/>
              <a:gd name="connsiteY6" fmla="*/ 5204 h 114018"/>
              <a:gd name="connsiteX7" fmla="*/ 7136640 w 7136640"/>
              <a:gd name="connsiteY7" fmla="*/ 114018 h 114018"/>
              <a:gd name="connsiteX0" fmla="*/ 0 w 7136640"/>
              <a:gd name="connsiteY0" fmla="*/ 23637 h 114018"/>
              <a:gd name="connsiteX1" fmla="*/ 1155002 w 7136640"/>
              <a:gd name="connsiteY1" fmla="*/ 25514 h 114018"/>
              <a:gd name="connsiteX2" fmla="*/ 2057502 w 7136640"/>
              <a:gd name="connsiteY2" fmla="*/ 56792 h 114018"/>
              <a:gd name="connsiteX3" fmla="*/ 2857293 w 7136640"/>
              <a:gd name="connsiteY3" fmla="*/ 50799 h 114018"/>
              <a:gd name="connsiteX4" fmla="*/ 3924710 w 7136640"/>
              <a:gd name="connsiteY4" fmla="*/ 64939 h 114018"/>
              <a:gd name="connsiteX5" fmla="*/ 4949708 w 7136640"/>
              <a:gd name="connsiteY5" fmla="*/ 58885 h 114018"/>
              <a:gd name="connsiteX6" fmla="*/ 5651105 w 7136640"/>
              <a:gd name="connsiteY6" fmla="*/ 5204 h 114018"/>
              <a:gd name="connsiteX7" fmla="*/ 7136640 w 7136640"/>
              <a:gd name="connsiteY7" fmla="*/ 114018 h 114018"/>
              <a:gd name="connsiteX0" fmla="*/ 0 w 7136640"/>
              <a:gd name="connsiteY0" fmla="*/ 23637 h 114018"/>
              <a:gd name="connsiteX1" fmla="*/ 1155002 w 7136640"/>
              <a:gd name="connsiteY1" fmla="*/ 25514 h 114018"/>
              <a:gd name="connsiteX2" fmla="*/ 2057502 w 7136640"/>
              <a:gd name="connsiteY2" fmla="*/ 56792 h 114018"/>
              <a:gd name="connsiteX3" fmla="*/ 3135293 w 7136640"/>
              <a:gd name="connsiteY3" fmla="*/ 17242 h 114018"/>
              <a:gd name="connsiteX4" fmla="*/ 3924710 w 7136640"/>
              <a:gd name="connsiteY4" fmla="*/ 64939 h 114018"/>
              <a:gd name="connsiteX5" fmla="*/ 4949708 w 7136640"/>
              <a:gd name="connsiteY5" fmla="*/ 58885 h 114018"/>
              <a:gd name="connsiteX6" fmla="*/ 5651105 w 7136640"/>
              <a:gd name="connsiteY6" fmla="*/ 5204 h 114018"/>
              <a:gd name="connsiteX7" fmla="*/ 7136640 w 7136640"/>
              <a:gd name="connsiteY7" fmla="*/ 114018 h 114018"/>
              <a:gd name="connsiteX0" fmla="*/ 0 w 7136640"/>
              <a:gd name="connsiteY0" fmla="*/ 23637 h 132442"/>
              <a:gd name="connsiteX1" fmla="*/ 1155002 w 7136640"/>
              <a:gd name="connsiteY1" fmla="*/ 25514 h 132442"/>
              <a:gd name="connsiteX2" fmla="*/ 2057502 w 7136640"/>
              <a:gd name="connsiteY2" fmla="*/ 56792 h 132442"/>
              <a:gd name="connsiteX3" fmla="*/ 3135293 w 7136640"/>
              <a:gd name="connsiteY3" fmla="*/ 17242 h 132442"/>
              <a:gd name="connsiteX4" fmla="*/ 4010249 w 7136640"/>
              <a:gd name="connsiteY4" fmla="*/ 132050 h 132442"/>
              <a:gd name="connsiteX5" fmla="*/ 4949708 w 7136640"/>
              <a:gd name="connsiteY5" fmla="*/ 58885 h 132442"/>
              <a:gd name="connsiteX6" fmla="*/ 5651105 w 7136640"/>
              <a:gd name="connsiteY6" fmla="*/ 5204 h 132442"/>
              <a:gd name="connsiteX7" fmla="*/ 7136640 w 7136640"/>
              <a:gd name="connsiteY7" fmla="*/ 114018 h 132442"/>
              <a:gd name="connsiteX0" fmla="*/ 0 w 7136640"/>
              <a:gd name="connsiteY0" fmla="*/ 22302 h 132453"/>
              <a:gd name="connsiteX1" fmla="*/ 1155002 w 7136640"/>
              <a:gd name="connsiteY1" fmla="*/ 24179 h 132453"/>
              <a:gd name="connsiteX2" fmla="*/ 2057502 w 7136640"/>
              <a:gd name="connsiteY2" fmla="*/ 55457 h 132453"/>
              <a:gd name="connsiteX3" fmla="*/ 3135293 w 7136640"/>
              <a:gd name="connsiteY3" fmla="*/ 15907 h 132453"/>
              <a:gd name="connsiteX4" fmla="*/ 4010249 w 7136640"/>
              <a:gd name="connsiteY4" fmla="*/ 130715 h 132453"/>
              <a:gd name="connsiteX5" fmla="*/ 5049503 w 7136640"/>
              <a:gd name="connsiteY5" fmla="*/ 91105 h 132453"/>
              <a:gd name="connsiteX6" fmla="*/ 5651105 w 7136640"/>
              <a:gd name="connsiteY6" fmla="*/ 3869 h 132453"/>
              <a:gd name="connsiteX7" fmla="*/ 7136640 w 7136640"/>
              <a:gd name="connsiteY7" fmla="*/ 112683 h 132453"/>
              <a:gd name="connsiteX0" fmla="*/ 0 w 7136640"/>
              <a:gd name="connsiteY0" fmla="*/ 8388 h 118539"/>
              <a:gd name="connsiteX1" fmla="*/ 1155002 w 7136640"/>
              <a:gd name="connsiteY1" fmla="*/ 10265 h 118539"/>
              <a:gd name="connsiteX2" fmla="*/ 2057502 w 7136640"/>
              <a:gd name="connsiteY2" fmla="*/ 41543 h 118539"/>
              <a:gd name="connsiteX3" fmla="*/ 3135293 w 7136640"/>
              <a:gd name="connsiteY3" fmla="*/ 1993 h 118539"/>
              <a:gd name="connsiteX4" fmla="*/ 4010249 w 7136640"/>
              <a:gd name="connsiteY4" fmla="*/ 116801 h 118539"/>
              <a:gd name="connsiteX5" fmla="*/ 5049503 w 7136640"/>
              <a:gd name="connsiteY5" fmla="*/ 77191 h 118539"/>
              <a:gd name="connsiteX6" fmla="*/ 6007515 w 7136640"/>
              <a:gd name="connsiteY6" fmla="*/ 57066 h 118539"/>
              <a:gd name="connsiteX7" fmla="*/ 7136640 w 7136640"/>
              <a:gd name="connsiteY7" fmla="*/ 98769 h 118539"/>
              <a:gd name="connsiteX0" fmla="*/ 0 w 6841340"/>
              <a:gd name="connsiteY0" fmla="*/ 0 h 7569115"/>
              <a:gd name="connsiteX1" fmla="*/ 859702 w 6841340"/>
              <a:gd name="connsiteY1" fmla="*/ 7460841 h 7569115"/>
              <a:gd name="connsiteX2" fmla="*/ 1762202 w 6841340"/>
              <a:gd name="connsiteY2" fmla="*/ 7492119 h 7569115"/>
              <a:gd name="connsiteX3" fmla="*/ 2839993 w 6841340"/>
              <a:gd name="connsiteY3" fmla="*/ 7452569 h 7569115"/>
              <a:gd name="connsiteX4" fmla="*/ 3714949 w 6841340"/>
              <a:gd name="connsiteY4" fmla="*/ 7567377 h 7569115"/>
              <a:gd name="connsiteX5" fmla="*/ 4754203 w 6841340"/>
              <a:gd name="connsiteY5" fmla="*/ 7527767 h 7569115"/>
              <a:gd name="connsiteX6" fmla="*/ 5712215 w 6841340"/>
              <a:gd name="connsiteY6" fmla="*/ 7507642 h 7569115"/>
              <a:gd name="connsiteX7" fmla="*/ 6841340 w 6841340"/>
              <a:gd name="connsiteY7" fmla="*/ 7549345 h 7569115"/>
              <a:gd name="connsiteX0" fmla="*/ 0 w 6841340"/>
              <a:gd name="connsiteY0" fmla="*/ 0 h 8018710"/>
              <a:gd name="connsiteX1" fmla="*/ 989346 w 6841340"/>
              <a:gd name="connsiteY1" fmla="*/ 171398 h 8018710"/>
              <a:gd name="connsiteX2" fmla="*/ 1762202 w 6841340"/>
              <a:gd name="connsiteY2" fmla="*/ 7492119 h 8018710"/>
              <a:gd name="connsiteX3" fmla="*/ 2839993 w 6841340"/>
              <a:gd name="connsiteY3" fmla="*/ 7452569 h 8018710"/>
              <a:gd name="connsiteX4" fmla="*/ 3714949 w 6841340"/>
              <a:gd name="connsiteY4" fmla="*/ 7567377 h 8018710"/>
              <a:gd name="connsiteX5" fmla="*/ 4754203 w 6841340"/>
              <a:gd name="connsiteY5" fmla="*/ 7527767 h 8018710"/>
              <a:gd name="connsiteX6" fmla="*/ 5712215 w 6841340"/>
              <a:gd name="connsiteY6" fmla="*/ 7507642 h 8018710"/>
              <a:gd name="connsiteX7" fmla="*/ 6841340 w 6841340"/>
              <a:gd name="connsiteY7" fmla="*/ 7549345 h 8018710"/>
              <a:gd name="connsiteX0" fmla="*/ 0 w 6841340"/>
              <a:gd name="connsiteY0" fmla="*/ 2337527 h 10542012"/>
              <a:gd name="connsiteX1" fmla="*/ 960536 w 6841340"/>
              <a:gd name="connsiteY1" fmla="*/ 0 h 10542012"/>
              <a:gd name="connsiteX2" fmla="*/ 1762202 w 6841340"/>
              <a:gd name="connsiteY2" fmla="*/ 9829646 h 10542012"/>
              <a:gd name="connsiteX3" fmla="*/ 2839993 w 6841340"/>
              <a:gd name="connsiteY3" fmla="*/ 9790096 h 10542012"/>
              <a:gd name="connsiteX4" fmla="*/ 3714949 w 6841340"/>
              <a:gd name="connsiteY4" fmla="*/ 9904904 h 10542012"/>
              <a:gd name="connsiteX5" fmla="*/ 4754203 w 6841340"/>
              <a:gd name="connsiteY5" fmla="*/ 9865294 h 10542012"/>
              <a:gd name="connsiteX6" fmla="*/ 5712215 w 6841340"/>
              <a:gd name="connsiteY6" fmla="*/ 9845169 h 10542012"/>
              <a:gd name="connsiteX7" fmla="*/ 6841340 w 6841340"/>
              <a:gd name="connsiteY7" fmla="*/ 9886872 h 10542012"/>
              <a:gd name="connsiteX0" fmla="*/ 0 w 6841340"/>
              <a:gd name="connsiteY0" fmla="*/ 2341129 h 10447799"/>
              <a:gd name="connsiteX1" fmla="*/ 960536 w 6841340"/>
              <a:gd name="connsiteY1" fmla="*/ 3602 h 10447799"/>
              <a:gd name="connsiteX2" fmla="*/ 1927858 w 6841340"/>
              <a:gd name="connsiteY2" fmla="*/ 1458864 h 10447799"/>
              <a:gd name="connsiteX3" fmla="*/ 2839993 w 6841340"/>
              <a:gd name="connsiteY3" fmla="*/ 9793698 h 10447799"/>
              <a:gd name="connsiteX4" fmla="*/ 3714949 w 6841340"/>
              <a:gd name="connsiteY4" fmla="*/ 9908506 h 10447799"/>
              <a:gd name="connsiteX5" fmla="*/ 4754203 w 6841340"/>
              <a:gd name="connsiteY5" fmla="*/ 9868896 h 10447799"/>
              <a:gd name="connsiteX6" fmla="*/ 5712215 w 6841340"/>
              <a:gd name="connsiteY6" fmla="*/ 9848771 h 10447799"/>
              <a:gd name="connsiteX7" fmla="*/ 6841340 w 6841340"/>
              <a:gd name="connsiteY7" fmla="*/ 9890474 h 10447799"/>
              <a:gd name="connsiteX0" fmla="*/ 0 w 6841340"/>
              <a:gd name="connsiteY0" fmla="*/ 2337527 h 10444197"/>
              <a:gd name="connsiteX1" fmla="*/ 960536 w 6841340"/>
              <a:gd name="connsiteY1" fmla="*/ 0 h 10444197"/>
              <a:gd name="connsiteX2" fmla="*/ 1927858 w 6841340"/>
              <a:gd name="connsiteY2" fmla="*/ 1455262 h 10444197"/>
              <a:gd name="connsiteX3" fmla="*/ 2839993 w 6841340"/>
              <a:gd name="connsiteY3" fmla="*/ 9790096 h 10444197"/>
              <a:gd name="connsiteX4" fmla="*/ 3714949 w 6841340"/>
              <a:gd name="connsiteY4" fmla="*/ 9904904 h 10444197"/>
              <a:gd name="connsiteX5" fmla="*/ 4754203 w 6841340"/>
              <a:gd name="connsiteY5" fmla="*/ 9865294 h 10444197"/>
              <a:gd name="connsiteX6" fmla="*/ 5712215 w 6841340"/>
              <a:gd name="connsiteY6" fmla="*/ 9845169 h 10444197"/>
              <a:gd name="connsiteX7" fmla="*/ 6841340 w 6841340"/>
              <a:gd name="connsiteY7" fmla="*/ 9886872 h 10444197"/>
              <a:gd name="connsiteX0" fmla="*/ 0 w 6711696"/>
              <a:gd name="connsiteY0" fmla="*/ 2337527 h 10444197"/>
              <a:gd name="connsiteX1" fmla="*/ 960536 w 6711696"/>
              <a:gd name="connsiteY1" fmla="*/ 0 h 10444197"/>
              <a:gd name="connsiteX2" fmla="*/ 1927858 w 6711696"/>
              <a:gd name="connsiteY2" fmla="*/ 1455262 h 10444197"/>
              <a:gd name="connsiteX3" fmla="*/ 2839993 w 6711696"/>
              <a:gd name="connsiteY3" fmla="*/ 9790096 h 10444197"/>
              <a:gd name="connsiteX4" fmla="*/ 3714949 w 6711696"/>
              <a:gd name="connsiteY4" fmla="*/ 9904904 h 10444197"/>
              <a:gd name="connsiteX5" fmla="*/ 4754203 w 6711696"/>
              <a:gd name="connsiteY5" fmla="*/ 9865294 h 10444197"/>
              <a:gd name="connsiteX6" fmla="*/ 5712215 w 6711696"/>
              <a:gd name="connsiteY6" fmla="*/ 9845169 h 10444197"/>
              <a:gd name="connsiteX7" fmla="*/ 6711696 w 6711696"/>
              <a:gd name="connsiteY7" fmla="*/ 563165 h 10444197"/>
              <a:gd name="connsiteX0" fmla="*/ 0 w 6711696"/>
              <a:gd name="connsiteY0" fmla="*/ 2337527 h 10444197"/>
              <a:gd name="connsiteX1" fmla="*/ 960536 w 6711696"/>
              <a:gd name="connsiteY1" fmla="*/ 0 h 10444197"/>
              <a:gd name="connsiteX2" fmla="*/ 1927858 w 6711696"/>
              <a:gd name="connsiteY2" fmla="*/ 1455262 h 10444197"/>
              <a:gd name="connsiteX3" fmla="*/ 2839993 w 6711696"/>
              <a:gd name="connsiteY3" fmla="*/ 9790096 h 10444197"/>
              <a:gd name="connsiteX4" fmla="*/ 3714949 w 6711696"/>
              <a:gd name="connsiteY4" fmla="*/ 9904904 h 10444197"/>
              <a:gd name="connsiteX5" fmla="*/ 4754203 w 6711696"/>
              <a:gd name="connsiteY5" fmla="*/ 9865294 h 10444197"/>
              <a:gd name="connsiteX6" fmla="*/ 5733823 w 6711696"/>
              <a:gd name="connsiteY6" fmla="*/ 216322 h 10444197"/>
              <a:gd name="connsiteX7" fmla="*/ 6711696 w 6711696"/>
              <a:gd name="connsiteY7" fmla="*/ 563165 h 10444197"/>
              <a:gd name="connsiteX0" fmla="*/ 0 w 6711696"/>
              <a:gd name="connsiteY0" fmla="*/ 2337527 h 10444197"/>
              <a:gd name="connsiteX1" fmla="*/ 960536 w 6711696"/>
              <a:gd name="connsiteY1" fmla="*/ 0 h 10444197"/>
              <a:gd name="connsiteX2" fmla="*/ 1927858 w 6711696"/>
              <a:gd name="connsiteY2" fmla="*/ 1455262 h 10444197"/>
              <a:gd name="connsiteX3" fmla="*/ 2839993 w 6711696"/>
              <a:gd name="connsiteY3" fmla="*/ 9790096 h 10444197"/>
              <a:gd name="connsiteX4" fmla="*/ 3714949 w 6711696"/>
              <a:gd name="connsiteY4" fmla="*/ 9904904 h 10444197"/>
              <a:gd name="connsiteX5" fmla="*/ 4754203 w 6711696"/>
              <a:gd name="connsiteY5" fmla="*/ 9865295 h 10444197"/>
              <a:gd name="connsiteX6" fmla="*/ 5733823 w 6711696"/>
              <a:gd name="connsiteY6" fmla="*/ 216322 h 10444197"/>
              <a:gd name="connsiteX7" fmla="*/ 6711696 w 6711696"/>
              <a:gd name="connsiteY7" fmla="*/ 563165 h 10444197"/>
              <a:gd name="connsiteX0" fmla="*/ 0 w 6711696"/>
              <a:gd name="connsiteY0" fmla="*/ 3688890 h 11216658"/>
              <a:gd name="connsiteX1" fmla="*/ 960536 w 6711696"/>
              <a:gd name="connsiteY1" fmla="*/ 1351363 h 11216658"/>
              <a:gd name="connsiteX2" fmla="*/ 1927858 w 6711696"/>
              <a:gd name="connsiteY2" fmla="*/ 2806625 h 11216658"/>
              <a:gd name="connsiteX3" fmla="*/ 2839993 w 6711696"/>
              <a:gd name="connsiteY3" fmla="*/ 11141459 h 11216658"/>
              <a:gd name="connsiteX4" fmla="*/ 3794176 w 6711696"/>
              <a:gd name="connsiteY4" fmla="*/ 10 h 11216658"/>
              <a:gd name="connsiteX5" fmla="*/ 4754203 w 6711696"/>
              <a:gd name="connsiteY5" fmla="*/ 11216658 h 11216658"/>
              <a:gd name="connsiteX6" fmla="*/ 5733823 w 6711696"/>
              <a:gd name="connsiteY6" fmla="*/ 1567685 h 11216658"/>
              <a:gd name="connsiteX7" fmla="*/ 6711696 w 6711696"/>
              <a:gd name="connsiteY7" fmla="*/ 1914528 h 11216658"/>
              <a:gd name="connsiteX0" fmla="*/ 0 w 6711696"/>
              <a:gd name="connsiteY0" fmla="*/ 4371174 h 11898942"/>
              <a:gd name="connsiteX1" fmla="*/ 960536 w 6711696"/>
              <a:gd name="connsiteY1" fmla="*/ 2033647 h 11898942"/>
              <a:gd name="connsiteX2" fmla="*/ 1927858 w 6711696"/>
              <a:gd name="connsiteY2" fmla="*/ 3488909 h 11898942"/>
              <a:gd name="connsiteX3" fmla="*/ 2890410 w 6711696"/>
              <a:gd name="connsiteY3" fmla="*/ 1482905 h 11898942"/>
              <a:gd name="connsiteX4" fmla="*/ 3794176 w 6711696"/>
              <a:gd name="connsiteY4" fmla="*/ 682294 h 11898942"/>
              <a:gd name="connsiteX5" fmla="*/ 4754203 w 6711696"/>
              <a:gd name="connsiteY5" fmla="*/ 11898942 h 11898942"/>
              <a:gd name="connsiteX6" fmla="*/ 5733823 w 6711696"/>
              <a:gd name="connsiteY6" fmla="*/ 2249969 h 11898942"/>
              <a:gd name="connsiteX7" fmla="*/ 6711696 w 6711696"/>
              <a:gd name="connsiteY7" fmla="*/ 2596812 h 11898942"/>
              <a:gd name="connsiteX0" fmla="*/ 0 w 6711696"/>
              <a:gd name="connsiteY0" fmla="*/ 3758741 h 3758742"/>
              <a:gd name="connsiteX1" fmla="*/ 960536 w 6711696"/>
              <a:gd name="connsiteY1" fmla="*/ 1421214 h 3758742"/>
              <a:gd name="connsiteX2" fmla="*/ 1927858 w 6711696"/>
              <a:gd name="connsiteY2" fmla="*/ 2876476 h 3758742"/>
              <a:gd name="connsiteX3" fmla="*/ 2890410 w 6711696"/>
              <a:gd name="connsiteY3" fmla="*/ 870472 h 3758742"/>
              <a:gd name="connsiteX4" fmla="*/ 3794176 w 6711696"/>
              <a:gd name="connsiteY4" fmla="*/ 69861 h 3758742"/>
              <a:gd name="connsiteX5" fmla="*/ 4761405 w 6711696"/>
              <a:gd name="connsiteY5" fmla="*/ 2539177 h 3758742"/>
              <a:gd name="connsiteX6" fmla="*/ 5733823 w 6711696"/>
              <a:gd name="connsiteY6" fmla="*/ 1637536 h 3758742"/>
              <a:gd name="connsiteX7" fmla="*/ 6711696 w 6711696"/>
              <a:gd name="connsiteY7" fmla="*/ 1984379 h 3758742"/>
              <a:gd name="connsiteX0" fmla="*/ 0 w 6798125"/>
              <a:gd name="connsiteY0" fmla="*/ 1602423 h 2880994"/>
              <a:gd name="connsiteX1" fmla="*/ 1046965 w 6798125"/>
              <a:gd name="connsiteY1" fmla="*/ 1421214 h 2880994"/>
              <a:gd name="connsiteX2" fmla="*/ 2014287 w 6798125"/>
              <a:gd name="connsiteY2" fmla="*/ 2876476 h 2880994"/>
              <a:gd name="connsiteX3" fmla="*/ 2976839 w 6798125"/>
              <a:gd name="connsiteY3" fmla="*/ 870472 h 2880994"/>
              <a:gd name="connsiteX4" fmla="*/ 3880605 w 6798125"/>
              <a:gd name="connsiteY4" fmla="*/ 69861 h 2880994"/>
              <a:gd name="connsiteX5" fmla="*/ 4847834 w 6798125"/>
              <a:gd name="connsiteY5" fmla="*/ 2539177 h 2880994"/>
              <a:gd name="connsiteX6" fmla="*/ 5820252 w 6798125"/>
              <a:gd name="connsiteY6" fmla="*/ 1637536 h 2880994"/>
              <a:gd name="connsiteX7" fmla="*/ 6798125 w 6798125"/>
              <a:gd name="connsiteY7" fmla="*/ 1984379 h 2880994"/>
              <a:gd name="connsiteX0" fmla="*/ 0 w 6798125"/>
              <a:gd name="connsiteY0" fmla="*/ 1590374 h 2527128"/>
              <a:gd name="connsiteX1" fmla="*/ 1046965 w 6798125"/>
              <a:gd name="connsiteY1" fmla="*/ 1409165 h 2527128"/>
              <a:gd name="connsiteX2" fmla="*/ 1971072 w 6798125"/>
              <a:gd name="connsiteY2" fmla="*/ 1725240 h 2527128"/>
              <a:gd name="connsiteX3" fmla="*/ 2976839 w 6798125"/>
              <a:gd name="connsiteY3" fmla="*/ 858423 h 2527128"/>
              <a:gd name="connsiteX4" fmla="*/ 3880605 w 6798125"/>
              <a:gd name="connsiteY4" fmla="*/ 57812 h 2527128"/>
              <a:gd name="connsiteX5" fmla="*/ 4847834 w 6798125"/>
              <a:gd name="connsiteY5" fmla="*/ 2527128 h 2527128"/>
              <a:gd name="connsiteX6" fmla="*/ 5820252 w 6798125"/>
              <a:gd name="connsiteY6" fmla="*/ 1625487 h 2527128"/>
              <a:gd name="connsiteX7" fmla="*/ 6798125 w 6798125"/>
              <a:gd name="connsiteY7" fmla="*/ 1972330 h 2527128"/>
              <a:gd name="connsiteX0" fmla="*/ 0 w 6798125"/>
              <a:gd name="connsiteY0" fmla="*/ 1554117 h 2490871"/>
              <a:gd name="connsiteX1" fmla="*/ 1046965 w 6798125"/>
              <a:gd name="connsiteY1" fmla="*/ 1372908 h 2490871"/>
              <a:gd name="connsiteX2" fmla="*/ 1971072 w 6798125"/>
              <a:gd name="connsiteY2" fmla="*/ 1688983 h 2490871"/>
              <a:gd name="connsiteX3" fmla="*/ 2976839 w 6798125"/>
              <a:gd name="connsiteY3" fmla="*/ 1310390 h 2490871"/>
              <a:gd name="connsiteX4" fmla="*/ 3880605 w 6798125"/>
              <a:gd name="connsiteY4" fmla="*/ 21555 h 2490871"/>
              <a:gd name="connsiteX5" fmla="*/ 4847834 w 6798125"/>
              <a:gd name="connsiteY5" fmla="*/ 2490871 h 2490871"/>
              <a:gd name="connsiteX6" fmla="*/ 5820252 w 6798125"/>
              <a:gd name="connsiteY6" fmla="*/ 1589230 h 2490871"/>
              <a:gd name="connsiteX7" fmla="*/ 6798125 w 6798125"/>
              <a:gd name="connsiteY7" fmla="*/ 1936073 h 2490871"/>
              <a:gd name="connsiteX0" fmla="*/ 0 w 6798125"/>
              <a:gd name="connsiteY0" fmla="*/ 337802 h 1274556"/>
              <a:gd name="connsiteX1" fmla="*/ 1046965 w 6798125"/>
              <a:gd name="connsiteY1" fmla="*/ 156593 h 1274556"/>
              <a:gd name="connsiteX2" fmla="*/ 1971072 w 6798125"/>
              <a:gd name="connsiteY2" fmla="*/ 472668 h 1274556"/>
              <a:gd name="connsiteX3" fmla="*/ 2976839 w 6798125"/>
              <a:gd name="connsiteY3" fmla="*/ 94075 h 1274556"/>
              <a:gd name="connsiteX4" fmla="*/ 3880605 w 6798125"/>
              <a:gd name="connsiteY4" fmla="*/ 107170 h 1274556"/>
              <a:gd name="connsiteX5" fmla="*/ 4847834 w 6798125"/>
              <a:gd name="connsiteY5" fmla="*/ 1274556 h 1274556"/>
              <a:gd name="connsiteX6" fmla="*/ 5820252 w 6798125"/>
              <a:gd name="connsiteY6" fmla="*/ 372915 h 1274556"/>
              <a:gd name="connsiteX7" fmla="*/ 6798125 w 6798125"/>
              <a:gd name="connsiteY7" fmla="*/ 719758 h 1274556"/>
              <a:gd name="connsiteX0" fmla="*/ 0 w 6798125"/>
              <a:gd name="connsiteY0" fmla="*/ 273581 h 655538"/>
              <a:gd name="connsiteX1" fmla="*/ 1046965 w 6798125"/>
              <a:gd name="connsiteY1" fmla="*/ 92372 h 655538"/>
              <a:gd name="connsiteX2" fmla="*/ 1971072 w 6798125"/>
              <a:gd name="connsiteY2" fmla="*/ 408447 h 655538"/>
              <a:gd name="connsiteX3" fmla="*/ 2976839 w 6798125"/>
              <a:gd name="connsiteY3" fmla="*/ 29854 h 655538"/>
              <a:gd name="connsiteX4" fmla="*/ 3880605 w 6798125"/>
              <a:gd name="connsiteY4" fmla="*/ 42949 h 655538"/>
              <a:gd name="connsiteX5" fmla="*/ 4847834 w 6798125"/>
              <a:gd name="connsiteY5" fmla="*/ 193203 h 655538"/>
              <a:gd name="connsiteX6" fmla="*/ 5820252 w 6798125"/>
              <a:gd name="connsiteY6" fmla="*/ 308694 h 655538"/>
              <a:gd name="connsiteX7" fmla="*/ 6798125 w 6798125"/>
              <a:gd name="connsiteY7" fmla="*/ 655537 h 655538"/>
              <a:gd name="connsiteX0" fmla="*/ 0 w 6798125"/>
              <a:gd name="connsiteY0" fmla="*/ 273581 h 408707"/>
              <a:gd name="connsiteX1" fmla="*/ 1046965 w 6798125"/>
              <a:gd name="connsiteY1" fmla="*/ 92372 h 408707"/>
              <a:gd name="connsiteX2" fmla="*/ 1971072 w 6798125"/>
              <a:gd name="connsiteY2" fmla="*/ 408447 h 408707"/>
              <a:gd name="connsiteX3" fmla="*/ 2976839 w 6798125"/>
              <a:gd name="connsiteY3" fmla="*/ 29854 h 408707"/>
              <a:gd name="connsiteX4" fmla="*/ 3880605 w 6798125"/>
              <a:gd name="connsiteY4" fmla="*/ 42949 h 408707"/>
              <a:gd name="connsiteX5" fmla="*/ 4847834 w 6798125"/>
              <a:gd name="connsiteY5" fmla="*/ 193203 h 408707"/>
              <a:gd name="connsiteX6" fmla="*/ 5820252 w 6798125"/>
              <a:gd name="connsiteY6" fmla="*/ 308694 h 408707"/>
              <a:gd name="connsiteX7" fmla="*/ 6798125 w 6798125"/>
              <a:gd name="connsiteY7" fmla="*/ 85944 h 408707"/>
              <a:gd name="connsiteX0" fmla="*/ 0 w 6744013"/>
              <a:gd name="connsiteY0" fmla="*/ 0 h 9348691"/>
              <a:gd name="connsiteX1" fmla="*/ 992853 w 6744013"/>
              <a:gd name="connsiteY1" fmla="*/ 8592653 h 9348691"/>
              <a:gd name="connsiteX2" fmla="*/ 1916960 w 6744013"/>
              <a:gd name="connsiteY2" fmla="*/ 8908728 h 9348691"/>
              <a:gd name="connsiteX3" fmla="*/ 2922727 w 6744013"/>
              <a:gd name="connsiteY3" fmla="*/ 8530135 h 9348691"/>
              <a:gd name="connsiteX4" fmla="*/ 3826493 w 6744013"/>
              <a:gd name="connsiteY4" fmla="*/ 8543230 h 9348691"/>
              <a:gd name="connsiteX5" fmla="*/ 4793722 w 6744013"/>
              <a:gd name="connsiteY5" fmla="*/ 8693484 h 9348691"/>
              <a:gd name="connsiteX6" fmla="*/ 5766140 w 6744013"/>
              <a:gd name="connsiteY6" fmla="*/ 8808975 h 9348691"/>
              <a:gd name="connsiteX7" fmla="*/ 6744013 w 6744013"/>
              <a:gd name="connsiteY7" fmla="*/ 8586225 h 9348691"/>
              <a:gd name="connsiteX0" fmla="*/ 0 w 6744013"/>
              <a:gd name="connsiteY0" fmla="*/ 373799 h 9809748"/>
              <a:gd name="connsiteX1" fmla="*/ 1040952 w 6744013"/>
              <a:gd name="connsiteY1" fmla="*/ 786948 h 9809748"/>
              <a:gd name="connsiteX2" fmla="*/ 1916960 w 6744013"/>
              <a:gd name="connsiteY2" fmla="*/ 9282527 h 9809748"/>
              <a:gd name="connsiteX3" fmla="*/ 2922727 w 6744013"/>
              <a:gd name="connsiteY3" fmla="*/ 8903934 h 9809748"/>
              <a:gd name="connsiteX4" fmla="*/ 3826493 w 6744013"/>
              <a:gd name="connsiteY4" fmla="*/ 8917029 h 9809748"/>
              <a:gd name="connsiteX5" fmla="*/ 4793722 w 6744013"/>
              <a:gd name="connsiteY5" fmla="*/ 9067283 h 9809748"/>
              <a:gd name="connsiteX6" fmla="*/ 5766140 w 6744013"/>
              <a:gd name="connsiteY6" fmla="*/ 9182774 h 9809748"/>
              <a:gd name="connsiteX7" fmla="*/ 6744013 w 6744013"/>
              <a:gd name="connsiteY7" fmla="*/ 8960024 h 9809748"/>
              <a:gd name="connsiteX0" fmla="*/ 0 w 6744013"/>
              <a:gd name="connsiteY0" fmla="*/ 160990 h 8969966"/>
              <a:gd name="connsiteX1" fmla="*/ 1040952 w 6744013"/>
              <a:gd name="connsiteY1" fmla="*/ 574139 h 8969966"/>
              <a:gd name="connsiteX2" fmla="*/ 1989110 w 6744013"/>
              <a:gd name="connsiteY2" fmla="*/ 6013020 h 8969966"/>
              <a:gd name="connsiteX3" fmla="*/ 2922727 w 6744013"/>
              <a:gd name="connsiteY3" fmla="*/ 8691125 h 8969966"/>
              <a:gd name="connsiteX4" fmla="*/ 3826493 w 6744013"/>
              <a:gd name="connsiteY4" fmla="*/ 8704220 h 8969966"/>
              <a:gd name="connsiteX5" fmla="*/ 4793722 w 6744013"/>
              <a:gd name="connsiteY5" fmla="*/ 8854474 h 8969966"/>
              <a:gd name="connsiteX6" fmla="*/ 5766140 w 6744013"/>
              <a:gd name="connsiteY6" fmla="*/ 8969965 h 8969966"/>
              <a:gd name="connsiteX7" fmla="*/ 6744013 w 6744013"/>
              <a:gd name="connsiteY7" fmla="*/ 8747215 h 8969966"/>
              <a:gd name="connsiteX0" fmla="*/ 0 w 6744013"/>
              <a:gd name="connsiteY0" fmla="*/ 0 h 8980513"/>
              <a:gd name="connsiteX1" fmla="*/ 1040952 w 6744013"/>
              <a:gd name="connsiteY1" fmla="*/ 413149 h 8980513"/>
              <a:gd name="connsiteX2" fmla="*/ 1989110 w 6744013"/>
              <a:gd name="connsiteY2" fmla="*/ 2427393 h 8980513"/>
              <a:gd name="connsiteX3" fmla="*/ 2922727 w 6744013"/>
              <a:gd name="connsiteY3" fmla="*/ 8530135 h 8980513"/>
              <a:gd name="connsiteX4" fmla="*/ 3826493 w 6744013"/>
              <a:gd name="connsiteY4" fmla="*/ 8543230 h 8980513"/>
              <a:gd name="connsiteX5" fmla="*/ 4793722 w 6744013"/>
              <a:gd name="connsiteY5" fmla="*/ 8693484 h 8980513"/>
              <a:gd name="connsiteX6" fmla="*/ 5766140 w 6744013"/>
              <a:gd name="connsiteY6" fmla="*/ 8808975 h 8980513"/>
              <a:gd name="connsiteX7" fmla="*/ 6744013 w 6744013"/>
              <a:gd name="connsiteY7" fmla="*/ 8586225 h 8980513"/>
              <a:gd name="connsiteX0" fmla="*/ 0 w 6744013"/>
              <a:gd name="connsiteY0" fmla="*/ 0 h 8980513"/>
              <a:gd name="connsiteX1" fmla="*/ 1040952 w 6744013"/>
              <a:gd name="connsiteY1" fmla="*/ 413149 h 8980513"/>
              <a:gd name="connsiteX2" fmla="*/ 1989110 w 6744013"/>
              <a:gd name="connsiteY2" fmla="*/ 2427393 h 8980513"/>
              <a:gd name="connsiteX3" fmla="*/ 2922727 w 6744013"/>
              <a:gd name="connsiteY3" fmla="*/ 8530135 h 8980513"/>
              <a:gd name="connsiteX4" fmla="*/ 3826493 w 6744013"/>
              <a:gd name="connsiteY4" fmla="*/ 8543230 h 8980513"/>
              <a:gd name="connsiteX5" fmla="*/ 4793722 w 6744013"/>
              <a:gd name="connsiteY5" fmla="*/ 8693484 h 8980513"/>
              <a:gd name="connsiteX6" fmla="*/ 5766140 w 6744013"/>
              <a:gd name="connsiteY6" fmla="*/ 8808975 h 8980513"/>
              <a:gd name="connsiteX7" fmla="*/ 6744013 w 6744013"/>
              <a:gd name="connsiteY7" fmla="*/ 8586225 h 8980513"/>
              <a:gd name="connsiteX0" fmla="*/ 0 w 6744013"/>
              <a:gd name="connsiteY0" fmla="*/ 0 h 9030827"/>
              <a:gd name="connsiteX1" fmla="*/ 1040952 w 6744013"/>
              <a:gd name="connsiteY1" fmla="*/ 413149 h 9030827"/>
              <a:gd name="connsiteX2" fmla="*/ 1977085 w 6744013"/>
              <a:gd name="connsiteY2" fmla="*/ 1748124 h 9030827"/>
              <a:gd name="connsiteX3" fmla="*/ 2922727 w 6744013"/>
              <a:gd name="connsiteY3" fmla="*/ 8530135 h 9030827"/>
              <a:gd name="connsiteX4" fmla="*/ 3826493 w 6744013"/>
              <a:gd name="connsiteY4" fmla="*/ 8543230 h 9030827"/>
              <a:gd name="connsiteX5" fmla="*/ 4793722 w 6744013"/>
              <a:gd name="connsiteY5" fmla="*/ 8693484 h 9030827"/>
              <a:gd name="connsiteX6" fmla="*/ 5766140 w 6744013"/>
              <a:gd name="connsiteY6" fmla="*/ 8808975 h 9030827"/>
              <a:gd name="connsiteX7" fmla="*/ 6744013 w 6744013"/>
              <a:gd name="connsiteY7" fmla="*/ 8586225 h 9030827"/>
              <a:gd name="connsiteX0" fmla="*/ 0 w 6744013"/>
              <a:gd name="connsiteY0" fmla="*/ 792704 h 10060424"/>
              <a:gd name="connsiteX1" fmla="*/ 1040952 w 6744013"/>
              <a:gd name="connsiteY1" fmla="*/ 1205853 h 10060424"/>
              <a:gd name="connsiteX2" fmla="*/ 1977085 w 6744013"/>
              <a:gd name="connsiteY2" fmla="*/ 2540828 h 10060424"/>
              <a:gd name="connsiteX3" fmla="*/ 2982852 w 6744013"/>
              <a:gd name="connsiteY3" fmla="*/ 237644 h 10060424"/>
              <a:gd name="connsiteX4" fmla="*/ 3826493 w 6744013"/>
              <a:gd name="connsiteY4" fmla="*/ 9335934 h 10060424"/>
              <a:gd name="connsiteX5" fmla="*/ 4793722 w 6744013"/>
              <a:gd name="connsiteY5" fmla="*/ 9486188 h 10060424"/>
              <a:gd name="connsiteX6" fmla="*/ 5766140 w 6744013"/>
              <a:gd name="connsiteY6" fmla="*/ 9601679 h 10060424"/>
              <a:gd name="connsiteX7" fmla="*/ 6744013 w 6744013"/>
              <a:gd name="connsiteY7" fmla="*/ 9378929 h 10060424"/>
              <a:gd name="connsiteX0" fmla="*/ 0 w 6744013"/>
              <a:gd name="connsiteY0" fmla="*/ 690717 h 9958437"/>
              <a:gd name="connsiteX1" fmla="*/ 1040952 w 6744013"/>
              <a:gd name="connsiteY1" fmla="*/ 1103866 h 9958437"/>
              <a:gd name="connsiteX2" fmla="*/ 1977085 w 6744013"/>
              <a:gd name="connsiteY2" fmla="*/ 2438841 h 9958437"/>
              <a:gd name="connsiteX3" fmla="*/ 2982852 w 6744013"/>
              <a:gd name="connsiteY3" fmla="*/ 135657 h 9958437"/>
              <a:gd name="connsiteX4" fmla="*/ 3826493 w 6744013"/>
              <a:gd name="connsiteY4" fmla="*/ 9233947 h 9958437"/>
              <a:gd name="connsiteX5" fmla="*/ 4793722 w 6744013"/>
              <a:gd name="connsiteY5" fmla="*/ 9384201 h 9958437"/>
              <a:gd name="connsiteX6" fmla="*/ 5766140 w 6744013"/>
              <a:gd name="connsiteY6" fmla="*/ 9499692 h 9958437"/>
              <a:gd name="connsiteX7" fmla="*/ 6744013 w 6744013"/>
              <a:gd name="connsiteY7" fmla="*/ 9276942 h 9958437"/>
              <a:gd name="connsiteX0" fmla="*/ 0 w 6744013"/>
              <a:gd name="connsiteY0" fmla="*/ 1781598 h 10590571"/>
              <a:gd name="connsiteX1" fmla="*/ 1040952 w 6744013"/>
              <a:gd name="connsiteY1" fmla="*/ 2194747 h 10590571"/>
              <a:gd name="connsiteX2" fmla="*/ 1977085 w 6744013"/>
              <a:gd name="connsiteY2" fmla="*/ 3529722 h 10590571"/>
              <a:gd name="connsiteX3" fmla="*/ 2982852 w 6744013"/>
              <a:gd name="connsiteY3" fmla="*/ 1226538 h 10590571"/>
              <a:gd name="connsiteX4" fmla="*/ 3856556 w 6744013"/>
              <a:gd name="connsiteY4" fmla="*/ 645276 h 10590571"/>
              <a:gd name="connsiteX5" fmla="*/ 4793722 w 6744013"/>
              <a:gd name="connsiteY5" fmla="*/ 10475082 h 10590571"/>
              <a:gd name="connsiteX6" fmla="*/ 5766140 w 6744013"/>
              <a:gd name="connsiteY6" fmla="*/ 10590573 h 10590571"/>
              <a:gd name="connsiteX7" fmla="*/ 6744013 w 6744013"/>
              <a:gd name="connsiteY7" fmla="*/ 10367823 h 10590571"/>
              <a:gd name="connsiteX0" fmla="*/ 0 w 6744013"/>
              <a:gd name="connsiteY0" fmla="*/ 1519511 h 10328487"/>
              <a:gd name="connsiteX1" fmla="*/ 1040952 w 6744013"/>
              <a:gd name="connsiteY1" fmla="*/ 1932660 h 10328487"/>
              <a:gd name="connsiteX2" fmla="*/ 1977085 w 6744013"/>
              <a:gd name="connsiteY2" fmla="*/ 3267635 h 10328487"/>
              <a:gd name="connsiteX3" fmla="*/ 2982852 w 6744013"/>
              <a:gd name="connsiteY3" fmla="*/ 964451 h 10328487"/>
              <a:gd name="connsiteX4" fmla="*/ 3856556 w 6744013"/>
              <a:gd name="connsiteY4" fmla="*/ 383189 h 10328487"/>
              <a:gd name="connsiteX5" fmla="*/ 4793722 w 6744013"/>
              <a:gd name="connsiteY5" fmla="*/ 10212995 h 10328487"/>
              <a:gd name="connsiteX6" fmla="*/ 5766140 w 6744013"/>
              <a:gd name="connsiteY6" fmla="*/ 10328486 h 10328487"/>
              <a:gd name="connsiteX7" fmla="*/ 6744013 w 6744013"/>
              <a:gd name="connsiteY7" fmla="*/ 10105736 h 10328487"/>
              <a:gd name="connsiteX0" fmla="*/ 0 w 6744013"/>
              <a:gd name="connsiteY0" fmla="*/ 1344561 h 10153537"/>
              <a:gd name="connsiteX1" fmla="*/ 1040952 w 6744013"/>
              <a:gd name="connsiteY1" fmla="*/ 1757710 h 10153537"/>
              <a:gd name="connsiteX2" fmla="*/ 1977085 w 6744013"/>
              <a:gd name="connsiteY2" fmla="*/ 3092685 h 10153537"/>
              <a:gd name="connsiteX3" fmla="*/ 2982852 w 6744013"/>
              <a:gd name="connsiteY3" fmla="*/ 789501 h 10153537"/>
              <a:gd name="connsiteX4" fmla="*/ 3856556 w 6744013"/>
              <a:gd name="connsiteY4" fmla="*/ 208239 h 10153537"/>
              <a:gd name="connsiteX5" fmla="*/ 4901947 w 6744013"/>
              <a:gd name="connsiteY5" fmla="*/ 4066155 h 10153537"/>
              <a:gd name="connsiteX6" fmla="*/ 5766140 w 6744013"/>
              <a:gd name="connsiteY6" fmla="*/ 10153536 h 10153537"/>
              <a:gd name="connsiteX7" fmla="*/ 6744013 w 6744013"/>
              <a:gd name="connsiteY7" fmla="*/ 9930786 h 10153537"/>
              <a:gd name="connsiteX0" fmla="*/ 0 w 6744013"/>
              <a:gd name="connsiteY0" fmla="*/ 1344561 h 10153537"/>
              <a:gd name="connsiteX1" fmla="*/ 1040952 w 6744013"/>
              <a:gd name="connsiteY1" fmla="*/ 1757710 h 10153537"/>
              <a:gd name="connsiteX2" fmla="*/ 1977085 w 6744013"/>
              <a:gd name="connsiteY2" fmla="*/ 3092685 h 10153537"/>
              <a:gd name="connsiteX3" fmla="*/ 2982852 w 6744013"/>
              <a:gd name="connsiteY3" fmla="*/ 789501 h 10153537"/>
              <a:gd name="connsiteX4" fmla="*/ 3856556 w 6744013"/>
              <a:gd name="connsiteY4" fmla="*/ 208239 h 10153537"/>
              <a:gd name="connsiteX5" fmla="*/ 4901947 w 6744013"/>
              <a:gd name="connsiteY5" fmla="*/ 4066155 h 10153537"/>
              <a:gd name="connsiteX6" fmla="*/ 5766140 w 6744013"/>
              <a:gd name="connsiteY6" fmla="*/ 10153536 h 10153537"/>
              <a:gd name="connsiteX7" fmla="*/ 6744013 w 6744013"/>
              <a:gd name="connsiteY7" fmla="*/ 9930786 h 10153537"/>
              <a:gd name="connsiteX0" fmla="*/ 0 w 6744013"/>
              <a:gd name="connsiteY0" fmla="*/ 1273858 h 10082834"/>
              <a:gd name="connsiteX1" fmla="*/ 1040952 w 6744013"/>
              <a:gd name="connsiteY1" fmla="*/ 1687007 h 10082834"/>
              <a:gd name="connsiteX2" fmla="*/ 1977085 w 6744013"/>
              <a:gd name="connsiteY2" fmla="*/ 3021982 h 10082834"/>
              <a:gd name="connsiteX3" fmla="*/ 2982852 w 6744013"/>
              <a:gd name="connsiteY3" fmla="*/ 718798 h 10082834"/>
              <a:gd name="connsiteX4" fmla="*/ 3856556 w 6744013"/>
              <a:gd name="connsiteY4" fmla="*/ 137536 h 10082834"/>
              <a:gd name="connsiteX5" fmla="*/ 4901947 w 6744013"/>
              <a:gd name="connsiteY5" fmla="*/ 3004853 h 10082834"/>
              <a:gd name="connsiteX6" fmla="*/ 5766140 w 6744013"/>
              <a:gd name="connsiteY6" fmla="*/ 10082833 h 10082834"/>
              <a:gd name="connsiteX7" fmla="*/ 6744013 w 6744013"/>
              <a:gd name="connsiteY7" fmla="*/ 9860083 h 10082834"/>
              <a:gd name="connsiteX0" fmla="*/ 0 w 6744013"/>
              <a:gd name="connsiteY0" fmla="*/ 1273858 h 9860083"/>
              <a:gd name="connsiteX1" fmla="*/ 1040952 w 6744013"/>
              <a:gd name="connsiteY1" fmla="*/ 1687007 h 9860083"/>
              <a:gd name="connsiteX2" fmla="*/ 1977085 w 6744013"/>
              <a:gd name="connsiteY2" fmla="*/ 3021982 h 9860083"/>
              <a:gd name="connsiteX3" fmla="*/ 2982852 w 6744013"/>
              <a:gd name="connsiteY3" fmla="*/ 718798 h 9860083"/>
              <a:gd name="connsiteX4" fmla="*/ 3856556 w 6744013"/>
              <a:gd name="connsiteY4" fmla="*/ 137536 h 9860083"/>
              <a:gd name="connsiteX5" fmla="*/ 4901947 w 6744013"/>
              <a:gd name="connsiteY5" fmla="*/ 3004853 h 9860083"/>
              <a:gd name="connsiteX6" fmla="*/ 5856327 w 6744013"/>
              <a:gd name="connsiteY6" fmla="*/ 2865623 h 9860083"/>
              <a:gd name="connsiteX7" fmla="*/ 6744013 w 6744013"/>
              <a:gd name="connsiteY7" fmla="*/ 9860083 h 9860083"/>
              <a:gd name="connsiteX0" fmla="*/ 0 w 6744013"/>
              <a:gd name="connsiteY0" fmla="*/ 1273858 h 9860083"/>
              <a:gd name="connsiteX1" fmla="*/ 1040952 w 6744013"/>
              <a:gd name="connsiteY1" fmla="*/ 1687007 h 9860083"/>
              <a:gd name="connsiteX2" fmla="*/ 1977085 w 6744013"/>
              <a:gd name="connsiteY2" fmla="*/ 3021982 h 9860083"/>
              <a:gd name="connsiteX3" fmla="*/ 2982852 w 6744013"/>
              <a:gd name="connsiteY3" fmla="*/ 718798 h 9860083"/>
              <a:gd name="connsiteX4" fmla="*/ 3856556 w 6744013"/>
              <a:gd name="connsiteY4" fmla="*/ 137536 h 9860083"/>
              <a:gd name="connsiteX5" fmla="*/ 4901947 w 6744013"/>
              <a:gd name="connsiteY5" fmla="*/ 3004853 h 9860083"/>
              <a:gd name="connsiteX6" fmla="*/ 5856327 w 6744013"/>
              <a:gd name="connsiteY6" fmla="*/ 2865623 h 9860083"/>
              <a:gd name="connsiteX7" fmla="*/ 6744013 w 6744013"/>
              <a:gd name="connsiteY7" fmla="*/ 9860083 h 9860083"/>
              <a:gd name="connsiteX0" fmla="*/ 0 w 6744013"/>
              <a:gd name="connsiteY0" fmla="*/ 1273858 h 9860083"/>
              <a:gd name="connsiteX1" fmla="*/ 1040952 w 6744013"/>
              <a:gd name="connsiteY1" fmla="*/ 1687007 h 9860083"/>
              <a:gd name="connsiteX2" fmla="*/ 1977085 w 6744013"/>
              <a:gd name="connsiteY2" fmla="*/ 3021982 h 9860083"/>
              <a:gd name="connsiteX3" fmla="*/ 2982852 w 6744013"/>
              <a:gd name="connsiteY3" fmla="*/ 718798 h 9860083"/>
              <a:gd name="connsiteX4" fmla="*/ 3856556 w 6744013"/>
              <a:gd name="connsiteY4" fmla="*/ 137536 h 9860083"/>
              <a:gd name="connsiteX5" fmla="*/ 4901947 w 6744013"/>
              <a:gd name="connsiteY5" fmla="*/ 3004853 h 9860083"/>
              <a:gd name="connsiteX6" fmla="*/ 5856327 w 6744013"/>
              <a:gd name="connsiteY6" fmla="*/ 2865623 h 9860083"/>
              <a:gd name="connsiteX7" fmla="*/ 6744013 w 6744013"/>
              <a:gd name="connsiteY7" fmla="*/ 9860083 h 9860083"/>
              <a:gd name="connsiteX0" fmla="*/ 0 w 6906350"/>
              <a:gd name="connsiteY0" fmla="*/ 1273858 h 3479141"/>
              <a:gd name="connsiteX1" fmla="*/ 1040952 w 6906350"/>
              <a:gd name="connsiteY1" fmla="*/ 1687007 h 3479141"/>
              <a:gd name="connsiteX2" fmla="*/ 1977085 w 6906350"/>
              <a:gd name="connsiteY2" fmla="*/ 3021982 h 3479141"/>
              <a:gd name="connsiteX3" fmla="*/ 2982852 w 6906350"/>
              <a:gd name="connsiteY3" fmla="*/ 718798 h 3479141"/>
              <a:gd name="connsiteX4" fmla="*/ 3856556 w 6906350"/>
              <a:gd name="connsiteY4" fmla="*/ 137536 h 3479141"/>
              <a:gd name="connsiteX5" fmla="*/ 4901947 w 6906350"/>
              <a:gd name="connsiteY5" fmla="*/ 3004853 h 3479141"/>
              <a:gd name="connsiteX6" fmla="*/ 5856327 w 6906350"/>
              <a:gd name="connsiteY6" fmla="*/ 2865623 h 3479141"/>
              <a:gd name="connsiteX7" fmla="*/ 6906350 w 6906350"/>
              <a:gd name="connsiteY7" fmla="*/ 1199432 h 3479141"/>
              <a:gd name="connsiteX0" fmla="*/ 0 w 6906350"/>
              <a:gd name="connsiteY0" fmla="*/ 1273858 h 3479141"/>
              <a:gd name="connsiteX1" fmla="*/ 1040952 w 6906350"/>
              <a:gd name="connsiteY1" fmla="*/ 1687007 h 3479141"/>
              <a:gd name="connsiteX2" fmla="*/ 1977085 w 6906350"/>
              <a:gd name="connsiteY2" fmla="*/ 3021982 h 3479141"/>
              <a:gd name="connsiteX3" fmla="*/ 2982852 w 6906350"/>
              <a:gd name="connsiteY3" fmla="*/ 718798 h 3479141"/>
              <a:gd name="connsiteX4" fmla="*/ 3856556 w 6906350"/>
              <a:gd name="connsiteY4" fmla="*/ 137536 h 3479141"/>
              <a:gd name="connsiteX5" fmla="*/ 4901947 w 6906350"/>
              <a:gd name="connsiteY5" fmla="*/ 3004853 h 3479141"/>
              <a:gd name="connsiteX6" fmla="*/ 5856327 w 6906350"/>
              <a:gd name="connsiteY6" fmla="*/ 2865623 h 3479141"/>
              <a:gd name="connsiteX7" fmla="*/ 6906350 w 6906350"/>
              <a:gd name="connsiteY7" fmla="*/ 1199432 h 3479141"/>
              <a:gd name="connsiteX0" fmla="*/ 0 w 6876287"/>
              <a:gd name="connsiteY0" fmla="*/ 1273858 h 3479141"/>
              <a:gd name="connsiteX1" fmla="*/ 1040952 w 6876287"/>
              <a:gd name="connsiteY1" fmla="*/ 1687007 h 3479141"/>
              <a:gd name="connsiteX2" fmla="*/ 1977085 w 6876287"/>
              <a:gd name="connsiteY2" fmla="*/ 3021982 h 3479141"/>
              <a:gd name="connsiteX3" fmla="*/ 2982852 w 6876287"/>
              <a:gd name="connsiteY3" fmla="*/ 718798 h 3479141"/>
              <a:gd name="connsiteX4" fmla="*/ 3856556 w 6876287"/>
              <a:gd name="connsiteY4" fmla="*/ 137536 h 3479141"/>
              <a:gd name="connsiteX5" fmla="*/ 4901947 w 6876287"/>
              <a:gd name="connsiteY5" fmla="*/ 3004853 h 3479141"/>
              <a:gd name="connsiteX6" fmla="*/ 5856327 w 6876287"/>
              <a:gd name="connsiteY6" fmla="*/ 2865623 h 3479141"/>
              <a:gd name="connsiteX7" fmla="*/ 6876287 w 6876287"/>
              <a:gd name="connsiteY7" fmla="*/ 491861 h 3479141"/>
              <a:gd name="connsiteX0" fmla="*/ 0 w 6822175"/>
              <a:gd name="connsiteY0" fmla="*/ 63392395 h 63392395"/>
              <a:gd name="connsiteX1" fmla="*/ 986840 w 6822175"/>
              <a:gd name="connsiteY1" fmla="*/ 3952156 h 63392395"/>
              <a:gd name="connsiteX2" fmla="*/ 1922973 w 6822175"/>
              <a:gd name="connsiteY2" fmla="*/ 5287131 h 63392395"/>
              <a:gd name="connsiteX3" fmla="*/ 2928740 w 6822175"/>
              <a:gd name="connsiteY3" fmla="*/ 2983947 h 63392395"/>
              <a:gd name="connsiteX4" fmla="*/ 3802444 w 6822175"/>
              <a:gd name="connsiteY4" fmla="*/ 2402685 h 63392395"/>
              <a:gd name="connsiteX5" fmla="*/ 4847835 w 6822175"/>
              <a:gd name="connsiteY5" fmla="*/ 5270002 h 63392395"/>
              <a:gd name="connsiteX6" fmla="*/ 5802215 w 6822175"/>
              <a:gd name="connsiteY6" fmla="*/ 5130772 h 63392395"/>
              <a:gd name="connsiteX7" fmla="*/ 6822175 w 6822175"/>
              <a:gd name="connsiteY7" fmla="*/ 2757010 h 63392395"/>
              <a:gd name="connsiteX0" fmla="*/ 0 w 6822175"/>
              <a:gd name="connsiteY0" fmla="*/ 63755649 h 75112498"/>
              <a:gd name="connsiteX1" fmla="*/ 968803 w 6822175"/>
              <a:gd name="connsiteY1" fmla="*/ 72273952 h 75112498"/>
              <a:gd name="connsiteX2" fmla="*/ 1922973 w 6822175"/>
              <a:gd name="connsiteY2" fmla="*/ 5650385 h 75112498"/>
              <a:gd name="connsiteX3" fmla="*/ 2928740 w 6822175"/>
              <a:gd name="connsiteY3" fmla="*/ 3347201 h 75112498"/>
              <a:gd name="connsiteX4" fmla="*/ 3802444 w 6822175"/>
              <a:gd name="connsiteY4" fmla="*/ 2765939 h 75112498"/>
              <a:gd name="connsiteX5" fmla="*/ 4847835 w 6822175"/>
              <a:gd name="connsiteY5" fmla="*/ 5633256 h 75112498"/>
              <a:gd name="connsiteX6" fmla="*/ 5802215 w 6822175"/>
              <a:gd name="connsiteY6" fmla="*/ 5494026 h 75112498"/>
              <a:gd name="connsiteX7" fmla="*/ 6822175 w 6822175"/>
              <a:gd name="connsiteY7" fmla="*/ 3120264 h 75112498"/>
              <a:gd name="connsiteX0" fmla="*/ 0 w 6822175"/>
              <a:gd name="connsiteY0" fmla="*/ 63755649 h 72341674"/>
              <a:gd name="connsiteX1" fmla="*/ 968803 w 6822175"/>
              <a:gd name="connsiteY1" fmla="*/ 72273952 h 72341674"/>
              <a:gd name="connsiteX2" fmla="*/ 1922973 w 6822175"/>
              <a:gd name="connsiteY2" fmla="*/ 5650385 h 72341674"/>
              <a:gd name="connsiteX3" fmla="*/ 2928740 w 6822175"/>
              <a:gd name="connsiteY3" fmla="*/ 3347201 h 72341674"/>
              <a:gd name="connsiteX4" fmla="*/ 3802444 w 6822175"/>
              <a:gd name="connsiteY4" fmla="*/ 2765939 h 72341674"/>
              <a:gd name="connsiteX5" fmla="*/ 4847835 w 6822175"/>
              <a:gd name="connsiteY5" fmla="*/ 5633256 h 72341674"/>
              <a:gd name="connsiteX6" fmla="*/ 5802215 w 6822175"/>
              <a:gd name="connsiteY6" fmla="*/ 5494026 h 72341674"/>
              <a:gd name="connsiteX7" fmla="*/ 6822175 w 6822175"/>
              <a:gd name="connsiteY7" fmla="*/ 3120264 h 72341674"/>
              <a:gd name="connsiteX0" fmla="*/ 0 w 6822175"/>
              <a:gd name="connsiteY0" fmla="*/ 63755649 h 72275286"/>
              <a:gd name="connsiteX1" fmla="*/ 968803 w 6822175"/>
              <a:gd name="connsiteY1" fmla="*/ 72273952 h 72275286"/>
              <a:gd name="connsiteX2" fmla="*/ 1922973 w 6822175"/>
              <a:gd name="connsiteY2" fmla="*/ 5650385 h 72275286"/>
              <a:gd name="connsiteX3" fmla="*/ 2928740 w 6822175"/>
              <a:gd name="connsiteY3" fmla="*/ 3347201 h 72275286"/>
              <a:gd name="connsiteX4" fmla="*/ 3802444 w 6822175"/>
              <a:gd name="connsiteY4" fmla="*/ 2765939 h 72275286"/>
              <a:gd name="connsiteX5" fmla="*/ 4847835 w 6822175"/>
              <a:gd name="connsiteY5" fmla="*/ 5633256 h 72275286"/>
              <a:gd name="connsiteX6" fmla="*/ 5802215 w 6822175"/>
              <a:gd name="connsiteY6" fmla="*/ 5494026 h 72275286"/>
              <a:gd name="connsiteX7" fmla="*/ 6822175 w 6822175"/>
              <a:gd name="connsiteY7" fmla="*/ 3120264 h 72275286"/>
              <a:gd name="connsiteX0" fmla="*/ 0 w 6822175"/>
              <a:gd name="connsiteY0" fmla="*/ 63801284 h 72944292"/>
              <a:gd name="connsiteX1" fmla="*/ 968803 w 6822175"/>
              <a:gd name="connsiteY1" fmla="*/ 72943063 h 72944292"/>
              <a:gd name="connsiteX2" fmla="*/ 1922973 w 6822175"/>
              <a:gd name="connsiteY2" fmla="*/ 5696020 h 72944292"/>
              <a:gd name="connsiteX3" fmla="*/ 2928740 w 6822175"/>
              <a:gd name="connsiteY3" fmla="*/ 3392836 h 72944292"/>
              <a:gd name="connsiteX4" fmla="*/ 3802444 w 6822175"/>
              <a:gd name="connsiteY4" fmla="*/ 2811574 h 72944292"/>
              <a:gd name="connsiteX5" fmla="*/ 4847835 w 6822175"/>
              <a:gd name="connsiteY5" fmla="*/ 5678891 h 72944292"/>
              <a:gd name="connsiteX6" fmla="*/ 5802215 w 6822175"/>
              <a:gd name="connsiteY6" fmla="*/ 5539661 h 72944292"/>
              <a:gd name="connsiteX7" fmla="*/ 6822175 w 6822175"/>
              <a:gd name="connsiteY7" fmla="*/ 3165899 h 72944292"/>
              <a:gd name="connsiteX0" fmla="*/ 0 w 6822175"/>
              <a:gd name="connsiteY0" fmla="*/ 66669626 h 90577636"/>
              <a:gd name="connsiteX1" fmla="*/ 968803 w 6822175"/>
              <a:gd name="connsiteY1" fmla="*/ 75811405 h 90577636"/>
              <a:gd name="connsiteX2" fmla="*/ 1977085 w 6822175"/>
              <a:gd name="connsiteY2" fmla="*/ 86914150 h 90577636"/>
              <a:gd name="connsiteX3" fmla="*/ 2928740 w 6822175"/>
              <a:gd name="connsiteY3" fmla="*/ 6261178 h 90577636"/>
              <a:gd name="connsiteX4" fmla="*/ 3802444 w 6822175"/>
              <a:gd name="connsiteY4" fmla="*/ 5679916 h 90577636"/>
              <a:gd name="connsiteX5" fmla="*/ 4847835 w 6822175"/>
              <a:gd name="connsiteY5" fmla="*/ 8547233 h 90577636"/>
              <a:gd name="connsiteX6" fmla="*/ 5802215 w 6822175"/>
              <a:gd name="connsiteY6" fmla="*/ 8408003 h 90577636"/>
              <a:gd name="connsiteX7" fmla="*/ 6822175 w 6822175"/>
              <a:gd name="connsiteY7" fmla="*/ 6034241 h 90577636"/>
              <a:gd name="connsiteX0" fmla="*/ 0 w 6822175"/>
              <a:gd name="connsiteY0" fmla="*/ 66669626 h 86926356"/>
              <a:gd name="connsiteX1" fmla="*/ 968803 w 6822175"/>
              <a:gd name="connsiteY1" fmla="*/ 75811405 h 86926356"/>
              <a:gd name="connsiteX2" fmla="*/ 1977085 w 6822175"/>
              <a:gd name="connsiteY2" fmla="*/ 86914150 h 86926356"/>
              <a:gd name="connsiteX3" fmla="*/ 2928740 w 6822175"/>
              <a:gd name="connsiteY3" fmla="*/ 6261178 h 86926356"/>
              <a:gd name="connsiteX4" fmla="*/ 3802444 w 6822175"/>
              <a:gd name="connsiteY4" fmla="*/ 5679916 h 86926356"/>
              <a:gd name="connsiteX5" fmla="*/ 4847835 w 6822175"/>
              <a:gd name="connsiteY5" fmla="*/ 8547233 h 86926356"/>
              <a:gd name="connsiteX6" fmla="*/ 5802215 w 6822175"/>
              <a:gd name="connsiteY6" fmla="*/ 8408003 h 86926356"/>
              <a:gd name="connsiteX7" fmla="*/ 6822175 w 6822175"/>
              <a:gd name="connsiteY7" fmla="*/ 6034241 h 86926356"/>
              <a:gd name="connsiteX0" fmla="*/ 0 w 6822175"/>
              <a:gd name="connsiteY0" fmla="*/ 66669626 h 86926356"/>
              <a:gd name="connsiteX1" fmla="*/ 968803 w 6822175"/>
              <a:gd name="connsiteY1" fmla="*/ 75811405 h 86926356"/>
              <a:gd name="connsiteX2" fmla="*/ 1977085 w 6822175"/>
              <a:gd name="connsiteY2" fmla="*/ 86914150 h 86926356"/>
              <a:gd name="connsiteX3" fmla="*/ 2928740 w 6822175"/>
              <a:gd name="connsiteY3" fmla="*/ 6261178 h 86926356"/>
              <a:gd name="connsiteX4" fmla="*/ 3802444 w 6822175"/>
              <a:gd name="connsiteY4" fmla="*/ 5679916 h 86926356"/>
              <a:gd name="connsiteX5" fmla="*/ 4847835 w 6822175"/>
              <a:gd name="connsiteY5" fmla="*/ 8547233 h 86926356"/>
              <a:gd name="connsiteX6" fmla="*/ 5802215 w 6822175"/>
              <a:gd name="connsiteY6" fmla="*/ 8408003 h 86926356"/>
              <a:gd name="connsiteX7" fmla="*/ 6822175 w 6822175"/>
              <a:gd name="connsiteY7" fmla="*/ 6034241 h 86926356"/>
              <a:gd name="connsiteX0" fmla="*/ 0 w 6822175"/>
              <a:gd name="connsiteY0" fmla="*/ 66777233 h 88487188"/>
              <a:gd name="connsiteX1" fmla="*/ 968803 w 6822175"/>
              <a:gd name="connsiteY1" fmla="*/ 75919012 h 88487188"/>
              <a:gd name="connsiteX2" fmla="*/ 1947023 w 6822175"/>
              <a:gd name="connsiteY2" fmla="*/ 88476524 h 88487188"/>
              <a:gd name="connsiteX3" fmla="*/ 2928740 w 6822175"/>
              <a:gd name="connsiteY3" fmla="*/ 6368785 h 88487188"/>
              <a:gd name="connsiteX4" fmla="*/ 3802444 w 6822175"/>
              <a:gd name="connsiteY4" fmla="*/ 5787523 h 88487188"/>
              <a:gd name="connsiteX5" fmla="*/ 4847835 w 6822175"/>
              <a:gd name="connsiteY5" fmla="*/ 8654840 h 88487188"/>
              <a:gd name="connsiteX6" fmla="*/ 5802215 w 6822175"/>
              <a:gd name="connsiteY6" fmla="*/ 8515610 h 88487188"/>
              <a:gd name="connsiteX7" fmla="*/ 6822175 w 6822175"/>
              <a:gd name="connsiteY7" fmla="*/ 6141848 h 88487188"/>
              <a:gd name="connsiteX0" fmla="*/ 0 w 6822175"/>
              <a:gd name="connsiteY0" fmla="*/ 66777233 h 88476550"/>
              <a:gd name="connsiteX1" fmla="*/ 968803 w 6822175"/>
              <a:gd name="connsiteY1" fmla="*/ 75919012 h 88476550"/>
              <a:gd name="connsiteX2" fmla="*/ 1947023 w 6822175"/>
              <a:gd name="connsiteY2" fmla="*/ 88476524 h 88476550"/>
              <a:gd name="connsiteX3" fmla="*/ 2928740 w 6822175"/>
              <a:gd name="connsiteY3" fmla="*/ 6368785 h 88476550"/>
              <a:gd name="connsiteX4" fmla="*/ 3802444 w 6822175"/>
              <a:gd name="connsiteY4" fmla="*/ 5787523 h 88476550"/>
              <a:gd name="connsiteX5" fmla="*/ 4847835 w 6822175"/>
              <a:gd name="connsiteY5" fmla="*/ 8654840 h 88476550"/>
              <a:gd name="connsiteX6" fmla="*/ 5802215 w 6822175"/>
              <a:gd name="connsiteY6" fmla="*/ 8515610 h 88476550"/>
              <a:gd name="connsiteX7" fmla="*/ 6822175 w 6822175"/>
              <a:gd name="connsiteY7" fmla="*/ 6141848 h 88476550"/>
              <a:gd name="connsiteX0" fmla="*/ 0 w 6822175"/>
              <a:gd name="connsiteY0" fmla="*/ 65839746 h 75610699"/>
              <a:gd name="connsiteX1" fmla="*/ 968803 w 6822175"/>
              <a:gd name="connsiteY1" fmla="*/ 74981525 h 75610699"/>
              <a:gd name="connsiteX2" fmla="*/ 1934998 w 6822175"/>
              <a:gd name="connsiteY2" fmla="*/ 74861765 h 75610699"/>
              <a:gd name="connsiteX3" fmla="*/ 2928740 w 6822175"/>
              <a:gd name="connsiteY3" fmla="*/ 5431298 h 75610699"/>
              <a:gd name="connsiteX4" fmla="*/ 3802444 w 6822175"/>
              <a:gd name="connsiteY4" fmla="*/ 4850036 h 75610699"/>
              <a:gd name="connsiteX5" fmla="*/ 4847835 w 6822175"/>
              <a:gd name="connsiteY5" fmla="*/ 7717353 h 75610699"/>
              <a:gd name="connsiteX6" fmla="*/ 5802215 w 6822175"/>
              <a:gd name="connsiteY6" fmla="*/ 7578123 h 75610699"/>
              <a:gd name="connsiteX7" fmla="*/ 6822175 w 6822175"/>
              <a:gd name="connsiteY7" fmla="*/ 5204361 h 75610699"/>
              <a:gd name="connsiteX0" fmla="*/ 0 w 6822175"/>
              <a:gd name="connsiteY0" fmla="*/ 65855089 h 75693345"/>
              <a:gd name="connsiteX1" fmla="*/ 968803 w 6822175"/>
              <a:gd name="connsiteY1" fmla="*/ 74996868 h 75693345"/>
              <a:gd name="connsiteX2" fmla="*/ 1934998 w 6822175"/>
              <a:gd name="connsiteY2" fmla="*/ 75084925 h 75693345"/>
              <a:gd name="connsiteX3" fmla="*/ 2928740 w 6822175"/>
              <a:gd name="connsiteY3" fmla="*/ 5446641 h 75693345"/>
              <a:gd name="connsiteX4" fmla="*/ 3802444 w 6822175"/>
              <a:gd name="connsiteY4" fmla="*/ 4865379 h 75693345"/>
              <a:gd name="connsiteX5" fmla="*/ 4847835 w 6822175"/>
              <a:gd name="connsiteY5" fmla="*/ 7732696 h 75693345"/>
              <a:gd name="connsiteX6" fmla="*/ 5802215 w 6822175"/>
              <a:gd name="connsiteY6" fmla="*/ 7593466 h 75693345"/>
              <a:gd name="connsiteX7" fmla="*/ 6822175 w 6822175"/>
              <a:gd name="connsiteY7" fmla="*/ 5219704 h 75693345"/>
              <a:gd name="connsiteX0" fmla="*/ 0 w 6822175"/>
              <a:gd name="connsiteY0" fmla="*/ 65962643 h 76647272"/>
              <a:gd name="connsiteX1" fmla="*/ 968803 w 6822175"/>
              <a:gd name="connsiteY1" fmla="*/ 75104422 h 76647272"/>
              <a:gd name="connsiteX2" fmla="*/ 1934998 w 6822175"/>
              <a:gd name="connsiteY2" fmla="*/ 76647246 h 76647272"/>
              <a:gd name="connsiteX3" fmla="*/ 2928740 w 6822175"/>
              <a:gd name="connsiteY3" fmla="*/ 5554195 h 76647272"/>
              <a:gd name="connsiteX4" fmla="*/ 3802444 w 6822175"/>
              <a:gd name="connsiteY4" fmla="*/ 4972933 h 76647272"/>
              <a:gd name="connsiteX5" fmla="*/ 4847835 w 6822175"/>
              <a:gd name="connsiteY5" fmla="*/ 7840250 h 76647272"/>
              <a:gd name="connsiteX6" fmla="*/ 5802215 w 6822175"/>
              <a:gd name="connsiteY6" fmla="*/ 7701020 h 76647272"/>
              <a:gd name="connsiteX7" fmla="*/ 6822175 w 6822175"/>
              <a:gd name="connsiteY7" fmla="*/ 5327258 h 76647272"/>
              <a:gd name="connsiteX0" fmla="*/ 0 w 6822175"/>
              <a:gd name="connsiteY0" fmla="*/ 65901195 h 76001083"/>
              <a:gd name="connsiteX1" fmla="*/ 968803 w 6822175"/>
              <a:gd name="connsiteY1" fmla="*/ 75042974 h 76001083"/>
              <a:gd name="connsiteX2" fmla="*/ 1934998 w 6822175"/>
              <a:gd name="connsiteY2" fmla="*/ 75754506 h 76001083"/>
              <a:gd name="connsiteX3" fmla="*/ 2928740 w 6822175"/>
              <a:gd name="connsiteY3" fmla="*/ 5492747 h 76001083"/>
              <a:gd name="connsiteX4" fmla="*/ 3802444 w 6822175"/>
              <a:gd name="connsiteY4" fmla="*/ 4911485 h 76001083"/>
              <a:gd name="connsiteX5" fmla="*/ 4847835 w 6822175"/>
              <a:gd name="connsiteY5" fmla="*/ 7778802 h 76001083"/>
              <a:gd name="connsiteX6" fmla="*/ 5802215 w 6822175"/>
              <a:gd name="connsiteY6" fmla="*/ 7639572 h 76001083"/>
              <a:gd name="connsiteX7" fmla="*/ 6822175 w 6822175"/>
              <a:gd name="connsiteY7" fmla="*/ 5265810 h 76001083"/>
              <a:gd name="connsiteX0" fmla="*/ 0 w 6822175"/>
              <a:gd name="connsiteY0" fmla="*/ 65885826 h 75886759"/>
              <a:gd name="connsiteX1" fmla="*/ 968803 w 6822175"/>
              <a:gd name="connsiteY1" fmla="*/ 75027605 h 75886759"/>
              <a:gd name="connsiteX2" fmla="*/ 1934998 w 6822175"/>
              <a:gd name="connsiteY2" fmla="*/ 75531320 h 75886759"/>
              <a:gd name="connsiteX3" fmla="*/ 2928740 w 6822175"/>
              <a:gd name="connsiteY3" fmla="*/ 5477378 h 75886759"/>
              <a:gd name="connsiteX4" fmla="*/ 3802444 w 6822175"/>
              <a:gd name="connsiteY4" fmla="*/ 4896116 h 75886759"/>
              <a:gd name="connsiteX5" fmla="*/ 4847835 w 6822175"/>
              <a:gd name="connsiteY5" fmla="*/ 7763433 h 75886759"/>
              <a:gd name="connsiteX6" fmla="*/ 5802215 w 6822175"/>
              <a:gd name="connsiteY6" fmla="*/ 7624203 h 75886759"/>
              <a:gd name="connsiteX7" fmla="*/ 6822175 w 6822175"/>
              <a:gd name="connsiteY7" fmla="*/ 5250441 h 75886759"/>
              <a:gd name="connsiteX0" fmla="*/ 0 w 6822175"/>
              <a:gd name="connsiteY0" fmla="*/ 65284985 h 79372722"/>
              <a:gd name="connsiteX1" fmla="*/ 968803 w 6822175"/>
              <a:gd name="connsiteY1" fmla="*/ 74426764 h 79372722"/>
              <a:gd name="connsiteX2" fmla="*/ 1934998 w 6822175"/>
              <a:gd name="connsiteY2" fmla="*/ 74930479 h 79372722"/>
              <a:gd name="connsiteX3" fmla="*/ 2904690 w 6822175"/>
              <a:gd name="connsiteY3" fmla="*/ 73874225 h 79372722"/>
              <a:gd name="connsiteX4" fmla="*/ 3802444 w 6822175"/>
              <a:gd name="connsiteY4" fmla="*/ 4295275 h 79372722"/>
              <a:gd name="connsiteX5" fmla="*/ 4847835 w 6822175"/>
              <a:gd name="connsiteY5" fmla="*/ 7162592 h 79372722"/>
              <a:gd name="connsiteX6" fmla="*/ 5802215 w 6822175"/>
              <a:gd name="connsiteY6" fmla="*/ 7023362 h 79372722"/>
              <a:gd name="connsiteX7" fmla="*/ 6822175 w 6822175"/>
              <a:gd name="connsiteY7" fmla="*/ 4649600 h 79372722"/>
              <a:gd name="connsiteX0" fmla="*/ 0 w 6822175"/>
              <a:gd name="connsiteY0" fmla="*/ 65284985 h 75329019"/>
              <a:gd name="connsiteX1" fmla="*/ 968803 w 6822175"/>
              <a:gd name="connsiteY1" fmla="*/ 74426764 h 75329019"/>
              <a:gd name="connsiteX2" fmla="*/ 1934998 w 6822175"/>
              <a:gd name="connsiteY2" fmla="*/ 74930479 h 75329019"/>
              <a:gd name="connsiteX3" fmla="*/ 2904690 w 6822175"/>
              <a:gd name="connsiteY3" fmla="*/ 73874225 h 75329019"/>
              <a:gd name="connsiteX4" fmla="*/ 3802444 w 6822175"/>
              <a:gd name="connsiteY4" fmla="*/ 4295275 h 75329019"/>
              <a:gd name="connsiteX5" fmla="*/ 4847835 w 6822175"/>
              <a:gd name="connsiteY5" fmla="*/ 7162592 h 75329019"/>
              <a:gd name="connsiteX6" fmla="*/ 5802215 w 6822175"/>
              <a:gd name="connsiteY6" fmla="*/ 7023362 h 75329019"/>
              <a:gd name="connsiteX7" fmla="*/ 6822175 w 6822175"/>
              <a:gd name="connsiteY7" fmla="*/ 4649600 h 75329019"/>
              <a:gd name="connsiteX0" fmla="*/ 0 w 6822175"/>
              <a:gd name="connsiteY0" fmla="*/ 65315278 h 75337461"/>
              <a:gd name="connsiteX1" fmla="*/ 968803 w 6822175"/>
              <a:gd name="connsiteY1" fmla="*/ 74457057 h 75337461"/>
              <a:gd name="connsiteX2" fmla="*/ 1934998 w 6822175"/>
              <a:gd name="connsiteY2" fmla="*/ 74960772 h 75337461"/>
              <a:gd name="connsiteX3" fmla="*/ 2904690 w 6822175"/>
              <a:gd name="connsiteY3" fmla="*/ 74320152 h 75337461"/>
              <a:gd name="connsiteX4" fmla="*/ 3802444 w 6822175"/>
              <a:gd name="connsiteY4" fmla="*/ 4325568 h 75337461"/>
              <a:gd name="connsiteX5" fmla="*/ 4847835 w 6822175"/>
              <a:gd name="connsiteY5" fmla="*/ 7192885 h 75337461"/>
              <a:gd name="connsiteX6" fmla="*/ 5802215 w 6822175"/>
              <a:gd name="connsiteY6" fmla="*/ 7053655 h 75337461"/>
              <a:gd name="connsiteX7" fmla="*/ 6822175 w 6822175"/>
              <a:gd name="connsiteY7" fmla="*/ 4679893 h 75337461"/>
              <a:gd name="connsiteX0" fmla="*/ 0 w 6822175"/>
              <a:gd name="connsiteY0" fmla="*/ 60638272 h 70660455"/>
              <a:gd name="connsiteX1" fmla="*/ 968803 w 6822175"/>
              <a:gd name="connsiteY1" fmla="*/ 69780051 h 70660455"/>
              <a:gd name="connsiteX2" fmla="*/ 1934998 w 6822175"/>
              <a:gd name="connsiteY2" fmla="*/ 70283766 h 70660455"/>
              <a:gd name="connsiteX3" fmla="*/ 2904690 w 6822175"/>
              <a:gd name="connsiteY3" fmla="*/ 69643146 h 70660455"/>
              <a:gd name="connsiteX4" fmla="*/ 3880606 w 6822175"/>
              <a:gd name="connsiteY4" fmla="*/ 59294144 h 70660455"/>
              <a:gd name="connsiteX5" fmla="*/ 4847835 w 6822175"/>
              <a:gd name="connsiteY5" fmla="*/ 2515879 h 70660455"/>
              <a:gd name="connsiteX6" fmla="*/ 5802215 w 6822175"/>
              <a:gd name="connsiteY6" fmla="*/ 2376649 h 70660455"/>
              <a:gd name="connsiteX7" fmla="*/ 6822175 w 6822175"/>
              <a:gd name="connsiteY7" fmla="*/ 2887 h 70660455"/>
              <a:gd name="connsiteX0" fmla="*/ 0 w 6822175"/>
              <a:gd name="connsiteY0" fmla="*/ 60638272 h 70660455"/>
              <a:gd name="connsiteX1" fmla="*/ 968803 w 6822175"/>
              <a:gd name="connsiteY1" fmla="*/ 69780051 h 70660455"/>
              <a:gd name="connsiteX2" fmla="*/ 1934998 w 6822175"/>
              <a:gd name="connsiteY2" fmla="*/ 70283766 h 70660455"/>
              <a:gd name="connsiteX3" fmla="*/ 2904690 w 6822175"/>
              <a:gd name="connsiteY3" fmla="*/ 69643146 h 70660455"/>
              <a:gd name="connsiteX4" fmla="*/ 3880606 w 6822175"/>
              <a:gd name="connsiteY4" fmla="*/ 59294144 h 70660455"/>
              <a:gd name="connsiteX5" fmla="*/ 4847835 w 6822175"/>
              <a:gd name="connsiteY5" fmla="*/ 2515879 h 70660455"/>
              <a:gd name="connsiteX6" fmla="*/ 5802215 w 6822175"/>
              <a:gd name="connsiteY6" fmla="*/ 2376649 h 70660455"/>
              <a:gd name="connsiteX7" fmla="*/ 6822175 w 6822175"/>
              <a:gd name="connsiteY7" fmla="*/ 2887 h 70660455"/>
              <a:gd name="connsiteX0" fmla="*/ 0 w 6822175"/>
              <a:gd name="connsiteY0" fmla="*/ 60638272 h 70660455"/>
              <a:gd name="connsiteX1" fmla="*/ 968803 w 6822175"/>
              <a:gd name="connsiteY1" fmla="*/ 69780051 h 70660455"/>
              <a:gd name="connsiteX2" fmla="*/ 1934998 w 6822175"/>
              <a:gd name="connsiteY2" fmla="*/ 70283766 h 70660455"/>
              <a:gd name="connsiteX3" fmla="*/ 2904690 w 6822175"/>
              <a:gd name="connsiteY3" fmla="*/ 69643146 h 70660455"/>
              <a:gd name="connsiteX4" fmla="*/ 3880606 w 6822175"/>
              <a:gd name="connsiteY4" fmla="*/ 59294144 h 70660455"/>
              <a:gd name="connsiteX5" fmla="*/ 4769673 w 6822175"/>
              <a:gd name="connsiteY5" fmla="*/ 46782477 h 70660455"/>
              <a:gd name="connsiteX6" fmla="*/ 5802215 w 6822175"/>
              <a:gd name="connsiteY6" fmla="*/ 2376649 h 70660455"/>
              <a:gd name="connsiteX7" fmla="*/ 6822175 w 6822175"/>
              <a:gd name="connsiteY7" fmla="*/ 2887 h 70660455"/>
              <a:gd name="connsiteX0" fmla="*/ 0 w 6822175"/>
              <a:gd name="connsiteY0" fmla="*/ 60638272 h 70660455"/>
              <a:gd name="connsiteX1" fmla="*/ 968803 w 6822175"/>
              <a:gd name="connsiteY1" fmla="*/ 69780051 h 70660455"/>
              <a:gd name="connsiteX2" fmla="*/ 1934998 w 6822175"/>
              <a:gd name="connsiteY2" fmla="*/ 70283766 h 70660455"/>
              <a:gd name="connsiteX3" fmla="*/ 2904690 w 6822175"/>
              <a:gd name="connsiteY3" fmla="*/ 69643146 h 70660455"/>
              <a:gd name="connsiteX4" fmla="*/ 3880606 w 6822175"/>
              <a:gd name="connsiteY4" fmla="*/ 59294144 h 70660455"/>
              <a:gd name="connsiteX5" fmla="*/ 4769673 w 6822175"/>
              <a:gd name="connsiteY5" fmla="*/ 46782477 h 70660455"/>
              <a:gd name="connsiteX6" fmla="*/ 5802215 w 6822175"/>
              <a:gd name="connsiteY6" fmla="*/ 2376649 h 70660455"/>
              <a:gd name="connsiteX7" fmla="*/ 6822175 w 6822175"/>
              <a:gd name="connsiteY7" fmla="*/ 2887 h 70660455"/>
              <a:gd name="connsiteX0" fmla="*/ 0 w 6822175"/>
              <a:gd name="connsiteY0" fmla="*/ 60638272 h 70660455"/>
              <a:gd name="connsiteX1" fmla="*/ 968803 w 6822175"/>
              <a:gd name="connsiteY1" fmla="*/ 69780051 h 70660455"/>
              <a:gd name="connsiteX2" fmla="*/ 1934998 w 6822175"/>
              <a:gd name="connsiteY2" fmla="*/ 70283766 h 70660455"/>
              <a:gd name="connsiteX3" fmla="*/ 2904690 w 6822175"/>
              <a:gd name="connsiteY3" fmla="*/ 69643146 h 70660455"/>
              <a:gd name="connsiteX4" fmla="*/ 3880606 w 6822175"/>
              <a:gd name="connsiteY4" fmla="*/ 59294144 h 70660455"/>
              <a:gd name="connsiteX5" fmla="*/ 4799736 w 6822175"/>
              <a:gd name="connsiteY5" fmla="*/ 47405953 h 70660455"/>
              <a:gd name="connsiteX6" fmla="*/ 5802215 w 6822175"/>
              <a:gd name="connsiteY6" fmla="*/ 2376649 h 70660455"/>
              <a:gd name="connsiteX7" fmla="*/ 6822175 w 6822175"/>
              <a:gd name="connsiteY7" fmla="*/ 2887 h 70660455"/>
              <a:gd name="connsiteX0" fmla="*/ 0 w 6822175"/>
              <a:gd name="connsiteY0" fmla="*/ 60635554 h 70657737"/>
              <a:gd name="connsiteX1" fmla="*/ 968803 w 6822175"/>
              <a:gd name="connsiteY1" fmla="*/ 69777333 h 70657737"/>
              <a:gd name="connsiteX2" fmla="*/ 1934998 w 6822175"/>
              <a:gd name="connsiteY2" fmla="*/ 70281048 h 70657737"/>
              <a:gd name="connsiteX3" fmla="*/ 2904690 w 6822175"/>
              <a:gd name="connsiteY3" fmla="*/ 69640428 h 70657737"/>
              <a:gd name="connsiteX4" fmla="*/ 3880606 w 6822175"/>
              <a:gd name="connsiteY4" fmla="*/ 59291426 h 70657737"/>
              <a:gd name="connsiteX5" fmla="*/ 4799736 w 6822175"/>
              <a:gd name="connsiteY5" fmla="*/ 47403235 h 70657737"/>
              <a:gd name="connsiteX6" fmla="*/ 5802216 w 6822175"/>
              <a:gd name="connsiteY6" fmla="*/ 68254244 h 70657737"/>
              <a:gd name="connsiteX7" fmla="*/ 6822175 w 6822175"/>
              <a:gd name="connsiteY7" fmla="*/ 169 h 70657737"/>
              <a:gd name="connsiteX0" fmla="*/ 0 w 6822175"/>
              <a:gd name="connsiteY0" fmla="*/ 60635554 h 70657737"/>
              <a:gd name="connsiteX1" fmla="*/ 968803 w 6822175"/>
              <a:gd name="connsiteY1" fmla="*/ 69777333 h 70657737"/>
              <a:gd name="connsiteX2" fmla="*/ 1934998 w 6822175"/>
              <a:gd name="connsiteY2" fmla="*/ 70281048 h 70657737"/>
              <a:gd name="connsiteX3" fmla="*/ 2904690 w 6822175"/>
              <a:gd name="connsiteY3" fmla="*/ 69640428 h 70657737"/>
              <a:gd name="connsiteX4" fmla="*/ 3880606 w 6822175"/>
              <a:gd name="connsiteY4" fmla="*/ 59291426 h 70657737"/>
              <a:gd name="connsiteX5" fmla="*/ 4799736 w 6822175"/>
              <a:gd name="connsiteY5" fmla="*/ 47403235 h 70657737"/>
              <a:gd name="connsiteX6" fmla="*/ 5802216 w 6822175"/>
              <a:gd name="connsiteY6" fmla="*/ 68254244 h 70657737"/>
              <a:gd name="connsiteX7" fmla="*/ 6822175 w 6822175"/>
              <a:gd name="connsiteY7" fmla="*/ 169 h 70657737"/>
              <a:gd name="connsiteX0" fmla="*/ 0 w 6822175"/>
              <a:gd name="connsiteY0" fmla="*/ 60635554 h 70657737"/>
              <a:gd name="connsiteX1" fmla="*/ 968803 w 6822175"/>
              <a:gd name="connsiteY1" fmla="*/ 69777333 h 70657737"/>
              <a:gd name="connsiteX2" fmla="*/ 1934998 w 6822175"/>
              <a:gd name="connsiteY2" fmla="*/ 70281048 h 70657737"/>
              <a:gd name="connsiteX3" fmla="*/ 2904690 w 6822175"/>
              <a:gd name="connsiteY3" fmla="*/ 69640428 h 70657737"/>
              <a:gd name="connsiteX4" fmla="*/ 3880606 w 6822175"/>
              <a:gd name="connsiteY4" fmla="*/ 59291426 h 70657737"/>
              <a:gd name="connsiteX5" fmla="*/ 4799736 w 6822175"/>
              <a:gd name="connsiteY5" fmla="*/ 47403235 h 70657737"/>
              <a:gd name="connsiteX6" fmla="*/ 5802216 w 6822175"/>
              <a:gd name="connsiteY6" fmla="*/ 68254244 h 70657737"/>
              <a:gd name="connsiteX7" fmla="*/ 6822175 w 6822175"/>
              <a:gd name="connsiteY7" fmla="*/ 169 h 70657737"/>
              <a:gd name="connsiteX0" fmla="*/ 0 w 6738001"/>
              <a:gd name="connsiteY0" fmla="*/ 13246590 h 48002585"/>
              <a:gd name="connsiteX1" fmla="*/ 968803 w 6738001"/>
              <a:gd name="connsiteY1" fmla="*/ 22388369 h 48002585"/>
              <a:gd name="connsiteX2" fmla="*/ 1934998 w 6738001"/>
              <a:gd name="connsiteY2" fmla="*/ 22892084 h 48002585"/>
              <a:gd name="connsiteX3" fmla="*/ 2904690 w 6738001"/>
              <a:gd name="connsiteY3" fmla="*/ 22251464 h 48002585"/>
              <a:gd name="connsiteX4" fmla="*/ 3880606 w 6738001"/>
              <a:gd name="connsiteY4" fmla="*/ 11902462 h 48002585"/>
              <a:gd name="connsiteX5" fmla="*/ 4799736 w 6738001"/>
              <a:gd name="connsiteY5" fmla="*/ 14271 h 48002585"/>
              <a:gd name="connsiteX6" fmla="*/ 5802216 w 6738001"/>
              <a:gd name="connsiteY6" fmla="*/ 20865280 h 48002585"/>
              <a:gd name="connsiteX7" fmla="*/ 6738001 w 6738001"/>
              <a:gd name="connsiteY7" fmla="*/ 48002585 h 48002585"/>
              <a:gd name="connsiteX0" fmla="*/ 0 w 6738001"/>
              <a:gd name="connsiteY0" fmla="*/ 13246590 h 48002585"/>
              <a:gd name="connsiteX1" fmla="*/ 968803 w 6738001"/>
              <a:gd name="connsiteY1" fmla="*/ 22388369 h 48002585"/>
              <a:gd name="connsiteX2" fmla="*/ 1934998 w 6738001"/>
              <a:gd name="connsiteY2" fmla="*/ 22892084 h 48002585"/>
              <a:gd name="connsiteX3" fmla="*/ 2904690 w 6738001"/>
              <a:gd name="connsiteY3" fmla="*/ 22251464 h 48002585"/>
              <a:gd name="connsiteX4" fmla="*/ 3880606 w 6738001"/>
              <a:gd name="connsiteY4" fmla="*/ 11902462 h 48002585"/>
              <a:gd name="connsiteX5" fmla="*/ 4799736 w 6738001"/>
              <a:gd name="connsiteY5" fmla="*/ 14271 h 48002585"/>
              <a:gd name="connsiteX6" fmla="*/ 5802216 w 6738001"/>
              <a:gd name="connsiteY6" fmla="*/ 20865280 h 48002585"/>
              <a:gd name="connsiteX7" fmla="*/ 6738001 w 6738001"/>
              <a:gd name="connsiteY7" fmla="*/ 48002585 h 48002585"/>
              <a:gd name="connsiteX0" fmla="*/ 0 w 6738001"/>
              <a:gd name="connsiteY0" fmla="*/ 13246590 h 48002585"/>
              <a:gd name="connsiteX1" fmla="*/ 968803 w 6738001"/>
              <a:gd name="connsiteY1" fmla="*/ 22388369 h 48002585"/>
              <a:gd name="connsiteX2" fmla="*/ 1934998 w 6738001"/>
              <a:gd name="connsiteY2" fmla="*/ 22892084 h 48002585"/>
              <a:gd name="connsiteX3" fmla="*/ 2904690 w 6738001"/>
              <a:gd name="connsiteY3" fmla="*/ 22251464 h 48002585"/>
              <a:gd name="connsiteX4" fmla="*/ 3880606 w 6738001"/>
              <a:gd name="connsiteY4" fmla="*/ 11902462 h 48002585"/>
              <a:gd name="connsiteX5" fmla="*/ 4799736 w 6738001"/>
              <a:gd name="connsiteY5" fmla="*/ 14271 h 48002585"/>
              <a:gd name="connsiteX6" fmla="*/ 5802216 w 6738001"/>
              <a:gd name="connsiteY6" fmla="*/ 20865280 h 48002585"/>
              <a:gd name="connsiteX7" fmla="*/ 6738001 w 6738001"/>
              <a:gd name="connsiteY7" fmla="*/ 48002585 h 48002585"/>
              <a:gd name="connsiteX0" fmla="*/ 0 w 6738001"/>
              <a:gd name="connsiteY0" fmla="*/ 13250145 h 48006140"/>
              <a:gd name="connsiteX1" fmla="*/ 968803 w 6738001"/>
              <a:gd name="connsiteY1" fmla="*/ 22391924 h 48006140"/>
              <a:gd name="connsiteX2" fmla="*/ 1934998 w 6738001"/>
              <a:gd name="connsiteY2" fmla="*/ 22895639 h 48006140"/>
              <a:gd name="connsiteX3" fmla="*/ 2904690 w 6738001"/>
              <a:gd name="connsiteY3" fmla="*/ 22255019 h 48006140"/>
              <a:gd name="connsiteX4" fmla="*/ 3880606 w 6738001"/>
              <a:gd name="connsiteY4" fmla="*/ 11906017 h 48006140"/>
              <a:gd name="connsiteX5" fmla="*/ 4799736 w 6738001"/>
              <a:gd name="connsiteY5" fmla="*/ 17826 h 48006140"/>
              <a:gd name="connsiteX6" fmla="*/ 5802216 w 6738001"/>
              <a:gd name="connsiteY6" fmla="*/ 20868835 h 48006140"/>
              <a:gd name="connsiteX7" fmla="*/ 6738001 w 6738001"/>
              <a:gd name="connsiteY7" fmla="*/ 48006140 h 48006140"/>
              <a:gd name="connsiteX0" fmla="*/ 0 w 6744013"/>
              <a:gd name="connsiteY0" fmla="*/ 13250145 h 34705393"/>
              <a:gd name="connsiteX1" fmla="*/ 968803 w 6744013"/>
              <a:gd name="connsiteY1" fmla="*/ 22391924 h 34705393"/>
              <a:gd name="connsiteX2" fmla="*/ 1934998 w 6744013"/>
              <a:gd name="connsiteY2" fmla="*/ 22895639 h 34705393"/>
              <a:gd name="connsiteX3" fmla="*/ 2904690 w 6744013"/>
              <a:gd name="connsiteY3" fmla="*/ 22255019 h 34705393"/>
              <a:gd name="connsiteX4" fmla="*/ 3880606 w 6744013"/>
              <a:gd name="connsiteY4" fmla="*/ 11906017 h 34705393"/>
              <a:gd name="connsiteX5" fmla="*/ 4799736 w 6744013"/>
              <a:gd name="connsiteY5" fmla="*/ 17826 h 34705393"/>
              <a:gd name="connsiteX6" fmla="*/ 5802216 w 6744013"/>
              <a:gd name="connsiteY6" fmla="*/ 20868835 h 34705393"/>
              <a:gd name="connsiteX7" fmla="*/ 6744013 w 6744013"/>
              <a:gd name="connsiteY7" fmla="*/ 34705393 h 34705393"/>
              <a:gd name="connsiteX0" fmla="*/ 0 w 6744013"/>
              <a:gd name="connsiteY0" fmla="*/ 13250145 h 34705393"/>
              <a:gd name="connsiteX1" fmla="*/ 968803 w 6744013"/>
              <a:gd name="connsiteY1" fmla="*/ 22391924 h 34705393"/>
              <a:gd name="connsiteX2" fmla="*/ 1934998 w 6744013"/>
              <a:gd name="connsiteY2" fmla="*/ 22895639 h 34705393"/>
              <a:gd name="connsiteX3" fmla="*/ 2904690 w 6744013"/>
              <a:gd name="connsiteY3" fmla="*/ 22255019 h 34705393"/>
              <a:gd name="connsiteX4" fmla="*/ 3880606 w 6744013"/>
              <a:gd name="connsiteY4" fmla="*/ 11906017 h 34705393"/>
              <a:gd name="connsiteX5" fmla="*/ 4799736 w 6744013"/>
              <a:gd name="connsiteY5" fmla="*/ 17826 h 34705393"/>
              <a:gd name="connsiteX6" fmla="*/ 5802216 w 6744013"/>
              <a:gd name="connsiteY6" fmla="*/ 20868835 h 34705393"/>
              <a:gd name="connsiteX7" fmla="*/ 6744013 w 6744013"/>
              <a:gd name="connsiteY7" fmla="*/ 34705393 h 34705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44013" h="34705393">
                <a:moveTo>
                  <a:pt x="0" y="13250145"/>
                </a:moveTo>
                <a:cubicBezTo>
                  <a:pt x="385001" y="13250771"/>
                  <a:pt x="646303" y="20784342"/>
                  <a:pt x="968803" y="22391924"/>
                </a:cubicBezTo>
                <a:cubicBezTo>
                  <a:pt x="1291303" y="23999506"/>
                  <a:pt x="1612350" y="22918456"/>
                  <a:pt x="1934998" y="22895639"/>
                </a:cubicBezTo>
                <a:cubicBezTo>
                  <a:pt x="2257646" y="22872822"/>
                  <a:pt x="2580422" y="24086623"/>
                  <a:pt x="2904690" y="22255019"/>
                </a:cubicBezTo>
                <a:cubicBezTo>
                  <a:pt x="3228958" y="20423415"/>
                  <a:pt x="3564765" y="15612216"/>
                  <a:pt x="3880606" y="11906017"/>
                </a:cubicBezTo>
                <a:cubicBezTo>
                  <a:pt x="4196447" y="8199818"/>
                  <a:pt x="4534032" y="10331"/>
                  <a:pt x="4799736" y="17826"/>
                </a:cubicBezTo>
                <a:cubicBezTo>
                  <a:pt x="5145602" y="-625853"/>
                  <a:pt x="5568814" y="16345959"/>
                  <a:pt x="5802216" y="20868835"/>
                </a:cubicBezTo>
                <a:cubicBezTo>
                  <a:pt x="6104124" y="27074602"/>
                  <a:pt x="6273758" y="27931143"/>
                  <a:pt x="6744013" y="34705393"/>
                </a:cubicBezTo>
              </a:path>
            </a:pathLst>
          </a:custGeom>
          <a:noFill/>
          <a:ln w="136525" cap="rnd" cmpd="sng" algn="ctr">
            <a:solidFill>
              <a:srgbClr val="FFCD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122" name="Freeform 42">
            <a:extLst>
              <a:ext uri="{FF2B5EF4-FFF2-40B4-BE49-F238E27FC236}">
                <a16:creationId xmlns:a16="http://schemas.microsoft.com/office/drawing/2014/main" id="{D99D291A-E3B9-4076-A8F6-443F174DA4D3}"/>
              </a:ext>
            </a:extLst>
          </p:cNvPr>
          <p:cNvSpPr/>
          <p:nvPr/>
        </p:nvSpPr>
        <p:spPr bwMode="auto">
          <a:xfrm flipV="1">
            <a:off x="1465763" y="3695550"/>
            <a:ext cx="8910792" cy="886568"/>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1317807 w 7136640"/>
              <a:gd name="connsiteY1" fmla="*/ 194447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1155002 w 7136640"/>
              <a:gd name="connsiteY1" fmla="*/ 192612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1155002 w 7136640"/>
              <a:gd name="connsiteY1" fmla="*/ 192612 h 281116"/>
              <a:gd name="connsiteX2" fmla="*/ 2057502 w 7136640"/>
              <a:gd name="connsiteY2" fmla="*/ 223890 h 281116"/>
              <a:gd name="connsiteX3" fmla="*/ 2857293 w 7136640"/>
              <a:gd name="connsiteY3" fmla="*/ 217897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1155002 w 7136640"/>
              <a:gd name="connsiteY1" fmla="*/ 192612 h 281116"/>
              <a:gd name="connsiteX2" fmla="*/ 2057502 w 7136640"/>
              <a:gd name="connsiteY2" fmla="*/ 223890 h 281116"/>
              <a:gd name="connsiteX3" fmla="*/ 2857293 w 7136640"/>
              <a:gd name="connsiteY3" fmla="*/ 217897 h 281116"/>
              <a:gd name="connsiteX4" fmla="*/ 4211883 w 7136640"/>
              <a:gd name="connsiteY4" fmla="*/ 110665 h 281116"/>
              <a:gd name="connsiteX5" fmla="*/ 4942580 w 7136640"/>
              <a:gd name="connsiteY5" fmla="*/ 125321 h 281116"/>
              <a:gd name="connsiteX6" fmla="*/ 5636849 w 7136640"/>
              <a:gd name="connsiteY6" fmla="*/ 172302 h 281116"/>
              <a:gd name="connsiteX7" fmla="*/ 6344970 w 7136640"/>
              <a:gd name="connsiteY7" fmla="*/ 119271 h 281116"/>
              <a:gd name="connsiteX8" fmla="*/ 6500954 w 7136640"/>
              <a:gd name="connsiteY8" fmla="*/ 660 h 281116"/>
              <a:gd name="connsiteX9" fmla="*/ 7136640 w 7136640"/>
              <a:gd name="connsiteY9" fmla="*/ 281116 h 281116"/>
              <a:gd name="connsiteX0" fmla="*/ 0 w 7136640"/>
              <a:gd name="connsiteY0" fmla="*/ 190735 h 281116"/>
              <a:gd name="connsiteX1" fmla="*/ 1155002 w 7136640"/>
              <a:gd name="connsiteY1" fmla="*/ 192612 h 281116"/>
              <a:gd name="connsiteX2" fmla="*/ 2057502 w 7136640"/>
              <a:gd name="connsiteY2" fmla="*/ 223890 h 281116"/>
              <a:gd name="connsiteX3" fmla="*/ 2857293 w 7136640"/>
              <a:gd name="connsiteY3" fmla="*/ 217897 h 281116"/>
              <a:gd name="connsiteX4" fmla="*/ 3917582 w 7136640"/>
              <a:gd name="connsiteY4" fmla="*/ 97819 h 281116"/>
              <a:gd name="connsiteX5" fmla="*/ 4942580 w 7136640"/>
              <a:gd name="connsiteY5" fmla="*/ 125321 h 281116"/>
              <a:gd name="connsiteX6" fmla="*/ 5636849 w 7136640"/>
              <a:gd name="connsiteY6" fmla="*/ 172302 h 281116"/>
              <a:gd name="connsiteX7" fmla="*/ 6344970 w 7136640"/>
              <a:gd name="connsiteY7" fmla="*/ 119271 h 281116"/>
              <a:gd name="connsiteX8" fmla="*/ 6500954 w 7136640"/>
              <a:gd name="connsiteY8" fmla="*/ 660 h 281116"/>
              <a:gd name="connsiteX9" fmla="*/ 7136640 w 7136640"/>
              <a:gd name="connsiteY9" fmla="*/ 281116 h 281116"/>
              <a:gd name="connsiteX0" fmla="*/ 0 w 7136640"/>
              <a:gd name="connsiteY0" fmla="*/ 191434 h 281815"/>
              <a:gd name="connsiteX1" fmla="*/ 1155002 w 7136640"/>
              <a:gd name="connsiteY1" fmla="*/ 193311 h 281815"/>
              <a:gd name="connsiteX2" fmla="*/ 2057502 w 7136640"/>
              <a:gd name="connsiteY2" fmla="*/ 224589 h 281815"/>
              <a:gd name="connsiteX3" fmla="*/ 2857293 w 7136640"/>
              <a:gd name="connsiteY3" fmla="*/ 218596 h 281815"/>
              <a:gd name="connsiteX4" fmla="*/ 3917582 w 7136640"/>
              <a:gd name="connsiteY4" fmla="*/ 98518 h 281815"/>
              <a:gd name="connsiteX5" fmla="*/ 4942580 w 7136640"/>
              <a:gd name="connsiteY5" fmla="*/ 126020 h 281815"/>
              <a:gd name="connsiteX6" fmla="*/ 5636849 w 7136640"/>
              <a:gd name="connsiteY6" fmla="*/ 173001 h 281815"/>
              <a:gd name="connsiteX7" fmla="*/ 6500954 w 7136640"/>
              <a:gd name="connsiteY7" fmla="*/ 1359 h 281815"/>
              <a:gd name="connsiteX8" fmla="*/ 7136640 w 7136640"/>
              <a:gd name="connsiteY8" fmla="*/ 281815 h 281815"/>
              <a:gd name="connsiteX0" fmla="*/ 0 w 7136640"/>
              <a:gd name="connsiteY0" fmla="*/ 94803 h 185184"/>
              <a:gd name="connsiteX1" fmla="*/ 1155002 w 7136640"/>
              <a:gd name="connsiteY1" fmla="*/ 96680 h 185184"/>
              <a:gd name="connsiteX2" fmla="*/ 2057502 w 7136640"/>
              <a:gd name="connsiteY2" fmla="*/ 127958 h 185184"/>
              <a:gd name="connsiteX3" fmla="*/ 2857293 w 7136640"/>
              <a:gd name="connsiteY3" fmla="*/ 121965 h 185184"/>
              <a:gd name="connsiteX4" fmla="*/ 3917582 w 7136640"/>
              <a:gd name="connsiteY4" fmla="*/ 1887 h 185184"/>
              <a:gd name="connsiteX5" fmla="*/ 4942580 w 7136640"/>
              <a:gd name="connsiteY5" fmla="*/ 29389 h 185184"/>
              <a:gd name="connsiteX6" fmla="*/ 5636849 w 7136640"/>
              <a:gd name="connsiteY6" fmla="*/ 76370 h 185184"/>
              <a:gd name="connsiteX7" fmla="*/ 7136640 w 7136640"/>
              <a:gd name="connsiteY7" fmla="*/ 185184 h 185184"/>
              <a:gd name="connsiteX0" fmla="*/ 0 w 7136640"/>
              <a:gd name="connsiteY0" fmla="*/ 65796 h 156177"/>
              <a:gd name="connsiteX1" fmla="*/ 1155002 w 7136640"/>
              <a:gd name="connsiteY1" fmla="*/ 67673 h 156177"/>
              <a:gd name="connsiteX2" fmla="*/ 2057502 w 7136640"/>
              <a:gd name="connsiteY2" fmla="*/ 98951 h 156177"/>
              <a:gd name="connsiteX3" fmla="*/ 2857293 w 7136640"/>
              <a:gd name="connsiteY3" fmla="*/ 92958 h 156177"/>
              <a:gd name="connsiteX4" fmla="*/ 3924710 w 7136640"/>
              <a:gd name="connsiteY4" fmla="*/ 107098 h 156177"/>
              <a:gd name="connsiteX5" fmla="*/ 4942580 w 7136640"/>
              <a:gd name="connsiteY5" fmla="*/ 382 h 156177"/>
              <a:gd name="connsiteX6" fmla="*/ 5636849 w 7136640"/>
              <a:gd name="connsiteY6" fmla="*/ 47363 h 156177"/>
              <a:gd name="connsiteX7" fmla="*/ 7136640 w 7136640"/>
              <a:gd name="connsiteY7" fmla="*/ 156177 h 156177"/>
              <a:gd name="connsiteX0" fmla="*/ 0 w 7136640"/>
              <a:gd name="connsiteY0" fmla="*/ 23637 h 114018"/>
              <a:gd name="connsiteX1" fmla="*/ 1155002 w 7136640"/>
              <a:gd name="connsiteY1" fmla="*/ 25514 h 114018"/>
              <a:gd name="connsiteX2" fmla="*/ 2057502 w 7136640"/>
              <a:gd name="connsiteY2" fmla="*/ 56792 h 114018"/>
              <a:gd name="connsiteX3" fmla="*/ 2857293 w 7136640"/>
              <a:gd name="connsiteY3" fmla="*/ 50799 h 114018"/>
              <a:gd name="connsiteX4" fmla="*/ 3924710 w 7136640"/>
              <a:gd name="connsiteY4" fmla="*/ 64939 h 114018"/>
              <a:gd name="connsiteX5" fmla="*/ 4949708 w 7136640"/>
              <a:gd name="connsiteY5" fmla="*/ 58885 h 114018"/>
              <a:gd name="connsiteX6" fmla="*/ 5636849 w 7136640"/>
              <a:gd name="connsiteY6" fmla="*/ 5204 h 114018"/>
              <a:gd name="connsiteX7" fmla="*/ 7136640 w 7136640"/>
              <a:gd name="connsiteY7" fmla="*/ 114018 h 114018"/>
              <a:gd name="connsiteX0" fmla="*/ 0 w 7136640"/>
              <a:gd name="connsiteY0" fmla="*/ 23637 h 114018"/>
              <a:gd name="connsiteX1" fmla="*/ 1155002 w 7136640"/>
              <a:gd name="connsiteY1" fmla="*/ 25514 h 114018"/>
              <a:gd name="connsiteX2" fmla="*/ 2057502 w 7136640"/>
              <a:gd name="connsiteY2" fmla="*/ 56792 h 114018"/>
              <a:gd name="connsiteX3" fmla="*/ 2857293 w 7136640"/>
              <a:gd name="connsiteY3" fmla="*/ 50799 h 114018"/>
              <a:gd name="connsiteX4" fmla="*/ 3924710 w 7136640"/>
              <a:gd name="connsiteY4" fmla="*/ 64939 h 114018"/>
              <a:gd name="connsiteX5" fmla="*/ 4949708 w 7136640"/>
              <a:gd name="connsiteY5" fmla="*/ 58885 h 114018"/>
              <a:gd name="connsiteX6" fmla="*/ 5651105 w 7136640"/>
              <a:gd name="connsiteY6" fmla="*/ 5204 h 114018"/>
              <a:gd name="connsiteX7" fmla="*/ 7136640 w 7136640"/>
              <a:gd name="connsiteY7" fmla="*/ 114018 h 114018"/>
              <a:gd name="connsiteX0" fmla="*/ 0 w 7136640"/>
              <a:gd name="connsiteY0" fmla="*/ 23637 h 114018"/>
              <a:gd name="connsiteX1" fmla="*/ 1155002 w 7136640"/>
              <a:gd name="connsiteY1" fmla="*/ 25514 h 114018"/>
              <a:gd name="connsiteX2" fmla="*/ 2057502 w 7136640"/>
              <a:gd name="connsiteY2" fmla="*/ 56792 h 114018"/>
              <a:gd name="connsiteX3" fmla="*/ 3135293 w 7136640"/>
              <a:gd name="connsiteY3" fmla="*/ 17242 h 114018"/>
              <a:gd name="connsiteX4" fmla="*/ 3924710 w 7136640"/>
              <a:gd name="connsiteY4" fmla="*/ 64939 h 114018"/>
              <a:gd name="connsiteX5" fmla="*/ 4949708 w 7136640"/>
              <a:gd name="connsiteY5" fmla="*/ 58885 h 114018"/>
              <a:gd name="connsiteX6" fmla="*/ 5651105 w 7136640"/>
              <a:gd name="connsiteY6" fmla="*/ 5204 h 114018"/>
              <a:gd name="connsiteX7" fmla="*/ 7136640 w 7136640"/>
              <a:gd name="connsiteY7" fmla="*/ 114018 h 114018"/>
              <a:gd name="connsiteX0" fmla="*/ 0 w 7136640"/>
              <a:gd name="connsiteY0" fmla="*/ 23637 h 132442"/>
              <a:gd name="connsiteX1" fmla="*/ 1155002 w 7136640"/>
              <a:gd name="connsiteY1" fmla="*/ 25514 h 132442"/>
              <a:gd name="connsiteX2" fmla="*/ 2057502 w 7136640"/>
              <a:gd name="connsiteY2" fmla="*/ 56792 h 132442"/>
              <a:gd name="connsiteX3" fmla="*/ 3135293 w 7136640"/>
              <a:gd name="connsiteY3" fmla="*/ 17242 h 132442"/>
              <a:gd name="connsiteX4" fmla="*/ 4010249 w 7136640"/>
              <a:gd name="connsiteY4" fmla="*/ 132050 h 132442"/>
              <a:gd name="connsiteX5" fmla="*/ 4949708 w 7136640"/>
              <a:gd name="connsiteY5" fmla="*/ 58885 h 132442"/>
              <a:gd name="connsiteX6" fmla="*/ 5651105 w 7136640"/>
              <a:gd name="connsiteY6" fmla="*/ 5204 h 132442"/>
              <a:gd name="connsiteX7" fmla="*/ 7136640 w 7136640"/>
              <a:gd name="connsiteY7" fmla="*/ 114018 h 132442"/>
              <a:gd name="connsiteX0" fmla="*/ 0 w 7136640"/>
              <a:gd name="connsiteY0" fmla="*/ 22302 h 132453"/>
              <a:gd name="connsiteX1" fmla="*/ 1155002 w 7136640"/>
              <a:gd name="connsiteY1" fmla="*/ 24179 h 132453"/>
              <a:gd name="connsiteX2" fmla="*/ 2057502 w 7136640"/>
              <a:gd name="connsiteY2" fmla="*/ 55457 h 132453"/>
              <a:gd name="connsiteX3" fmla="*/ 3135293 w 7136640"/>
              <a:gd name="connsiteY3" fmla="*/ 15907 h 132453"/>
              <a:gd name="connsiteX4" fmla="*/ 4010249 w 7136640"/>
              <a:gd name="connsiteY4" fmla="*/ 130715 h 132453"/>
              <a:gd name="connsiteX5" fmla="*/ 5049503 w 7136640"/>
              <a:gd name="connsiteY5" fmla="*/ 91105 h 132453"/>
              <a:gd name="connsiteX6" fmla="*/ 5651105 w 7136640"/>
              <a:gd name="connsiteY6" fmla="*/ 3869 h 132453"/>
              <a:gd name="connsiteX7" fmla="*/ 7136640 w 7136640"/>
              <a:gd name="connsiteY7" fmla="*/ 112683 h 132453"/>
              <a:gd name="connsiteX0" fmla="*/ 0 w 7136640"/>
              <a:gd name="connsiteY0" fmla="*/ 8388 h 118539"/>
              <a:gd name="connsiteX1" fmla="*/ 1155002 w 7136640"/>
              <a:gd name="connsiteY1" fmla="*/ 10265 h 118539"/>
              <a:gd name="connsiteX2" fmla="*/ 2057502 w 7136640"/>
              <a:gd name="connsiteY2" fmla="*/ 41543 h 118539"/>
              <a:gd name="connsiteX3" fmla="*/ 3135293 w 7136640"/>
              <a:gd name="connsiteY3" fmla="*/ 1993 h 118539"/>
              <a:gd name="connsiteX4" fmla="*/ 4010249 w 7136640"/>
              <a:gd name="connsiteY4" fmla="*/ 116801 h 118539"/>
              <a:gd name="connsiteX5" fmla="*/ 5049503 w 7136640"/>
              <a:gd name="connsiteY5" fmla="*/ 77191 h 118539"/>
              <a:gd name="connsiteX6" fmla="*/ 6007515 w 7136640"/>
              <a:gd name="connsiteY6" fmla="*/ 57066 h 118539"/>
              <a:gd name="connsiteX7" fmla="*/ 7136640 w 7136640"/>
              <a:gd name="connsiteY7" fmla="*/ 98769 h 118539"/>
              <a:gd name="connsiteX0" fmla="*/ 0 w 6841340"/>
              <a:gd name="connsiteY0" fmla="*/ 0 h 7569115"/>
              <a:gd name="connsiteX1" fmla="*/ 859702 w 6841340"/>
              <a:gd name="connsiteY1" fmla="*/ 7460841 h 7569115"/>
              <a:gd name="connsiteX2" fmla="*/ 1762202 w 6841340"/>
              <a:gd name="connsiteY2" fmla="*/ 7492119 h 7569115"/>
              <a:gd name="connsiteX3" fmla="*/ 2839993 w 6841340"/>
              <a:gd name="connsiteY3" fmla="*/ 7452569 h 7569115"/>
              <a:gd name="connsiteX4" fmla="*/ 3714949 w 6841340"/>
              <a:gd name="connsiteY4" fmla="*/ 7567377 h 7569115"/>
              <a:gd name="connsiteX5" fmla="*/ 4754203 w 6841340"/>
              <a:gd name="connsiteY5" fmla="*/ 7527767 h 7569115"/>
              <a:gd name="connsiteX6" fmla="*/ 5712215 w 6841340"/>
              <a:gd name="connsiteY6" fmla="*/ 7507642 h 7569115"/>
              <a:gd name="connsiteX7" fmla="*/ 6841340 w 6841340"/>
              <a:gd name="connsiteY7" fmla="*/ 7549345 h 7569115"/>
              <a:gd name="connsiteX0" fmla="*/ 0 w 6841340"/>
              <a:gd name="connsiteY0" fmla="*/ 0 h 8018710"/>
              <a:gd name="connsiteX1" fmla="*/ 989346 w 6841340"/>
              <a:gd name="connsiteY1" fmla="*/ 171398 h 8018710"/>
              <a:gd name="connsiteX2" fmla="*/ 1762202 w 6841340"/>
              <a:gd name="connsiteY2" fmla="*/ 7492119 h 8018710"/>
              <a:gd name="connsiteX3" fmla="*/ 2839993 w 6841340"/>
              <a:gd name="connsiteY3" fmla="*/ 7452569 h 8018710"/>
              <a:gd name="connsiteX4" fmla="*/ 3714949 w 6841340"/>
              <a:gd name="connsiteY4" fmla="*/ 7567377 h 8018710"/>
              <a:gd name="connsiteX5" fmla="*/ 4754203 w 6841340"/>
              <a:gd name="connsiteY5" fmla="*/ 7527767 h 8018710"/>
              <a:gd name="connsiteX6" fmla="*/ 5712215 w 6841340"/>
              <a:gd name="connsiteY6" fmla="*/ 7507642 h 8018710"/>
              <a:gd name="connsiteX7" fmla="*/ 6841340 w 6841340"/>
              <a:gd name="connsiteY7" fmla="*/ 7549345 h 8018710"/>
              <a:gd name="connsiteX0" fmla="*/ 0 w 6841340"/>
              <a:gd name="connsiteY0" fmla="*/ 2337527 h 10542012"/>
              <a:gd name="connsiteX1" fmla="*/ 960536 w 6841340"/>
              <a:gd name="connsiteY1" fmla="*/ 0 h 10542012"/>
              <a:gd name="connsiteX2" fmla="*/ 1762202 w 6841340"/>
              <a:gd name="connsiteY2" fmla="*/ 9829646 h 10542012"/>
              <a:gd name="connsiteX3" fmla="*/ 2839993 w 6841340"/>
              <a:gd name="connsiteY3" fmla="*/ 9790096 h 10542012"/>
              <a:gd name="connsiteX4" fmla="*/ 3714949 w 6841340"/>
              <a:gd name="connsiteY4" fmla="*/ 9904904 h 10542012"/>
              <a:gd name="connsiteX5" fmla="*/ 4754203 w 6841340"/>
              <a:gd name="connsiteY5" fmla="*/ 9865294 h 10542012"/>
              <a:gd name="connsiteX6" fmla="*/ 5712215 w 6841340"/>
              <a:gd name="connsiteY6" fmla="*/ 9845169 h 10542012"/>
              <a:gd name="connsiteX7" fmla="*/ 6841340 w 6841340"/>
              <a:gd name="connsiteY7" fmla="*/ 9886872 h 10542012"/>
              <a:gd name="connsiteX0" fmla="*/ 0 w 6841340"/>
              <a:gd name="connsiteY0" fmla="*/ 2341129 h 10447799"/>
              <a:gd name="connsiteX1" fmla="*/ 960536 w 6841340"/>
              <a:gd name="connsiteY1" fmla="*/ 3602 h 10447799"/>
              <a:gd name="connsiteX2" fmla="*/ 1927858 w 6841340"/>
              <a:gd name="connsiteY2" fmla="*/ 1458864 h 10447799"/>
              <a:gd name="connsiteX3" fmla="*/ 2839993 w 6841340"/>
              <a:gd name="connsiteY3" fmla="*/ 9793698 h 10447799"/>
              <a:gd name="connsiteX4" fmla="*/ 3714949 w 6841340"/>
              <a:gd name="connsiteY4" fmla="*/ 9908506 h 10447799"/>
              <a:gd name="connsiteX5" fmla="*/ 4754203 w 6841340"/>
              <a:gd name="connsiteY5" fmla="*/ 9868896 h 10447799"/>
              <a:gd name="connsiteX6" fmla="*/ 5712215 w 6841340"/>
              <a:gd name="connsiteY6" fmla="*/ 9848771 h 10447799"/>
              <a:gd name="connsiteX7" fmla="*/ 6841340 w 6841340"/>
              <a:gd name="connsiteY7" fmla="*/ 9890474 h 10447799"/>
              <a:gd name="connsiteX0" fmla="*/ 0 w 6841340"/>
              <a:gd name="connsiteY0" fmla="*/ 2337527 h 10444197"/>
              <a:gd name="connsiteX1" fmla="*/ 960536 w 6841340"/>
              <a:gd name="connsiteY1" fmla="*/ 0 h 10444197"/>
              <a:gd name="connsiteX2" fmla="*/ 1927858 w 6841340"/>
              <a:gd name="connsiteY2" fmla="*/ 1455262 h 10444197"/>
              <a:gd name="connsiteX3" fmla="*/ 2839993 w 6841340"/>
              <a:gd name="connsiteY3" fmla="*/ 9790096 h 10444197"/>
              <a:gd name="connsiteX4" fmla="*/ 3714949 w 6841340"/>
              <a:gd name="connsiteY4" fmla="*/ 9904904 h 10444197"/>
              <a:gd name="connsiteX5" fmla="*/ 4754203 w 6841340"/>
              <a:gd name="connsiteY5" fmla="*/ 9865294 h 10444197"/>
              <a:gd name="connsiteX6" fmla="*/ 5712215 w 6841340"/>
              <a:gd name="connsiteY6" fmla="*/ 9845169 h 10444197"/>
              <a:gd name="connsiteX7" fmla="*/ 6841340 w 6841340"/>
              <a:gd name="connsiteY7" fmla="*/ 9886872 h 10444197"/>
              <a:gd name="connsiteX0" fmla="*/ 0 w 6711696"/>
              <a:gd name="connsiteY0" fmla="*/ 2337527 h 10444197"/>
              <a:gd name="connsiteX1" fmla="*/ 960536 w 6711696"/>
              <a:gd name="connsiteY1" fmla="*/ 0 h 10444197"/>
              <a:gd name="connsiteX2" fmla="*/ 1927858 w 6711696"/>
              <a:gd name="connsiteY2" fmla="*/ 1455262 h 10444197"/>
              <a:gd name="connsiteX3" fmla="*/ 2839993 w 6711696"/>
              <a:gd name="connsiteY3" fmla="*/ 9790096 h 10444197"/>
              <a:gd name="connsiteX4" fmla="*/ 3714949 w 6711696"/>
              <a:gd name="connsiteY4" fmla="*/ 9904904 h 10444197"/>
              <a:gd name="connsiteX5" fmla="*/ 4754203 w 6711696"/>
              <a:gd name="connsiteY5" fmla="*/ 9865294 h 10444197"/>
              <a:gd name="connsiteX6" fmla="*/ 5712215 w 6711696"/>
              <a:gd name="connsiteY6" fmla="*/ 9845169 h 10444197"/>
              <a:gd name="connsiteX7" fmla="*/ 6711696 w 6711696"/>
              <a:gd name="connsiteY7" fmla="*/ 563165 h 10444197"/>
              <a:gd name="connsiteX0" fmla="*/ 0 w 6711696"/>
              <a:gd name="connsiteY0" fmla="*/ 2337527 h 10444197"/>
              <a:gd name="connsiteX1" fmla="*/ 960536 w 6711696"/>
              <a:gd name="connsiteY1" fmla="*/ 0 h 10444197"/>
              <a:gd name="connsiteX2" fmla="*/ 1927858 w 6711696"/>
              <a:gd name="connsiteY2" fmla="*/ 1455262 h 10444197"/>
              <a:gd name="connsiteX3" fmla="*/ 2839993 w 6711696"/>
              <a:gd name="connsiteY3" fmla="*/ 9790096 h 10444197"/>
              <a:gd name="connsiteX4" fmla="*/ 3714949 w 6711696"/>
              <a:gd name="connsiteY4" fmla="*/ 9904904 h 10444197"/>
              <a:gd name="connsiteX5" fmla="*/ 4754203 w 6711696"/>
              <a:gd name="connsiteY5" fmla="*/ 9865294 h 10444197"/>
              <a:gd name="connsiteX6" fmla="*/ 5733823 w 6711696"/>
              <a:gd name="connsiteY6" fmla="*/ 216322 h 10444197"/>
              <a:gd name="connsiteX7" fmla="*/ 6711696 w 6711696"/>
              <a:gd name="connsiteY7" fmla="*/ 563165 h 10444197"/>
              <a:gd name="connsiteX0" fmla="*/ 0 w 6711696"/>
              <a:gd name="connsiteY0" fmla="*/ 2337527 h 10444197"/>
              <a:gd name="connsiteX1" fmla="*/ 960536 w 6711696"/>
              <a:gd name="connsiteY1" fmla="*/ 0 h 10444197"/>
              <a:gd name="connsiteX2" fmla="*/ 1927858 w 6711696"/>
              <a:gd name="connsiteY2" fmla="*/ 1455262 h 10444197"/>
              <a:gd name="connsiteX3" fmla="*/ 2839993 w 6711696"/>
              <a:gd name="connsiteY3" fmla="*/ 9790096 h 10444197"/>
              <a:gd name="connsiteX4" fmla="*/ 3714949 w 6711696"/>
              <a:gd name="connsiteY4" fmla="*/ 9904904 h 10444197"/>
              <a:gd name="connsiteX5" fmla="*/ 4754203 w 6711696"/>
              <a:gd name="connsiteY5" fmla="*/ 9865295 h 10444197"/>
              <a:gd name="connsiteX6" fmla="*/ 5733823 w 6711696"/>
              <a:gd name="connsiteY6" fmla="*/ 216322 h 10444197"/>
              <a:gd name="connsiteX7" fmla="*/ 6711696 w 6711696"/>
              <a:gd name="connsiteY7" fmla="*/ 563165 h 10444197"/>
              <a:gd name="connsiteX0" fmla="*/ 0 w 6711696"/>
              <a:gd name="connsiteY0" fmla="*/ 3688890 h 11216658"/>
              <a:gd name="connsiteX1" fmla="*/ 960536 w 6711696"/>
              <a:gd name="connsiteY1" fmla="*/ 1351363 h 11216658"/>
              <a:gd name="connsiteX2" fmla="*/ 1927858 w 6711696"/>
              <a:gd name="connsiteY2" fmla="*/ 2806625 h 11216658"/>
              <a:gd name="connsiteX3" fmla="*/ 2839993 w 6711696"/>
              <a:gd name="connsiteY3" fmla="*/ 11141459 h 11216658"/>
              <a:gd name="connsiteX4" fmla="*/ 3794176 w 6711696"/>
              <a:gd name="connsiteY4" fmla="*/ 10 h 11216658"/>
              <a:gd name="connsiteX5" fmla="*/ 4754203 w 6711696"/>
              <a:gd name="connsiteY5" fmla="*/ 11216658 h 11216658"/>
              <a:gd name="connsiteX6" fmla="*/ 5733823 w 6711696"/>
              <a:gd name="connsiteY6" fmla="*/ 1567685 h 11216658"/>
              <a:gd name="connsiteX7" fmla="*/ 6711696 w 6711696"/>
              <a:gd name="connsiteY7" fmla="*/ 1914528 h 11216658"/>
              <a:gd name="connsiteX0" fmla="*/ 0 w 6711696"/>
              <a:gd name="connsiteY0" fmla="*/ 4371174 h 11898942"/>
              <a:gd name="connsiteX1" fmla="*/ 960536 w 6711696"/>
              <a:gd name="connsiteY1" fmla="*/ 2033647 h 11898942"/>
              <a:gd name="connsiteX2" fmla="*/ 1927858 w 6711696"/>
              <a:gd name="connsiteY2" fmla="*/ 3488909 h 11898942"/>
              <a:gd name="connsiteX3" fmla="*/ 2890410 w 6711696"/>
              <a:gd name="connsiteY3" fmla="*/ 1482905 h 11898942"/>
              <a:gd name="connsiteX4" fmla="*/ 3794176 w 6711696"/>
              <a:gd name="connsiteY4" fmla="*/ 682294 h 11898942"/>
              <a:gd name="connsiteX5" fmla="*/ 4754203 w 6711696"/>
              <a:gd name="connsiteY5" fmla="*/ 11898942 h 11898942"/>
              <a:gd name="connsiteX6" fmla="*/ 5733823 w 6711696"/>
              <a:gd name="connsiteY6" fmla="*/ 2249969 h 11898942"/>
              <a:gd name="connsiteX7" fmla="*/ 6711696 w 6711696"/>
              <a:gd name="connsiteY7" fmla="*/ 2596812 h 11898942"/>
              <a:gd name="connsiteX0" fmla="*/ 0 w 6711696"/>
              <a:gd name="connsiteY0" fmla="*/ 3758741 h 3758742"/>
              <a:gd name="connsiteX1" fmla="*/ 960536 w 6711696"/>
              <a:gd name="connsiteY1" fmla="*/ 1421214 h 3758742"/>
              <a:gd name="connsiteX2" fmla="*/ 1927858 w 6711696"/>
              <a:gd name="connsiteY2" fmla="*/ 2876476 h 3758742"/>
              <a:gd name="connsiteX3" fmla="*/ 2890410 w 6711696"/>
              <a:gd name="connsiteY3" fmla="*/ 870472 h 3758742"/>
              <a:gd name="connsiteX4" fmla="*/ 3794176 w 6711696"/>
              <a:gd name="connsiteY4" fmla="*/ 69861 h 3758742"/>
              <a:gd name="connsiteX5" fmla="*/ 4761405 w 6711696"/>
              <a:gd name="connsiteY5" fmla="*/ 2539177 h 3758742"/>
              <a:gd name="connsiteX6" fmla="*/ 5733823 w 6711696"/>
              <a:gd name="connsiteY6" fmla="*/ 1637536 h 3758742"/>
              <a:gd name="connsiteX7" fmla="*/ 6711696 w 6711696"/>
              <a:gd name="connsiteY7" fmla="*/ 1984379 h 3758742"/>
              <a:gd name="connsiteX0" fmla="*/ 0 w 6798125"/>
              <a:gd name="connsiteY0" fmla="*/ 1602423 h 2880994"/>
              <a:gd name="connsiteX1" fmla="*/ 1046965 w 6798125"/>
              <a:gd name="connsiteY1" fmla="*/ 1421214 h 2880994"/>
              <a:gd name="connsiteX2" fmla="*/ 2014287 w 6798125"/>
              <a:gd name="connsiteY2" fmla="*/ 2876476 h 2880994"/>
              <a:gd name="connsiteX3" fmla="*/ 2976839 w 6798125"/>
              <a:gd name="connsiteY3" fmla="*/ 870472 h 2880994"/>
              <a:gd name="connsiteX4" fmla="*/ 3880605 w 6798125"/>
              <a:gd name="connsiteY4" fmla="*/ 69861 h 2880994"/>
              <a:gd name="connsiteX5" fmla="*/ 4847834 w 6798125"/>
              <a:gd name="connsiteY5" fmla="*/ 2539177 h 2880994"/>
              <a:gd name="connsiteX6" fmla="*/ 5820252 w 6798125"/>
              <a:gd name="connsiteY6" fmla="*/ 1637536 h 2880994"/>
              <a:gd name="connsiteX7" fmla="*/ 6798125 w 6798125"/>
              <a:gd name="connsiteY7" fmla="*/ 1984379 h 2880994"/>
              <a:gd name="connsiteX0" fmla="*/ 0 w 6798125"/>
              <a:gd name="connsiteY0" fmla="*/ 1590374 h 2527128"/>
              <a:gd name="connsiteX1" fmla="*/ 1046965 w 6798125"/>
              <a:gd name="connsiteY1" fmla="*/ 1409165 h 2527128"/>
              <a:gd name="connsiteX2" fmla="*/ 1971072 w 6798125"/>
              <a:gd name="connsiteY2" fmla="*/ 1725240 h 2527128"/>
              <a:gd name="connsiteX3" fmla="*/ 2976839 w 6798125"/>
              <a:gd name="connsiteY3" fmla="*/ 858423 h 2527128"/>
              <a:gd name="connsiteX4" fmla="*/ 3880605 w 6798125"/>
              <a:gd name="connsiteY4" fmla="*/ 57812 h 2527128"/>
              <a:gd name="connsiteX5" fmla="*/ 4847834 w 6798125"/>
              <a:gd name="connsiteY5" fmla="*/ 2527128 h 2527128"/>
              <a:gd name="connsiteX6" fmla="*/ 5820252 w 6798125"/>
              <a:gd name="connsiteY6" fmla="*/ 1625487 h 2527128"/>
              <a:gd name="connsiteX7" fmla="*/ 6798125 w 6798125"/>
              <a:gd name="connsiteY7" fmla="*/ 1972330 h 2527128"/>
              <a:gd name="connsiteX0" fmla="*/ 0 w 6798125"/>
              <a:gd name="connsiteY0" fmla="*/ 1554117 h 2490871"/>
              <a:gd name="connsiteX1" fmla="*/ 1046965 w 6798125"/>
              <a:gd name="connsiteY1" fmla="*/ 1372908 h 2490871"/>
              <a:gd name="connsiteX2" fmla="*/ 1971072 w 6798125"/>
              <a:gd name="connsiteY2" fmla="*/ 1688983 h 2490871"/>
              <a:gd name="connsiteX3" fmla="*/ 2976839 w 6798125"/>
              <a:gd name="connsiteY3" fmla="*/ 1310390 h 2490871"/>
              <a:gd name="connsiteX4" fmla="*/ 3880605 w 6798125"/>
              <a:gd name="connsiteY4" fmla="*/ 21555 h 2490871"/>
              <a:gd name="connsiteX5" fmla="*/ 4847834 w 6798125"/>
              <a:gd name="connsiteY5" fmla="*/ 2490871 h 2490871"/>
              <a:gd name="connsiteX6" fmla="*/ 5820252 w 6798125"/>
              <a:gd name="connsiteY6" fmla="*/ 1589230 h 2490871"/>
              <a:gd name="connsiteX7" fmla="*/ 6798125 w 6798125"/>
              <a:gd name="connsiteY7" fmla="*/ 1936073 h 2490871"/>
              <a:gd name="connsiteX0" fmla="*/ 0 w 6798125"/>
              <a:gd name="connsiteY0" fmla="*/ 337802 h 1274556"/>
              <a:gd name="connsiteX1" fmla="*/ 1046965 w 6798125"/>
              <a:gd name="connsiteY1" fmla="*/ 156593 h 1274556"/>
              <a:gd name="connsiteX2" fmla="*/ 1971072 w 6798125"/>
              <a:gd name="connsiteY2" fmla="*/ 472668 h 1274556"/>
              <a:gd name="connsiteX3" fmla="*/ 2976839 w 6798125"/>
              <a:gd name="connsiteY3" fmla="*/ 94075 h 1274556"/>
              <a:gd name="connsiteX4" fmla="*/ 3880605 w 6798125"/>
              <a:gd name="connsiteY4" fmla="*/ 107170 h 1274556"/>
              <a:gd name="connsiteX5" fmla="*/ 4847834 w 6798125"/>
              <a:gd name="connsiteY5" fmla="*/ 1274556 h 1274556"/>
              <a:gd name="connsiteX6" fmla="*/ 5820252 w 6798125"/>
              <a:gd name="connsiteY6" fmla="*/ 372915 h 1274556"/>
              <a:gd name="connsiteX7" fmla="*/ 6798125 w 6798125"/>
              <a:gd name="connsiteY7" fmla="*/ 719758 h 1274556"/>
              <a:gd name="connsiteX0" fmla="*/ 0 w 6798125"/>
              <a:gd name="connsiteY0" fmla="*/ 273581 h 655538"/>
              <a:gd name="connsiteX1" fmla="*/ 1046965 w 6798125"/>
              <a:gd name="connsiteY1" fmla="*/ 92372 h 655538"/>
              <a:gd name="connsiteX2" fmla="*/ 1971072 w 6798125"/>
              <a:gd name="connsiteY2" fmla="*/ 408447 h 655538"/>
              <a:gd name="connsiteX3" fmla="*/ 2976839 w 6798125"/>
              <a:gd name="connsiteY3" fmla="*/ 29854 h 655538"/>
              <a:gd name="connsiteX4" fmla="*/ 3880605 w 6798125"/>
              <a:gd name="connsiteY4" fmla="*/ 42949 h 655538"/>
              <a:gd name="connsiteX5" fmla="*/ 4847834 w 6798125"/>
              <a:gd name="connsiteY5" fmla="*/ 193203 h 655538"/>
              <a:gd name="connsiteX6" fmla="*/ 5820252 w 6798125"/>
              <a:gd name="connsiteY6" fmla="*/ 308694 h 655538"/>
              <a:gd name="connsiteX7" fmla="*/ 6798125 w 6798125"/>
              <a:gd name="connsiteY7" fmla="*/ 655537 h 655538"/>
              <a:gd name="connsiteX0" fmla="*/ 0 w 6798125"/>
              <a:gd name="connsiteY0" fmla="*/ 273581 h 408707"/>
              <a:gd name="connsiteX1" fmla="*/ 1046965 w 6798125"/>
              <a:gd name="connsiteY1" fmla="*/ 92372 h 408707"/>
              <a:gd name="connsiteX2" fmla="*/ 1971072 w 6798125"/>
              <a:gd name="connsiteY2" fmla="*/ 408447 h 408707"/>
              <a:gd name="connsiteX3" fmla="*/ 2976839 w 6798125"/>
              <a:gd name="connsiteY3" fmla="*/ 29854 h 408707"/>
              <a:gd name="connsiteX4" fmla="*/ 3880605 w 6798125"/>
              <a:gd name="connsiteY4" fmla="*/ 42949 h 408707"/>
              <a:gd name="connsiteX5" fmla="*/ 4847834 w 6798125"/>
              <a:gd name="connsiteY5" fmla="*/ 193203 h 408707"/>
              <a:gd name="connsiteX6" fmla="*/ 5820252 w 6798125"/>
              <a:gd name="connsiteY6" fmla="*/ 308694 h 408707"/>
              <a:gd name="connsiteX7" fmla="*/ 6798125 w 6798125"/>
              <a:gd name="connsiteY7" fmla="*/ 85944 h 408707"/>
              <a:gd name="connsiteX0" fmla="*/ 0 w 6750026"/>
              <a:gd name="connsiteY0" fmla="*/ 0 h 10350612"/>
              <a:gd name="connsiteX1" fmla="*/ 998866 w 6750026"/>
              <a:gd name="connsiteY1" fmla="*/ 9526648 h 10350612"/>
              <a:gd name="connsiteX2" fmla="*/ 1922973 w 6750026"/>
              <a:gd name="connsiteY2" fmla="*/ 9842723 h 10350612"/>
              <a:gd name="connsiteX3" fmla="*/ 2928740 w 6750026"/>
              <a:gd name="connsiteY3" fmla="*/ 9464130 h 10350612"/>
              <a:gd name="connsiteX4" fmla="*/ 3832506 w 6750026"/>
              <a:gd name="connsiteY4" fmla="*/ 9477225 h 10350612"/>
              <a:gd name="connsiteX5" fmla="*/ 4799735 w 6750026"/>
              <a:gd name="connsiteY5" fmla="*/ 9627479 h 10350612"/>
              <a:gd name="connsiteX6" fmla="*/ 5772153 w 6750026"/>
              <a:gd name="connsiteY6" fmla="*/ 9742970 h 10350612"/>
              <a:gd name="connsiteX7" fmla="*/ 6750026 w 6750026"/>
              <a:gd name="connsiteY7" fmla="*/ 9520220 h 10350612"/>
              <a:gd name="connsiteX0" fmla="*/ 0 w 6750026"/>
              <a:gd name="connsiteY0" fmla="*/ 0 h 10064356"/>
              <a:gd name="connsiteX1" fmla="*/ 1077028 w 6750026"/>
              <a:gd name="connsiteY1" fmla="*/ 5592563 h 10064356"/>
              <a:gd name="connsiteX2" fmla="*/ 1922973 w 6750026"/>
              <a:gd name="connsiteY2" fmla="*/ 9842723 h 10064356"/>
              <a:gd name="connsiteX3" fmla="*/ 2928740 w 6750026"/>
              <a:gd name="connsiteY3" fmla="*/ 9464130 h 10064356"/>
              <a:gd name="connsiteX4" fmla="*/ 3832506 w 6750026"/>
              <a:gd name="connsiteY4" fmla="*/ 9477225 h 10064356"/>
              <a:gd name="connsiteX5" fmla="*/ 4799735 w 6750026"/>
              <a:gd name="connsiteY5" fmla="*/ 9627479 h 10064356"/>
              <a:gd name="connsiteX6" fmla="*/ 5772153 w 6750026"/>
              <a:gd name="connsiteY6" fmla="*/ 9742970 h 10064356"/>
              <a:gd name="connsiteX7" fmla="*/ 6750026 w 6750026"/>
              <a:gd name="connsiteY7" fmla="*/ 9520220 h 10064356"/>
              <a:gd name="connsiteX0" fmla="*/ 0 w 6750026"/>
              <a:gd name="connsiteY0" fmla="*/ 0 h 10064356"/>
              <a:gd name="connsiteX1" fmla="*/ 1077028 w 6750026"/>
              <a:gd name="connsiteY1" fmla="*/ 5592563 h 10064356"/>
              <a:gd name="connsiteX2" fmla="*/ 1922973 w 6750026"/>
              <a:gd name="connsiteY2" fmla="*/ 9842723 h 10064356"/>
              <a:gd name="connsiteX3" fmla="*/ 2928740 w 6750026"/>
              <a:gd name="connsiteY3" fmla="*/ 9464130 h 10064356"/>
              <a:gd name="connsiteX4" fmla="*/ 3832506 w 6750026"/>
              <a:gd name="connsiteY4" fmla="*/ 9477225 h 10064356"/>
              <a:gd name="connsiteX5" fmla="*/ 4799735 w 6750026"/>
              <a:gd name="connsiteY5" fmla="*/ 9627479 h 10064356"/>
              <a:gd name="connsiteX6" fmla="*/ 5772153 w 6750026"/>
              <a:gd name="connsiteY6" fmla="*/ 9742970 h 10064356"/>
              <a:gd name="connsiteX7" fmla="*/ 6750026 w 6750026"/>
              <a:gd name="connsiteY7" fmla="*/ 9520220 h 10064356"/>
              <a:gd name="connsiteX0" fmla="*/ 0 w 6750026"/>
              <a:gd name="connsiteY0" fmla="*/ 1467203 h 11930218"/>
              <a:gd name="connsiteX1" fmla="*/ 926716 w 6750026"/>
              <a:gd name="connsiteY1" fmla="*/ 1540725 h 11930218"/>
              <a:gd name="connsiteX2" fmla="*/ 1922973 w 6750026"/>
              <a:gd name="connsiteY2" fmla="*/ 11309926 h 11930218"/>
              <a:gd name="connsiteX3" fmla="*/ 2928740 w 6750026"/>
              <a:gd name="connsiteY3" fmla="*/ 10931333 h 11930218"/>
              <a:gd name="connsiteX4" fmla="*/ 3832506 w 6750026"/>
              <a:gd name="connsiteY4" fmla="*/ 10944428 h 11930218"/>
              <a:gd name="connsiteX5" fmla="*/ 4799735 w 6750026"/>
              <a:gd name="connsiteY5" fmla="*/ 11094682 h 11930218"/>
              <a:gd name="connsiteX6" fmla="*/ 5772153 w 6750026"/>
              <a:gd name="connsiteY6" fmla="*/ 11210173 h 11930218"/>
              <a:gd name="connsiteX7" fmla="*/ 6750026 w 6750026"/>
              <a:gd name="connsiteY7" fmla="*/ 10987423 h 11930218"/>
              <a:gd name="connsiteX0" fmla="*/ 0 w 6750026"/>
              <a:gd name="connsiteY0" fmla="*/ 98509 h 10561521"/>
              <a:gd name="connsiteX1" fmla="*/ 926716 w 6750026"/>
              <a:gd name="connsiteY1" fmla="*/ 172031 h 10561521"/>
              <a:gd name="connsiteX2" fmla="*/ 1922973 w 6750026"/>
              <a:gd name="connsiteY2" fmla="*/ 9941232 h 10561521"/>
              <a:gd name="connsiteX3" fmla="*/ 2928740 w 6750026"/>
              <a:gd name="connsiteY3" fmla="*/ 9562639 h 10561521"/>
              <a:gd name="connsiteX4" fmla="*/ 3832506 w 6750026"/>
              <a:gd name="connsiteY4" fmla="*/ 9575734 h 10561521"/>
              <a:gd name="connsiteX5" fmla="*/ 4799735 w 6750026"/>
              <a:gd name="connsiteY5" fmla="*/ 9725988 h 10561521"/>
              <a:gd name="connsiteX6" fmla="*/ 5772153 w 6750026"/>
              <a:gd name="connsiteY6" fmla="*/ 9841479 h 10561521"/>
              <a:gd name="connsiteX7" fmla="*/ 6750026 w 6750026"/>
              <a:gd name="connsiteY7" fmla="*/ 9618729 h 10561521"/>
              <a:gd name="connsiteX0" fmla="*/ 0 w 6750026"/>
              <a:gd name="connsiteY0" fmla="*/ 841319 h 11019983"/>
              <a:gd name="connsiteX1" fmla="*/ 926716 w 6750026"/>
              <a:gd name="connsiteY1" fmla="*/ 914841 h 11019983"/>
              <a:gd name="connsiteX2" fmla="*/ 1904936 w 6750026"/>
              <a:gd name="connsiteY2" fmla="*/ 636555 h 11019983"/>
              <a:gd name="connsiteX3" fmla="*/ 2928740 w 6750026"/>
              <a:gd name="connsiteY3" fmla="*/ 10305449 h 11019983"/>
              <a:gd name="connsiteX4" fmla="*/ 3832506 w 6750026"/>
              <a:gd name="connsiteY4" fmla="*/ 10318544 h 11019983"/>
              <a:gd name="connsiteX5" fmla="*/ 4799735 w 6750026"/>
              <a:gd name="connsiteY5" fmla="*/ 10468798 h 11019983"/>
              <a:gd name="connsiteX6" fmla="*/ 5772153 w 6750026"/>
              <a:gd name="connsiteY6" fmla="*/ 10584289 h 11019983"/>
              <a:gd name="connsiteX7" fmla="*/ 6750026 w 6750026"/>
              <a:gd name="connsiteY7" fmla="*/ 10361539 h 11019983"/>
              <a:gd name="connsiteX0" fmla="*/ 0 w 6750026"/>
              <a:gd name="connsiteY0" fmla="*/ 567735 h 10746399"/>
              <a:gd name="connsiteX1" fmla="*/ 926716 w 6750026"/>
              <a:gd name="connsiteY1" fmla="*/ 641257 h 10746399"/>
              <a:gd name="connsiteX2" fmla="*/ 1904936 w 6750026"/>
              <a:gd name="connsiteY2" fmla="*/ 362971 h 10746399"/>
              <a:gd name="connsiteX3" fmla="*/ 2928740 w 6750026"/>
              <a:gd name="connsiteY3" fmla="*/ 10031865 h 10746399"/>
              <a:gd name="connsiteX4" fmla="*/ 3832506 w 6750026"/>
              <a:gd name="connsiteY4" fmla="*/ 10044960 h 10746399"/>
              <a:gd name="connsiteX5" fmla="*/ 4799735 w 6750026"/>
              <a:gd name="connsiteY5" fmla="*/ 10195214 h 10746399"/>
              <a:gd name="connsiteX6" fmla="*/ 5772153 w 6750026"/>
              <a:gd name="connsiteY6" fmla="*/ 10310705 h 10746399"/>
              <a:gd name="connsiteX7" fmla="*/ 6750026 w 6750026"/>
              <a:gd name="connsiteY7" fmla="*/ 10087955 h 10746399"/>
              <a:gd name="connsiteX0" fmla="*/ 0 w 6750026"/>
              <a:gd name="connsiteY0" fmla="*/ 809145 h 11008774"/>
              <a:gd name="connsiteX1" fmla="*/ 926716 w 6750026"/>
              <a:gd name="connsiteY1" fmla="*/ 882667 h 11008774"/>
              <a:gd name="connsiteX2" fmla="*/ 1934999 w 6750026"/>
              <a:gd name="connsiteY2" fmla="*/ 321353 h 11008774"/>
              <a:gd name="connsiteX3" fmla="*/ 2928740 w 6750026"/>
              <a:gd name="connsiteY3" fmla="*/ 10273275 h 11008774"/>
              <a:gd name="connsiteX4" fmla="*/ 3832506 w 6750026"/>
              <a:gd name="connsiteY4" fmla="*/ 10286370 h 11008774"/>
              <a:gd name="connsiteX5" fmla="*/ 4799735 w 6750026"/>
              <a:gd name="connsiteY5" fmla="*/ 10436624 h 11008774"/>
              <a:gd name="connsiteX6" fmla="*/ 5772153 w 6750026"/>
              <a:gd name="connsiteY6" fmla="*/ 10552115 h 11008774"/>
              <a:gd name="connsiteX7" fmla="*/ 6750026 w 6750026"/>
              <a:gd name="connsiteY7" fmla="*/ 10329365 h 11008774"/>
              <a:gd name="connsiteX0" fmla="*/ 0 w 6750026"/>
              <a:gd name="connsiteY0" fmla="*/ 543922 h 10651655"/>
              <a:gd name="connsiteX1" fmla="*/ 926716 w 6750026"/>
              <a:gd name="connsiteY1" fmla="*/ 617444 h 10651655"/>
              <a:gd name="connsiteX2" fmla="*/ 1934999 w 6750026"/>
              <a:gd name="connsiteY2" fmla="*/ 56130 h 10651655"/>
              <a:gd name="connsiteX3" fmla="*/ 2862603 w 6750026"/>
              <a:gd name="connsiteY3" fmla="*/ 2196484 h 10651655"/>
              <a:gd name="connsiteX4" fmla="*/ 3832506 w 6750026"/>
              <a:gd name="connsiteY4" fmla="*/ 10021147 h 10651655"/>
              <a:gd name="connsiteX5" fmla="*/ 4799735 w 6750026"/>
              <a:gd name="connsiteY5" fmla="*/ 10171401 h 10651655"/>
              <a:gd name="connsiteX6" fmla="*/ 5772153 w 6750026"/>
              <a:gd name="connsiteY6" fmla="*/ 10286892 h 10651655"/>
              <a:gd name="connsiteX7" fmla="*/ 6750026 w 6750026"/>
              <a:gd name="connsiteY7" fmla="*/ 10064142 h 10651655"/>
              <a:gd name="connsiteX0" fmla="*/ 0 w 6750026"/>
              <a:gd name="connsiteY0" fmla="*/ 543922 h 10651655"/>
              <a:gd name="connsiteX1" fmla="*/ 926716 w 6750026"/>
              <a:gd name="connsiteY1" fmla="*/ 617444 h 10651655"/>
              <a:gd name="connsiteX2" fmla="*/ 1934999 w 6750026"/>
              <a:gd name="connsiteY2" fmla="*/ 56130 h 10651655"/>
              <a:gd name="connsiteX3" fmla="*/ 2862603 w 6750026"/>
              <a:gd name="connsiteY3" fmla="*/ 2196484 h 10651655"/>
              <a:gd name="connsiteX4" fmla="*/ 3832506 w 6750026"/>
              <a:gd name="connsiteY4" fmla="*/ 10021147 h 10651655"/>
              <a:gd name="connsiteX5" fmla="*/ 4799735 w 6750026"/>
              <a:gd name="connsiteY5" fmla="*/ 10171401 h 10651655"/>
              <a:gd name="connsiteX6" fmla="*/ 5772153 w 6750026"/>
              <a:gd name="connsiteY6" fmla="*/ 10286892 h 10651655"/>
              <a:gd name="connsiteX7" fmla="*/ 6750026 w 6750026"/>
              <a:gd name="connsiteY7" fmla="*/ 10064142 h 10651655"/>
              <a:gd name="connsiteX0" fmla="*/ 0 w 6750026"/>
              <a:gd name="connsiteY0" fmla="*/ 1406026 h 11148997"/>
              <a:gd name="connsiteX1" fmla="*/ 926716 w 6750026"/>
              <a:gd name="connsiteY1" fmla="*/ 1479548 h 11148997"/>
              <a:gd name="connsiteX2" fmla="*/ 1934999 w 6750026"/>
              <a:gd name="connsiteY2" fmla="*/ 918234 h 11148997"/>
              <a:gd name="connsiteX3" fmla="*/ 2862603 w 6750026"/>
              <a:gd name="connsiteY3" fmla="*/ 3058588 h 11148997"/>
              <a:gd name="connsiteX4" fmla="*/ 3892632 w 6750026"/>
              <a:gd name="connsiteY4" fmla="*/ 269708 h 11148997"/>
              <a:gd name="connsiteX5" fmla="*/ 4799735 w 6750026"/>
              <a:gd name="connsiteY5" fmla="*/ 11033505 h 11148997"/>
              <a:gd name="connsiteX6" fmla="*/ 5772153 w 6750026"/>
              <a:gd name="connsiteY6" fmla="*/ 11148996 h 11148997"/>
              <a:gd name="connsiteX7" fmla="*/ 6750026 w 6750026"/>
              <a:gd name="connsiteY7" fmla="*/ 10926246 h 11148997"/>
              <a:gd name="connsiteX0" fmla="*/ 0 w 6750026"/>
              <a:gd name="connsiteY0" fmla="*/ 3278622 h 13021593"/>
              <a:gd name="connsiteX1" fmla="*/ 926716 w 6750026"/>
              <a:gd name="connsiteY1" fmla="*/ 3352144 h 13021593"/>
              <a:gd name="connsiteX2" fmla="*/ 1934999 w 6750026"/>
              <a:gd name="connsiteY2" fmla="*/ 2790830 h 13021593"/>
              <a:gd name="connsiteX3" fmla="*/ 2862603 w 6750026"/>
              <a:gd name="connsiteY3" fmla="*/ 4931184 h 13021593"/>
              <a:gd name="connsiteX4" fmla="*/ 3892632 w 6750026"/>
              <a:gd name="connsiteY4" fmla="*/ 2142304 h 13021593"/>
              <a:gd name="connsiteX5" fmla="*/ 4835810 w 6750026"/>
              <a:gd name="connsiteY5" fmla="*/ 32 h 13021593"/>
              <a:gd name="connsiteX6" fmla="*/ 5772153 w 6750026"/>
              <a:gd name="connsiteY6" fmla="*/ 13021592 h 13021593"/>
              <a:gd name="connsiteX7" fmla="*/ 6750026 w 6750026"/>
              <a:gd name="connsiteY7" fmla="*/ 12798842 h 13021593"/>
              <a:gd name="connsiteX0" fmla="*/ 0 w 6750026"/>
              <a:gd name="connsiteY0" fmla="*/ 3278622 h 13021593"/>
              <a:gd name="connsiteX1" fmla="*/ 926716 w 6750026"/>
              <a:gd name="connsiteY1" fmla="*/ 3352144 h 13021593"/>
              <a:gd name="connsiteX2" fmla="*/ 1934999 w 6750026"/>
              <a:gd name="connsiteY2" fmla="*/ 2790830 h 13021593"/>
              <a:gd name="connsiteX3" fmla="*/ 2862603 w 6750026"/>
              <a:gd name="connsiteY3" fmla="*/ 4931184 h 13021593"/>
              <a:gd name="connsiteX4" fmla="*/ 3892632 w 6750026"/>
              <a:gd name="connsiteY4" fmla="*/ 2142304 h 13021593"/>
              <a:gd name="connsiteX5" fmla="*/ 4835810 w 6750026"/>
              <a:gd name="connsiteY5" fmla="*/ 32 h 13021593"/>
              <a:gd name="connsiteX6" fmla="*/ 5772153 w 6750026"/>
              <a:gd name="connsiteY6" fmla="*/ 13021592 h 13021593"/>
              <a:gd name="connsiteX7" fmla="*/ 6750026 w 6750026"/>
              <a:gd name="connsiteY7" fmla="*/ 12798842 h 13021593"/>
              <a:gd name="connsiteX0" fmla="*/ 0 w 6750026"/>
              <a:gd name="connsiteY0" fmla="*/ 3338934 h 13081905"/>
              <a:gd name="connsiteX1" fmla="*/ 926716 w 6750026"/>
              <a:gd name="connsiteY1" fmla="*/ 3412456 h 13081905"/>
              <a:gd name="connsiteX2" fmla="*/ 1934999 w 6750026"/>
              <a:gd name="connsiteY2" fmla="*/ 2851142 h 13081905"/>
              <a:gd name="connsiteX3" fmla="*/ 2862603 w 6750026"/>
              <a:gd name="connsiteY3" fmla="*/ 4991496 h 13081905"/>
              <a:gd name="connsiteX4" fmla="*/ 3892632 w 6750026"/>
              <a:gd name="connsiteY4" fmla="*/ 2202616 h 13081905"/>
              <a:gd name="connsiteX5" fmla="*/ 4835810 w 6750026"/>
              <a:gd name="connsiteY5" fmla="*/ 60344 h 13081905"/>
              <a:gd name="connsiteX6" fmla="*/ 5772153 w 6750026"/>
              <a:gd name="connsiteY6" fmla="*/ 13081904 h 13081905"/>
              <a:gd name="connsiteX7" fmla="*/ 6750026 w 6750026"/>
              <a:gd name="connsiteY7" fmla="*/ 12859154 h 13081905"/>
              <a:gd name="connsiteX0" fmla="*/ 0 w 6750026"/>
              <a:gd name="connsiteY0" fmla="*/ 3338934 h 12859154"/>
              <a:gd name="connsiteX1" fmla="*/ 926716 w 6750026"/>
              <a:gd name="connsiteY1" fmla="*/ 3412456 h 12859154"/>
              <a:gd name="connsiteX2" fmla="*/ 1934999 w 6750026"/>
              <a:gd name="connsiteY2" fmla="*/ 2851142 h 12859154"/>
              <a:gd name="connsiteX3" fmla="*/ 2862603 w 6750026"/>
              <a:gd name="connsiteY3" fmla="*/ 4991496 h 12859154"/>
              <a:gd name="connsiteX4" fmla="*/ 3892632 w 6750026"/>
              <a:gd name="connsiteY4" fmla="*/ 2202616 h 12859154"/>
              <a:gd name="connsiteX5" fmla="*/ 4835810 w 6750026"/>
              <a:gd name="connsiteY5" fmla="*/ 60344 h 12859154"/>
              <a:gd name="connsiteX6" fmla="*/ 5772153 w 6750026"/>
              <a:gd name="connsiteY6" fmla="*/ 260745 h 12859154"/>
              <a:gd name="connsiteX7" fmla="*/ 6750026 w 6750026"/>
              <a:gd name="connsiteY7" fmla="*/ 12859154 h 12859154"/>
              <a:gd name="connsiteX0" fmla="*/ 0 w 6750026"/>
              <a:gd name="connsiteY0" fmla="*/ 3338934 h 12859154"/>
              <a:gd name="connsiteX1" fmla="*/ 926716 w 6750026"/>
              <a:gd name="connsiteY1" fmla="*/ 3412456 h 12859154"/>
              <a:gd name="connsiteX2" fmla="*/ 1934999 w 6750026"/>
              <a:gd name="connsiteY2" fmla="*/ 2851142 h 12859154"/>
              <a:gd name="connsiteX3" fmla="*/ 2862603 w 6750026"/>
              <a:gd name="connsiteY3" fmla="*/ 4991496 h 12859154"/>
              <a:gd name="connsiteX4" fmla="*/ 3892632 w 6750026"/>
              <a:gd name="connsiteY4" fmla="*/ 2202616 h 12859154"/>
              <a:gd name="connsiteX5" fmla="*/ 4835810 w 6750026"/>
              <a:gd name="connsiteY5" fmla="*/ 60344 h 12859154"/>
              <a:gd name="connsiteX6" fmla="*/ 5772153 w 6750026"/>
              <a:gd name="connsiteY6" fmla="*/ 260745 h 12859154"/>
              <a:gd name="connsiteX7" fmla="*/ 6750026 w 6750026"/>
              <a:gd name="connsiteY7" fmla="*/ 12859154 h 12859154"/>
              <a:gd name="connsiteX0" fmla="*/ 0 w 6750026"/>
              <a:gd name="connsiteY0" fmla="*/ 3338934 h 12859154"/>
              <a:gd name="connsiteX1" fmla="*/ 926716 w 6750026"/>
              <a:gd name="connsiteY1" fmla="*/ 3412456 h 12859154"/>
              <a:gd name="connsiteX2" fmla="*/ 1934999 w 6750026"/>
              <a:gd name="connsiteY2" fmla="*/ 2851142 h 12859154"/>
              <a:gd name="connsiteX3" fmla="*/ 2862603 w 6750026"/>
              <a:gd name="connsiteY3" fmla="*/ 4991496 h 12859154"/>
              <a:gd name="connsiteX4" fmla="*/ 3892632 w 6750026"/>
              <a:gd name="connsiteY4" fmla="*/ 2202616 h 12859154"/>
              <a:gd name="connsiteX5" fmla="*/ 4835810 w 6750026"/>
              <a:gd name="connsiteY5" fmla="*/ 60344 h 12859154"/>
              <a:gd name="connsiteX6" fmla="*/ 5772153 w 6750026"/>
              <a:gd name="connsiteY6" fmla="*/ 260745 h 12859154"/>
              <a:gd name="connsiteX7" fmla="*/ 6750026 w 6750026"/>
              <a:gd name="connsiteY7" fmla="*/ 12859154 h 12859154"/>
              <a:gd name="connsiteX0" fmla="*/ 0 w 6750026"/>
              <a:gd name="connsiteY0" fmla="*/ 3387963 h 12908183"/>
              <a:gd name="connsiteX1" fmla="*/ 926716 w 6750026"/>
              <a:gd name="connsiteY1" fmla="*/ 3461485 h 12908183"/>
              <a:gd name="connsiteX2" fmla="*/ 1934999 w 6750026"/>
              <a:gd name="connsiteY2" fmla="*/ 2900171 h 12908183"/>
              <a:gd name="connsiteX3" fmla="*/ 2862603 w 6750026"/>
              <a:gd name="connsiteY3" fmla="*/ 5040525 h 12908183"/>
              <a:gd name="connsiteX4" fmla="*/ 3892632 w 6750026"/>
              <a:gd name="connsiteY4" fmla="*/ 2251645 h 12908183"/>
              <a:gd name="connsiteX5" fmla="*/ 4835810 w 6750026"/>
              <a:gd name="connsiteY5" fmla="*/ 109373 h 12908183"/>
              <a:gd name="connsiteX6" fmla="*/ 5772153 w 6750026"/>
              <a:gd name="connsiteY6" fmla="*/ 309774 h 12908183"/>
              <a:gd name="connsiteX7" fmla="*/ 6750026 w 6750026"/>
              <a:gd name="connsiteY7" fmla="*/ 12908183 h 12908183"/>
              <a:gd name="connsiteX0" fmla="*/ 0 w 6750026"/>
              <a:gd name="connsiteY0" fmla="*/ 3534893 h 13055113"/>
              <a:gd name="connsiteX1" fmla="*/ 926716 w 6750026"/>
              <a:gd name="connsiteY1" fmla="*/ 3608415 h 13055113"/>
              <a:gd name="connsiteX2" fmla="*/ 1934999 w 6750026"/>
              <a:gd name="connsiteY2" fmla="*/ 3047101 h 13055113"/>
              <a:gd name="connsiteX3" fmla="*/ 2862603 w 6750026"/>
              <a:gd name="connsiteY3" fmla="*/ 5187455 h 13055113"/>
              <a:gd name="connsiteX4" fmla="*/ 3892632 w 6750026"/>
              <a:gd name="connsiteY4" fmla="*/ 2398575 h 13055113"/>
              <a:gd name="connsiteX5" fmla="*/ 4835810 w 6750026"/>
              <a:gd name="connsiteY5" fmla="*/ 256303 h 13055113"/>
              <a:gd name="connsiteX6" fmla="*/ 5772153 w 6750026"/>
              <a:gd name="connsiteY6" fmla="*/ 456704 h 13055113"/>
              <a:gd name="connsiteX7" fmla="*/ 6750026 w 6750026"/>
              <a:gd name="connsiteY7" fmla="*/ 13055113 h 13055113"/>
              <a:gd name="connsiteX0" fmla="*/ 0 w 6750026"/>
              <a:gd name="connsiteY0" fmla="*/ 3534893 h 13055113"/>
              <a:gd name="connsiteX1" fmla="*/ 926716 w 6750026"/>
              <a:gd name="connsiteY1" fmla="*/ 3608415 h 13055113"/>
              <a:gd name="connsiteX2" fmla="*/ 1934999 w 6750026"/>
              <a:gd name="connsiteY2" fmla="*/ 3047101 h 13055113"/>
              <a:gd name="connsiteX3" fmla="*/ 2862603 w 6750026"/>
              <a:gd name="connsiteY3" fmla="*/ 5187455 h 13055113"/>
              <a:gd name="connsiteX4" fmla="*/ 3892632 w 6750026"/>
              <a:gd name="connsiteY4" fmla="*/ 2398575 h 13055113"/>
              <a:gd name="connsiteX5" fmla="*/ 4835810 w 6750026"/>
              <a:gd name="connsiteY5" fmla="*/ 256303 h 13055113"/>
              <a:gd name="connsiteX6" fmla="*/ 5772153 w 6750026"/>
              <a:gd name="connsiteY6" fmla="*/ 456704 h 13055113"/>
              <a:gd name="connsiteX7" fmla="*/ 6750026 w 6750026"/>
              <a:gd name="connsiteY7" fmla="*/ 13055113 h 13055113"/>
              <a:gd name="connsiteX0" fmla="*/ 0 w 6804138"/>
              <a:gd name="connsiteY0" fmla="*/ 3534893 h 5191708"/>
              <a:gd name="connsiteX1" fmla="*/ 926716 w 6804138"/>
              <a:gd name="connsiteY1" fmla="*/ 3608415 h 5191708"/>
              <a:gd name="connsiteX2" fmla="*/ 1934999 w 6804138"/>
              <a:gd name="connsiteY2" fmla="*/ 3047101 h 5191708"/>
              <a:gd name="connsiteX3" fmla="*/ 2862603 w 6804138"/>
              <a:gd name="connsiteY3" fmla="*/ 5187455 h 5191708"/>
              <a:gd name="connsiteX4" fmla="*/ 3892632 w 6804138"/>
              <a:gd name="connsiteY4" fmla="*/ 2398575 h 5191708"/>
              <a:gd name="connsiteX5" fmla="*/ 4835810 w 6804138"/>
              <a:gd name="connsiteY5" fmla="*/ 256303 h 5191708"/>
              <a:gd name="connsiteX6" fmla="*/ 5772153 w 6804138"/>
              <a:gd name="connsiteY6" fmla="*/ 456704 h 5191708"/>
              <a:gd name="connsiteX7" fmla="*/ 6804138 w 6804138"/>
              <a:gd name="connsiteY7" fmla="*/ 2328360 h 5191708"/>
              <a:gd name="connsiteX0" fmla="*/ 0 w 6804138"/>
              <a:gd name="connsiteY0" fmla="*/ 3534893 h 5191708"/>
              <a:gd name="connsiteX1" fmla="*/ 926716 w 6804138"/>
              <a:gd name="connsiteY1" fmla="*/ 3608415 h 5191708"/>
              <a:gd name="connsiteX2" fmla="*/ 1934999 w 6804138"/>
              <a:gd name="connsiteY2" fmla="*/ 3047101 h 5191708"/>
              <a:gd name="connsiteX3" fmla="*/ 2862603 w 6804138"/>
              <a:gd name="connsiteY3" fmla="*/ 5187455 h 5191708"/>
              <a:gd name="connsiteX4" fmla="*/ 3892632 w 6804138"/>
              <a:gd name="connsiteY4" fmla="*/ 2398575 h 5191708"/>
              <a:gd name="connsiteX5" fmla="*/ 4835810 w 6804138"/>
              <a:gd name="connsiteY5" fmla="*/ 256303 h 5191708"/>
              <a:gd name="connsiteX6" fmla="*/ 5772153 w 6804138"/>
              <a:gd name="connsiteY6" fmla="*/ 456704 h 5191708"/>
              <a:gd name="connsiteX7" fmla="*/ 6804138 w 6804138"/>
              <a:gd name="connsiteY7" fmla="*/ 2328360 h 5191708"/>
              <a:gd name="connsiteX0" fmla="*/ 0 w 6798126"/>
              <a:gd name="connsiteY0" fmla="*/ 82339243 h 82339243"/>
              <a:gd name="connsiteX1" fmla="*/ 920704 w 6798126"/>
              <a:gd name="connsiteY1" fmla="*/ 5913568 h 82339243"/>
              <a:gd name="connsiteX2" fmla="*/ 1928987 w 6798126"/>
              <a:gd name="connsiteY2" fmla="*/ 5352254 h 82339243"/>
              <a:gd name="connsiteX3" fmla="*/ 2856591 w 6798126"/>
              <a:gd name="connsiteY3" fmla="*/ 7492608 h 82339243"/>
              <a:gd name="connsiteX4" fmla="*/ 3886620 w 6798126"/>
              <a:gd name="connsiteY4" fmla="*/ 4703728 h 82339243"/>
              <a:gd name="connsiteX5" fmla="*/ 4829798 w 6798126"/>
              <a:gd name="connsiteY5" fmla="*/ 2561456 h 82339243"/>
              <a:gd name="connsiteX6" fmla="*/ 5766141 w 6798126"/>
              <a:gd name="connsiteY6" fmla="*/ 2761857 h 82339243"/>
              <a:gd name="connsiteX7" fmla="*/ 6798126 w 6798126"/>
              <a:gd name="connsiteY7" fmla="*/ 4633513 h 82339243"/>
              <a:gd name="connsiteX0" fmla="*/ 0 w 6810151"/>
              <a:gd name="connsiteY0" fmla="*/ 82339243 h 82339243"/>
              <a:gd name="connsiteX1" fmla="*/ 932729 w 6810151"/>
              <a:gd name="connsiteY1" fmla="*/ 5913568 h 82339243"/>
              <a:gd name="connsiteX2" fmla="*/ 1941012 w 6810151"/>
              <a:gd name="connsiteY2" fmla="*/ 5352254 h 82339243"/>
              <a:gd name="connsiteX3" fmla="*/ 2868616 w 6810151"/>
              <a:gd name="connsiteY3" fmla="*/ 7492608 h 82339243"/>
              <a:gd name="connsiteX4" fmla="*/ 3898645 w 6810151"/>
              <a:gd name="connsiteY4" fmla="*/ 4703728 h 82339243"/>
              <a:gd name="connsiteX5" fmla="*/ 4841823 w 6810151"/>
              <a:gd name="connsiteY5" fmla="*/ 2561456 h 82339243"/>
              <a:gd name="connsiteX6" fmla="*/ 5778166 w 6810151"/>
              <a:gd name="connsiteY6" fmla="*/ 2761857 h 82339243"/>
              <a:gd name="connsiteX7" fmla="*/ 6810151 w 6810151"/>
              <a:gd name="connsiteY7" fmla="*/ 4633513 h 82339243"/>
              <a:gd name="connsiteX0" fmla="*/ 0 w 6810151"/>
              <a:gd name="connsiteY0" fmla="*/ 80034090 h 80034090"/>
              <a:gd name="connsiteX1" fmla="*/ 962792 w 6810151"/>
              <a:gd name="connsiteY1" fmla="*/ 51391006 h 80034090"/>
              <a:gd name="connsiteX2" fmla="*/ 1941012 w 6810151"/>
              <a:gd name="connsiteY2" fmla="*/ 3047101 h 80034090"/>
              <a:gd name="connsiteX3" fmla="*/ 2868616 w 6810151"/>
              <a:gd name="connsiteY3" fmla="*/ 5187455 h 80034090"/>
              <a:gd name="connsiteX4" fmla="*/ 3898645 w 6810151"/>
              <a:gd name="connsiteY4" fmla="*/ 2398575 h 80034090"/>
              <a:gd name="connsiteX5" fmla="*/ 4841823 w 6810151"/>
              <a:gd name="connsiteY5" fmla="*/ 256303 h 80034090"/>
              <a:gd name="connsiteX6" fmla="*/ 5778166 w 6810151"/>
              <a:gd name="connsiteY6" fmla="*/ 456704 h 80034090"/>
              <a:gd name="connsiteX7" fmla="*/ 6810151 w 6810151"/>
              <a:gd name="connsiteY7" fmla="*/ 2328360 h 80034090"/>
              <a:gd name="connsiteX0" fmla="*/ 0 w 6810151"/>
              <a:gd name="connsiteY0" fmla="*/ 80034090 h 80034090"/>
              <a:gd name="connsiteX1" fmla="*/ 962792 w 6810151"/>
              <a:gd name="connsiteY1" fmla="*/ 51391006 h 80034090"/>
              <a:gd name="connsiteX2" fmla="*/ 1941012 w 6810151"/>
              <a:gd name="connsiteY2" fmla="*/ 3047101 h 80034090"/>
              <a:gd name="connsiteX3" fmla="*/ 2868616 w 6810151"/>
              <a:gd name="connsiteY3" fmla="*/ 5187455 h 80034090"/>
              <a:gd name="connsiteX4" fmla="*/ 3898645 w 6810151"/>
              <a:gd name="connsiteY4" fmla="*/ 2398575 h 80034090"/>
              <a:gd name="connsiteX5" fmla="*/ 4841823 w 6810151"/>
              <a:gd name="connsiteY5" fmla="*/ 256303 h 80034090"/>
              <a:gd name="connsiteX6" fmla="*/ 5778166 w 6810151"/>
              <a:gd name="connsiteY6" fmla="*/ 456704 h 80034090"/>
              <a:gd name="connsiteX7" fmla="*/ 6810151 w 6810151"/>
              <a:gd name="connsiteY7" fmla="*/ 2328360 h 80034090"/>
              <a:gd name="connsiteX0" fmla="*/ 0 w 6810151"/>
              <a:gd name="connsiteY0" fmla="*/ 80034090 h 80034090"/>
              <a:gd name="connsiteX1" fmla="*/ 962792 w 6810151"/>
              <a:gd name="connsiteY1" fmla="*/ 51391006 h 80034090"/>
              <a:gd name="connsiteX2" fmla="*/ 1941012 w 6810151"/>
              <a:gd name="connsiteY2" fmla="*/ 3047101 h 80034090"/>
              <a:gd name="connsiteX3" fmla="*/ 2868616 w 6810151"/>
              <a:gd name="connsiteY3" fmla="*/ 5187455 h 80034090"/>
              <a:gd name="connsiteX4" fmla="*/ 3898645 w 6810151"/>
              <a:gd name="connsiteY4" fmla="*/ 2398575 h 80034090"/>
              <a:gd name="connsiteX5" fmla="*/ 4841823 w 6810151"/>
              <a:gd name="connsiteY5" fmla="*/ 256303 h 80034090"/>
              <a:gd name="connsiteX6" fmla="*/ 5778166 w 6810151"/>
              <a:gd name="connsiteY6" fmla="*/ 456704 h 80034090"/>
              <a:gd name="connsiteX7" fmla="*/ 6810151 w 6810151"/>
              <a:gd name="connsiteY7" fmla="*/ 2328360 h 80034090"/>
              <a:gd name="connsiteX0" fmla="*/ 0 w 6810151"/>
              <a:gd name="connsiteY0" fmla="*/ 81907395 h 82727604"/>
              <a:gd name="connsiteX1" fmla="*/ 926717 w 6810151"/>
              <a:gd name="connsiteY1" fmla="*/ 80568631 h 82727604"/>
              <a:gd name="connsiteX2" fmla="*/ 1941012 w 6810151"/>
              <a:gd name="connsiteY2" fmla="*/ 4920406 h 82727604"/>
              <a:gd name="connsiteX3" fmla="*/ 2868616 w 6810151"/>
              <a:gd name="connsiteY3" fmla="*/ 7060760 h 82727604"/>
              <a:gd name="connsiteX4" fmla="*/ 3898645 w 6810151"/>
              <a:gd name="connsiteY4" fmla="*/ 4271880 h 82727604"/>
              <a:gd name="connsiteX5" fmla="*/ 4841823 w 6810151"/>
              <a:gd name="connsiteY5" fmla="*/ 2129608 h 82727604"/>
              <a:gd name="connsiteX6" fmla="*/ 5778166 w 6810151"/>
              <a:gd name="connsiteY6" fmla="*/ 2330009 h 82727604"/>
              <a:gd name="connsiteX7" fmla="*/ 6810151 w 6810151"/>
              <a:gd name="connsiteY7" fmla="*/ 4201665 h 82727604"/>
              <a:gd name="connsiteX0" fmla="*/ 0 w 6810151"/>
              <a:gd name="connsiteY0" fmla="*/ 81907395 h 81907395"/>
              <a:gd name="connsiteX1" fmla="*/ 926717 w 6810151"/>
              <a:gd name="connsiteY1" fmla="*/ 80568631 h 81907395"/>
              <a:gd name="connsiteX2" fmla="*/ 1941012 w 6810151"/>
              <a:gd name="connsiteY2" fmla="*/ 4920406 h 81907395"/>
              <a:gd name="connsiteX3" fmla="*/ 2868616 w 6810151"/>
              <a:gd name="connsiteY3" fmla="*/ 7060760 h 81907395"/>
              <a:gd name="connsiteX4" fmla="*/ 3898645 w 6810151"/>
              <a:gd name="connsiteY4" fmla="*/ 4271880 h 81907395"/>
              <a:gd name="connsiteX5" fmla="*/ 4841823 w 6810151"/>
              <a:gd name="connsiteY5" fmla="*/ 2129608 h 81907395"/>
              <a:gd name="connsiteX6" fmla="*/ 5778166 w 6810151"/>
              <a:gd name="connsiteY6" fmla="*/ 2330009 h 81907395"/>
              <a:gd name="connsiteX7" fmla="*/ 6810151 w 6810151"/>
              <a:gd name="connsiteY7" fmla="*/ 4201665 h 81907395"/>
              <a:gd name="connsiteX0" fmla="*/ 0 w 6810151"/>
              <a:gd name="connsiteY0" fmla="*/ 82045641 h 82760582"/>
              <a:gd name="connsiteX1" fmla="*/ 962792 w 6810151"/>
              <a:gd name="connsiteY1" fmla="*/ 82589921 h 82760582"/>
              <a:gd name="connsiteX2" fmla="*/ 1941012 w 6810151"/>
              <a:gd name="connsiteY2" fmla="*/ 5058652 h 82760582"/>
              <a:gd name="connsiteX3" fmla="*/ 2868616 w 6810151"/>
              <a:gd name="connsiteY3" fmla="*/ 7199006 h 82760582"/>
              <a:gd name="connsiteX4" fmla="*/ 3898645 w 6810151"/>
              <a:gd name="connsiteY4" fmla="*/ 4410126 h 82760582"/>
              <a:gd name="connsiteX5" fmla="*/ 4841823 w 6810151"/>
              <a:gd name="connsiteY5" fmla="*/ 2267854 h 82760582"/>
              <a:gd name="connsiteX6" fmla="*/ 5778166 w 6810151"/>
              <a:gd name="connsiteY6" fmla="*/ 2468255 h 82760582"/>
              <a:gd name="connsiteX7" fmla="*/ 6810151 w 6810151"/>
              <a:gd name="connsiteY7" fmla="*/ 4339911 h 82760582"/>
              <a:gd name="connsiteX0" fmla="*/ 0 w 6810151"/>
              <a:gd name="connsiteY0" fmla="*/ 82045641 h 82604545"/>
              <a:gd name="connsiteX1" fmla="*/ 962792 w 6810151"/>
              <a:gd name="connsiteY1" fmla="*/ 82589921 h 82604545"/>
              <a:gd name="connsiteX2" fmla="*/ 1941012 w 6810151"/>
              <a:gd name="connsiteY2" fmla="*/ 5058652 h 82604545"/>
              <a:gd name="connsiteX3" fmla="*/ 2868616 w 6810151"/>
              <a:gd name="connsiteY3" fmla="*/ 7199006 h 82604545"/>
              <a:gd name="connsiteX4" fmla="*/ 3898645 w 6810151"/>
              <a:gd name="connsiteY4" fmla="*/ 4410126 h 82604545"/>
              <a:gd name="connsiteX5" fmla="*/ 4841823 w 6810151"/>
              <a:gd name="connsiteY5" fmla="*/ 2267854 h 82604545"/>
              <a:gd name="connsiteX6" fmla="*/ 5778166 w 6810151"/>
              <a:gd name="connsiteY6" fmla="*/ 2468255 h 82604545"/>
              <a:gd name="connsiteX7" fmla="*/ 6810151 w 6810151"/>
              <a:gd name="connsiteY7" fmla="*/ 4339911 h 82604545"/>
              <a:gd name="connsiteX0" fmla="*/ 0 w 6810151"/>
              <a:gd name="connsiteY0" fmla="*/ 82011065 h 82124148"/>
              <a:gd name="connsiteX1" fmla="*/ 962792 w 6810151"/>
              <a:gd name="connsiteY1" fmla="*/ 82084599 h 82124148"/>
              <a:gd name="connsiteX2" fmla="*/ 1941012 w 6810151"/>
              <a:gd name="connsiteY2" fmla="*/ 5024076 h 82124148"/>
              <a:gd name="connsiteX3" fmla="*/ 2868616 w 6810151"/>
              <a:gd name="connsiteY3" fmla="*/ 7164430 h 82124148"/>
              <a:gd name="connsiteX4" fmla="*/ 3898645 w 6810151"/>
              <a:gd name="connsiteY4" fmla="*/ 4375550 h 82124148"/>
              <a:gd name="connsiteX5" fmla="*/ 4841823 w 6810151"/>
              <a:gd name="connsiteY5" fmla="*/ 2233278 h 82124148"/>
              <a:gd name="connsiteX6" fmla="*/ 5778166 w 6810151"/>
              <a:gd name="connsiteY6" fmla="*/ 2433679 h 82124148"/>
              <a:gd name="connsiteX7" fmla="*/ 6810151 w 6810151"/>
              <a:gd name="connsiteY7" fmla="*/ 4305335 h 82124148"/>
              <a:gd name="connsiteX0" fmla="*/ 0 w 6810151"/>
              <a:gd name="connsiteY0" fmla="*/ 82011065 h 82124148"/>
              <a:gd name="connsiteX1" fmla="*/ 962792 w 6810151"/>
              <a:gd name="connsiteY1" fmla="*/ 82084599 h 82124148"/>
              <a:gd name="connsiteX2" fmla="*/ 1941012 w 6810151"/>
              <a:gd name="connsiteY2" fmla="*/ 5024076 h 82124148"/>
              <a:gd name="connsiteX3" fmla="*/ 2868616 w 6810151"/>
              <a:gd name="connsiteY3" fmla="*/ 7164430 h 82124148"/>
              <a:gd name="connsiteX4" fmla="*/ 3898645 w 6810151"/>
              <a:gd name="connsiteY4" fmla="*/ 4375550 h 82124148"/>
              <a:gd name="connsiteX5" fmla="*/ 4841823 w 6810151"/>
              <a:gd name="connsiteY5" fmla="*/ 2233278 h 82124148"/>
              <a:gd name="connsiteX6" fmla="*/ 5778166 w 6810151"/>
              <a:gd name="connsiteY6" fmla="*/ 2433679 h 82124148"/>
              <a:gd name="connsiteX7" fmla="*/ 6810151 w 6810151"/>
              <a:gd name="connsiteY7" fmla="*/ 4305335 h 82124148"/>
              <a:gd name="connsiteX0" fmla="*/ 0 w 6810151"/>
              <a:gd name="connsiteY0" fmla="*/ 81993777 h 81993777"/>
              <a:gd name="connsiteX1" fmla="*/ 956780 w 6810151"/>
              <a:gd name="connsiteY1" fmla="*/ 81831937 h 81993777"/>
              <a:gd name="connsiteX2" fmla="*/ 1941012 w 6810151"/>
              <a:gd name="connsiteY2" fmla="*/ 5006788 h 81993777"/>
              <a:gd name="connsiteX3" fmla="*/ 2868616 w 6810151"/>
              <a:gd name="connsiteY3" fmla="*/ 7147142 h 81993777"/>
              <a:gd name="connsiteX4" fmla="*/ 3898645 w 6810151"/>
              <a:gd name="connsiteY4" fmla="*/ 4358262 h 81993777"/>
              <a:gd name="connsiteX5" fmla="*/ 4841823 w 6810151"/>
              <a:gd name="connsiteY5" fmla="*/ 2215990 h 81993777"/>
              <a:gd name="connsiteX6" fmla="*/ 5778166 w 6810151"/>
              <a:gd name="connsiteY6" fmla="*/ 2416391 h 81993777"/>
              <a:gd name="connsiteX7" fmla="*/ 6810151 w 6810151"/>
              <a:gd name="connsiteY7" fmla="*/ 4288047 h 81993777"/>
              <a:gd name="connsiteX0" fmla="*/ 0 w 6810151"/>
              <a:gd name="connsiteY0" fmla="*/ 82754958 h 92950987"/>
              <a:gd name="connsiteX1" fmla="*/ 938743 w 6810151"/>
              <a:gd name="connsiteY1" fmla="*/ 92949951 h 92950987"/>
              <a:gd name="connsiteX2" fmla="*/ 1941012 w 6810151"/>
              <a:gd name="connsiteY2" fmla="*/ 5767969 h 92950987"/>
              <a:gd name="connsiteX3" fmla="*/ 2868616 w 6810151"/>
              <a:gd name="connsiteY3" fmla="*/ 7908323 h 92950987"/>
              <a:gd name="connsiteX4" fmla="*/ 3898645 w 6810151"/>
              <a:gd name="connsiteY4" fmla="*/ 5119443 h 92950987"/>
              <a:gd name="connsiteX5" fmla="*/ 4841823 w 6810151"/>
              <a:gd name="connsiteY5" fmla="*/ 2977171 h 92950987"/>
              <a:gd name="connsiteX6" fmla="*/ 5778166 w 6810151"/>
              <a:gd name="connsiteY6" fmla="*/ 3177572 h 92950987"/>
              <a:gd name="connsiteX7" fmla="*/ 6810151 w 6810151"/>
              <a:gd name="connsiteY7" fmla="*/ 5049228 h 92950987"/>
              <a:gd name="connsiteX0" fmla="*/ 0 w 6810151"/>
              <a:gd name="connsiteY0" fmla="*/ 81870185 h 97991809"/>
              <a:gd name="connsiteX1" fmla="*/ 938743 w 6810151"/>
              <a:gd name="connsiteY1" fmla="*/ 92065178 h 97991809"/>
              <a:gd name="connsiteX2" fmla="*/ 1971074 w 6810151"/>
              <a:gd name="connsiteY2" fmla="*/ 91033041 h 97991809"/>
              <a:gd name="connsiteX3" fmla="*/ 2868616 w 6810151"/>
              <a:gd name="connsiteY3" fmla="*/ 7023550 h 97991809"/>
              <a:gd name="connsiteX4" fmla="*/ 3898645 w 6810151"/>
              <a:gd name="connsiteY4" fmla="*/ 4234670 h 97991809"/>
              <a:gd name="connsiteX5" fmla="*/ 4841823 w 6810151"/>
              <a:gd name="connsiteY5" fmla="*/ 2092398 h 97991809"/>
              <a:gd name="connsiteX6" fmla="*/ 5778166 w 6810151"/>
              <a:gd name="connsiteY6" fmla="*/ 2292799 h 97991809"/>
              <a:gd name="connsiteX7" fmla="*/ 6810151 w 6810151"/>
              <a:gd name="connsiteY7" fmla="*/ 4164455 h 97991809"/>
              <a:gd name="connsiteX0" fmla="*/ 0 w 6810151"/>
              <a:gd name="connsiteY0" fmla="*/ 81870185 h 92588440"/>
              <a:gd name="connsiteX1" fmla="*/ 938743 w 6810151"/>
              <a:gd name="connsiteY1" fmla="*/ 92065178 h 92588440"/>
              <a:gd name="connsiteX2" fmla="*/ 1971074 w 6810151"/>
              <a:gd name="connsiteY2" fmla="*/ 91033041 h 92588440"/>
              <a:gd name="connsiteX3" fmla="*/ 2868616 w 6810151"/>
              <a:gd name="connsiteY3" fmla="*/ 7023550 h 92588440"/>
              <a:gd name="connsiteX4" fmla="*/ 3898645 w 6810151"/>
              <a:gd name="connsiteY4" fmla="*/ 4234670 h 92588440"/>
              <a:gd name="connsiteX5" fmla="*/ 4841823 w 6810151"/>
              <a:gd name="connsiteY5" fmla="*/ 2092398 h 92588440"/>
              <a:gd name="connsiteX6" fmla="*/ 5778166 w 6810151"/>
              <a:gd name="connsiteY6" fmla="*/ 2292799 h 92588440"/>
              <a:gd name="connsiteX7" fmla="*/ 6810151 w 6810151"/>
              <a:gd name="connsiteY7" fmla="*/ 4164455 h 92588440"/>
              <a:gd name="connsiteX0" fmla="*/ 0 w 6810151"/>
              <a:gd name="connsiteY0" fmla="*/ 81991143 h 93280350"/>
              <a:gd name="connsiteX1" fmla="*/ 938743 w 6810151"/>
              <a:gd name="connsiteY1" fmla="*/ 92186136 h 93280350"/>
              <a:gd name="connsiteX2" fmla="*/ 1904937 w 6810151"/>
              <a:gd name="connsiteY2" fmla="*/ 92801670 h 93280350"/>
              <a:gd name="connsiteX3" fmla="*/ 2868616 w 6810151"/>
              <a:gd name="connsiteY3" fmla="*/ 7144508 h 93280350"/>
              <a:gd name="connsiteX4" fmla="*/ 3898645 w 6810151"/>
              <a:gd name="connsiteY4" fmla="*/ 4355628 h 93280350"/>
              <a:gd name="connsiteX5" fmla="*/ 4841823 w 6810151"/>
              <a:gd name="connsiteY5" fmla="*/ 2213356 h 93280350"/>
              <a:gd name="connsiteX6" fmla="*/ 5778166 w 6810151"/>
              <a:gd name="connsiteY6" fmla="*/ 2413757 h 93280350"/>
              <a:gd name="connsiteX7" fmla="*/ 6810151 w 6810151"/>
              <a:gd name="connsiteY7" fmla="*/ 4285413 h 93280350"/>
              <a:gd name="connsiteX0" fmla="*/ 0 w 6810151"/>
              <a:gd name="connsiteY0" fmla="*/ 84718257 h 100512264"/>
              <a:gd name="connsiteX1" fmla="*/ 938743 w 6810151"/>
              <a:gd name="connsiteY1" fmla="*/ 94913250 h 100512264"/>
              <a:gd name="connsiteX2" fmla="*/ 1904937 w 6810151"/>
              <a:gd name="connsiteY2" fmla="*/ 95528784 h 100512264"/>
              <a:gd name="connsiteX3" fmla="*/ 2856591 w 6810151"/>
              <a:gd name="connsiteY3" fmla="*/ 93432273 h 100512264"/>
              <a:gd name="connsiteX4" fmla="*/ 3898645 w 6810151"/>
              <a:gd name="connsiteY4" fmla="*/ 7082742 h 100512264"/>
              <a:gd name="connsiteX5" fmla="*/ 4841823 w 6810151"/>
              <a:gd name="connsiteY5" fmla="*/ 4940470 h 100512264"/>
              <a:gd name="connsiteX6" fmla="*/ 5778166 w 6810151"/>
              <a:gd name="connsiteY6" fmla="*/ 5140871 h 100512264"/>
              <a:gd name="connsiteX7" fmla="*/ 6810151 w 6810151"/>
              <a:gd name="connsiteY7" fmla="*/ 7012527 h 100512264"/>
              <a:gd name="connsiteX0" fmla="*/ 0 w 6810151"/>
              <a:gd name="connsiteY0" fmla="*/ 84718257 h 95993846"/>
              <a:gd name="connsiteX1" fmla="*/ 938743 w 6810151"/>
              <a:gd name="connsiteY1" fmla="*/ 94913250 h 95993846"/>
              <a:gd name="connsiteX2" fmla="*/ 1904937 w 6810151"/>
              <a:gd name="connsiteY2" fmla="*/ 95528784 h 95993846"/>
              <a:gd name="connsiteX3" fmla="*/ 2856591 w 6810151"/>
              <a:gd name="connsiteY3" fmla="*/ 93432273 h 95993846"/>
              <a:gd name="connsiteX4" fmla="*/ 3898645 w 6810151"/>
              <a:gd name="connsiteY4" fmla="*/ 7082742 h 95993846"/>
              <a:gd name="connsiteX5" fmla="*/ 4841823 w 6810151"/>
              <a:gd name="connsiteY5" fmla="*/ 4940470 h 95993846"/>
              <a:gd name="connsiteX6" fmla="*/ 5778166 w 6810151"/>
              <a:gd name="connsiteY6" fmla="*/ 5140871 h 95993846"/>
              <a:gd name="connsiteX7" fmla="*/ 6810151 w 6810151"/>
              <a:gd name="connsiteY7" fmla="*/ 7012527 h 95993846"/>
              <a:gd name="connsiteX0" fmla="*/ 0 w 6810151"/>
              <a:gd name="connsiteY0" fmla="*/ 84804875 h 96014834"/>
              <a:gd name="connsiteX1" fmla="*/ 938743 w 6810151"/>
              <a:gd name="connsiteY1" fmla="*/ 94999868 h 96014834"/>
              <a:gd name="connsiteX2" fmla="*/ 1904937 w 6810151"/>
              <a:gd name="connsiteY2" fmla="*/ 95615402 h 96014834"/>
              <a:gd name="connsiteX3" fmla="*/ 2850579 w 6810151"/>
              <a:gd name="connsiteY3" fmla="*/ 94695815 h 96014834"/>
              <a:gd name="connsiteX4" fmla="*/ 3898645 w 6810151"/>
              <a:gd name="connsiteY4" fmla="*/ 7169360 h 96014834"/>
              <a:gd name="connsiteX5" fmla="*/ 4841823 w 6810151"/>
              <a:gd name="connsiteY5" fmla="*/ 5027088 h 96014834"/>
              <a:gd name="connsiteX6" fmla="*/ 5778166 w 6810151"/>
              <a:gd name="connsiteY6" fmla="*/ 5227489 h 96014834"/>
              <a:gd name="connsiteX7" fmla="*/ 6810151 w 6810151"/>
              <a:gd name="connsiteY7" fmla="*/ 7099145 h 96014834"/>
              <a:gd name="connsiteX0" fmla="*/ 0 w 6810151"/>
              <a:gd name="connsiteY0" fmla="*/ 84804875 h 96014834"/>
              <a:gd name="connsiteX1" fmla="*/ 938743 w 6810151"/>
              <a:gd name="connsiteY1" fmla="*/ 94999868 h 96014834"/>
              <a:gd name="connsiteX2" fmla="*/ 1904937 w 6810151"/>
              <a:gd name="connsiteY2" fmla="*/ 95615402 h 96014834"/>
              <a:gd name="connsiteX3" fmla="*/ 2850579 w 6810151"/>
              <a:gd name="connsiteY3" fmla="*/ 94695815 h 96014834"/>
              <a:gd name="connsiteX4" fmla="*/ 3898645 w 6810151"/>
              <a:gd name="connsiteY4" fmla="*/ 7169360 h 96014834"/>
              <a:gd name="connsiteX5" fmla="*/ 4841823 w 6810151"/>
              <a:gd name="connsiteY5" fmla="*/ 5027088 h 96014834"/>
              <a:gd name="connsiteX6" fmla="*/ 5778166 w 6810151"/>
              <a:gd name="connsiteY6" fmla="*/ 5227489 h 96014834"/>
              <a:gd name="connsiteX7" fmla="*/ 6810151 w 6810151"/>
              <a:gd name="connsiteY7" fmla="*/ 7099145 h 96014834"/>
              <a:gd name="connsiteX0" fmla="*/ 0 w 6810151"/>
              <a:gd name="connsiteY0" fmla="*/ 84804875 h 96014834"/>
              <a:gd name="connsiteX1" fmla="*/ 938743 w 6810151"/>
              <a:gd name="connsiteY1" fmla="*/ 94999868 h 96014834"/>
              <a:gd name="connsiteX2" fmla="*/ 1904937 w 6810151"/>
              <a:gd name="connsiteY2" fmla="*/ 95615402 h 96014834"/>
              <a:gd name="connsiteX3" fmla="*/ 2850579 w 6810151"/>
              <a:gd name="connsiteY3" fmla="*/ 94695815 h 96014834"/>
              <a:gd name="connsiteX4" fmla="*/ 3898645 w 6810151"/>
              <a:gd name="connsiteY4" fmla="*/ 7169360 h 96014834"/>
              <a:gd name="connsiteX5" fmla="*/ 4841823 w 6810151"/>
              <a:gd name="connsiteY5" fmla="*/ 5027088 h 96014834"/>
              <a:gd name="connsiteX6" fmla="*/ 5778166 w 6810151"/>
              <a:gd name="connsiteY6" fmla="*/ 5227489 h 96014834"/>
              <a:gd name="connsiteX7" fmla="*/ 6810151 w 6810151"/>
              <a:gd name="connsiteY7" fmla="*/ 7099145 h 96014834"/>
              <a:gd name="connsiteX0" fmla="*/ 0 w 6810151"/>
              <a:gd name="connsiteY0" fmla="*/ 84822193 h 96019541"/>
              <a:gd name="connsiteX1" fmla="*/ 938743 w 6810151"/>
              <a:gd name="connsiteY1" fmla="*/ 95017186 h 96019541"/>
              <a:gd name="connsiteX2" fmla="*/ 1904937 w 6810151"/>
              <a:gd name="connsiteY2" fmla="*/ 95632720 h 96019541"/>
              <a:gd name="connsiteX3" fmla="*/ 2886654 w 6810151"/>
              <a:gd name="connsiteY3" fmla="*/ 94948506 h 96019541"/>
              <a:gd name="connsiteX4" fmla="*/ 3898645 w 6810151"/>
              <a:gd name="connsiteY4" fmla="*/ 7186678 h 96019541"/>
              <a:gd name="connsiteX5" fmla="*/ 4841823 w 6810151"/>
              <a:gd name="connsiteY5" fmla="*/ 5044406 h 96019541"/>
              <a:gd name="connsiteX6" fmla="*/ 5778166 w 6810151"/>
              <a:gd name="connsiteY6" fmla="*/ 5244807 h 96019541"/>
              <a:gd name="connsiteX7" fmla="*/ 6810151 w 6810151"/>
              <a:gd name="connsiteY7" fmla="*/ 7116463 h 96019541"/>
              <a:gd name="connsiteX0" fmla="*/ 0 w 6810151"/>
              <a:gd name="connsiteY0" fmla="*/ 80034092 h 91231440"/>
              <a:gd name="connsiteX1" fmla="*/ 938743 w 6810151"/>
              <a:gd name="connsiteY1" fmla="*/ 90229085 h 91231440"/>
              <a:gd name="connsiteX2" fmla="*/ 1904937 w 6810151"/>
              <a:gd name="connsiteY2" fmla="*/ 90844619 h 91231440"/>
              <a:gd name="connsiteX3" fmla="*/ 2886654 w 6810151"/>
              <a:gd name="connsiteY3" fmla="*/ 90160405 h 91231440"/>
              <a:gd name="connsiteX4" fmla="*/ 3844533 w 6810151"/>
              <a:gd name="connsiteY4" fmla="*/ 79839333 h 91231440"/>
              <a:gd name="connsiteX5" fmla="*/ 4841823 w 6810151"/>
              <a:gd name="connsiteY5" fmla="*/ 256305 h 91231440"/>
              <a:gd name="connsiteX6" fmla="*/ 5778166 w 6810151"/>
              <a:gd name="connsiteY6" fmla="*/ 456706 h 91231440"/>
              <a:gd name="connsiteX7" fmla="*/ 6810151 w 6810151"/>
              <a:gd name="connsiteY7" fmla="*/ 2328362 h 91231440"/>
              <a:gd name="connsiteX0" fmla="*/ 0 w 6810151"/>
              <a:gd name="connsiteY0" fmla="*/ 80034092 h 91231440"/>
              <a:gd name="connsiteX1" fmla="*/ 938743 w 6810151"/>
              <a:gd name="connsiteY1" fmla="*/ 90229085 h 91231440"/>
              <a:gd name="connsiteX2" fmla="*/ 1904937 w 6810151"/>
              <a:gd name="connsiteY2" fmla="*/ 90844619 h 91231440"/>
              <a:gd name="connsiteX3" fmla="*/ 2886654 w 6810151"/>
              <a:gd name="connsiteY3" fmla="*/ 90160405 h 91231440"/>
              <a:gd name="connsiteX4" fmla="*/ 3844533 w 6810151"/>
              <a:gd name="connsiteY4" fmla="*/ 79839333 h 91231440"/>
              <a:gd name="connsiteX5" fmla="*/ 4841823 w 6810151"/>
              <a:gd name="connsiteY5" fmla="*/ 256305 h 91231440"/>
              <a:gd name="connsiteX6" fmla="*/ 5778166 w 6810151"/>
              <a:gd name="connsiteY6" fmla="*/ 456706 h 91231440"/>
              <a:gd name="connsiteX7" fmla="*/ 6810151 w 6810151"/>
              <a:gd name="connsiteY7" fmla="*/ 2328362 h 91231440"/>
              <a:gd name="connsiteX0" fmla="*/ 0 w 6810151"/>
              <a:gd name="connsiteY0" fmla="*/ 80034092 h 91294998"/>
              <a:gd name="connsiteX1" fmla="*/ 938743 w 6810151"/>
              <a:gd name="connsiteY1" fmla="*/ 90229085 h 91294998"/>
              <a:gd name="connsiteX2" fmla="*/ 1904937 w 6810151"/>
              <a:gd name="connsiteY2" fmla="*/ 90844619 h 91294998"/>
              <a:gd name="connsiteX3" fmla="*/ 2886654 w 6810151"/>
              <a:gd name="connsiteY3" fmla="*/ 90160405 h 91294998"/>
              <a:gd name="connsiteX4" fmla="*/ 3844533 w 6810151"/>
              <a:gd name="connsiteY4" fmla="*/ 78427064 h 91294998"/>
              <a:gd name="connsiteX5" fmla="*/ 4841823 w 6810151"/>
              <a:gd name="connsiteY5" fmla="*/ 256305 h 91294998"/>
              <a:gd name="connsiteX6" fmla="*/ 5778166 w 6810151"/>
              <a:gd name="connsiteY6" fmla="*/ 456706 h 91294998"/>
              <a:gd name="connsiteX7" fmla="*/ 6810151 w 6810151"/>
              <a:gd name="connsiteY7" fmla="*/ 2328362 h 91294998"/>
              <a:gd name="connsiteX0" fmla="*/ 0 w 6810151"/>
              <a:gd name="connsiteY0" fmla="*/ 80034092 h 91231440"/>
              <a:gd name="connsiteX1" fmla="*/ 938743 w 6810151"/>
              <a:gd name="connsiteY1" fmla="*/ 90229085 h 91231440"/>
              <a:gd name="connsiteX2" fmla="*/ 1904937 w 6810151"/>
              <a:gd name="connsiteY2" fmla="*/ 90844619 h 91231440"/>
              <a:gd name="connsiteX3" fmla="*/ 2886654 w 6810151"/>
              <a:gd name="connsiteY3" fmla="*/ 90160405 h 91231440"/>
              <a:gd name="connsiteX4" fmla="*/ 3844533 w 6810151"/>
              <a:gd name="connsiteY4" fmla="*/ 79839363 h 91231440"/>
              <a:gd name="connsiteX5" fmla="*/ 4841823 w 6810151"/>
              <a:gd name="connsiteY5" fmla="*/ 256305 h 91231440"/>
              <a:gd name="connsiteX6" fmla="*/ 5778166 w 6810151"/>
              <a:gd name="connsiteY6" fmla="*/ 456706 h 91231440"/>
              <a:gd name="connsiteX7" fmla="*/ 6810151 w 6810151"/>
              <a:gd name="connsiteY7" fmla="*/ 2328362 h 91231440"/>
              <a:gd name="connsiteX0" fmla="*/ 0 w 6810151"/>
              <a:gd name="connsiteY0" fmla="*/ 79586081 h 90783429"/>
              <a:gd name="connsiteX1" fmla="*/ 938743 w 6810151"/>
              <a:gd name="connsiteY1" fmla="*/ 89781074 h 90783429"/>
              <a:gd name="connsiteX2" fmla="*/ 1904937 w 6810151"/>
              <a:gd name="connsiteY2" fmla="*/ 90396608 h 90783429"/>
              <a:gd name="connsiteX3" fmla="*/ 2886654 w 6810151"/>
              <a:gd name="connsiteY3" fmla="*/ 89712394 h 90783429"/>
              <a:gd name="connsiteX4" fmla="*/ 3844533 w 6810151"/>
              <a:gd name="connsiteY4" fmla="*/ 79391352 h 90783429"/>
              <a:gd name="connsiteX5" fmla="*/ 4811761 w 6810151"/>
              <a:gd name="connsiteY5" fmla="*/ 64538391 h 90783429"/>
              <a:gd name="connsiteX6" fmla="*/ 5778166 w 6810151"/>
              <a:gd name="connsiteY6" fmla="*/ 8695 h 90783429"/>
              <a:gd name="connsiteX7" fmla="*/ 6810151 w 6810151"/>
              <a:gd name="connsiteY7" fmla="*/ 1880351 h 90783429"/>
              <a:gd name="connsiteX0" fmla="*/ 0 w 6810151"/>
              <a:gd name="connsiteY0" fmla="*/ 77767216 h 88964564"/>
              <a:gd name="connsiteX1" fmla="*/ 938743 w 6810151"/>
              <a:gd name="connsiteY1" fmla="*/ 87962209 h 88964564"/>
              <a:gd name="connsiteX2" fmla="*/ 1904937 w 6810151"/>
              <a:gd name="connsiteY2" fmla="*/ 88577743 h 88964564"/>
              <a:gd name="connsiteX3" fmla="*/ 2886654 w 6810151"/>
              <a:gd name="connsiteY3" fmla="*/ 87893529 h 88964564"/>
              <a:gd name="connsiteX4" fmla="*/ 3844533 w 6810151"/>
              <a:gd name="connsiteY4" fmla="*/ 77572487 h 88964564"/>
              <a:gd name="connsiteX5" fmla="*/ 4811761 w 6810151"/>
              <a:gd name="connsiteY5" fmla="*/ 62719526 h 88964564"/>
              <a:gd name="connsiteX6" fmla="*/ 5790191 w 6810151"/>
              <a:gd name="connsiteY6" fmla="*/ 76807487 h 88964564"/>
              <a:gd name="connsiteX7" fmla="*/ 6810151 w 6810151"/>
              <a:gd name="connsiteY7" fmla="*/ 61486 h 88964564"/>
              <a:gd name="connsiteX0" fmla="*/ 0 w 6810151"/>
              <a:gd name="connsiteY0" fmla="*/ 77767749 h 88965097"/>
              <a:gd name="connsiteX1" fmla="*/ 938743 w 6810151"/>
              <a:gd name="connsiteY1" fmla="*/ 87962742 h 88965097"/>
              <a:gd name="connsiteX2" fmla="*/ 1904937 w 6810151"/>
              <a:gd name="connsiteY2" fmla="*/ 88578276 h 88965097"/>
              <a:gd name="connsiteX3" fmla="*/ 2886654 w 6810151"/>
              <a:gd name="connsiteY3" fmla="*/ 87894062 h 88965097"/>
              <a:gd name="connsiteX4" fmla="*/ 3844533 w 6810151"/>
              <a:gd name="connsiteY4" fmla="*/ 77573020 h 88965097"/>
              <a:gd name="connsiteX5" fmla="*/ 4811761 w 6810151"/>
              <a:gd name="connsiteY5" fmla="*/ 62720059 h 88965097"/>
              <a:gd name="connsiteX6" fmla="*/ 5790191 w 6810151"/>
              <a:gd name="connsiteY6" fmla="*/ 76808020 h 88965097"/>
              <a:gd name="connsiteX7" fmla="*/ 6810151 w 6810151"/>
              <a:gd name="connsiteY7" fmla="*/ 62019 h 88965097"/>
              <a:gd name="connsiteX0" fmla="*/ 0 w 6810151"/>
              <a:gd name="connsiteY0" fmla="*/ 77767749 h 88965097"/>
              <a:gd name="connsiteX1" fmla="*/ 938743 w 6810151"/>
              <a:gd name="connsiteY1" fmla="*/ 87962742 h 88965097"/>
              <a:gd name="connsiteX2" fmla="*/ 1904937 w 6810151"/>
              <a:gd name="connsiteY2" fmla="*/ 88578276 h 88965097"/>
              <a:gd name="connsiteX3" fmla="*/ 2886654 w 6810151"/>
              <a:gd name="connsiteY3" fmla="*/ 87894062 h 88965097"/>
              <a:gd name="connsiteX4" fmla="*/ 3844533 w 6810151"/>
              <a:gd name="connsiteY4" fmla="*/ 77573020 h 88965097"/>
              <a:gd name="connsiteX5" fmla="*/ 4811761 w 6810151"/>
              <a:gd name="connsiteY5" fmla="*/ 62720059 h 88965097"/>
              <a:gd name="connsiteX6" fmla="*/ 5790191 w 6810151"/>
              <a:gd name="connsiteY6" fmla="*/ 76808020 h 88965097"/>
              <a:gd name="connsiteX7" fmla="*/ 6810151 w 6810151"/>
              <a:gd name="connsiteY7" fmla="*/ 62019 h 88965097"/>
              <a:gd name="connsiteX0" fmla="*/ 0 w 6738002"/>
              <a:gd name="connsiteY0" fmla="*/ 15047719 h 26245067"/>
              <a:gd name="connsiteX1" fmla="*/ 938743 w 6738002"/>
              <a:gd name="connsiteY1" fmla="*/ 25242712 h 26245067"/>
              <a:gd name="connsiteX2" fmla="*/ 1904937 w 6738002"/>
              <a:gd name="connsiteY2" fmla="*/ 25858246 h 26245067"/>
              <a:gd name="connsiteX3" fmla="*/ 2886654 w 6738002"/>
              <a:gd name="connsiteY3" fmla="*/ 25174032 h 26245067"/>
              <a:gd name="connsiteX4" fmla="*/ 3844533 w 6738002"/>
              <a:gd name="connsiteY4" fmla="*/ 14852990 h 26245067"/>
              <a:gd name="connsiteX5" fmla="*/ 4811761 w 6738002"/>
              <a:gd name="connsiteY5" fmla="*/ 29 h 26245067"/>
              <a:gd name="connsiteX6" fmla="*/ 5790191 w 6738002"/>
              <a:gd name="connsiteY6" fmla="*/ 14087990 h 26245067"/>
              <a:gd name="connsiteX7" fmla="*/ 6738002 w 6738002"/>
              <a:gd name="connsiteY7" fmla="*/ 24433366 h 26245067"/>
              <a:gd name="connsiteX0" fmla="*/ 0 w 6738002"/>
              <a:gd name="connsiteY0" fmla="*/ 15047719 h 26245067"/>
              <a:gd name="connsiteX1" fmla="*/ 938743 w 6738002"/>
              <a:gd name="connsiteY1" fmla="*/ 25242712 h 26245067"/>
              <a:gd name="connsiteX2" fmla="*/ 1904937 w 6738002"/>
              <a:gd name="connsiteY2" fmla="*/ 25858246 h 26245067"/>
              <a:gd name="connsiteX3" fmla="*/ 2886654 w 6738002"/>
              <a:gd name="connsiteY3" fmla="*/ 25174032 h 26245067"/>
              <a:gd name="connsiteX4" fmla="*/ 3844533 w 6738002"/>
              <a:gd name="connsiteY4" fmla="*/ 14852990 h 26245067"/>
              <a:gd name="connsiteX5" fmla="*/ 4811761 w 6738002"/>
              <a:gd name="connsiteY5" fmla="*/ 29 h 26245067"/>
              <a:gd name="connsiteX6" fmla="*/ 5790191 w 6738002"/>
              <a:gd name="connsiteY6" fmla="*/ 14087990 h 26245067"/>
              <a:gd name="connsiteX7" fmla="*/ 6738002 w 6738002"/>
              <a:gd name="connsiteY7" fmla="*/ 24433366 h 26245067"/>
              <a:gd name="connsiteX0" fmla="*/ 0 w 6738002"/>
              <a:gd name="connsiteY0" fmla="*/ 15047719 h 26245067"/>
              <a:gd name="connsiteX1" fmla="*/ 938743 w 6738002"/>
              <a:gd name="connsiteY1" fmla="*/ 25242712 h 26245067"/>
              <a:gd name="connsiteX2" fmla="*/ 1904937 w 6738002"/>
              <a:gd name="connsiteY2" fmla="*/ 25858246 h 26245067"/>
              <a:gd name="connsiteX3" fmla="*/ 2886654 w 6738002"/>
              <a:gd name="connsiteY3" fmla="*/ 25174032 h 26245067"/>
              <a:gd name="connsiteX4" fmla="*/ 3844533 w 6738002"/>
              <a:gd name="connsiteY4" fmla="*/ 14852990 h 26245067"/>
              <a:gd name="connsiteX5" fmla="*/ 4811761 w 6738002"/>
              <a:gd name="connsiteY5" fmla="*/ 29 h 26245067"/>
              <a:gd name="connsiteX6" fmla="*/ 5790191 w 6738002"/>
              <a:gd name="connsiteY6" fmla="*/ 14087990 h 26245067"/>
              <a:gd name="connsiteX7" fmla="*/ 6738002 w 6738002"/>
              <a:gd name="connsiteY7" fmla="*/ 24433366 h 26245067"/>
              <a:gd name="connsiteX0" fmla="*/ 0 w 6738002"/>
              <a:gd name="connsiteY0" fmla="*/ 15047749 h 26245097"/>
              <a:gd name="connsiteX1" fmla="*/ 938743 w 6738002"/>
              <a:gd name="connsiteY1" fmla="*/ 25242742 h 26245097"/>
              <a:gd name="connsiteX2" fmla="*/ 1904937 w 6738002"/>
              <a:gd name="connsiteY2" fmla="*/ 25858276 h 26245097"/>
              <a:gd name="connsiteX3" fmla="*/ 2886654 w 6738002"/>
              <a:gd name="connsiteY3" fmla="*/ 25174062 h 26245097"/>
              <a:gd name="connsiteX4" fmla="*/ 3844533 w 6738002"/>
              <a:gd name="connsiteY4" fmla="*/ 14853020 h 26245097"/>
              <a:gd name="connsiteX5" fmla="*/ 4811761 w 6738002"/>
              <a:gd name="connsiteY5" fmla="*/ 59 h 26245097"/>
              <a:gd name="connsiteX6" fmla="*/ 5790191 w 6738002"/>
              <a:gd name="connsiteY6" fmla="*/ 14088020 h 26245097"/>
              <a:gd name="connsiteX7" fmla="*/ 6738002 w 6738002"/>
              <a:gd name="connsiteY7" fmla="*/ 24433396 h 26245097"/>
              <a:gd name="connsiteX0" fmla="*/ 0 w 6738002"/>
              <a:gd name="connsiteY0" fmla="*/ 15047690 h 26245038"/>
              <a:gd name="connsiteX1" fmla="*/ 938743 w 6738002"/>
              <a:gd name="connsiteY1" fmla="*/ 25242683 h 26245038"/>
              <a:gd name="connsiteX2" fmla="*/ 1904937 w 6738002"/>
              <a:gd name="connsiteY2" fmla="*/ 25858217 h 26245038"/>
              <a:gd name="connsiteX3" fmla="*/ 2886654 w 6738002"/>
              <a:gd name="connsiteY3" fmla="*/ 25174003 h 26245038"/>
              <a:gd name="connsiteX4" fmla="*/ 3844533 w 6738002"/>
              <a:gd name="connsiteY4" fmla="*/ 14852961 h 26245038"/>
              <a:gd name="connsiteX5" fmla="*/ 4811761 w 6738002"/>
              <a:gd name="connsiteY5" fmla="*/ 0 h 26245038"/>
              <a:gd name="connsiteX6" fmla="*/ 5790191 w 6738002"/>
              <a:gd name="connsiteY6" fmla="*/ 14087961 h 26245038"/>
              <a:gd name="connsiteX7" fmla="*/ 6738002 w 6738002"/>
              <a:gd name="connsiteY7" fmla="*/ 24433337 h 2624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38002" h="26245038">
                <a:moveTo>
                  <a:pt x="0" y="15047690"/>
                </a:moveTo>
                <a:cubicBezTo>
                  <a:pt x="385001" y="15048316"/>
                  <a:pt x="621254" y="23440929"/>
                  <a:pt x="938743" y="25242683"/>
                </a:cubicBezTo>
                <a:cubicBezTo>
                  <a:pt x="1256233" y="27044438"/>
                  <a:pt x="1580285" y="25869664"/>
                  <a:pt x="1904937" y="25858217"/>
                </a:cubicBezTo>
                <a:cubicBezTo>
                  <a:pt x="2229589" y="25846770"/>
                  <a:pt x="2563388" y="27008212"/>
                  <a:pt x="2886654" y="25174003"/>
                </a:cubicBezTo>
                <a:cubicBezTo>
                  <a:pt x="3209920" y="23339794"/>
                  <a:pt x="3523682" y="19048628"/>
                  <a:pt x="3844533" y="14852961"/>
                </a:cubicBezTo>
                <a:cubicBezTo>
                  <a:pt x="4165384" y="10657294"/>
                  <a:pt x="4449857" y="303833"/>
                  <a:pt x="4811761" y="0"/>
                </a:cubicBezTo>
                <a:cubicBezTo>
                  <a:pt x="5193702" y="1854803"/>
                  <a:pt x="5520716" y="10152928"/>
                  <a:pt x="5790191" y="14087961"/>
                </a:cubicBezTo>
                <a:cubicBezTo>
                  <a:pt x="6062036" y="16519429"/>
                  <a:pt x="6201608" y="18551761"/>
                  <a:pt x="6738002" y="24433337"/>
                </a:cubicBezTo>
              </a:path>
            </a:pathLst>
          </a:custGeom>
          <a:noFill/>
          <a:ln w="136525" cap="rnd" cmpd="sng" algn="ctr">
            <a:solidFill>
              <a:srgbClr val="32E9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71" name="Group 90"/>
          <p:cNvGrpSpPr/>
          <p:nvPr/>
        </p:nvGrpSpPr>
        <p:grpSpPr>
          <a:xfrm>
            <a:off x="8960144" y="237259"/>
            <a:ext cx="2430508" cy="289004"/>
            <a:chOff x="9447824" y="732559"/>
            <a:chExt cx="2430508" cy="289004"/>
          </a:xfrm>
        </p:grpSpPr>
        <p:grpSp>
          <p:nvGrpSpPr>
            <p:cNvPr id="73"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100"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101"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75"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87"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99"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77"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83"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85"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spTree>
    <p:extLst>
      <p:ext uri="{BB962C8B-B14F-4D97-AF65-F5344CB8AC3E}">
        <p14:creationId xmlns:p14="http://schemas.microsoft.com/office/powerpoint/2010/main" val="19591567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Group 29"/>
          <p:cNvGraphicFramePr>
            <a:graphicFrameLocks noGrp="1"/>
          </p:cNvGraphicFramePr>
          <p:nvPr/>
        </p:nvGraphicFramePr>
        <p:xfrm>
          <a:off x="373085" y="1129608"/>
          <a:ext cx="11445832" cy="5454180"/>
        </p:xfrm>
        <a:graphic>
          <a:graphicData uri="http://schemas.openxmlformats.org/drawingml/2006/table">
            <a:tbl>
              <a:tblPr/>
              <a:tblGrid>
                <a:gridCol w="1923228">
                  <a:extLst>
                    <a:ext uri="{9D8B030D-6E8A-4147-A177-3AD203B41FA5}">
                      <a16:colId xmlns:a16="http://schemas.microsoft.com/office/drawing/2014/main" val="20000"/>
                    </a:ext>
                  </a:extLst>
                </a:gridCol>
                <a:gridCol w="4761302">
                  <a:extLst>
                    <a:ext uri="{9D8B030D-6E8A-4147-A177-3AD203B41FA5}">
                      <a16:colId xmlns:a16="http://schemas.microsoft.com/office/drawing/2014/main" val="20001"/>
                    </a:ext>
                  </a:extLst>
                </a:gridCol>
                <a:gridCol w="4761302">
                  <a:extLst>
                    <a:ext uri="{9D8B030D-6E8A-4147-A177-3AD203B41FA5}">
                      <a16:colId xmlns:a16="http://schemas.microsoft.com/office/drawing/2014/main" val="20002"/>
                    </a:ext>
                  </a:extLst>
                </a:gridCol>
              </a:tblGrid>
              <a:tr h="43200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50" b="1" i="0" u="none" strike="noStrike" cap="none" normalizeH="0" baseline="0" dirty="0">
                        <a:ln>
                          <a:noFill/>
                        </a:ln>
                        <a:solidFill>
                          <a:srgbClr val="002776"/>
                        </a:solidFill>
                        <a:effectLst/>
                        <a:latin typeface="+mj-lt"/>
                        <a:cs typeface="Arial" pitchFamily="34" charset="0"/>
                      </a:endParaRPr>
                    </a:p>
                  </a:txBody>
                  <a:tcPr marL="54864" marR="54864" marT="36576" marB="3657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Key</a:t>
                      </a:r>
                      <a:r>
                        <a:rPr lang="en-US" altLang="en-US" sz="1050" b="1" kern="1200" baseline="0" dirty="0">
                          <a:solidFill>
                            <a:schemeClr val="bg1"/>
                          </a:solidFill>
                          <a:latin typeface="+mn-lt"/>
                          <a:ea typeface="+mn-ea"/>
                          <a:cs typeface="+mn-cs"/>
                        </a:rPr>
                        <a:t> Observations</a:t>
                      </a:r>
                      <a:endParaRPr lang="en-US" altLang="en-US" sz="1050" b="1" kern="1200" dirty="0">
                        <a:solidFill>
                          <a:schemeClr val="bg1"/>
                        </a:solidFill>
                        <a:latin typeface="+mn-lt"/>
                        <a:ea typeface="+mn-ea"/>
                        <a:cs typeface="+mn-cs"/>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Business Implica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432000">
                <a:tc>
                  <a:txBody>
                    <a:bodyPr/>
                    <a:lstStyle/>
                    <a:p>
                      <a:pPr algn="l"/>
                      <a:r>
                        <a:rPr kumimoji="0" lang="en-US" sz="1050" b="1" i="0" u="none" strike="noStrike" kern="1200" cap="none" spc="0" normalizeH="0" baseline="0" noProof="0" dirty="0">
                          <a:ln>
                            <a:noFill/>
                          </a:ln>
                          <a:solidFill>
                            <a:prstClr val="white"/>
                          </a:solidFill>
                          <a:effectLst/>
                          <a:uLnTx/>
                          <a:uFillTx/>
                          <a:latin typeface="+mn-lt"/>
                          <a:ea typeface="+mn-ea"/>
                          <a:cs typeface="Arial" pitchFamily="34" charset="0"/>
                        </a:rPr>
                        <a:t>Design Methodology</a:t>
                      </a:r>
                      <a:endParaRPr lang="en-US" sz="1050" b="1" dirty="0">
                        <a:solidFill>
                          <a:schemeClr val="bg1"/>
                        </a:solidFill>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dirty="0">
                          <a:solidFill>
                            <a:schemeClr val="tx1"/>
                          </a:solidFill>
                        </a:rPr>
                        <a:t>There are 3D models and 2D models, but 2D is the master and 3D is just reference information.</a:t>
                      </a:r>
                      <a:r>
                        <a:rPr lang="ja-JP" altLang="en-US" sz="1050" b="0" dirty="0">
                          <a:solidFill>
                            <a:schemeClr val="tx1"/>
                          </a:solidFill>
                        </a:rPr>
                        <a:t>（</a:t>
                      </a:r>
                      <a:r>
                        <a:rPr lang="en-US" altLang="ja-JP" sz="1050" b="0" dirty="0">
                          <a:solidFill>
                            <a:schemeClr val="tx1"/>
                          </a:solidFill>
                        </a:rPr>
                        <a:t>MSBU</a:t>
                      </a:r>
                      <a:r>
                        <a:rPr lang="ja-JP" altLang="en-US" sz="1050" b="0" dirty="0">
                          <a:solidFill>
                            <a:schemeClr val="tx1"/>
                          </a:solidFill>
                        </a:rPr>
                        <a:t>・</a:t>
                      </a:r>
                      <a:r>
                        <a:rPr lang="en-US" altLang="ja-JP" sz="1050" b="0" dirty="0">
                          <a:solidFill>
                            <a:schemeClr val="tx1"/>
                          </a:solidFill>
                        </a:rPr>
                        <a:t>PSBU</a:t>
                      </a:r>
                      <a:r>
                        <a:rPr lang="ja-JP" altLang="en-US" sz="1050" b="0" dirty="0">
                          <a:solidFill>
                            <a:schemeClr val="tx1"/>
                          </a:solidFill>
                        </a:rPr>
                        <a:t>）</a:t>
                      </a:r>
                      <a:endParaRPr lang="en-US" altLang="ja-JP" sz="1050" b="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b="0" dirty="0">
                          <a:solidFill>
                            <a:schemeClr val="tx1"/>
                          </a:solidFill>
                        </a:rPr>
                        <a:t>Want to be High Advance to increase the density of customer contact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432000">
                <a:tc>
                  <a:txBody>
                    <a:bodyPr/>
                    <a:lstStyle/>
                    <a:p>
                      <a:pPr algn="l"/>
                      <a:r>
                        <a:rPr lang="en-US" sz="1050" b="1" dirty="0">
                          <a:solidFill>
                            <a:schemeClr val="bg1"/>
                          </a:solidFill>
                        </a:rPr>
                        <a:t>Integrated Design Tool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Although there is a flow to confirm simulation by DR, the procedure of simulation is not standardized. It is necessary to ask the engineer about the result and proces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b="0" dirty="0">
                          <a:solidFill>
                            <a:schemeClr val="tx1"/>
                          </a:solidFill>
                        </a:rPr>
                        <a:t>Want to share Design result to downstream process as High Advance.</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mn-lt"/>
                          <a:ea typeface="+mn-ea"/>
                          <a:cs typeface="Arial" pitchFamily="34" charset="0"/>
                        </a:rPr>
                        <a:t>Validation and Verific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b="0" baseline="0" dirty="0">
                          <a:solidFill>
                            <a:schemeClr val="tx1"/>
                          </a:solidFill>
                        </a:rPr>
                        <a:t>Although we are checking the validity, there may be cases where the functionality is lacking. In particular, confirmation of manufacturability and assembly may be delayed. The current situation is finding manufacturing requirements based on experience. It should include the process of trial production examination time</a:t>
                      </a:r>
                      <a:r>
                        <a:rPr lang="ja-JP" altLang="en-US" sz="1050" b="0" baseline="0" dirty="0">
                          <a:solidFill>
                            <a:schemeClr val="tx1"/>
                          </a:solidFill>
                        </a:rPr>
                        <a:t>（</a:t>
                      </a:r>
                      <a:r>
                        <a:rPr lang="en-US" altLang="ja-JP" sz="1050" b="0" baseline="0" dirty="0">
                          <a:solidFill>
                            <a:schemeClr val="tx1"/>
                          </a:solidFill>
                        </a:rPr>
                        <a:t>MSBU</a:t>
                      </a:r>
                      <a:r>
                        <a:rPr lang="ja-JP" altLang="en-US" sz="1050" b="0" baseline="0" dirty="0">
                          <a:solidFill>
                            <a:schemeClr val="tx1"/>
                          </a:solidFill>
                        </a:rPr>
                        <a:t>）</a:t>
                      </a:r>
                      <a:endParaRPr lang="en-US" altLang="ja-JP"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Want to do as much verification as possible with CAD.</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0" normalizeH="0" baseline="0" noProof="0" dirty="0">
                          <a:ln>
                            <a:noFill/>
                          </a:ln>
                          <a:solidFill>
                            <a:prstClr val="white"/>
                          </a:solidFill>
                          <a:effectLst/>
                          <a:uLnTx/>
                          <a:uFillTx/>
                          <a:latin typeface="+mn-lt"/>
                          <a:ea typeface="+mn-ea"/>
                          <a:cs typeface="+mn-cs"/>
                        </a:rPr>
                        <a:t>Integration and Traceability</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dirty="0"/>
                        <a:t>ECTR provides a limited view of the impact of changes, but not all can be visualized.</a:t>
                      </a:r>
                      <a:r>
                        <a:rPr lang="ja-JP" altLang="en-US" sz="1050" b="0" dirty="0"/>
                        <a:t>（</a:t>
                      </a:r>
                      <a:r>
                        <a:rPr lang="en-US" altLang="ja-JP" sz="1050" b="0" dirty="0"/>
                        <a:t>PSBU</a:t>
                      </a:r>
                      <a:r>
                        <a:rPr lang="ja-JP" altLang="en-US" sz="1050" b="0" dirty="0"/>
                        <a:t>）</a:t>
                      </a:r>
                      <a:endParaRPr lang="en-US" altLang="ja-JP" sz="1050" b="0" dirty="0"/>
                    </a:p>
                    <a:p>
                      <a:pPr marL="171450" indent="-171450">
                        <a:lnSpc>
                          <a:spcPct val="100000"/>
                        </a:lnSpc>
                        <a:spcBef>
                          <a:spcPts val="0"/>
                        </a:spcBef>
                        <a:buFont typeface="Arial" panose="020B0604020202020204" pitchFamily="34" charset="0"/>
                        <a:buChar char="•"/>
                      </a:pPr>
                      <a:r>
                        <a:rPr lang="en-US" altLang="ja-JP" sz="1050" b="0" dirty="0"/>
                        <a:t>All information related to ECTR is not stored.</a:t>
                      </a:r>
                      <a:r>
                        <a:rPr lang="ja-JP" altLang="en-US" sz="1050" b="0" dirty="0"/>
                        <a:t>（</a:t>
                      </a:r>
                      <a:r>
                        <a:rPr lang="en-US" altLang="ja-JP" sz="1050" b="0" dirty="0"/>
                        <a:t>MSBU</a:t>
                      </a:r>
                      <a:r>
                        <a:rPr lang="ja-JP" altLang="en-US" sz="1050" b="0" dirty="0"/>
                        <a:t>）</a:t>
                      </a:r>
                      <a:endParaRPr lang="en-US" sz="1050" b="0" dirty="0"/>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Not much demand from customers about traceability.</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96658287"/>
                  </a:ext>
                </a:extLst>
              </a:tr>
              <a:tr h="432000">
                <a:tc>
                  <a:txBody>
                    <a:bodyPr/>
                    <a:lstStyle/>
                    <a:p>
                      <a:pPr algn="l"/>
                      <a:r>
                        <a:rPr lang="en-US" sz="1050" b="1" dirty="0">
                          <a:solidFill>
                            <a:schemeClr val="bg1"/>
                          </a:solidFill>
                        </a:rPr>
                        <a:t>Release and Governance</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echnical information is not stored in ECTR, but may be stored only in Email and local folders. Therefore, it takes time to search for information.</a:t>
                      </a:r>
                    </a:p>
                    <a:p>
                      <a:pPr marL="171450" indent="-171450">
                        <a:lnSpc>
                          <a:spcPct val="100000"/>
                        </a:lnSpc>
                        <a:spcBef>
                          <a:spcPts val="0"/>
                        </a:spcBef>
                        <a:buFont typeface="Arial" panose="020B0604020202020204" pitchFamily="34" charset="0"/>
                        <a:buChar char="•"/>
                      </a:pPr>
                      <a:endParaRPr lang="en-US" altLang="ja-JP"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Want to manage master data as High Advance, but in practice it is difficult due to time constraints. Flexibility is required according to the customer.</a:t>
                      </a:r>
                    </a:p>
                    <a:p>
                      <a:pPr marL="171450" indent="-171450">
                        <a:lnSpc>
                          <a:spcPct val="100000"/>
                        </a:lnSpc>
                        <a:spcBef>
                          <a:spcPts val="0"/>
                        </a:spcBef>
                        <a:buFont typeface="Arial" panose="020B0604020202020204" pitchFamily="34" charset="0"/>
                        <a:buChar char="•"/>
                      </a:pPr>
                      <a:r>
                        <a:rPr lang="en-US" sz="1050" b="0" baseline="0" dirty="0">
                          <a:solidFill>
                            <a:schemeClr val="tx1"/>
                          </a:solidFill>
                        </a:rPr>
                        <a:t>If 3D data standard operation is assumed, the priority is not so high.</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3551714"/>
                  </a:ext>
                </a:extLst>
              </a:tr>
              <a:tr h="432000">
                <a:tc>
                  <a:txBody>
                    <a:bodyPr/>
                    <a:lstStyle/>
                    <a:p>
                      <a:pPr algn="l"/>
                      <a:r>
                        <a:rPr lang="en-US" sz="1050" b="1" dirty="0">
                          <a:solidFill>
                            <a:schemeClr val="bg1"/>
                          </a:solidFill>
                        </a:rPr>
                        <a:t>Content Mgmt and Collabor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Mostly stored in SharePoint, Email. Even if stored in ECTR, there is no cooperation with CAD.</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Want to centrally manage together with CAD data in ECTR.</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It is difficult to share models between remote oversea bases.</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86354471"/>
                  </a:ext>
                </a:extLst>
              </a:tr>
              <a:tr h="432000">
                <a:tc>
                  <a:txBody>
                    <a:bodyPr/>
                    <a:lstStyle/>
                    <a:p>
                      <a:pPr algn="l"/>
                      <a:r>
                        <a:rPr lang="en-US" sz="1050" b="1" dirty="0">
                          <a:solidFill>
                            <a:schemeClr val="bg1"/>
                          </a:solidFill>
                        </a:rPr>
                        <a:t>Standardization and Reuse</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Reuse is used in part, but diversion to new design is difficult.</a:t>
                      </a:r>
                      <a:r>
                        <a:rPr lang="ja-JP" altLang="en-US" sz="1050" b="0" baseline="0" dirty="0">
                          <a:solidFill>
                            <a:schemeClr val="tx1"/>
                          </a:solidFill>
                        </a:rPr>
                        <a:t>（</a:t>
                      </a:r>
                      <a:r>
                        <a:rPr lang="en-US" altLang="ja-JP" sz="1050" b="0" baseline="0" dirty="0">
                          <a:solidFill>
                            <a:schemeClr val="tx1"/>
                          </a:solidFill>
                        </a:rPr>
                        <a:t>MSBU</a:t>
                      </a:r>
                      <a:r>
                        <a:rPr lang="ja-JP" altLang="en-US" sz="1050" b="0" baseline="0" dirty="0">
                          <a:solidFill>
                            <a:schemeClr val="tx1"/>
                          </a:solidFill>
                        </a:rPr>
                        <a:t>）</a:t>
                      </a:r>
                      <a:endParaRPr lang="en-US" altLang="ja-JP" sz="1050" b="0" baseline="0" dirty="0">
                        <a:solidFill>
                          <a:schemeClr val="tx1"/>
                        </a:solidFill>
                      </a:endParaRP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he need for reuse is high, but standardization has not progressed much.</a:t>
                      </a:r>
                      <a:r>
                        <a:rPr lang="ja-JP" altLang="en-US" sz="1050" b="0" baseline="0" dirty="0">
                          <a:solidFill>
                            <a:schemeClr val="tx1"/>
                          </a:solidFill>
                        </a:rPr>
                        <a:t>（</a:t>
                      </a:r>
                      <a:r>
                        <a:rPr lang="en-US" altLang="ja-JP" sz="1050" b="0" baseline="0" dirty="0">
                          <a:solidFill>
                            <a:schemeClr val="tx1"/>
                          </a:solidFill>
                        </a:rPr>
                        <a:t>PSBU</a:t>
                      </a:r>
                      <a:r>
                        <a:rPr lang="ja-JP" altLang="en-US" sz="1050" b="0" baseline="0" dirty="0">
                          <a:solidFill>
                            <a:schemeClr val="tx1"/>
                          </a:solidFill>
                        </a:rPr>
                        <a:t>）</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For general products, it is necessary to utilize template models.</a:t>
                      </a:r>
                      <a:r>
                        <a:rPr lang="ja-JP" altLang="en-US" sz="1050" b="0" baseline="0" dirty="0">
                          <a:solidFill>
                            <a:schemeClr val="tx1"/>
                          </a:solidFill>
                        </a:rPr>
                        <a:t>（</a:t>
                      </a:r>
                      <a:r>
                        <a:rPr lang="en-US" altLang="ja-JP" sz="1050" b="0" baseline="0" dirty="0">
                          <a:solidFill>
                            <a:schemeClr val="tx1"/>
                          </a:solidFill>
                        </a:rPr>
                        <a:t>PSBU</a:t>
                      </a:r>
                      <a:r>
                        <a:rPr lang="ja-JP" altLang="en-US" sz="1050" b="0" baseline="0" dirty="0">
                          <a:solidFill>
                            <a:schemeClr val="tx1"/>
                          </a:solidFill>
                        </a:rPr>
                        <a:t>）</a:t>
                      </a:r>
                      <a:endParaRPr lang="en-US" altLang="ja-JP" sz="1050" b="0" baseline="0" dirty="0">
                        <a:solidFill>
                          <a:schemeClr val="tx1"/>
                        </a:solidFill>
                      </a:endParaRP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Because there are many custom products, standardization is not very important.</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46147242"/>
                  </a:ext>
                </a:extLst>
              </a:tr>
              <a:tr h="432000">
                <a:tc>
                  <a:txBody>
                    <a:bodyPr/>
                    <a:lstStyle/>
                    <a:p>
                      <a:pPr algn="l"/>
                      <a:r>
                        <a:rPr lang="en-US" sz="1050" b="1" dirty="0">
                          <a:solidFill>
                            <a:schemeClr val="bg1"/>
                          </a:solidFill>
                        </a:rPr>
                        <a:t>Revision/ Version Control</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here are cases where design is shared by email, and version control is not possible.</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b="0" baseline="0" dirty="0">
                          <a:solidFill>
                            <a:schemeClr val="tx1"/>
                          </a:solidFill>
                        </a:rPr>
                        <a:t>Thorough version control is necessary.</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9054611"/>
                  </a:ext>
                </a:extLst>
              </a:tr>
            </a:tbl>
          </a:graphicData>
        </a:graphic>
      </p:graphicFrame>
      <p:sp>
        <p:nvSpPr>
          <p:cNvPr id="4" name="Title 3">
            <a:extLst>
              <a:ext uri="{FF2B5EF4-FFF2-40B4-BE49-F238E27FC236}">
                <a16:creationId xmlns:a16="http://schemas.microsoft.com/office/drawing/2014/main" id="{026705D2-9A1E-4A1F-80F4-6BC1AE8E4025}"/>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lvl="0" defTabSz="914400">
              <a:defRPr/>
            </a:pPr>
            <a:r>
              <a:rPr lang="en-US" sz="2400" b="1" dirty="0">
                <a:solidFill>
                  <a:prstClr val="black"/>
                </a:solidFill>
              </a:rPr>
              <a:t>Design (CAD) Management and Collaboration</a:t>
            </a:r>
          </a:p>
        </p:txBody>
      </p:sp>
    </p:spTree>
    <p:extLst>
      <p:ext uri="{BB962C8B-B14F-4D97-AF65-F5344CB8AC3E}">
        <p14:creationId xmlns:p14="http://schemas.microsoft.com/office/powerpoint/2010/main" val="23192532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61BC528-253D-4A5A-8FE5-A71F116A51D0}"/>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lnSpc>
                <a:spcPct val="70000"/>
              </a:lnSpc>
              <a:spcBef>
                <a:spcPct val="0"/>
              </a:spcBef>
              <a:buNone/>
              <a:defRPr sz="2000" kern="1200">
                <a:solidFill>
                  <a:schemeClr val="tx1"/>
                </a:solidFill>
                <a:latin typeface="+mj-lt"/>
                <a:ea typeface="+mj-ea"/>
                <a:cs typeface="+mj-cs"/>
              </a:defRPr>
            </a:lvl1pPr>
          </a:lstStyle>
          <a:p>
            <a:r>
              <a:rPr lang="en-US" sz="2400" b="1" dirty="0"/>
              <a:t>Digital Development CMM Update (2/2) </a:t>
            </a:r>
            <a:br>
              <a:rPr lang="en-US" sz="2400" b="1" dirty="0"/>
            </a:br>
            <a:endParaRPr lang="en-US" sz="2400" b="1" dirty="0"/>
          </a:p>
        </p:txBody>
      </p:sp>
      <p:pic>
        <p:nvPicPr>
          <p:cNvPr id="3" name="図 2"/>
          <p:cNvPicPr preferRelativeResize="0">
            <a:picLocks/>
          </p:cNvPicPr>
          <p:nvPr/>
        </p:nvPicPr>
        <p:blipFill>
          <a:blip r:embed="rId2"/>
          <a:stretch>
            <a:fillRect/>
          </a:stretch>
        </p:blipFill>
        <p:spPr>
          <a:xfrm>
            <a:off x="187389" y="2107977"/>
            <a:ext cx="5267206" cy="3547872"/>
          </a:xfrm>
          <a:prstGeom prst="rect">
            <a:avLst/>
          </a:prstGeom>
        </p:spPr>
      </p:pic>
      <p:sp>
        <p:nvSpPr>
          <p:cNvPr id="8" name="Text Placeholder 3">
            <a:extLst>
              <a:ext uri="{FF2B5EF4-FFF2-40B4-BE49-F238E27FC236}">
                <a16:creationId xmlns:a16="http://schemas.microsoft.com/office/drawing/2014/main" id="{581DEEDD-FD6B-4FF8-8BA5-47BF4CE3F000}"/>
              </a:ext>
            </a:extLst>
          </p:cNvPr>
          <p:cNvSpPr txBox="1">
            <a:spLocks/>
          </p:cNvSpPr>
          <p:nvPr/>
        </p:nvSpPr>
        <p:spPr>
          <a:xfrm>
            <a:off x="5263763" y="1655634"/>
            <a:ext cx="6582499" cy="4450966"/>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accent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accent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accent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accent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81BC00"/>
              </a:buClr>
              <a:buSzPct val="75000"/>
              <a:buFont typeface="Arial" panose="020B0604020202020204" pitchFamily="34" charset="0"/>
              <a:buNone/>
              <a:tabLst/>
              <a:defRPr/>
            </a:pPr>
            <a:r>
              <a:rPr kumimoji="0" lang="en-US" sz="1400" b="1" i="0" u="sng" strike="noStrike" kern="1200" cap="none" spc="0" normalizeH="0" baseline="0" noProof="0" dirty="0">
                <a:ln>
                  <a:noFill/>
                </a:ln>
                <a:solidFill>
                  <a:srgbClr val="FF0000"/>
                </a:solidFill>
                <a:effectLst/>
                <a:uLnTx/>
                <a:uFillTx/>
                <a:latin typeface="Frutiger Next Pro Light"/>
                <a:ea typeface="+mn-ea"/>
                <a:cs typeface="+mn-cs"/>
              </a:rPr>
              <a:t>Preliminary Findings</a:t>
            </a:r>
            <a:endParaRPr lang="en-US" altLang="ja-JP" sz="1200" dirty="0">
              <a:solidFill>
                <a:schemeClr val="tx1"/>
              </a:solidFill>
              <a:latin typeface="Frutiger Next Pro Light"/>
            </a:endParaRPr>
          </a:p>
          <a:p>
            <a:pPr lvl="0">
              <a:spcBef>
                <a:spcPts val="600"/>
              </a:spcBef>
              <a:buClr>
                <a:srgbClr val="81BC00"/>
              </a:buClr>
              <a:defRPr/>
            </a:pPr>
            <a:r>
              <a:rPr lang="en-US" sz="1400" i="1" dirty="0">
                <a:solidFill>
                  <a:schemeClr val="tx1"/>
                </a:solidFill>
                <a:latin typeface="Frutiger Next Pro Light"/>
              </a:rPr>
              <a:t>BOM / Design Mgmt.- </a:t>
            </a:r>
            <a:r>
              <a:rPr lang="en-US" sz="1200" dirty="0">
                <a:solidFill>
                  <a:schemeClr val="tx1"/>
                </a:solidFill>
                <a:latin typeface="Frutiger Next Pro Light"/>
              </a:rPr>
              <a:t>Lack of design collaboration and connected product data </a:t>
            </a:r>
            <a:r>
              <a:rPr lang="en-US" sz="1200" b="1" dirty="0">
                <a:solidFill>
                  <a:schemeClr val="tx1"/>
                </a:solidFill>
                <a:latin typeface="Frutiger Next Pro Light"/>
              </a:rPr>
              <a:t>limits the speed and effectiveness of design</a:t>
            </a:r>
            <a:r>
              <a:rPr lang="en-US" sz="1200" dirty="0">
                <a:solidFill>
                  <a:schemeClr val="tx1"/>
                </a:solidFill>
                <a:latin typeface="Frutiger Next Pro Light"/>
              </a:rPr>
              <a:t>; as long as the </a:t>
            </a:r>
            <a:r>
              <a:rPr lang="en-US" sz="1200" b="1" dirty="0">
                <a:solidFill>
                  <a:schemeClr val="tx1"/>
                </a:solidFill>
                <a:latin typeface="Frutiger Next Pro Light"/>
              </a:rPr>
              <a:t>drawing remains the master </a:t>
            </a:r>
            <a:r>
              <a:rPr lang="en-US" sz="1200" dirty="0">
                <a:solidFill>
                  <a:schemeClr val="tx1"/>
                </a:solidFill>
                <a:latin typeface="Frutiger Next Pro Light"/>
              </a:rPr>
              <a:t>Molex will be </a:t>
            </a:r>
            <a:r>
              <a:rPr lang="en-US" sz="1200" b="1" dirty="0">
                <a:solidFill>
                  <a:schemeClr val="tx1"/>
                </a:solidFill>
                <a:latin typeface="Frutiger Next Pro Light"/>
              </a:rPr>
              <a:t>unable to digitally transform</a:t>
            </a:r>
          </a:p>
          <a:p>
            <a:pPr lvl="0">
              <a:spcBef>
                <a:spcPts val="600"/>
              </a:spcBef>
              <a:buClr>
                <a:srgbClr val="81BC00"/>
              </a:buClr>
              <a:defRPr/>
            </a:pPr>
            <a:r>
              <a:rPr lang="en-US" sz="1400" i="1" dirty="0">
                <a:solidFill>
                  <a:schemeClr val="tx1"/>
                </a:solidFill>
                <a:latin typeface="Frutiger Next Pro Light"/>
              </a:rPr>
              <a:t>Product Cost Management </a:t>
            </a:r>
            <a:r>
              <a:rPr lang="en-US" sz="1200" dirty="0">
                <a:solidFill>
                  <a:schemeClr val="tx1"/>
                </a:solidFill>
                <a:latin typeface="Frutiger Next Pro Light"/>
              </a:rPr>
              <a:t>– Mistakes in cost mgmt. have </a:t>
            </a:r>
            <a:r>
              <a:rPr lang="en-US" sz="1200" b="1" dirty="0">
                <a:solidFill>
                  <a:schemeClr val="tx1"/>
                </a:solidFill>
                <a:latin typeface="Frutiger Next Pro Light"/>
              </a:rPr>
              <a:t>large ramifications around selecting projects with low or negative margins and forcing large re-design efforts </a:t>
            </a:r>
            <a:r>
              <a:rPr lang="en-US" sz="1200" dirty="0">
                <a:solidFill>
                  <a:schemeClr val="tx1"/>
                </a:solidFill>
                <a:latin typeface="Frutiger Next Pro Light"/>
              </a:rPr>
              <a:t>to fix the product; design for function is always prioritized over cost. Selection of profitable projects and cycle time can be </a:t>
            </a:r>
            <a:r>
              <a:rPr lang="en-US" sz="1200" b="1" dirty="0">
                <a:solidFill>
                  <a:schemeClr val="tx1"/>
                </a:solidFill>
                <a:latin typeface="Frutiger Next Pro Light"/>
              </a:rPr>
              <a:t>greatly improved through access to accurate / real-time cost data</a:t>
            </a:r>
          </a:p>
          <a:p>
            <a:pPr>
              <a:spcBef>
                <a:spcPts val="600"/>
              </a:spcBef>
              <a:buClr>
                <a:srgbClr val="81BC00"/>
              </a:buClr>
              <a:defRPr/>
            </a:pPr>
            <a:r>
              <a:rPr lang="en-US" sz="1400" i="1" dirty="0">
                <a:solidFill>
                  <a:schemeClr val="tx1"/>
                </a:solidFill>
                <a:latin typeface="Frutiger Next Pro Light"/>
              </a:rPr>
              <a:t>Development Collaboration </a:t>
            </a:r>
            <a:r>
              <a:rPr lang="en-US" sz="1200" dirty="0">
                <a:solidFill>
                  <a:schemeClr val="tx1"/>
                </a:solidFill>
                <a:latin typeface="Frutiger Next Pro Light"/>
              </a:rPr>
              <a:t>– </a:t>
            </a:r>
            <a:r>
              <a:rPr lang="en-US" sz="1200" b="1" dirty="0">
                <a:solidFill>
                  <a:schemeClr val="tx1"/>
                </a:solidFill>
                <a:latin typeface="Frutiger Next Pro Light"/>
              </a:rPr>
              <a:t>Lack of enterprise strategy limits the overall effectives </a:t>
            </a:r>
            <a:r>
              <a:rPr lang="en-US" sz="1200" dirty="0">
                <a:solidFill>
                  <a:schemeClr val="tx1"/>
                </a:solidFill>
                <a:latin typeface="Frutiger Next Pro Light"/>
              </a:rPr>
              <a:t>of outsourcing, contracting, &amp; partnerships. Viewing relationships as more of </a:t>
            </a:r>
            <a:r>
              <a:rPr lang="en-US" sz="1200" b="1" dirty="0">
                <a:solidFill>
                  <a:schemeClr val="tx1"/>
                </a:solidFill>
                <a:latin typeface="Frutiger Next Pro Light"/>
              </a:rPr>
              <a:t>a partnership will increase efficiency and allow Molex to focus on core competencies </a:t>
            </a:r>
            <a:endParaRPr lang="en-US" altLang="ja-JP" sz="1200" b="1" dirty="0">
              <a:solidFill>
                <a:schemeClr val="tx1"/>
              </a:solidFill>
              <a:latin typeface="Frutiger Next Pro Light"/>
            </a:endParaRPr>
          </a:p>
          <a:p>
            <a:pPr lvl="0">
              <a:spcBef>
                <a:spcPts val="600"/>
              </a:spcBef>
              <a:buClr>
                <a:srgbClr val="81BC00"/>
              </a:buClr>
              <a:defRPr/>
            </a:pPr>
            <a:r>
              <a:rPr lang="en-US" sz="1400" i="1" dirty="0">
                <a:solidFill>
                  <a:schemeClr val="tx1"/>
                </a:solidFill>
                <a:latin typeface="Frutiger Next Pro Light"/>
              </a:rPr>
              <a:t>Product Quality Mgmt</a:t>
            </a:r>
            <a:r>
              <a:rPr lang="en-US" sz="1200" dirty="0">
                <a:solidFill>
                  <a:schemeClr val="tx1"/>
                </a:solidFill>
                <a:latin typeface="Frutiger Next Pro Light"/>
              </a:rPr>
              <a:t>. – </a:t>
            </a:r>
            <a:r>
              <a:rPr lang="en-US" sz="1200" b="1" dirty="0">
                <a:solidFill>
                  <a:schemeClr val="tx1"/>
                </a:solidFill>
                <a:latin typeface="Frutiger Next Pro Light"/>
              </a:rPr>
              <a:t>Tradeoff between speed to market and a zero-defect methodology </a:t>
            </a:r>
            <a:r>
              <a:rPr lang="en-US" sz="1200" dirty="0">
                <a:solidFill>
                  <a:schemeClr val="tx1"/>
                </a:solidFill>
                <a:latin typeface="Frutiger Next Pro Light"/>
              </a:rPr>
              <a:t>is a constant struggle, finding the optimal risk tolerance is critical. </a:t>
            </a:r>
            <a:r>
              <a:rPr lang="en-US" sz="1200" b="1" dirty="0">
                <a:solidFill>
                  <a:schemeClr val="tx1"/>
                </a:solidFill>
                <a:latin typeface="Frutiger Next Pro Light"/>
              </a:rPr>
              <a:t>Siloed data and knowledge between Design Center and Plants </a:t>
            </a:r>
            <a:r>
              <a:rPr lang="en-US" sz="1200" dirty="0">
                <a:solidFill>
                  <a:schemeClr val="tx1"/>
                </a:solidFill>
                <a:latin typeface="Frutiger Next Pro Light"/>
              </a:rPr>
              <a:t>limits quality feedback into new designs</a:t>
            </a:r>
            <a:endParaRPr lang="en-US" sz="1200" b="1" dirty="0">
              <a:solidFill>
                <a:schemeClr val="tx1"/>
              </a:solidFill>
              <a:latin typeface="Frutiger Next Pro Light"/>
            </a:endParaRPr>
          </a:p>
          <a:p>
            <a:pPr lvl="0">
              <a:spcBef>
                <a:spcPts val="600"/>
              </a:spcBef>
              <a:buClr>
                <a:srgbClr val="81BC00"/>
              </a:buClr>
              <a:defRPr/>
            </a:pPr>
            <a:r>
              <a:rPr lang="en-US" sz="1400" i="1" dirty="0">
                <a:solidFill>
                  <a:schemeClr val="tx1"/>
                </a:solidFill>
                <a:latin typeface="Frutiger Next Pro Light"/>
              </a:rPr>
              <a:t>Digital Product Development </a:t>
            </a:r>
            <a:r>
              <a:rPr lang="en-US" sz="1200" dirty="0">
                <a:solidFill>
                  <a:schemeClr val="tx1"/>
                </a:solidFill>
                <a:latin typeface="Frutiger Next Pro Light"/>
              </a:rPr>
              <a:t>– </a:t>
            </a:r>
            <a:r>
              <a:rPr lang="en-US" sz="1200" b="1" dirty="0">
                <a:solidFill>
                  <a:schemeClr val="tx1"/>
                </a:solidFill>
                <a:latin typeface="Frutiger Next Pro Light"/>
              </a:rPr>
              <a:t>Data silos / lack of connected product data is the largest limiting factor</a:t>
            </a:r>
            <a:r>
              <a:rPr lang="en-US" sz="1200" dirty="0">
                <a:solidFill>
                  <a:schemeClr val="tx1"/>
                </a:solidFill>
                <a:latin typeface="Frutiger Next Pro Light"/>
              </a:rPr>
              <a:t> in allowing the enterprise to pilot / incorporate digital capabilities into the product development cycle. Molex`s guiding principal for digital capabilities is around</a:t>
            </a:r>
            <a:r>
              <a:rPr lang="en-US" sz="1200" b="1" dirty="0">
                <a:solidFill>
                  <a:schemeClr val="tx1"/>
                </a:solidFill>
                <a:latin typeface="Frutiger Next Pro Light"/>
              </a:rPr>
              <a:t> `speed of getting it right`</a:t>
            </a:r>
          </a:p>
          <a:p>
            <a:pPr lvl="0">
              <a:spcBef>
                <a:spcPts val="600"/>
              </a:spcBef>
              <a:buClr>
                <a:srgbClr val="81BC00"/>
              </a:buClr>
              <a:defRPr/>
            </a:pPr>
            <a:r>
              <a:rPr lang="en-US" altLang="ja-JP" sz="1400" i="1" dirty="0">
                <a:solidFill>
                  <a:schemeClr val="tx1"/>
                </a:solidFill>
                <a:latin typeface="Frutiger Next Pro Light"/>
              </a:rPr>
              <a:t>R&amp;D Talent &amp; Organization </a:t>
            </a:r>
            <a:r>
              <a:rPr lang="en-US" altLang="ja-JP" sz="1200" b="1" dirty="0">
                <a:solidFill>
                  <a:schemeClr val="tx1"/>
                </a:solidFill>
                <a:latin typeface="Frutiger Next Pro Light"/>
              </a:rPr>
              <a:t>– </a:t>
            </a:r>
            <a:r>
              <a:rPr lang="en-US" altLang="ja-JP" sz="1200" dirty="0">
                <a:solidFill>
                  <a:schemeClr val="tx1"/>
                </a:solidFill>
                <a:latin typeface="Frutiger Next Pro Light"/>
              </a:rPr>
              <a:t>Lack of strong brand / household name causes </a:t>
            </a:r>
            <a:r>
              <a:rPr lang="en-US" altLang="ja-JP" sz="1200" b="1" dirty="0">
                <a:solidFill>
                  <a:schemeClr val="tx1"/>
                </a:solidFill>
                <a:latin typeface="Frutiger Next Pro Light"/>
              </a:rPr>
              <a:t>issues around recruiting top-tier talent </a:t>
            </a:r>
            <a:r>
              <a:rPr lang="en-US" altLang="ja-JP" sz="1200" dirty="0">
                <a:solidFill>
                  <a:schemeClr val="tx1"/>
                </a:solidFill>
                <a:latin typeface="Frutiger Next Pro Light"/>
              </a:rPr>
              <a:t>but once talent is acquired retaining is not an issue. </a:t>
            </a:r>
            <a:r>
              <a:rPr lang="en-US" altLang="ja-JP" sz="1200" b="1" dirty="0">
                <a:solidFill>
                  <a:schemeClr val="tx1"/>
                </a:solidFill>
                <a:latin typeface="Frutiger Next Pro Light"/>
              </a:rPr>
              <a:t>Through increased investment in knowledge mgmt. and learning / development </a:t>
            </a:r>
            <a:r>
              <a:rPr lang="en-US" altLang="ja-JP" sz="1200" dirty="0">
                <a:solidFill>
                  <a:schemeClr val="tx1"/>
                </a:solidFill>
                <a:latin typeface="Frutiger Next Pro Light"/>
              </a:rPr>
              <a:t>Molex can greatly increase public perception as </a:t>
            </a:r>
            <a:r>
              <a:rPr lang="en-US" altLang="ja-JP" sz="1200" b="1" dirty="0">
                <a:solidFill>
                  <a:schemeClr val="tx1"/>
                </a:solidFill>
                <a:latin typeface="Frutiger Next Pro Light"/>
              </a:rPr>
              <a:t>a place to develop top-tier engineering talent</a:t>
            </a:r>
            <a:endParaRPr kumimoji="0" lang="en-US" sz="1400" b="1" i="0" u="none" strike="noStrike" kern="1200" cap="none" spc="0" normalizeH="0" baseline="0" noProof="0" dirty="0">
              <a:ln>
                <a:noFill/>
              </a:ln>
              <a:solidFill>
                <a:srgbClr val="000000"/>
              </a:solidFill>
              <a:effectLst/>
              <a:uLnTx/>
              <a:uFillTx/>
              <a:latin typeface="Frutiger Next Pro Light"/>
              <a:ea typeface="+mn-ea"/>
              <a:cs typeface="+mn-cs"/>
            </a:endParaRPr>
          </a:p>
        </p:txBody>
      </p:sp>
      <p:sp>
        <p:nvSpPr>
          <p:cNvPr id="10" name="Text Placeholder 2">
            <a:extLst>
              <a:ext uri="{FF2B5EF4-FFF2-40B4-BE49-F238E27FC236}">
                <a16:creationId xmlns:a16="http://schemas.microsoft.com/office/drawing/2014/main" id="{D86303E7-9FE2-4A6D-8EB2-965429E9A23D}"/>
              </a:ext>
            </a:extLst>
          </p:cNvPr>
          <p:cNvSpPr>
            <a:spLocks noGrp="1"/>
          </p:cNvSpPr>
          <p:nvPr>
            <p:ph type="body" sz="quarter" idx="14"/>
          </p:nvPr>
        </p:nvSpPr>
        <p:spPr>
          <a:xfrm>
            <a:off x="537555" y="684671"/>
            <a:ext cx="11308707" cy="647700"/>
          </a:xfrm>
        </p:spPr>
        <p:txBody>
          <a:bodyPr/>
          <a:lstStyle/>
          <a:p>
            <a:r>
              <a:rPr lang="en-US" dirty="0">
                <a:solidFill>
                  <a:schemeClr val="tx1"/>
                </a:solidFill>
              </a:rPr>
              <a:t>Japan CCS had very similar results to other BUs; highly dependent on tribal knowledge yet through extraordinary effort able to overcome non-optimal enablers</a:t>
            </a:r>
          </a:p>
        </p:txBody>
      </p:sp>
    </p:spTree>
    <p:extLst>
      <p:ext uri="{BB962C8B-B14F-4D97-AF65-F5344CB8AC3E}">
        <p14:creationId xmlns:p14="http://schemas.microsoft.com/office/powerpoint/2010/main" val="13132882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en-US" dirty="0"/>
              <a:t>Current-State Capability </a:t>
            </a:r>
            <a:r>
              <a:rPr lang="en-US" altLang="ja-JP" dirty="0"/>
              <a:t>Product Quality</a:t>
            </a:r>
            <a:r>
              <a:rPr lang="en-US" dirty="0"/>
              <a:t> Management</a:t>
            </a:r>
          </a:p>
        </p:txBody>
      </p:sp>
      <p:sp>
        <p:nvSpPr>
          <p:cNvPr id="7" name="Rectangle 6">
            <a:extLst>
              <a:ext uri="{FF2B5EF4-FFF2-40B4-BE49-F238E27FC236}">
                <a16:creationId xmlns:a16="http://schemas.microsoft.com/office/drawing/2014/main" id="{1617907B-D8E2-4123-ACEC-F245D7D4077D}"/>
              </a:ext>
            </a:extLst>
          </p:cNvPr>
          <p:cNvSpPr>
            <a:spLocks noChangeArrowheads="1"/>
          </p:cNvSpPr>
          <p:nvPr/>
        </p:nvSpPr>
        <p:spPr bwMode="gray">
          <a:xfrm>
            <a:off x="1171163" y="1339966"/>
            <a:ext cx="3085363" cy="215444"/>
          </a:xfrm>
          <a:prstGeom prst="rect">
            <a:avLst/>
          </a:prstGeom>
          <a:solidFill>
            <a:schemeClr val="bg1"/>
          </a:solidFill>
          <a:ln w="12700" cap="rnd" algn="ctr">
            <a:noFill/>
            <a:miter lim="800000"/>
            <a:headEnd/>
            <a:tailEnd/>
          </a:ln>
        </p:spPr>
        <p:txBody>
          <a:bodyPr wrap="square" lIns="71966" tIns="0" rIns="71966" bIns="0" anchor="ctr" anchorCtr="1">
            <a:spAutoFit/>
          </a:bodyPr>
          <a:lstStyle/>
          <a:p>
            <a:pPr defTabSz="913961" fontAlgn="base">
              <a:spcBef>
                <a:spcPct val="20000"/>
              </a:spcBef>
              <a:spcAft>
                <a:spcPct val="0"/>
              </a:spcAft>
            </a:pPr>
            <a:r>
              <a:rPr lang="en-US" sz="1400" b="1" dirty="0">
                <a:solidFill>
                  <a:srgbClr val="92D400"/>
                </a:solidFill>
                <a:latin typeface="+mj-lt"/>
                <a:cs typeface="Arial" pitchFamily="34" charset="0"/>
              </a:rPr>
              <a:t>Current State Journey</a:t>
            </a:r>
          </a:p>
        </p:txBody>
      </p:sp>
      <p:pic>
        <p:nvPicPr>
          <p:cNvPr id="8" name="Picture 7">
            <a:extLst>
              <a:ext uri="{FF2B5EF4-FFF2-40B4-BE49-F238E27FC236}">
                <a16:creationId xmlns:a16="http://schemas.microsoft.com/office/drawing/2014/main" id="{F58A16F7-C5FE-4FA0-95B9-317D632AC5C9}"/>
              </a:ext>
            </a:extLst>
          </p:cNvPr>
          <p:cNvPicPr>
            <a:picLocks noChangeAspect="1" noChangeArrowheads="1"/>
          </p:cNvPicPr>
          <p:nvPr/>
        </p:nvPicPr>
        <p:blipFill>
          <a:blip r:embed="rId2">
            <a:lum contrast="22000"/>
            <a:extLst>
              <a:ext uri="{28A0092B-C50C-407E-A947-70E740481C1C}">
                <a14:useLocalDpi xmlns:a14="http://schemas.microsoft.com/office/drawing/2010/main" val="0"/>
              </a:ext>
            </a:extLst>
          </a:blip>
          <a:srcRect/>
          <a:stretch>
            <a:fillRect/>
          </a:stretch>
        </p:blipFill>
        <p:spPr bwMode="auto">
          <a:xfrm>
            <a:off x="1104867" y="1767110"/>
            <a:ext cx="9311976" cy="2749079"/>
          </a:xfrm>
          <a:prstGeom prst="rect">
            <a:avLst/>
          </a:prstGeom>
          <a:solidFill>
            <a:schemeClr val="accent1">
              <a:lumMod val="20000"/>
              <a:lumOff val="80000"/>
            </a:schemeClr>
          </a:solidFill>
          <a:ln>
            <a:noFill/>
          </a:ln>
          <a:effectLst/>
        </p:spPr>
      </p:pic>
      <p:sp>
        <p:nvSpPr>
          <p:cNvPr id="9" name="Rectangle 8">
            <a:extLst>
              <a:ext uri="{FF2B5EF4-FFF2-40B4-BE49-F238E27FC236}">
                <a16:creationId xmlns:a16="http://schemas.microsoft.com/office/drawing/2014/main" id="{7B1A2920-D963-46D7-9BBE-A417E9448C54}"/>
              </a:ext>
            </a:extLst>
          </p:cNvPr>
          <p:cNvSpPr/>
          <p:nvPr/>
        </p:nvSpPr>
        <p:spPr bwMode="invGray">
          <a:xfrm>
            <a:off x="7209730" y="2138718"/>
            <a:ext cx="1354655" cy="230832"/>
          </a:xfrm>
          <a:prstGeom prst="rect">
            <a:avLst/>
          </a:prstGeom>
          <a:scene3d>
            <a:camera prst="orthographicFront">
              <a:rot lat="0" lon="0" rev="0"/>
            </a:camera>
            <a:lightRig rig="threePt" dir="t"/>
          </a:scene3d>
        </p:spPr>
        <p:txBody>
          <a:bodyPr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900" dirty="0">
              <a:solidFill>
                <a:prstClr val="white"/>
              </a:solidFill>
              <a:latin typeface="+mj-lt"/>
            </a:endParaRPr>
          </a:p>
        </p:txBody>
      </p:sp>
      <p:sp>
        <p:nvSpPr>
          <p:cNvPr id="10" name="Text Box 24">
            <a:extLst>
              <a:ext uri="{FF2B5EF4-FFF2-40B4-BE49-F238E27FC236}">
                <a16:creationId xmlns:a16="http://schemas.microsoft.com/office/drawing/2014/main" id="{EE00105A-566B-47B3-A87C-CAE93F806529}"/>
              </a:ext>
            </a:extLst>
          </p:cNvPr>
          <p:cNvSpPr txBox="1">
            <a:spLocks noChangeArrowheads="1"/>
          </p:cNvSpPr>
          <p:nvPr/>
        </p:nvSpPr>
        <p:spPr bwMode="auto">
          <a:xfrm>
            <a:off x="3527357" y="3832655"/>
            <a:ext cx="2154257" cy="586246"/>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Product Development </a:t>
            </a:r>
          </a:p>
          <a:p>
            <a:pPr marL="171450" indent="-171450" algn="l" defTabSz="913961" fontAlgn="auto">
              <a:spcBef>
                <a:spcPts val="0"/>
              </a:spcBef>
              <a:spcAft>
                <a:spcPts val="0"/>
              </a:spcAft>
              <a:buFontTx/>
              <a:buChar char="-"/>
              <a:defRPr/>
            </a:pPr>
            <a:r>
              <a:rPr lang="en-US" kern="0" dirty="0">
                <a:solidFill>
                  <a:srgbClr val="002776"/>
                </a:solidFill>
                <a:latin typeface="+mj-lt"/>
              </a:rPr>
              <a:t>DFMEA</a:t>
            </a:r>
          </a:p>
          <a:p>
            <a:pPr marL="171450" indent="-171450" algn="l" defTabSz="913961" fontAlgn="auto">
              <a:spcBef>
                <a:spcPts val="0"/>
              </a:spcBef>
              <a:spcAft>
                <a:spcPts val="0"/>
              </a:spcAft>
              <a:buFontTx/>
              <a:buChar char="-"/>
              <a:defRPr/>
            </a:pPr>
            <a:r>
              <a:rPr lang="en-US" kern="0" dirty="0">
                <a:solidFill>
                  <a:srgbClr val="002776"/>
                </a:solidFill>
                <a:latin typeface="+mj-lt"/>
              </a:rPr>
              <a:t>Product Specification</a:t>
            </a:r>
          </a:p>
        </p:txBody>
      </p:sp>
      <p:sp>
        <p:nvSpPr>
          <p:cNvPr id="11" name="Text Box 24">
            <a:extLst>
              <a:ext uri="{FF2B5EF4-FFF2-40B4-BE49-F238E27FC236}">
                <a16:creationId xmlns:a16="http://schemas.microsoft.com/office/drawing/2014/main" id="{FEC057F0-58B4-4B1B-BE17-B6AD277A3863}"/>
              </a:ext>
            </a:extLst>
          </p:cNvPr>
          <p:cNvSpPr txBox="1">
            <a:spLocks noChangeArrowheads="1"/>
          </p:cNvSpPr>
          <p:nvPr/>
        </p:nvSpPr>
        <p:spPr bwMode="auto">
          <a:xfrm>
            <a:off x="4204426" y="2126793"/>
            <a:ext cx="2028708" cy="754707"/>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Process Development</a:t>
            </a:r>
          </a:p>
          <a:p>
            <a:pPr algn="l" defTabSz="913961" fontAlgn="auto">
              <a:spcBef>
                <a:spcPts val="0"/>
              </a:spcBef>
              <a:spcAft>
                <a:spcPts val="0"/>
              </a:spcAft>
              <a:defRPr/>
            </a:pPr>
            <a:r>
              <a:rPr lang="en-US" kern="0" dirty="0">
                <a:solidFill>
                  <a:srgbClr val="002776"/>
                </a:solidFill>
                <a:latin typeface="+mj-lt"/>
              </a:rPr>
              <a:t> - PFMEA</a:t>
            </a:r>
          </a:p>
          <a:p>
            <a:pPr marL="171450" indent="-171450" algn="l" defTabSz="913961" fontAlgn="auto">
              <a:spcBef>
                <a:spcPts val="0"/>
              </a:spcBef>
              <a:spcAft>
                <a:spcPts val="0"/>
              </a:spcAft>
              <a:buFontTx/>
              <a:buChar char="-"/>
              <a:defRPr/>
            </a:pPr>
            <a:r>
              <a:rPr lang="en-US" kern="0" dirty="0">
                <a:solidFill>
                  <a:srgbClr val="002776"/>
                </a:solidFill>
                <a:latin typeface="+mj-lt"/>
              </a:rPr>
              <a:t>Process Flow</a:t>
            </a:r>
          </a:p>
          <a:p>
            <a:pPr marL="171450" indent="-171450" algn="l" defTabSz="913961" fontAlgn="auto">
              <a:spcBef>
                <a:spcPts val="0"/>
              </a:spcBef>
              <a:spcAft>
                <a:spcPts val="0"/>
              </a:spcAft>
              <a:buFontTx/>
              <a:buChar char="-"/>
              <a:defRPr/>
            </a:pPr>
            <a:r>
              <a:rPr lang="en-US" kern="0" dirty="0">
                <a:solidFill>
                  <a:srgbClr val="002776"/>
                </a:solidFill>
                <a:latin typeface="+mj-lt"/>
              </a:rPr>
              <a:t>Control Plan</a:t>
            </a:r>
          </a:p>
          <a:p>
            <a:pPr marL="171450" indent="-171450" algn="l" defTabSz="913961" fontAlgn="auto">
              <a:spcBef>
                <a:spcPts val="0"/>
              </a:spcBef>
              <a:spcAft>
                <a:spcPts val="0"/>
              </a:spcAft>
              <a:buFontTx/>
              <a:buChar char="-"/>
              <a:defRPr/>
            </a:pPr>
            <a:endParaRPr lang="en-US" kern="0" dirty="0">
              <a:solidFill>
                <a:srgbClr val="002776"/>
              </a:solidFill>
              <a:latin typeface="+mj-lt"/>
            </a:endParaRPr>
          </a:p>
          <a:p>
            <a:pPr algn="l" defTabSz="913961" fontAlgn="auto">
              <a:spcBef>
                <a:spcPts val="0"/>
              </a:spcBef>
              <a:spcAft>
                <a:spcPts val="0"/>
              </a:spcAft>
              <a:defRPr/>
            </a:pPr>
            <a:endParaRPr lang="en-US" kern="0" dirty="0">
              <a:solidFill>
                <a:srgbClr val="002776"/>
              </a:solidFill>
              <a:latin typeface="+mj-lt"/>
            </a:endParaRPr>
          </a:p>
        </p:txBody>
      </p:sp>
      <p:sp>
        <p:nvSpPr>
          <p:cNvPr id="12" name="Text Box 9">
            <a:extLst>
              <a:ext uri="{FF2B5EF4-FFF2-40B4-BE49-F238E27FC236}">
                <a16:creationId xmlns:a16="http://schemas.microsoft.com/office/drawing/2014/main" id="{C8A41943-F33A-4533-A39B-9CD8C84306AD}"/>
              </a:ext>
            </a:extLst>
          </p:cNvPr>
          <p:cNvSpPr txBox="1">
            <a:spLocks noChangeArrowheads="1"/>
          </p:cNvSpPr>
          <p:nvPr/>
        </p:nvSpPr>
        <p:spPr bwMode="gray">
          <a:xfrm>
            <a:off x="2063558" y="2170565"/>
            <a:ext cx="855935" cy="176095"/>
          </a:xfrm>
          <a:prstGeom prst="rect">
            <a:avLst/>
          </a:prstGeom>
          <a:noFill/>
          <a:ln w="12700" algn="ctr">
            <a:noFill/>
            <a:miter lim="800000"/>
            <a:headEnd/>
            <a:tailEnd/>
          </a:ln>
          <a:effectLst/>
        </p:spPr>
        <p:txBody>
          <a:bodyPr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1</a:t>
            </a:r>
          </a:p>
        </p:txBody>
      </p:sp>
      <p:sp>
        <p:nvSpPr>
          <p:cNvPr id="13" name="Oval 12">
            <a:extLst>
              <a:ext uri="{FF2B5EF4-FFF2-40B4-BE49-F238E27FC236}">
                <a16:creationId xmlns:a16="http://schemas.microsoft.com/office/drawing/2014/main" id="{032AF74C-4888-4BB8-A919-D966CF10B213}"/>
              </a:ext>
            </a:extLst>
          </p:cNvPr>
          <p:cNvSpPr>
            <a:spLocks noChangeArrowheads="1"/>
          </p:cNvSpPr>
          <p:nvPr/>
        </p:nvSpPr>
        <p:spPr bwMode="gray">
          <a:xfrm>
            <a:off x="1593434" y="2123172"/>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1</a:t>
            </a:r>
          </a:p>
        </p:txBody>
      </p:sp>
      <p:sp>
        <p:nvSpPr>
          <p:cNvPr id="14" name="Text Box 10">
            <a:extLst>
              <a:ext uri="{FF2B5EF4-FFF2-40B4-BE49-F238E27FC236}">
                <a16:creationId xmlns:a16="http://schemas.microsoft.com/office/drawing/2014/main" id="{9AB60634-0756-4848-9686-A7E0E572378C}"/>
              </a:ext>
            </a:extLst>
          </p:cNvPr>
          <p:cNvSpPr txBox="1">
            <a:spLocks noChangeArrowheads="1"/>
          </p:cNvSpPr>
          <p:nvPr/>
        </p:nvSpPr>
        <p:spPr bwMode="gray">
          <a:xfrm>
            <a:off x="3537839" y="3615297"/>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2</a:t>
            </a:r>
          </a:p>
        </p:txBody>
      </p:sp>
      <p:sp>
        <p:nvSpPr>
          <p:cNvPr id="15" name="Line 28">
            <a:extLst>
              <a:ext uri="{FF2B5EF4-FFF2-40B4-BE49-F238E27FC236}">
                <a16:creationId xmlns:a16="http://schemas.microsoft.com/office/drawing/2014/main" id="{888E09D3-4434-4D5C-8407-D2929B50A26B}"/>
              </a:ext>
            </a:extLst>
          </p:cNvPr>
          <p:cNvSpPr>
            <a:spLocks noChangeShapeType="1"/>
          </p:cNvSpPr>
          <p:nvPr/>
        </p:nvSpPr>
        <p:spPr bwMode="auto">
          <a:xfrm flipV="1">
            <a:off x="3284352" y="3402065"/>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16" name="Text Box 11">
            <a:extLst>
              <a:ext uri="{FF2B5EF4-FFF2-40B4-BE49-F238E27FC236}">
                <a16:creationId xmlns:a16="http://schemas.microsoft.com/office/drawing/2014/main" id="{46B996A9-99E3-4826-B6E1-B3F9341EA480}"/>
              </a:ext>
            </a:extLst>
          </p:cNvPr>
          <p:cNvSpPr txBox="1">
            <a:spLocks noChangeArrowheads="1"/>
          </p:cNvSpPr>
          <p:nvPr/>
        </p:nvSpPr>
        <p:spPr bwMode="gray">
          <a:xfrm>
            <a:off x="4204428" y="1912222"/>
            <a:ext cx="1477186" cy="177539"/>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3</a:t>
            </a:r>
          </a:p>
        </p:txBody>
      </p:sp>
      <p:sp>
        <p:nvSpPr>
          <p:cNvPr id="17" name="Rectangle 16">
            <a:extLst>
              <a:ext uri="{FF2B5EF4-FFF2-40B4-BE49-F238E27FC236}">
                <a16:creationId xmlns:a16="http://schemas.microsoft.com/office/drawing/2014/main" id="{9EB41562-1EC8-4C34-977A-A1ADF53BCBD8}"/>
              </a:ext>
            </a:extLst>
          </p:cNvPr>
          <p:cNvSpPr/>
          <p:nvPr/>
        </p:nvSpPr>
        <p:spPr bwMode="auto">
          <a:xfrm>
            <a:off x="1092478" y="1246654"/>
            <a:ext cx="9313296" cy="326953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defPPr>
              <a:defRPr lang="en-US"/>
            </a:defPPr>
            <a:lvl1pPr algn="ctr" rtl="0" fontAlgn="base">
              <a:spcBef>
                <a:spcPct val="20000"/>
              </a:spcBef>
              <a:spcAft>
                <a:spcPct val="0"/>
              </a:spcAft>
              <a:defRPr sz="1100" b="1" kern="1200">
                <a:solidFill>
                  <a:schemeClr val="lt1"/>
                </a:solidFill>
                <a:latin typeface="+mn-lt"/>
                <a:ea typeface="+mn-ea"/>
                <a:cs typeface="+mn-cs"/>
              </a:defRPr>
            </a:lvl1pPr>
            <a:lvl2pPr marL="457200" algn="ctr" rtl="0" fontAlgn="base">
              <a:spcBef>
                <a:spcPct val="20000"/>
              </a:spcBef>
              <a:spcAft>
                <a:spcPct val="0"/>
              </a:spcAft>
              <a:defRPr sz="1100" b="1" kern="1200">
                <a:solidFill>
                  <a:schemeClr val="lt1"/>
                </a:solidFill>
                <a:latin typeface="+mn-lt"/>
                <a:ea typeface="+mn-ea"/>
                <a:cs typeface="+mn-cs"/>
              </a:defRPr>
            </a:lvl2pPr>
            <a:lvl3pPr marL="914400" algn="ctr" rtl="0" fontAlgn="base">
              <a:spcBef>
                <a:spcPct val="20000"/>
              </a:spcBef>
              <a:spcAft>
                <a:spcPct val="0"/>
              </a:spcAft>
              <a:defRPr sz="1100" b="1" kern="1200">
                <a:solidFill>
                  <a:schemeClr val="lt1"/>
                </a:solidFill>
                <a:latin typeface="+mn-lt"/>
                <a:ea typeface="+mn-ea"/>
                <a:cs typeface="+mn-cs"/>
              </a:defRPr>
            </a:lvl3pPr>
            <a:lvl4pPr marL="1371600" algn="ctr" rtl="0" fontAlgn="base">
              <a:spcBef>
                <a:spcPct val="20000"/>
              </a:spcBef>
              <a:spcAft>
                <a:spcPct val="0"/>
              </a:spcAft>
              <a:defRPr sz="1100" b="1" kern="1200">
                <a:solidFill>
                  <a:schemeClr val="lt1"/>
                </a:solidFill>
                <a:latin typeface="+mn-lt"/>
                <a:ea typeface="+mn-ea"/>
                <a:cs typeface="+mn-cs"/>
              </a:defRPr>
            </a:lvl4pPr>
            <a:lvl5pPr marL="1828800" algn="ctr" rtl="0" fontAlgn="base">
              <a:spcBef>
                <a:spcPct val="20000"/>
              </a:spcBef>
              <a:spcAft>
                <a:spcPct val="0"/>
              </a:spcAft>
              <a:defRPr sz="1100" b="1" kern="1200">
                <a:solidFill>
                  <a:schemeClr val="lt1"/>
                </a:solidFill>
                <a:latin typeface="+mn-lt"/>
                <a:ea typeface="+mn-ea"/>
                <a:cs typeface="+mn-cs"/>
              </a:defRPr>
            </a:lvl5pPr>
            <a:lvl6pPr marL="2286000" algn="l" defTabSz="914400" rtl="0" eaLnBrk="1" latinLnBrk="0" hangingPunct="1">
              <a:defRPr sz="1100" b="1" kern="1200">
                <a:solidFill>
                  <a:schemeClr val="lt1"/>
                </a:solidFill>
                <a:latin typeface="+mn-lt"/>
                <a:ea typeface="+mn-ea"/>
                <a:cs typeface="+mn-cs"/>
              </a:defRPr>
            </a:lvl6pPr>
            <a:lvl7pPr marL="2743200" algn="l" defTabSz="914400" rtl="0" eaLnBrk="1" latinLnBrk="0" hangingPunct="1">
              <a:defRPr sz="1100" b="1" kern="1200">
                <a:solidFill>
                  <a:schemeClr val="lt1"/>
                </a:solidFill>
                <a:latin typeface="+mn-lt"/>
                <a:ea typeface="+mn-ea"/>
                <a:cs typeface="+mn-cs"/>
              </a:defRPr>
            </a:lvl7pPr>
            <a:lvl8pPr marL="3200400" algn="l" defTabSz="914400" rtl="0" eaLnBrk="1" latinLnBrk="0" hangingPunct="1">
              <a:defRPr sz="1100" b="1" kern="1200">
                <a:solidFill>
                  <a:schemeClr val="lt1"/>
                </a:solidFill>
                <a:latin typeface="+mn-lt"/>
                <a:ea typeface="+mn-ea"/>
                <a:cs typeface="+mn-cs"/>
              </a:defRPr>
            </a:lvl8pPr>
            <a:lvl9pPr marL="3657600" algn="l" defTabSz="914400" rtl="0" eaLnBrk="1" latinLnBrk="0" hangingPunct="1">
              <a:defRPr sz="1100" b="1" kern="1200">
                <a:solidFill>
                  <a:schemeClr val="lt1"/>
                </a:solidFill>
                <a:latin typeface="+mn-lt"/>
                <a:ea typeface="+mn-ea"/>
                <a:cs typeface="+mn-cs"/>
              </a:defRPr>
            </a:lvl9pPr>
          </a:lstStyle>
          <a:p>
            <a:pPr defTabSz="913961" fontAlgn="auto">
              <a:spcBef>
                <a:spcPts val="0"/>
              </a:spcBef>
              <a:spcAft>
                <a:spcPts val="0"/>
              </a:spcAft>
              <a:defRPr/>
            </a:pPr>
            <a:endParaRPr lang="en-US" sz="1050" dirty="0">
              <a:solidFill>
                <a:prstClr val="white"/>
              </a:solidFill>
              <a:latin typeface="+mj-lt"/>
            </a:endParaRPr>
          </a:p>
        </p:txBody>
      </p:sp>
      <p:sp>
        <p:nvSpPr>
          <p:cNvPr id="18" name="Text Box 24">
            <a:extLst>
              <a:ext uri="{FF2B5EF4-FFF2-40B4-BE49-F238E27FC236}">
                <a16:creationId xmlns:a16="http://schemas.microsoft.com/office/drawing/2014/main" id="{FFC98F6A-C43A-4D2B-AF2D-DF855F9BFC67}"/>
              </a:ext>
            </a:extLst>
          </p:cNvPr>
          <p:cNvSpPr txBox="1">
            <a:spLocks noChangeArrowheads="1"/>
          </p:cNvSpPr>
          <p:nvPr/>
        </p:nvSpPr>
        <p:spPr bwMode="auto">
          <a:xfrm>
            <a:off x="1814236" y="2415708"/>
            <a:ext cx="1919997" cy="738949"/>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Planning</a:t>
            </a:r>
          </a:p>
          <a:p>
            <a:pPr algn="l" defTabSz="913961" fontAlgn="auto">
              <a:spcBef>
                <a:spcPts val="0"/>
              </a:spcBef>
              <a:spcAft>
                <a:spcPts val="0"/>
              </a:spcAft>
              <a:defRPr/>
            </a:pPr>
            <a:r>
              <a:rPr lang="en-US" kern="0" dirty="0">
                <a:solidFill>
                  <a:srgbClr val="002776"/>
                </a:solidFill>
                <a:latin typeface="+mj-lt"/>
              </a:rPr>
              <a:t>-  DMF</a:t>
            </a:r>
          </a:p>
          <a:p>
            <a:pPr marL="171450" indent="-171450" algn="l" defTabSz="913961" fontAlgn="auto">
              <a:spcBef>
                <a:spcPts val="0"/>
              </a:spcBef>
              <a:spcAft>
                <a:spcPts val="0"/>
              </a:spcAft>
              <a:buFontTx/>
              <a:buChar char="-"/>
              <a:defRPr/>
            </a:pPr>
            <a:r>
              <a:rPr lang="en-US" kern="0" dirty="0">
                <a:solidFill>
                  <a:srgbClr val="002776"/>
                </a:solidFill>
                <a:latin typeface="+mj-lt"/>
              </a:rPr>
              <a:t>Quality Target</a:t>
            </a:r>
          </a:p>
          <a:p>
            <a:pPr marL="171450" indent="-171450" algn="l" defTabSz="913961" fontAlgn="auto">
              <a:spcBef>
                <a:spcPts val="0"/>
              </a:spcBef>
              <a:spcAft>
                <a:spcPts val="0"/>
              </a:spcAft>
              <a:buFontTx/>
              <a:buChar char="-"/>
              <a:defRPr/>
            </a:pPr>
            <a:r>
              <a:rPr lang="en-US" kern="0" dirty="0">
                <a:solidFill>
                  <a:srgbClr val="002776"/>
                </a:solidFill>
                <a:latin typeface="+mj-lt"/>
              </a:rPr>
              <a:t>Feasibility study</a:t>
            </a:r>
          </a:p>
        </p:txBody>
      </p:sp>
      <p:sp>
        <p:nvSpPr>
          <p:cNvPr id="19" name="Text Box 24">
            <a:extLst>
              <a:ext uri="{FF2B5EF4-FFF2-40B4-BE49-F238E27FC236}">
                <a16:creationId xmlns:a16="http://schemas.microsoft.com/office/drawing/2014/main" id="{FE7CF495-07E0-40DF-B5B1-35D4E6592281}"/>
              </a:ext>
            </a:extLst>
          </p:cNvPr>
          <p:cNvSpPr txBox="1">
            <a:spLocks noChangeArrowheads="1"/>
          </p:cNvSpPr>
          <p:nvPr/>
        </p:nvSpPr>
        <p:spPr bwMode="auto">
          <a:xfrm>
            <a:off x="6868658" y="1776481"/>
            <a:ext cx="2174050" cy="625361"/>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spc="-20" dirty="0">
                <a:solidFill>
                  <a:srgbClr val="002776"/>
                </a:solidFill>
                <a:latin typeface="+mj-lt"/>
              </a:rPr>
              <a:t>Mass Production</a:t>
            </a:r>
          </a:p>
          <a:p>
            <a:pPr marL="171450" indent="-171450" algn="l" defTabSz="913961" fontAlgn="auto">
              <a:spcBef>
                <a:spcPts val="0"/>
              </a:spcBef>
              <a:spcAft>
                <a:spcPts val="0"/>
              </a:spcAft>
              <a:buFontTx/>
              <a:buChar char="-"/>
              <a:defRPr/>
            </a:pPr>
            <a:r>
              <a:rPr lang="en-US" kern="0" spc="-20" dirty="0">
                <a:solidFill>
                  <a:srgbClr val="002776"/>
                </a:solidFill>
                <a:latin typeface="+mj-lt"/>
              </a:rPr>
              <a:t>Safe Launch</a:t>
            </a:r>
          </a:p>
          <a:p>
            <a:pPr marL="171450" indent="-171450" algn="l" defTabSz="913961" fontAlgn="auto">
              <a:spcBef>
                <a:spcPts val="0"/>
              </a:spcBef>
              <a:spcAft>
                <a:spcPts val="0"/>
              </a:spcAft>
              <a:buFontTx/>
              <a:buChar char="-"/>
              <a:defRPr/>
            </a:pPr>
            <a:r>
              <a:rPr lang="en-US" kern="0" spc="-20" dirty="0">
                <a:solidFill>
                  <a:srgbClr val="002776"/>
                </a:solidFill>
                <a:latin typeface="+mj-lt"/>
              </a:rPr>
              <a:t>Reduction of variation</a:t>
            </a:r>
          </a:p>
          <a:p>
            <a:pPr marL="171450" indent="-171450" algn="l" defTabSz="913961" fontAlgn="auto">
              <a:spcBef>
                <a:spcPts val="0"/>
              </a:spcBef>
              <a:spcAft>
                <a:spcPts val="0"/>
              </a:spcAft>
              <a:buFontTx/>
              <a:buChar char="-"/>
              <a:defRPr/>
            </a:pPr>
            <a:r>
              <a:rPr lang="en-US" kern="0" spc="-20" dirty="0">
                <a:solidFill>
                  <a:srgbClr val="002776"/>
                </a:solidFill>
                <a:latin typeface="+mj-lt"/>
              </a:rPr>
              <a:t>Continuous Improvement</a:t>
            </a:r>
          </a:p>
          <a:p>
            <a:pPr marL="171450" indent="-171450" algn="l" defTabSz="913961" fontAlgn="auto">
              <a:spcBef>
                <a:spcPts val="0"/>
              </a:spcBef>
              <a:spcAft>
                <a:spcPts val="0"/>
              </a:spcAft>
              <a:buFontTx/>
              <a:buChar char="-"/>
              <a:defRPr/>
            </a:pPr>
            <a:endParaRPr lang="en-US" kern="0" spc="-20" dirty="0">
              <a:solidFill>
                <a:srgbClr val="002776"/>
              </a:solidFill>
              <a:latin typeface="+mj-lt"/>
            </a:endParaRPr>
          </a:p>
        </p:txBody>
      </p:sp>
      <p:sp>
        <p:nvSpPr>
          <p:cNvPr id="20" name="Text Box 11">
            <a:extLst>
              <a:ext uri="{FF2B5EF4-FFF2-40B4-BE49-F238E27FC236}">
                <a16:creationId xmlns:a16="http://schemas.microsoft.com/office/drawing/2014/main" id="{D580D44A-823E-476D-8183-36AB135B8253}"/>
              </a:ext>
            </a:extLst>
          </p:cNvPr>
          <p:cNvSpPr txBox="1">
            <a:spLocks noChangeArrowheads="1"/>
          </p:cNvSpPr>
          <p:nvPr/>
        </p:nvSpPr>
        <p:spPr bwMode="gray">
          <a:xfrm>
            <a:off x="6868657" y="1581123"/>
            <a:ext cx="1341777"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5</a:t>
            </a:r>
          </a:p>
        </p:txBody>
      </p:sp>
      <p:sp>
        <p:nvSpPr>
          <p:cNvPr id="21" name="Text Box 24">
            <a:extLst>
              <a:ext uri="{FF2B5EF4-FFF2-40B4-BE49-F238E27FC236}">
                <a16:creationId xmlns:a16="http://schemas.microsoft.com/office/drawing/2014/main" id="{97A0FE0F-77A4-4B69-ABDE-A9988C3C23AA}"/>
              </a:ext>
            </a:extLst>
          </p:cNvPr>
          <p:cNvSpPr txBox="1">
            <a:spLocks noChangeArrowheads="1"/>
          </p:cNvSpPr>
          <p:nvPr/>
        </p:nvSpPr>
        <p:spPr bwMode="auto">
          <a:xfrm>
            <a:off x="5979388" y="3551228"/>
            <a:ext cx="2231045" cy="811955"/>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kern="0" spc="-20" dirty="0">
                <a:solidFill>
                  <a:srgbClr val="002776"/>
                </a:solidFill>
                <a:latin typeface="+mj-ea"/>
                <a:ea typeface="+mj-ea"/>
              </a:rPr>
              <a:t>Product and Process Verification</a:t>
            </a:r>
          </a:p>
          <a:p>
            <a:pPr marL="171450" indent="-171450" algn="l" defTabSz="913961" fontAlgn="auto">
              <a:spcBef>
                <a:spcPts val="0"/>
              </a:spcBef>
              <a:spcAft>
                <a:spcPts val="0"/>
              </a:spcAft>
              <a:buFontTx/>
              <a:buChar char="-"/>
              <a:defRPr/>
            </a:pPr>
            <a:r>
              <a:rPr lang="en-US" altLang="ja-JP" kern="0" spc="-20" dirty="0">
                <a:solidFill>
                  <a:srgbClr val="002776"/>
                </a:solidFill>
                <a:latin typeface="+mj-ea"/>
                <a:ea typeface="+mj-ea"/>
              </a:rPr>
              <a:t>FAI</a:t>
            </a:r>
          </a:p>
          <a:p>
            <a:pPr marL="171450" indent="-171450" algn="l" defTabSz="913961" fontAlgn="auto">
              <a:spcBef>
                <a:spcPts val="0"/>
              </a:spcBef>
              <a:spcAft>
                <a:spcPts val="0"/>
              </a:spcAft>
              <a:buFontTx/>
              <a:buChar char="-"/>
              <a:defRPr/>
            </a:pPr>
            <a:r>
              <a:rPr lang="en-US" altLang="ja-JP" kern="0" spc="-20" dirty="0">
                <a:solidFill>
                  <a:srgbClr val="002776"/>
                </a:solidFill>
                <a:latin typeface="+mj-ea"/>
                <a:ea typeface="+mj-ea"/>
              </a:rPr>
              <a:t>Process capability study</a:t>
            </a:r>
          </a:p>
          <a:p>
            <a:pPr marL="171450" indent="-171450" algn="l" defTabSz="913961" fontAlgn="auto">
              <a:spcBef>
                <a:spcPts val="0"/>
              </a:spcBef>
              <a:spcAft>
                <a:spcPts val="0"/>
              </a:spcAft>
              <a:buFontTx/>
              <a:buChar char="-"/>
              <a:defRPr/>
            </a:pPr>
            <a:r>
              <a:rPr lang="en-US" altLang="ja-JP" kern="0" spc="-20" dirty="0">
                <a:solidFill>
                  <a:srgbClr val="002776"/>
                </a:solidFill>
                <a:latin typeface="+mj-ea"/>
                <a:ea typeface="+mj-ea"/>
              </a:rPr>
              <a:t>MSA</a:t>
            </a:r>
          </a:p>
          <a:p>
            <a:pPr marL="171450" indent="-171450" algn="l" defTabSz="913961" fontAlgn="auto">
              <a:spcBef>
                <a:spcPts val="0"/>
              </a:spcBef>
              <a:spcAft>
                <a:spcPts val="0"/>
              </a:spcAft>
              <a:buFontTx/>
              <a:buChar char="-"/>
              <a:defRPr/>
            </a:pPr>
            <a:endParaRPr lang="en-US" altLang="ja-JP" kern="0" spc="-20" dirty="0">
              <a:solidFill>
                <a:srgbClr val="002776"/>
              </a:solidFill>
              <a:latin typeface="+mj-ea"/>
              <a:ea typeface="+mj-ea"/>
            </a:endParaRPr>
          </a:p>
        </p:txBody>
      </p:sp>
      <p:sp>
        <p:nvSpPr>
          <p:cNvPr id="22" name="Text Box 14">
            <a:extLst>
              <a:ext uri="{FF2B5EF4-FFF2-40B4-BE49-F238E27FC236}">
                <a16:creationId xmlns:a16="http://schemas.microsoft.com/office/drawing/2014/main" id="{957A023C-F13B-4843-A681-19BADC0F0BE1}"/>
              </a:ext>
            </a:extLst>
          </p:cNvPr>
          <p:cNvSpPr txBox="1">
            <a:spLocks noChangeArrowheads="1"/>
          </p:cNvSpPr>
          <p:nvPr/>
        </p:nvSpPr>
        <p:spPr bwMode="gray">
          <a:xfrm>
            <a:off x="5979388" y="3320809"/>
            <a:ext cx="1151165" cy="176095"/>
          </a:xfrm>
          <a:prstGeom prst="rect">
            <a:avLst/>
          </a:prstGeom>
          <a:noFill/>
          <a:ln w="12700" algn="ctr">
            <a:noFill/>
            <a:miter lim="800000"/>
            <a:headEnd/>
            <a:tailEnd/>
          </a:ln>
          <a:effectLst/>
        </p:spPr>
        <p:txBody>
          <a:bodyPr wrap="non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4</a:t>
            </a:r>
          </a:p>
        </p:txBody>
      </p:sp>
      <p:sp>
        <p:nvSpPr>
          <p:cNvPr id="23" name="Text Box 24">
            <a:extLst>
              <a:ext uri="{FF2B5EF4-FFF2-40B4-BE49-F238E27FC236}">
                <a16:creationId xmlns:a16="http://schemas.microsoft.com/office/drawing/2014/main" id="{FF7A872D-426A-4D46-A4A4-DABD2E0C69F0}"/>
              </a:ext>
            </a:extLst>
          </p:cNvPr>
          <p:cNvSpPr txBox="1">
            <a:spLocks noChangeArrowheads="1"/>
          </p:cNvSpPr>
          <p:nvPr/>
        </p:nvSpPr>
        <p:spPr bwMode="auto">
          <a:xfrm>
            <a:off x="8919375" y="3524662"/>
            <a:ext cx="2213886" cy="501152"/>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EOL</a:t>
            </a:r>
          </a:p>
        </p:txBody>
      </p:sp>
      <p:sp>
        <p:nvSpPr>
          <p:cNvPr id="24" name="Text Box 10">
            <a:extLst>
              <a:ext uri="{FF2B5EF4-FFF2-40B4-BE49-F238E27FC236}">
                <a16:creationId xmlns:a16="http://schemas.microsoft.com/office/drawing/2014/main" id="{9CFBC63D-CE03-4161-9C29-FAB75D09F3AC}"/>
              </a:ext>
            </a:extLst>
          </p:cNvPr>
          <p:cNvSpPr txBox="1">
            <a:spLocks noChangeArrowheads="1"/>
          </p:cNvSpPr>
          <p:nvPr/>
        </p:nvSpPr>
        <p:spPr bwMode="gray">
          <a:xfrm>
            <a:off x="8919375" y="3303418"/>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6</a:t>
            </a:r>
          </a:p>
        </p:txBody>
      </p:sp>
      <p:sp>
        <p:nvSpPr>
          <p:cNvPr id="25" name="Oval 24">
            <a:extLst>
              <a:ext uri="{FF2B5EF4-FFF2-40B4-BE49-F238E27FC236}">
                <a16:creationId xmlns:a16="http://schemas.microsoft.com/office/drawing/2014/main" id="{562825D5-3D20-41DE-A3D7-832BE944793B}"/>
              </a:ext>
            </a:extLst>
          </p:cNvPr>
          <p:cNvSpPr>
            <a:spLocks noChangeArrowheads="1"/>
          </p:cNvSpPr>
          <p:nvPr/>
        </p:nvSpPr>
        <p:spPr bwMode="gray">
          <a:xfrm>
            <a:off x="3118566" y="3703343"/>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2</a:t>
            </a:r>
          </a:p>
        </p:txBody>
      </p:sp>
      <p:sp>
        <p:nvSpPr>
          <p:cNvPr id="26" name="Oval 25">
            <a:extLst>
              <a:ext uri="{FF2B5EF4-FFF2-40B4-BE49-F238E27FC236}">
                <a16:creationId xmlns:a16="http://schemas.microsoft.com/office/drawing/2014/main" id="{2955288C-C806-4891-9240-DFB031C3690C}"/>
              </a:ext>
            </a:extLst>
          </p:cNvPr>
          <p:cNvSpPr>
            <a:spLocks noChangeArrowheads="1"/>
          </p:cNvSpPr>
          <p:nvPr/>
        </p:nvSpPr>
        <p:spPr bwMode="gray">
          <a:xfrm>
            <a:off x="3823810" y="1827705"/>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3</a:t>
            </a:r>
          </a:p>
        </p:txBody>
      </p:sp>
      <p:sp>
        <p:nvSpPr>
          <p:cNvPr id="27" name="Oval 26">
            <a:extLst>
              <a:ext uri="{FF2B5EF4-FFF2-40B4-BE49-F238E27FC236}">
                <a16:creationId xmlns:a16="http://schemas.microsoft.com/office/drawing/2014/main" id="{6EABAB19-C5C1-49C9-8BC5-5F7CA5E9D95E}"/>
              </a:ext>
            </a:extLst>
          </p:cNvPr>
          <p:cNvSpPr>
            <a:spLocks noChangeArrowheads="1"/>
          </p:cNvSpPr>
          <p:nvPr/>
        </p:nvSpPr>
        <p:spPr bwMode="gray">
          <a:xfrm>
            <a:off x="7223613" y="3263361"/>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4</a:t>
            </a:r>
          </a:p>
        </p:txBody>
      </p:sp>
      <p:sp>
        <p:nvSpPr>
          <p:cNvPr id="28" name="Oval 27">
            <a:extLst>
              <a:ext uri="{FF2B5EF4-FFF2-40B4-BE49-F238E27FC236}">
                <a16:creationId xmlns:a16="http://schemas.microsoft.com/office/drawing/2014/main" id="{2E12D42A-ECC4-48E8-9A65-F5076BFE4749}"/>
              </a:ext>
            </a:extLst>
          </p:cNvPr>
          <p:cNvSpPr>
            <a:spLocks noChangeArrowheads="1"/>
          </p:cNvSpPr>
          <p:nvPr/>
        </p:nvSpPr>
        <p:spPr bwMode="gray">
          <a:xfrm>
            <a:off x="8187776" y="1492195"/>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5</a:t>
            </a:r>
          </a:p>
        </p:txBody>
      </p:sp>
      <p:sp>
        <p:nvSpPr>
          <p:cNvPr id="29" name="Line 28">
            <a:extLst>
              <a:ext uri="{FF2B5EF4-FFF2-40B4-BE49-F238E27FC236}">
                <a16:creationId xmlns:a16="http://schemas.microsoft.com/office/drawing/2014/main" id="{E47B6F27-9413-4D13-9C97-7C4233E36561}"/>
              </a:ext>
            </a:extLst>
          </p:cNvPr>
          <p:cNvSpPr>
            <a:spLocks noChangeShapeType="1"/>
          </p:cNvSpPr>
          <p:nvPr/>
        </p:nvSpPr>
        <p:spPr bwMode="auto">
          <a:xfrm flipH="1">
            <a:off x="8345738" y="1887621"/>
            <a:ext cx="0" cy="708058"/>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0" name="Oval 29">
            <a:extLst>
              <a:ext uri="{FF2B5EF4-FFF2-40B4-BE49-F238E27FC236}">
                <a16:creationId xmlns:a16="http://schemas.microsoft.com/office/drawing/2014/main" id="{1F289621-C8DD-44CC-94E4-CCBBE5737121}"/>
              </a:ext>
            </a:extLst>
          </p:cNvPr>
          <p:cNvSpPr>
            <a:spLocks noChangeArrowheads="1"/>
          </p:cNvSpPr>
          <p:nvPr/>
        </p:nvSpPr>
        <p:spPr bwMode="gray">
          <a:xfrm>
            <a:off x="9628848" y="2965518"/>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6</a:t>
            </a:r>
          </a:p>
        </p:txBody>
      </p:sp>
      <p:sp>
        <p:nvSpPr>
          <p:cNvPr id="33" name="Line 28">
            <a:extLst>
              <a:ext uri="{FF2B5EF4-FFF2-40B4-BE49-F238E27FC236}">
                <a16:creationId xmlns:a16="http://schemas.microsoft.com/office/drawing/2014/main" id="{312CD55C-5FB0-4E6D-A463-1F16AF8532D2}"/>
              </a:ext>
            </a:extLst>
          </p:cNvPr>
          <p:cNvSpPr>
            <a:spLocks noChangeShapeType="1"/>
          </p:cNvSpPr>
          <p:nvPr/>
        </p:nvSpPr>
        <p:spPr bwMode="auto">
          <a:xfrm flipH="1">
            <a:off x="3981773" y="2201057"/>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4" name="Line 28">
            <a:extLst>
              <a:ext uri="{FF2B5EF4-FFF2-40B4-BE49-F238E27FC236}">
                <a16:creationId xmlns:a16="http://schemas.microsoft.com/office/drawing/2014/main" id="{3751E61F-80AC-4F1D-A479-3A6E82BAF3B1}"/>
              </a:ext>
            </a:extLst>
          </p:cNvPr>
          <p:cNvSpPr>
            <a:spLocks noChangeShapeType="1"/>
          </p:cNvSpPr>
          <p:nvPr/>
        </p:nvSpPr>
        <p:spPr bwMode="auto">
          <a:xfrm flipH="1">
            <a:off x="1751397" y="2479480"/>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5" name="Line 28">
            <a:extLst>
              <a:ext uri="{FF2B5EF4-FFF2-40B4-BE49-F238E27FC236}">
                <a16:creationId xmlns:a16="http://schemas.microsoft.com/office/drawing/2014/main" id="{68083D47-6964-4128-A1EE-ED0743EC6C88}"/>
              </a:ext>
            </a:extLst>
          </p:cNvPr>
          <p:cNvSpPr>
            <a:spLocks noChangeShapeType="1"/>
          </p:cNvSpPr>
          <p:nvPr/>
        </p:nvSpPr>
        <p:spPr bwMode="auto">
          <a:xfrm flipV="1">
            <a:off x="6797787" y="2907800"/>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6" name="Line 28">
            <a:extLst>
              <a:ext uri="{FF2B5EF4-FFF2-40B4-BE49-F238E27FC236}">
                <a16:creationId xmlns:a16="http://schemas.microsoft.com/office/drawing/2014/main" id="{46D2E657-231D-4CAB-8C61-68DEC1453E60}"/>
              </a:ext>
            </a:extLst>
          </p:cNvPr>
          <p:cNvSpPr>
            <a:spLocks noChangeShapeType="1"/>
          </p:cNvSpPr>
          <p:nvPr/>
        </p:nvSpPr>
        <p:spPr bwMode="auto">
          <a:xfrm flipV="1">
            <a:off x="9784971" y="2566808"/>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Tree>
    <p:extLst>
      <p:ext uri="{BB962C8B-B14F-4D97-AF65-F5344CB8AC3E}">
        <p14:creationId xmlns:p14="http://schemas.microsoft.com/office/powerpoint/2010/main" val="392077956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ine 131">
            <a:extLst>
              <a:ext uri="{FF2B5EF4-FFF2-40B4-BE49-F238E27FC236}">
                <a16:creationId xmlns:a16="http://schemas.microsoft.com/office/drawing/2014/main" id="{2E69772D-65A0-47B3-850A-46B2CAD5C301}"/>
              </a:ext>
            </a:extLst>
          </p:cNvPr>
          <p:cNvSpPr>
            <a:spLocks noChangeShapeType="1"/>
          </p:cNvSpPr>
          <p:nvPr/>
        </p:nvSpPr>
        <p:spPr bwMode="auto">
          <a:xfrm flipV="1">
            <a:off x="853440" y="1009369"/>
            <a:ext cx="10492317" cy="6351"/>
          </a:xfrm>
          <a:prstGeom prst="line">
            <a:avLst/>
          </a:prstGeom>
          <a:noFill/>
          <a:ln w="27051">
            <a:solidFill>
              <a:srgbClr val="FF0000"/>
            </a:solidFill>
            <a:round/>
            <a:headEnd/>
            <a:tailEnd/>
          </a:ln>
          <a:extLst>
            <a:ext uri="{909E8E84-426E-40DD-AFC4-6F175D3DCCD1}">
              <a14:hiddenFill xmlns:a14="http://schemas.microsoft.com/office/drawing/2010/main">
                <a:noFill/>
              </a14:hiddenFill>
            </a:ext>
          </a:extLst>
        </p:spPr>
        <p:txBody>
          <a:bodyPr/>
          <a:lstStyle/>
          <a:p>
            <a:pPr>
              <a:defRPr/>
            </a:pPr>
            <a:endParaRPr kumimoji="1" lang="ja-JP" altLang="en-US" b="1" dirty="0">
              <a:solidFill>
                <a:srgbClr val="000000"/>
              </a:solidFill>
              <a:latin typeface="Arial"/>
              <a:ea typeface="ＭＳ Ｐゴシック" panose="020B0600070205080204" pitchFamily="50" charset="-128"/>
              <a:cs typeface="Arial" pitchFamily="34" charset="0"/>
            </a:endParaRPr>
          </a:p>
        </p:txBody>
      </p:sp>
      <p:grpSp>
        <p:nvGrpSpPr>
          <p:cNvPr id="5" name="Group 226">
            <a:extLst>
              <a:ext uri="{FF2B5EF4-FFF2-40B4-BE49-F238E27FC236}">
                <a16:creationId xmlns:a16="http://schemas.microsoft.com/office/drawing/2014/main" id="{E0496A99-D8E9-47F8-B202-32B4DE01FD51}"/>
              </a:ext>
            </a:extLst>
          </p:cNvPr>
          <p:cNvGrpSpPr>
            <a:grpSpLocks/>
          </p:cNvGrpSpPr>
          <p:nvPr/>
        </p:nvGrpSpPr>
        <p:grpSpPr bwMode="auto">
          <a:xfrm>
            <a:off x="1016000" y="1052912"/>
            <a:ext cx="9245600" cy="5029200"/>
            <a:chOff x="480" y="864"/>
            <a:chExt cx="4368" cy="2376"/>
          </a:xfrm>
        </p:grpSpPr>
        <p:sp>
          <p:nvSpPr>
            <p:cNvPr id="6" name="Line 227">
              <a:extLst>
                <a:ext uri="{FF2B5EF4-FFF2-40B4-BE49-F238E27FC236}">
                  <a16:creationId xmlns:a16="http://schemas.microsoft.com/office/drawing/2014/main" id="{42F88B0E-40B9-4A4D-84E5-95CCEB35BDEA}"/>
                </a:ext>
              </a:extLst>
            </p:cNvPr>
            <p:cNvSpPr>
              <a:spLocks noChangeShapeType="1"/>
            </p:cNvSpPr>
            <p:nvPr/>
          </p:nvSpPr>
          <p:spPr bwMode="auto">
            <a:xfrm>
              <a:off x="4512" y="984"/>
              <a:ext cx="0" cy="2256"/>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7" name="Line 228">
              <a:extLst>
                <a:ext uri="{FF2B5EF4-FFF2-40B4-BE49-F238E27FC236}">
                  <a16:creationId xmlns:a16="http://schemas.microsoft.com/office/drawing/2014/main" id="{02A2A96F-B4F7-471A-8C9E-50DC2B53DB9C}"/>
                </a:ext>
              </a:extLst>
            </p:cNvPr>
            <p:cNvSpPr>
              <a:spLocks noChangeShapeType="1"/>
            </p:cNvSpPr>
            <p:nvPr/>
          </p:nvSpPr>
          <p:spPr bwMode="auto">
            <a:xfrm>
              <a:off x="3888" y="984"/>
              <a:ext cx="0" cy="2256"/>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8" name="Line 229">
              <a:extLst>
                <a:ext uri="{FF2B5EF4-FFF2-40B4-BE49-F238E27FC236}">
                  <a16:creationId xmlns:a16="http://schemas.microsoft.com/office/drawing/2014/main" id="{1F10CAA2-D12A-45A3-9881-D9A8D7221503}"/>
                </a:ext>
              </a:extLst>
            </p:cNvPr>
            <p:cNvSpPr>
              <a:spLocks noChangeShapeType="1"/>
            </p:cNvSpPr>
            <p:nvPr/>
          </p:nvSpPr>
          <p:spPr bwMode="auto">
            <a:xfrm>
              <a:off x="2736" y="984"/>
              <a:ext cx="0" cy="2256"/>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9" name="Line 230">
              <a:extLst>
                <a:ext uri="{FF2B5EF4-FFF2-40B4-BE49-F238E27FC236}">
                  <a16:creationId xmlns:a16="http://schemas.microsoft.com/office/drawing/2014/main" id="{693A92A8-3068-4688-9100-C42236351BEA}"/>
                </a:ext>
              </a:extLst>
            </p:cNvPr>
            <p:cNvSpPr>
              <a:spLocks noChangeShapeType="1"/>
            </p:cNvSpPr>
            <p:nvPr/>
          </p:nvSpPr>
          <p:spPr bwMode="auto">
            <a:xfrm>
              <a:off x="1632" y="1032"/>
              <a:ext cx="0" cy="2208"/>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10" name="Line 231">
              <a:extLst>
                <a:ext uri="{FF2B5EF4-FFF2-40B4-BE49-F238E27FC236}">
                  <a16:creationId xmlns:a16="http://schemas.microsoft.com/office/drawing/2014/main" id="{D239DA75-2AF1-4228-A746-4023902A382D}"/>
                </a:ext>
              </a:extLst>
            </p:cNvPr>
            <p:cNvSpPr>
              <a:spLocks noChangeShapeType="1"/>
            </p:cNvSpPr>
            <p:nvPr/>
          </p:nvSpPr>
          <p:spPr bwMode="auto">
            <a:xfrm>
              <a:off x="768" y="1032"/>
              <a:ext cx="0" cy="2208"/>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11" name="Text Box 232">
              <a:extLst>
                <a:ext uri="{FF2B5EF4-FFF2-40B4-BE49-F238E27FC236}">
                  <a16:creationId xmlns:a16="http://schemas.microsoft.com/office/drawing/2014/main" id="{9F095806-9FEA-44E9-A423-8E8B33FE3C53}"/>
                </a:ext>
              </a:extLst>
            </p:cNvPr>
            <p:cNvSpPr txBox="1">
              <a:spLocks noChangeArrowheads="1"/>
            </p:cNvSpPr>
            <p:nvPr/>
          </p:nvSpPr>
          <p:spPr bwMode="auto">
            <a:xfrm>
              <a:off x="480" y="864"/>
              <a:ext cx="576" cy="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lnSpc>
                  <a:spcPct val="75000"/>
                </a:lnSpc>
                <a:defRPr/>
              </a:pPr>
              <a:r>
                <a:rPr kumimoji="1" lang="en-US" altLang="ja-JP" sz="1467" b="1" kern="0" dirty="0">
                  <a:solidFill>
                    <a:srgbClr val="000000"/>
                  </a:solidFill>
                  <a:latin typeface="Arial"/>
                  <a:ea typeface="ＭＳ Ｐゴシック" panose="020B0600070205080204" pitchFamily="50" charset="-128"/>
                  <a:cs typeface="Arial" pitchFamily="34" charset="0"/>
                </a:rPr>
                <a:t>Planning</a:t>
              </a:r>
              <a:endParaRPr kumimoji="1" lang="ja-JP" altLang="en-US" sz="1467" b="1" kern="0" dirty="0">
                <a:solidFill>
                  <a:srgbClr val="000000"/>
                </a:solidFill>
                <a:latin typeface="Arial"/>
                <a:ea typeface="ＭＳ Ｐゴシック" panose="020B0600070205080204" pitchFamily="50" charset="-128"/>
                <a:cs typeface="Arial" pitchFamily="34" charset="0"/>
              </a:endParaRPr>
            </a:p>
          </p:txBody>
        </p:sp>
        <p:sp>
          <p:nvSpPr>
            <p:cNvPr id="12" name="Text Box 233">
              <a:extLst>
                <a:ext uri="{FF2B5EF4-FFF2-40B4-BE49-F238E27FC236}">
                  <a16:creationId xmlns:a16="http://schemas.microsoft.com/office/drawing/2014/main" id="{6174A1AE-6603-422B-A659-4037BAE29B8C}"/>
                </a:ext>
              </a:extLst>
            </p:cNvPr>
            <p:cNvSpPr txBox="1">
              <a:spLocks noChangeArrowheads="1"/>
            </p:cNvSpPr>
            <p:nvPr/>
          </p:nvSpPr>
          <p:spPr bwMode="auto">
            <a:xfrm>
              <a:off x="1104" y="864"/>
              <a:ext cx="1008" cy="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lnSpc>
                  <a:spcPct val="75000"/>
                </a:lnSpc>
                <a:defRPr/>
              </a:pPr>
              <a:r>
                <a:rPr kumimoji="1" lang="en-US" altLang="ja-JP" sz="1467" b="1" kern="0" dirty="0">
                  <a:solidFill>
                    <a:srgbClr val="000000"/>
                  </a:solidFill>
                  <a:latin typeface="Arial"/>
                  <a:ea typeface="ＭＳ Ｐゴシック" panose="020B0600070205080204" pitchFamily="50" charset="-128"/>
                  <a:cs typeface="Arial" pitchFamily="34" charset="0"/>
                </a:rPr>
                <a:t>Project Approval</a:t>
              </a:r>
              <a:endParaRPr kumimoji="1" lang="ja-JP" altLang="en-US" sz="1467" b="1" kern="0" dirty="0">
                <a:solidFill>
                  <a:srgbClr val="000000"/>
                </a:solidFill>
                <a:latin typeface="Arial"/>
                <a:ea typeface="ＭＳ Ｐゴシック" panose="020B0600070205080204" pitchFamily="50" charset="-128"/>
                <a:cs typeface="Arial" pitchFamily="34" charset="0"/>
              </a:endParaRPr>
            </a:p>
          </p:txBody>
        </p:sp>
        <p:sp>
          <p:nvSpPr>
            <p:cNvPr id="13" name="Text Box 234">
              <a:extLst>
                <a:ext uri="{FF2B5EF4-FFF2-40B4-BE49-F238E27FC236}">
                  <a16:creationId xmlns:a16="http://schemas.microsoft.com/office/drawing/2014/main" id="{33ACD8EB-F0CC-4A72-BD48-49A9C13C57F6}"/>
                </a:ext>
              </a:extLst>
            </p:cNvPr>
            <p:cNvSpPr txBox="1">
              <a:spLocks noChangeArrowheads="1"/>
            </p:cNvSpPr>
            <p:nvPr/>
          </p:nvSpPr>
          <p:spPr bwMode="auto">
            <a:xfrm>
              <a:off x="2448" y="864"/>
              <a:ext cx="576" cy="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lnSpc>
                  <a:spcPct val="75000"/>
                </a:lnSpc>
                <a:defRPr/>
              </a:pPr>
              <a:r>
                <a:rPr kumimoji="1" lang="en-US" altLang="ja-JP" sz="1467" b="1" kern="0" dirty="0">
                  <a:solidFill>
                    <a:srgbClr val="000000"/>
                  </a:solidFill>
                  <a:latin typeface="Arial"/>
                  <a:ea typeface="ＭＳ Ｐゴシック" panose="020B0600070205080204" pitchFamily="50" charset="-128"/>
                  <a:cs typeface="Arial" pitchFamily="34" charset="0"/>
                </a:rPr>
                <a:t>Pilot</a:t>
              </a:r>
              <a:endParaRPr kumimoji="1" lang="ja-JP" altLang="en-US" sz="1467" b="1" kern="0" dirty="0">
                <a:solidFill>
                  <a:srgbClr val="000000"/>
                </a:solidFill>
                <a:latin typeface="Arial"/>
                <a:ea typeface="ＭＳ Ｐゴシック" panose="020B0600070205080204" pitchFamily="50" charset="-128"/>
                <a:cs typeface="Arial" pitchFamily="34" charset="0"/>
              </a:endParaRPr>
            </a:p>
          </p:txBody>
        </p:sp>
        <p:sp>
          <p:nvSpPr>
            <p:cNvPr id="14" name="Text Box 235">
              <a:extLst>
                <a:ext uri="{FF2B5EF4-FFF2-40B4-BE49-F238E27FC236}">
                  <a16:creationId xmlns:a16="http://schemas.microsoft.com/office/drawing/2014/main" id="{F89F0F92-2678-498D-9F48-D7D39476F642}"/>
                </a:ext>
              </a:extLst>
            </p:cNvPr>
            <p:cNvSpPr txBox="1">
              <a:spLocks noChangeArrowheads="1"/>
            </p:cNvSpPr>
            <p:nvPr/>
          </p:nvSpPr>
          <p:spPr bwMode="auto">
            <a:xfrm>
              <a:off x="3600" y="864"/>
              <a:ext cx="576" cy="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lnSpc>
                  <a:spcPct val="75000"/>
                </a:lnSpc>
                <a:defRPr/>
              </a:pPr>
              <a:r>
                <a:rPr kumimoji="1" lang="en-US" altLang="ja-JP" sz="1467" b="1" kern="0" dirty="0">
                  <a:solidFill>
                    <a:srgbClr val="000000"/>
                  </a:solidFill>
                  <a:latin typeface="Arial"/>
                  <a:ea typeface="ＭＳ Ｐゴシック" panose="020B0600070205080204" pitchFamily="50" charset="-128"/>
                  <a:cs typeface="Arial" pitchFamily="34" charset="0"/>
                </a:rPr>
                <a:t>Trial</a:t>
              </a:r>
              <a:endParaRPr kumimoji="1" lang="ja-JP" altLang="en-US" sz="1467" b="1" kern="0" dirty="0">
                <a:solidFill>
                  <a:srgbClr val="000000"/>
                </a:solidFill>
                <a:latin typeface="Arial"/>
                <a:ea typeface="ＭＳ Ｐゴシック" panose="020B0600070205080204" pitchFamily="50" charset="-128"/>
                <a:cs typeface="Arial" pitchFamily="34" charset="0"/>
              </a:endParaRPr>
            </a:p>
          </p:txBody>
        </p:sp>
        <p:sp>
          <p:nvSpPr>
            <p:cNvPr id="15" name="Text Box 236">
              <a:extLst>
                <a:ext uri="{FF2B5EF4-FFF2-40B4-BE49-F238E27FC236}">
                  <a16:creationId xmlns:a16="http://schemas.microsoft.com/office/drawing/2014/main" id="{85B1643A-8B72-4437-AEF9-A9D9F6EDB03F}"/>
                </a:ext>
              </a:extLst>
            </p:cNvPr>
            <p:cNvSpPr txBox="1">
              <a:spLocks noChangeArrowheads="1"/>
            </p:cNvSpPr>
            <p:nvPr/>
          </p:nvSpPr>
          <p:spPr bwMode="auto">
            <a:xfrm>
              <a:off x="4176" y="864"/>
              <a:ext cx="672" cy="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lnSpc>
                  <a:spcPct val="75000"/>
                </a:lnSpc>
                <a:defRPr/>
              </a:pPr>
              <a:r>
                <a:rPr kumimoji="1" lang="en-US" altLang="ja-JP" sz="1467" b="1" kern="0" dirty="0">
                  <a:solidFill>
                    <a:srgbClr val="000000"/>
                  </a:solidFill>
                  <a:latin typeface="Arial"/>
                  <a:ea typeface="ＭＳ Ｐゴシック" panose="020B0600070205080204" pitchFamily="50" charset="-128"/>
                  <a:cs typeface="Arial" pitchFamily="34" charset="0"/>
                </a:rPr>
                <a:t>Mass</a:t>
              </a:r>
            </a:p>
            <a:p>
              <a:pPr algn="ctr">
                <a:lnSpc>
                  <a:spcPct val="75000"/>
                </a:lnSpc>
                <a:defRPr/>
              </a:pPr>
              <a:r>
                <a:rPr kumimoji="1" lang="en-US" altLang="ja-JP" sz="1467" b="1" kern="0" dirty="0">
                  <a:solidFill>
                    <a:srgbClr val="000000"/>
                  </a:solidFill>
                  <a:latin typeface="Arial"/>
                  <a:ea typeface="ＭＳ Ｐゴシック" panose="020B0600070205080204" pitchFamily="50" charset="-128"/>
                  <a:cs typeface="Arial" pitchFamily="34" charset="0"/>
                </a:rPr>
                <a:t>Production</a:t>
              </a:r>
              <a:endParaRPr kumimoji="1" lang="ja-JP" altLang="en-US" sz="1467" b="1" kern="0" dirty="0">
                <a:solidFill>
                  <a:srgbClr val="000000"/>
                </a:solidFill>
                <a:latin typeface="Arial"/>
                <a:ea typeface="ＭＳ Ｐゴシック" panose="020B0600070205080204" pitchFamily="50" charset="-128"/>
                <a:cs typeface="Arial" pitchFamily="34" charset="0"/>
              </a:endParaRPr>
            </a:p>
          </p:txBody>
        </p:sp>
      </p:grpSp>
      <p:sp>
        <p:nvSpPr>
          <p:cNvPr id="16" name="Rectangle 237">
            <a:extLst>
              <a:ext uri="{FF2B5EF4-FFF2-40B4-BE49-F238E27FC236}">
                <a16:creationId xmlns:a16="http://schemas.microsoft.com/office/drawing/2014/main" id="{43B3286D-C834-42D7-B9AD-7100534BA6F5}"/>
              </a:ext>
            </a:extLst>
          </p:cNvPr>
          <p:cNvSpPr>
            <a:spLocks noChangeArrowheads="1"/>
          </p:cNvSpPr>
          <p:nvPr/>
        </p:nvSpPr>
        <p:spPr bwMode="auto">
          <a:xfrm>
            <a:off x="3556001" y="2625597"/>
            <a:ext cx="5882215" cy="3405716"/>
          </a:xfrm>
          <a:prstGeom prst="rect">
            <a:avLst/>
          </a:prstGeom>
          <a:solidFill>
            <a:srgbClr val="CCFFFF">
              <a:alpha val="50000"/>
            </a:srgbClr>
          </a:solidFill>
          <a:ln w="15875">
            <a:solidFill>
              <a:srgbClr val="0000FF"/>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dirty="0">
              <a:solidFill>
                <a:srgbClr val="000000"/>
              </a:solidFill>
              <a:latin typeface="Arial"/>
              <a:ea typeface="ＭＳ Ｐゴシック" panose="020B0600070205080204" pitchFamily="50" charset="-128"/>
              <a:cs typeface="Arial" pitchFamily="34" charset="0"/>
            </a:endParaRPr>
          </a:p>
        </p:txBody>
      </p:sp>
      <p:sp>
        <p:nvSpPr>
          <p:cNvPr id="17" name="Rectangle 238">
            <a:extLst>
              <a:ext uri="{FF2B5EF4-FFF2-40B4-BE49-F238E27FC236}">
                <a16:creationId xmlns:a16="http://schemas.microsoft.com/office/drawing/2014/main" id="{EE3229DC-175B-425C-944B-56819E42FF59}"/>
              </a:ext>
            </a:extLst>
          </p:cNvPr>
          <p:cNvSpPr>
            <a:spLocks noChangeArrowheads="1"/>
          </p:cNvSpPr>
          <p:nvPr/>
        </p:nvSpPr>
        <p:spPr bwMode="auto">
          <a:xfrm>
            <a:off x="455084" y="1611712"/>
            <a:ext cx="2844800" cy="1422400"/>
          </a:xfrm>
          <a:prstGeom prst="rect">
            <a:avLst/>
          </a:prstGeom>
          <a:solidFill>
            <a:srgbClr val="FF99CC">
              <a:alpha val="50000"/>
            </a:srgbClr>
          </a:solidFill>
          <a:ln w="15875">
            <a:solidFill>
              <a:srgbClr val="FF0000"/>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4000" rIns="48000" bIns="0"/>
          <a:lstStyle/>
          <a:p>
            <a:pPr algn="r">
              <a:defRPr/>
            </a:pPr>
            <a:endParaRPr kumimoji="1" lang="ja-JP" altLang="ja-JP" sz="1333" b="1" dirty="0">
              <a:solidFill>
                <a:srgbClr val="FF0000"/>
              </a:solidFill>
              <a:latin typeface="Arial"/>
              <a:ea typeface="ＭＳ Ｐゴシック" panose="020B0600070205080204" pitchFamily="50" charset="-128"/>
              <a:cs typeface="Arial" pitchFamily="34" charset="0"/>
            </a:endParaRPr>
          </a:p>
        </p:txBody>
      </p:sp>
      <p:grpSp>
        <p:nvGrpSpPr>
          <p:cNvPr id="18" name="Group 239">
            <a:extLst>
              <a:ext uri="{FF2B5EF4-FFF2-40B4-BE49-F238E27FC236}">
                <a16:creationId xmlns:a16="http://schemas.microsoft.com/office/drawing/2014/main" id="{78C768A4-F378-49F0-B4AB-37C8A20B26AF}"/>
              </a:ext>
            </a:extLst>
          </p:cNvPr>
          <p:cNvGrpSpPr>
            <a:grpSpLocks/>
          </p:cNvGrpSpPr>
          <p:nvPr/>
        </p:nvGrpSpPr>
        <p:grpSpPr bwMode="auto">
          <a:xfrm>
            <a:off x="2796117" y="3643712"/>
            <a:ext cx="3454400" cy="508000"/>
            <a:chOff x="1321" y="2400"/>
            <a:chExt cx="1632" cy="240"/>
          </a:xfrm>
        </p:grpSpPr>
        <p:grpSp>
          <p:nvGrpSpPr>
            <p:cNvPr id="19" name="Group 240">
              <a:extLst>
                <a:ext uri="{FF2B5EF4-FFF2-40B4-BE49-F238E27FC236}">
                  <a16:creationId xmlns:a16="http://schemas.microsoft.com/office/drawing/2014/main" id="{A9E005C6-0828-433E-8486-92E58911C793}"/>
                </a:ext>
              </a:extLst>
            </p:cNvPr>
            <p:cNvGrpSpPr>
              <a:grpSpLocks/>
            </p:cNvGrpSpPr>
            <p:nvPr/>
          </p:nvGrpSpPr>
          <p:grpSpPr bwMode="auto">
            <a:xfrm>
              <a:off x="1321" y="2400"/>
              <a:ext cx="1632" cy="240"/>
              <a:chOff x="1200" y="1920"/>
              <a:chExt cx="1824" cy="240"/>
            </a:xfrm>
          </p:grpSpPr>
          <p:sp>
            <p:nvSpPr>
              <p:cNvPr id="23" name="AutoShape 241">
                <a:extLst>
                  <a:ext uri="{FF2B5EF4-FFF2-40B4-BE49-F238E27FC236}">
                    <a16:creationId xmlns:a16="http://schemas.microsoft.com/office/drawing/2014/main" id="{F0142B87-671F-46F3-A578-002CEBFEF1A3}"/>
                  </a:ext>
                </a:extLst>
              </p:cNvPr>
              <p:cNvSpPr>
                <a:spLocks noChangeArrowheads="1"/>
              </p:cNvSpPr>
              <p:nvPr/>
            </p:nvSpPr>
            <p:spPr bwMode="auto">
              <a:xfrm rot="10800000">
                <a:off x="2544" y="1920"/>
                <a:ext cx="480" cy="240"/>
              </a:xfrm>
              <a:custGeom>
                <a:avLst/>
                <a:gdLst>
                  <a:gd name="G0" fmla="+- 10800 0 0"/>
                  <a:gd name="G1" fmla="+- 21600 0 10800"/>
                  <a:gd name="G2" fmla="*/ 10800 1 2"/>
                  <a:gd name="G3" fmla="+- 21600 0 G2"/>
                  <a:gd name="G4" fmla="+/ 10800 21600 2"/>
                  <a:gd name="G5" fmla="+/ G1 0 2"/>
                  <a:gd name="G6" fmla="*/ 21600 21600 10800"/>
                  <a:gd name="G7" fmla="*/ G6 1 2"/>
                  <a:gd name="G8" fmla="+- 21600 0 G7"/>
                  <a:gd name="G9" fmla="*/ 21600 1 2"/>
                  <a:gd name="G10" fmla="+- 10800 0 G9"/>
                  <a:gd name="G11" fmla="?: G10 G8 0"/>
                  <a:gd name="G12" fmla="?: G10 G7 21600"/>
                  <a:gd name="T0" fmla="*/ 16200 w 21600"/>
                  <a:gd name="T1" fmla="*/ 10800 h 21600"/>
                  <a:gd name="T2" fmla="*/ 10800 w 21600"/>
                  <a:gd name="T3" fmla="*/ 21600 h 21600"/>
                  <a:gd name="T4" fmla="*/ 5400 w 21600"/>
                  <a:gd name="T5" fmla="*/ 10800 h 21600"/>
                  <a:gd name="T6" fmla="*/ 10800 w 21600"/>
                  <a:gd name="T7" fmla="*/ 0 h 21600"/>
                  <a:gd name="T8" fmla="*/ 7200 w 21600"/>
                  <a:gd name="T9" fmla="*/ 7200 h 21600"/>
                  <a:gd name="T10" fmla="*/ 14400 w 21600"/>
                  <a:gd name="T11" fmla="*/ 14400 h 21600"/>
                </a:gdLst>
                <a:ahLst/>
                <a:cxnLst>
                  <a:cxn ang="0">
                    <a:pos x="T0" y="T1"/>
                  </a:cxn>
                  <a:cxn ang="0">
                    <a:pos x="T2" y="T3"/>
                  </a:cxn>
                  <a:cxn ang="0">
                    <a:pos x="T4" y="T5"/>
                  </a:cxn>
                  <a:cxn ang="0">
                    <a:pos x="T6" y="T7"/>
                  </a:cxn>
                </a:cxnLst>
                <a:rect l="T8" t="T9" r="T10" b="T11"/>
                <a:pathLst>
                  <a:path w="21600" h="21600">
                    <a:moveTo>
                      <a:pt x="0" y="0"/>
                    </a:moveTo>
                    <a:lnTo>
                      <a:pt x="10800" y="21600"/>
                    </a:lnTo>
                    <a:lnTo>
                      <a:pt x="10800" y="21600"/>
                    </a:lnTo>
                    <a:lnTo>
                      <a:pt x="21600" y="0"/>
                    </a:lnTo>
                    <a:close/>
                  </a:path>
                </a:pathLst>
              </a:custGeom>
              <a:solidFill>
                <a:srgbClr val="CCFFCC"/>
              </a:solidFill>
              <a:ln w="12700">
                <a:solidFill>
                  <a:srgbClr val="000000"/>
                </a:solidFill>
                <a:miter lim="800000"/>
                <a:headEnd/>
                <a:tailEnd/>
              </a:ln>
              <a:effectLst/>
              <a:extLst>
                <a:ext uri="{AF507438-7753-43E0-B8FC-AC1667EBCBE1}">
                  <a14:hiddenEffects xmlns:a14="http://schemas.microsoft.com/office/drawing/2010/main">
                    <a:effectLst>
                      <a:outerShdw dist="28398" dir="1593903" algn="ctr" rotWithShape="0">
                        <a:schemeClr val="bg2"/>
                      </a:outerShdw>
                    </a:effectLst>
                  </a14:hiddenEffects>
                </a:ext>
              </a:extLst>
            </p:spPr>
            <p:txBody>
              <a:bodyPr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24" name="Rectangle 242">
                <a:extLst>
                  <a:ext uri="{FF2B5EF4-FFF2-40B4-BE49-F238E27FC236}">
                    <a16:creationId xmlns:a16="http://schemas.microsoft.com/office/drawing/2014/main" id="{F168FDCA-3AD6-4513-8280-F203D66CEF47}"/>
                  </a:ext>
                </a:extLst>
              </p:cNvPr>
              <p:cNvSpPr>
                <a:spLocks noChangeArrowheads="1"/>
              </p:cNvSpPr>
              <p:nvPr/>
            </p:nvSpPr>
            <p:spPr bwMode="auto">
              <a:xfrm>
                <a:off x="1200" y="1920"/>
                <a:ext cx="1584" cy="240"/>
              </a:xfrm>
              <a:prstGeom prst="rect">
                <a:avLst/>
              </a:prstGeom>
              <a:solidFill>
                <a:srgbClr val="CCFFCC"/>
              </a:solidFill>
              <a:ln w="12700">
                <a:solidFill>
                  <a:srgbClr val="000000"/>
                </a:solidFill>
                <a:miter lim="800000"/>
                <a:headEnd/>
                <a:tailEnd/>
              </a:ln>
              <a:effectLst/>
              <a:extLst>
                <a:ext uri="{AF507438-7753-43E0-B8FC-AC1667EBCBE1}">
                  <a14:hiddenEffects xmlns:a14="http://schemas.microsoft.com/office/drawing/2010/main">
                    <a:effectLst>
                      <a:outerShdw dist="28398" dir="1593903" algn="ctr" rotWithShape="0">
                        <a:schemeClr val="bg2"/>
                      </a:outerShdw>
                    </a:effectLst>
                  </a14:hiddenEffects>
                </a:ext>
              </a:extLst>
            </p:spPr>
            <p:txBody>
              <a:bodyPr wrap="none" anchor="ctr"/>
              <a:lstStyle/>
              <a:p>
                <a:pPr algn="ctr">
                  <a:defRPr/>
                </a:pPr>
                <a:endParaRPr kumimoji="1" lang="ja-JP" altLang="ja-JP" sz="1733" b="1" kern="0" dirty="0">
                  <a:solidFill>
                    <a:srgbClr val="000000"/>
                  </a:solidFill>
                  <a:latin typeface="Arial"/>
                  <a:ea typeface="ＭＳ Ｐゴシック" panose="020B0600070205080204" pitchFamily="50" charset="-128"/>
                  <a:cs typeface="Arial" pitchFamily="34" charset="0"/>
                </a:endParaRPr>
              </a:p>
            </p:txBody>
          </p:sp>
          <p:sp>
            <p:nvSpPr>
              <p:cNvPr id="25" name="Rectangle 243">
                <a:extLst>
                  <a:ext uri="{FF2B5EF4-FFF2-40B4-BE49-F238E27FC236}">
                    <a16:creationId xmlns:a16="http://schemas.microsoft.com/office/drawing/2014/main" id="{B0D9A190-917F-40F1-95B3-2EBC5D04778A}"/>
                  </a:ext>
                </a:extLst>
              </p:cNvPr>
              <p:cNvSpPr>
                <a:spLocks noChangeArrowheads="1"/>
              </p:cNvSpPr>
              <p:nvPr/>
            </p:nvSpPr>
            <p:spPr bwMode="auto">
              <a:xfrm>
                <a:off x="2764" y="1925"/>
                <a:ext cx="25" cy="231"/>
              </a:xfrm>
              <a:prstGeom prst="rect">
                <a:avLst/>
              </a:prstGeom>
              <a:solidFill>
                <a:srgbClr val="CCFFCC"/>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28398" dir="1593903" algn="ctr" rotWithShape="0">
                        <a:schemeClr val="bg2"/>
                      </a:outerShdw>
                    </a:effectLst>
                  </a14:hiddenEffects>
                </a:ext>
              </a:extLst>
            </p:spPr>
            <p:txBody>
              <a:bodyPr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sp>
          <p:nvSpPr>
            <p:cNvPr id="20" name="Line 244">
              <a:extLst>
                <a:ext uri="{FF2B5EF4-FFF2-40B4-BE49-F238E27FC236}">
                  <a16:creationId xmlns:a16="http://schemas.microsoft.com/office/drawing/2014/main" id="{6DEA2F65-2A85-4E89-BC85-7A287E357F8C}"/>
                </a:ext>
              </a:extLst>
            </p:cNvPr>
            <p:cNvSpPr>
              <a:spLocks noChangeShapeType="1"/>
            </p:cNvSpPr>
            <p:nvPr/>
          </p:nvSpPr>
          <p:spPr bwMode="auto">
            <a:xfrm>
              <a:off x="1632" y="2400"/>
              <a:ext cx="0" cy="240"/>
            </a:xfrm>
            <a:prstGeom prst="line">
              <a:avLst/>
            </a:prstGeom>
            <a:noFill/>
            <a:ln w="12700">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21" name="Line 245">
              <a:extLst>
                <a:ext uri="{FF2B5EF4-FFF2-40B4-BE49-F238E27FC236}">
                  <a16:creationId xmlns:a16="http://schemas.microsoft.com/office/drawing/2014/main" id="{F51BF067-6823-40DC-A5AD-EADF2C6095A3}"/>
                </a:ext>
              </a:extLst>
            </p:cNvPr>
            <p:cNvSpPr>
              <a:spLocks noChangeShapeType="1"/>
            </p:cNvSpPr>
            <p:nvPr/>
          </p:nvSpPr>
          <p:spPr bwMode="auto">
            <a:xfrm>
              <a:off x="2736" y="2400"/>
              <a:ext cx="0" cy="240"/>
            </a:xfrm>
            <a:prstGeom prst="line">
              <a:avLst/>
            </a:prstGeom>
            <a:noFill/>
            <a:ln w="12700">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22" name="Rectangle 246">
              <a:extLst>
                <a:ext uri="{FF2B5EF4-FFF2-40B4-BE49-F238E27FC236}">
                  <a16:creationId xmlns:a16="http://schemas.microsoft.com/office/drawing/2014/main" id="{BCA56CA5-EBB4-4E8B-88BD-49ACD27C139F}"/>
                </a:ext>
              </a:extLst>
            </p:cNvPr>
            <p:cNvSpPr>
              <a:spLocks noChangeArrowheads="1"/>
            </p:cNvSpPr>
            <p:nvPr/>
          </p:nvSpPr>
          <p:spPr bwMode="auto">
            <a:xfrm>
              <a:off x="1584" y="2448"/>
              <a:ext cx="1008" cy="144"/>
            </a:xfrm>
            <a:prstGeom prst="rect">
              <a:avLst/>
            </a:prstGeom>
            <a:solidFill>
              <a:srgbClr val="CCFF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28398" dir="1593903" algn="ctr" rotWithShape="0">
                      <a:schemeClr val="bg2"/>
                    </a:outerShdw>
                  </a:effectLst>
                </a14:hiddenEffects>
              </a:ext>
            </a:extLst>
          </p:spPr>
          <p:txBody>
            <a:bodyPr wrap="none" anchor="ctr"/>
            <a:lstStyle/>
            <a:p>
              <a:pPr algn="ctr">
                <a:defRPr/>
              </a:pPr>
              <a:r>
                <a:rPr kumimoji="1" lang="en-US" altLang="ja-JP" sz="1733" b="1" kern="0" baseline="30000" dirty="0">
                  <a:solidFill>
                    <a:srgbClr val="000000"/>
                  </a:solidFill>
                  <a:latin typeface="Arial"/>
                  <a:ea typeface="ＭＳ Ｐゴシック" panose="020B0600070205080204" pitchFamily="50" charset="-128"/>
                  <a:cs typeface="Arial" pitchFamily="34" charset="0"/>
                </a:rPr>
                <a:t>Phase 4</a:t>
              </a:r>
              <a:r>
                <a:rPr kumimoji="1" lang="en-US" altLang="ja-JP" sz="1733" b="1" kern="0" dirty="0">
                  <a:solidFill>
                    <a:srgbClr val="000000"/>
                  </a:solidFill>
                  <a:latin typeface="Arial"/>
                  <a:ea typeface="ＭＳ Ｐゴシック" panose="020B0600070205080204" pitchFamily="50" charset="-128"/>
                  <a:cs typeface="Arial" pitchFamily="34" charset="0"/>
                </a:rPr>
                <a:t> Product Development</a:t>
              </a:r>
              <a:endParaRPr kumimoji="1" lang="ja-JP" altLang="en-US" sz="1733" b="1" kern="0" dirty="0">
                <a:solidFill>
                  <a:srgbClr val="000000"/>
                </a:solidFill>
                <a:latin typeface="Arial"/>
                <a:ea typeface="ＭＳ Ｐゴシック" panose="020B0600070205080204" pitchFamily="50" charset="-128"/>
                <a:cs typeface="Arial" pitchFamily="34" charset="0"/>
              </a:endParaRPr>
            </a:p>
          </p:txBody>
        </p:sp>
      </p:grpSp>
      <p:grpSp>
        <p:nvGrpSpPr>
          <p:cNvPr id="26" name="Group 247">
            <a:extLst>
              <a:ext uri="{FF2B5EF4-FFF2-40B4-BE49-F238E27FC236}">
                <a16:creationId xmlns:a16="http://schemas.microsoft.com/office/drawing/2014/main" id="{1FFAE538-172D-4622-AE65-466663A21530}"/>
              </a:ext>
            </a:extLst>
          </p:cNvPr>
          <p:cNvGrpSpPr>
            <a:grpSpLocks/>
          </p:cNvGrpSpPr>
          <p:nvPr/>
        </p:nvGrpSpPr>
        <p:grpSpPr bwMode="auto">
          <a:xfrm>
            <a:off x="8737601" y="5066112"/>
            <a:ext cx="3045884" cy="711200"/>
            <a:chOff x="4128" y="2760"/>
            <a:chExt cx="1439" cy="336"/>
          </a:xfrm>
        </p:grpSpPr>
        <p:grpSp>
          <p:nvGrpSpPr>
            <p:cNvPr id="27" name="Group 248">
              <a:extLst>
                <a:ext uri="{FF2B5EF4-FFF2-40B4-BE49-F238E27FC236}">
                  <a16:creationId xmlns:a16="http://schemas.microsoft.com/office/drawing/2014/main" id="{9A7BBB9C-7653-4F95-A047-7325CDB20420}"/>
                </a:ext>
              </a:extLst>
            </p:cNvPr>
            <p:cNvGrpSpPr>
              <a:grpSpLocks/>
            </p:cNvGrpSpPr>
            <p:nvPr/>
          </p:nvGrpSpPr>
          <p:grpSpPr bwMode="auto">
            <a:xfrm>
              <a:off x="4128" y="2808"/>
              <a:ext cx="1392" cy="240"/>
              <a:chOff x="4128" y="2808"/>
              <a:chExt cx="1392" cy="240"/>
            </a:xfrm>
          </p:grpSpPr>
          <p:sp>
            <p:nvSpPr>
              <p:cNvPr id="31" name="AutoShape 249">
                <a:extLst>
                  <a:ext uri="{FF2B5EF4-FFF2-40B4-BE49-F238E27FC236}">
                    <a16:creationId xmlns:a16="http://schemas.microsoft.com/office/drawing/2014/main" id="{3C813260-E83F-4D06-9EF4-70CDFC494591}"/>
                  </a:ext>
                </a:extLst>
              </p:cNvPr>
              <p:cNvSpPr>
                <a:spLocks noChangeArrowheads="1"/>
              </p:cNvSpPr>
              <p:nvPr/>
            </p:nvSpPr>
            <p:spPr bwMode="auto">
              <a:xfrm rot="21600000">
                <a:off x="4128" y="2808"/>
                <a:ext cx="768" cy="240"/>
              </a:xfrm>
              <a:custGeom>
                <a:avLst/>
                <a:gdLst>
                  <a:gd name="G0" fmla="+- 10800 0 0"/>
                  <a:gd name="G1" fmla="+- 21600 0 10800"/>
                  <a:gd name="G2" fmla="*/ 10800 1 2"/>
                  <a:gd name="G3" fmla="+- 21600 0 G2"/>
                  <a:gd name="G4" fmla="+/ 10800 21600 2"/>
                  <a:gd name="G5" fmla="+/ G1 0 2"/>
                  <a:gd name="G6" fmla="*/ 21600 21600 10800"/>
                  <a:gd name="G7" fmla="*/ G6 1 2"/>
                  <a:gd name="G8" fmla="+- 21600 0 G7"/>
                  <a:gd name="G9" fmla="*/ 21600 1 2"/>
                  <a:gd name="G10" fmla="+- 10800 0 G9"/>
                  <a:gd name="G11" fmla="?: G10 G8 0"/>
                  <a:gd name="G12" fmla="?: G10 G7 21600"/>
                  <a:gd name="T0" fmla="*/ 16200 w 21600"/>
                  <a:gd name="T1" fmla="*/ 10800 h 21600"/>
                  <a:gd name="T2" fmla="*/ 10800 w 21600"/>
                  <a:gd name="T3" fmla="*/ 21600 h 21600"/>
                  <a:gd name="T4" fmla="*/ 5400 w 21600"/>
                  <a:gd name="T5" fmla="*/ 10800 h 21600"/>
                  <a:gd name="T6" fmla="*/ 10800 w 21600"/>
                  <a:gd name="T7" fmla="*/ 0 h 21600"/>
                  <a:gd name="T8" fmla="*/ 7200 w 21600"/>
                  <a:gd name="T9" fmla="*/ 7200 h 21600"/>
                  <a:gd name="T10" fmla="*/ 14400 w 21600"/>
                  <a:gd name="T11" fmla="*/ 14400 h 21600"/>
                </a:gdLst>
                <a:ahLst/>
                <a:cxnLst>
                  <a:cxn ang="0">
                    <a:pos x="T0" y="T1"/>
                  </a:cxn>
                  <a:cxn ang="0">
                    <a:pos x="T2" y="T3"/>
                  </a:cxn>
                  <a:cxn ang="0">
                    <a:pos x="T4" y="T5"/>
                  </a:cxn>
                  <a:cxn ang="0">
                    <a:pos x="T6" y="T7"/>
                  </a:cxn>
                </a:cxnLst>
                <a:rect l="T8" t="T9" r="T10" b="T11"/>
                <a:pathLst>
                  <a:path w="21600" h="21600">
                    <a:moveTo>
                      <a:pt x="0" y="0"/>
                    </a:moveTo>
                    <a:lnTo>
                      <a:pt x="10800" y="21600"/>
                    </a:lnTo>
                    <a:lnTo>
                      <a:pt x="10800" y="21600"/>
                    </a:lnTo>
                    <a:lnTo>
                      <a:pt x="21600" y="0"/>
                    </a:lnTo>
                    <a:close/>
                  </a:path>
                </a:pathLst>
              </a:custGeom>
              <a:solidFill>
                <a:srgbClr val="CCFFCC"/>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32" name="Rectangle 250">
                <a:extLst>
                  <a:ext uri="{FF2B5EF4-FFF2-40B4-BE49-F238E27FC236}">
                    <a16:creationId xmlns:a16="http://schemas.microsoft.com/office/drawing/2014/main" id="{FEAFFD08-8554-4B30-9779-5C8048F16E5C}"/>
                  </a:ext>
                </a:extLst>
              </p:cNvPr>
              <p:cNvSpPr>
                <a:spLocks noChangeArrowheads="1"/>
              </p:cNvSpPr>
              <p:nvPr/>
            </p:nvSpPr>
            <p:spPr bwMode="auto">
              <a:xfrm rot="10800000">
                <a:off x="4512" y="2808"/>
                <a:ext cx="1008" cy="240"/>
              </a:xfrm>
              <a:prstGeom prst="rect">
                <a:avLst/>
              </a:prstGeom>
              <a:solidFill>
                <a:srgbClr val="CCFFCC"/>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pPr algn="ctr">
                  <a:defRPr/>
                </a:pPr>
                <a:endParaRPr kumimoji="1" lang="ja-JP" altLang="ja-JP" sz="1733" b="1" kern="0" dirty="0">
                  <a:solidFill>
                    <a:srgbClr val="000000"/>
                  </a:solidFill>
                  <a:latin typeface="Arial"/>
                  <a:ea typeface="ＭＳ Ｐゴシック" panose="020B0600070205080204" pitchFamily="50" charset="-128"/>
                  <a:cs typeface="Arial" pitchFamily="34" charset="0"/>
                </a:endParaRPr>
              </a:p>
            </p:txBody>
          </p:sp>
          <p:sp>
            <p:nvSpPr>
              <p:cNvPr id="33" name="Rectangle 251">
                <a:extLst>
                  <a:ext uri="{FF2B5EF4-FFF2-40B4-BE49-F238E27FC236}">
                    <a16:creationId xmlns:a16="http://schemas.microsoft.com/office/drawing/2014/main" id="{7EAAA7E3-0988-4A4E-BA8E-2A46238ACE81}"/>
                  </a:ext>
                </a:extLst>
              </p:cNvPr>
              <p:cNvSpPr>
                <a:spLocks noChangeArrowheads="1"/>
              </p:cNvSpPr>
              <p:nvPr/>
            </p:nvSpPr>
            <p:spPr bwMode="auto">
              <a:xfrm rot="10800000">
                <a:off x="4500" y="2813"/>
                <a:ext cx="25" cy="229"/>
              </a:xfrm>
              <a:prstGeom prst="rect">
                <a:avLst/>
              </a:prstGeom>
              <a:solidFill>
                <a:srgbClr val="CCFFCC"/>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34" name="Line 252">
                <a:extLst>
                  <a:ext uri="{FF2B5EF4-FFF2-40B4-BE49-F238E27FC236}">
                    <a16:creationId xmlns:a16="http://schemas.microsoft.com/office/drawing/2014/main" id="{08B98730-4FDD-4647-89C4-072D538399D5}"/>
                  </a:ext>
                </a:extLst>
              </p:cNvPr>
              <p:cNvSpPr>
                <a:spLocks noChangeShapeType="1"/>
              </p:cNvSpPr>
              <p:nvPr/>
            </p:nvSpPr>
            <p:spPr bwMode="auto">
              <a:xfrm>
                <a:off x="4513" y="2808"/>
                <a:ext cx="0" cy="240"/>
              </a:xfrm>
              <a:prstGeom prst="line">
                <a:avLst/>
              </a:prstGeom>
              <a:noFill/>
              <a:ln w="12700">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35" name="Rectangle 253">
                <a:extLst>
                  <a:ext uri="{FF2B5EF4-FFF2-40B4-BE49-F238E27FC236}">
                    <a16:creationId xmlns:a16="http://schemas.microsoft.com/office/drawing/2014/main" id="{911108F7-0015-459B-9662-25E026432228}"/>
                  </a:ext>
                </a:extLst>
              </p:cNvPr>
              <p:cNvSpPr>
                <a:spLocks noChangeArrowheads="1"/>
              </p:cNvSpPr>
              <p:nvPr/>
            </p:nvSpPr>
            <p:spPr bwMode="auto">
              <a:xfrm>
                <a:off x="4560" y="2856"/>
                <a:ext cx="576" cy="144"/>
              </a:xfrm>
              <a:prstGeom prst="rect">
                <a:avLst/>
              </a:prstGeom>
              <a:solidFill>
                <a:srgbClr val="CCFF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defRPr/>
                </a:pPr>
                <a:r>
                  <a:rPr kumimoji="1" lang="en-US" altLang="ja-JP" sz="1733" b="1" kern="0" baseline="30000" dirty="0">
                    <a:solidFill>
                      <a:srgbClr val="000000"/>
                    </a:solidFill>
                    <a:latin typeface="Arial"/>
                    <a:ea typeface="ＭＳ Ｐゴシック" panose="020B0600070205080204" pitchFamily="50" charset="-128"/>
                    <a:cs typeface="Arial" pitchFamily="34" charset="0"/>
                  </a:rPr>
                  <a:t>Phase.7-8</a:t>
                </a:r>
                <a:r>
                  <a:rPr kumimoji="1" lang="en-US" altLang="ja-JP" sz="1733" b="1" kern="0" dirty="0">
                    <a:solidFill>
                      <a:srgbClr val="000000"/>
                    </a:solidFill>
                    <a:latin typeface="Arial"/>
                    <a:ea typeface="ＭＳ Ｐゴシック" panose="020B0600070205080204" pitchFamily="50" charset="-128"/>
                    <a:cs typeface="Arial" pitchFamily="34" charset="0"/>
                  </a:rPr>
                  <a:t> Mass Production</a:t>
                </a:r>
                <a:endParaRPr kumimoji="1" lang="ja-JP" altLang="en-US" sz="1733" b="1" kern="0" dirty="0">
                  <a:solidFill>
                    <a:srgbClr val="000000"/>
                  </a:solidFill>
                  <a:latin typeface="Arial"/>
                  <a:ea typeface="ＭＳ Ｐゴシック" panose="020B0600070205080204" pitchFamily="50" charset="-128"/>
                  <a:cs typeface="Arial" pitchFamily="34" charset="0"/>
                </a:endParaRPr>
              </a:p>
            </p:txBody>
          </p:sp>
        </p:grpSp>
        <p:sp>
          <p:nvSpPr>
            <p:cNvPr id="28" name="AutoShape 254">
              <a:extLst>
                <a:ext uri="{FF2B5EF4-FFF2-40B4-BE49-F238E27FC236}">
                  <a16:creationId xmlns:a16="http://schemas.microsoft.com/office/drawing/2014/main" id="{1D9795BF-4772-43BA-A408-9BF9AD6C42CD}"/>
                </a:ext>
              </a:extLst>
            </p:cNvPr>
            <p:cNvSpPr>
              <a:spLocks noChangeArrowheads="1"/>
            </p:cNvSpPr>
            <p:nvPr/>
          </p:nvSpPr>
          <p:spPr bwMode="auto">
            <a:xfrm rot="16200000">
              <a:off x="5404" y="2808"/>
              <a:ext cx="122" cy="122"/>
            </a:xfrm>
            <a:prstGeom prst="triangle">
              <a:avLst>
                <a:gd name="adj" fmla="val 50000"/>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29" name="AutoShape 255">
              <a:extLst>
                <a:ext uri="{FF2B5EF4-FFF2-40B4-BE49-F238E27FC236}">
                  <a16:creationId xmlns:a16="http://schemas.microsoft.com/office/drawing/2014/main" id="{016D3CC7-E606-44AE-8FFD-1F9BE8F707CA}"/>
                </a:ext>
              </a:extLst>
            </p:cNvPr>
            <p:cNvSpPr>
              <a:spLocks noChangeArrowheads="1"/>
            </p:cNvSpPr>
            <p:nvPr/>
          </p:nvSpPr>
          <p:spPr bwMode="auto">
            <a:xfrm rot="16200000">
              <a:off x="5404" y="2926"/>
              <a:ext cx="122" cy="122"/>
            </a:xfrm>
            <a:prstGeom prst="triangle">
              <a:avLst>
                <a:gd name="adj" fmla="val 50000"/>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30" name="Rectangle 256">
              <a:extLst>
                <a:ext uri="{FF2B5EF4-FFF2-40B4-BE49-F238E27FC236}">
                  <a16:creationId xmlns:a16="http://schemas.microsoft.com/office/drawing/2014/main" id="{865B9CCF-F049-41D1-A561-F2CC0466447C}"/>
                </a:ext>
              </a:extLst>
            </p:cNvPr>
            <p:cNvSpPr>
              <a:spLocks noChangeArrowheads="1"/>
            </p:cNvSpPr>
            <p:nvPr/>
          </p:nvSpPr>
          <p:spPr bwMode="auto">
            <a:xfrm>
              <a:off x="5520" y="2760"/>
              <a:ext cx="47" cy="33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grpSp>
        <p:nvGrpSpPr>
          <p:cNvPr id="36" name="Group 257">
            <a:extLst>
              <a:ext uri="{FF2B5EF4-FFF2-40B4-BE49-F238E27FC236}">
                <a16:creationId xmlns:a16="http://schemas.microsoft.com/office/drawing/2014/main" id="{0CD7629E-7CCE-48BD-AE7D-183186F5B84E}"/>
              </a:ext>
            </a:extLst>
          </p:cNvPr>
          <p:cNvGrpSpPr>
            <a:grpSpLocks/>
          </p:cNvGrpSpPr>
          <p:nvPr/>
        </p:nvGrpSpPr>
        <p:grpSpPr bwMode="auto">
          <a:xfrm>
            <a:off x="4165600" y="4659712"/>
            <a:ext cx="5384800" cy="508000"/>
            <a:chOff x="1968" y="2568"/>
            <a:chExt cx="2544" cy="240"/>
          </a:xfrm>
        </p:grpSpPr>
        <p:grpSp>
          <p:nvGrpSpPr>
            <p:cNvPr id="37" name="Group 258">
              <a:extLst>
                <a:ext uri="{FF2B5EF4-FFF2-40B4-BE49-F238E27FC236}">
                  <a16:creationId xmlns:a16="http://schemas.microsoft.com/office/drawing/2014/main" id="{BCC856CF-51A6-4D73-990F-53CDAC008743}"/>
                </a:ext>
              </a:extLst>
            </p:cNvPr>
            <p:cNvGrpSpPr>
              <a:grpSpLocks/>
            </p:cNvGrpSpPr>
            <p:nvPr/>
          </p:nvGrpSpPr>
          <p:grpSpPr bwMode="auto">
            <a:xfrm>
              <a:off x="1968" y="2568"/>
              <a:ext cx="2544" cy="240"/>
              <a:chOff x="1968" y="2568"/>
              <a:chExt cx="2544" cy="240"/>
            </a:xfrm>
          </p:grpSpPr>
          <p:sp>
            <p:nvSpPr>
              <p:cNvPr id="41" name="AutoShape 259">
                <a:extLst>
                  <a:ext uri="{FF2B5EF4-FFF2-40B4-BE49-F238E27FC236}">
                    <a16:creationId xmlns:a16="http://schemas.microsoft.com/office/drawing/2014/main" id="{57C08DBE-4656-41F2-98E1-51C3C68DBBC7}"/>
                  </a:ext>
                </a:extLst>
              </p:cNvPr>
              <p:cNvSpPr>
                <a:spLocks noChangeArrowheads="1"/>
              </p:cNvSpPr>
              <p:nvPr/>
            </p:nvSpPr>
            <p:spPr bwMode="auto">
              <a:xfrm rot="10800000">
                <a:off x="3264" y="2568"/>
                <a:ext cx="1248" cy="240"/>
              </a:xfrm>
              <a:custGeom>
                <a:avLst/>
                <a:gdLst>
                  <a:gd name="G0" fmla="+- 10800 0 0"/>
                  <a:gd name="G1" fmla="+- 21600 0 10800"/>
                  <a:gd name="G2" fmla="*/ 10800 1 2"/>
                  <a:gd name="G3" fmla="+- 21600 0 G2"/>
                  <a:gd name="G4" fmla="+/ 10800 21600 2"/>
                  <a:gd name="G5" fmla="+/ G1 0 2"/>
                  <a:gd name="G6" fmla="*/ 21600 21600 10800"/>
                  <a:gd name="G7" fmla="*/ G6 1 2"/>
                  <a:gd name="G8" fmla="+- 21600 0 G7"/>
                  <a:gd name="G9" fmla="*/ 21600 1 2"/>
                  <a:gd name="G10" fmla="+- 10800 0 G9"/>
                  <a:gd name="G11" fmla="?: G10 G8 0"/>
                  <a:gd name="G12" fmla="?: G10 G7 21600"/>
                  <a:gd name="T0" fmla="*/ 16200 w 21600"/>
                  <a:gd name="T1" fmla="*/ 10800 h 21600"/>
                  <a:gd name="T2" fmla="*/ 10800 w 21600"/>
                  <a:gd name="T3" fmla="*/ 21600 h 21600"/>
                  <a:gd name="T4" fmla="*/ 5400 w 21600"/>
                  <a:gd name="T5" fmla="*/ 10800 h 21600"/>
                  <a:gd name="T6" fmla="*/ 10800 w 21600"/>
                  <a:gd name="T7" fmla="*/ 0 h 21600"/>
                  <a:gd name="T8" fmla="*/ 7200 w 21600"/>
                  <a:gd name="T9" fmla="*/ 7200 h 21600"/>
                  <a:gd name="T10" fmla="*/ 14400 w 21600"/>
                  <a:gd name="T11" fmla="*/ 14400 h 21600"/>
                </a:gdLst>
                <a:ahLst/>
                <a:cxnLst>
                  <a:cxn ang="0">
                    <a:pos x="T0" y="T1"/>
                  </a:cxn>
                  <a:cxn ang="0">
                    <a:pos x="T2" y="T3"/>
                  </a:cxn>
                  <a:cxn ang="0">
                    <a:pos x="T4" y="T5"/>
                  </a:cxn>
                  <a:cxn ang="0">
                    <a:pos x="T6" y="T7"/>
                  </a:cxn>
                </a:cxnLst>
                <a:rect l="T8" t="T9" r="T10" b="T11"/>
                <a:pathLst>
                  <a:path w="21600" h="21600">
                    <a:moveTo>
                      <a:pt x="0" y="0"/>
                    </a:moveTo>
                    <a:lnTo>
                      <a:pt x="10800" y="21600"/>
                    </a:lnTo>
                    <a:lnTo>
                      <a:pt x="10800" y="21600"/>
                    </a:lnTo>
                    <a:lnTo>
                      <a:pt x="21600" y="0"/>
                    </a:lnTo>
                    <a:close/>
                  </a:path>
                </a:pathLst>
              </a:custGeom>
              <a:solidFill>
                <a:srgbClr val="CCFFCC"/>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42" name="Rectangle 260">
                <a:extLst>
                  <a:ext uri="{FF2B5EF4-FFF2-40B4-BE49-F238E27FC236}">
                    <a16:creationId xmlns:a16="http://schemas.microsoft.com/office/drawing/2014/main" id="{0865FA3D-84D1-46A3-8651-168EA6D92686}"/>
                  </a:ext>
                </a:extLst>
              </p:cNvPr>
              <p:cNvSpPr>
                <a:spLocks noChangeArrowheads="1"/>
              </p:cNvSpPr>
              <p:nvPr/>
            </p:nvSpPr>
            <p:spPr bwMode="auto">
              <a:xfrm>
                <a:off x="1968" y="2568"/>
                <a:ext cx="1920" cy="240"/>
              </a:xfrm>
              <a:prstGeom prst="rect">
                <a:avLst/>
              </a:prstGeom>
              <a:solidFill>
                <a:srgbClr val="CCFFCC"/>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defRPr/>
                </a:pPr>
                <a:endParaRPr kumimoji="1" lang="ja-JP" altLang="ja-JP" sz="1733" b="1" kern="0" dirty="0">
                  <a:solidFill>
                    <a:srgbClr val="000000"/>
                  </a:solidFill>
                  <a:latin typeface="Arial"/>
                  <a:ea typeface="ＭＳ Ｐゴシック" panose="020B0600070205080204" pitchFamily="50" charset="-128"/>
                  <a:cs typeface="Arial" pitchFamily="34" charset="0"/>
                </a:endParaRPr>
              </a:p>
            </p:txBody>
          </p:sp>
          <p:sp>
            <p:nvSpPr>
              <p:cNvPr id="43" name="Rectangle 261">
                <a:extLst>
                  <a:ext uri="{FF2B5EF4-FFF2-40B4-BE49-F238E27FC236}">
                    <a16:creationId xmlns:a16="http://schemas.microsoft.com/office/drawing/2014/main" id="{DFB3E1D8-5895-46F9-84FC-63F3C8F26019}"/>
                  </a:ext>
                </a:extLst>
              </p:cNvPr>
              <p:cNvSpPr>
                <a:spLocks noChangeArrowheads="1"/>
              </p:cNvSpPr>
              <p:nvPr/>
            </p:nvSpPr>
            <p:spPr bwMode="auto">
              <a:xfrm>
                <a:off x="3873" y="2573"/>
                <a:ext cx="25" cy="231"/>
              </a:xfrm>
              <a:prstGeom prst="rect">
                <a:avLst/>
              </a:prstGeom>
              <a:solidFill>
                <a:srgbClr val="CCFFCC"/>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sp>
          <p:nvSpPr>
            <p:cNvPr id="38" name="Line 262">
              <a:extLst>
                <a:ext uri="{FF2B5EF4-FFF2-40B4-BE49-F238E27FC236}">
                  <a16:creationId xmlns:a16="http://schemas.microsoft.com/office/drawing/2014/main" id="{1FDB9D4A-9271-426E-9119-C940A7E4209A}"/>
                </a:ext>
              </a:extLst>
            </p:cNvPr>
            <p:cNvSpPr>
              <a:spLocks noChangeShapeType="1"/>
            </p:cNvSpPr>
            <p:nvPr/>
          </p:nvSpPr>
          <p:spPr bwMode="auto">
            <a:xfrm>
              <a:off x="2736" y="2568"/>
              <a:ext cx="0" cy="240"/>
            </a:xfrm>
            <a:prstGeom prst="line">
              <a:avLst/>
            </a:prstGeom>
            <a:noFill/>
            <a:ln w="12700">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39" name="Line 263">
              <a:extLst>
                <a:ext uri="{FF2B5EF4-FFF2-40B4-BE49-F238E27FC236}">
                  <a16:creationId xmlns:a16="http://schemas.microsoft.com/office/drawing/2014/main" id="{BC0582D0-17DB-40D2-9E42-0FC5E7B09E45}"/>
                </a:ext>
              </a:extLst>
            </p:cNvPr>
            <p:cNvSpPr>
              <a:spLocks noChangeShapeType="1"/>
            </p:cNvSpPr>
            <p:nvPr/>
          </p:nvSpPr>
          <p:spPr bwMode="auto">
            <a:xfrm>
              <a:off x="3888" y="2568"/>
              <a:ext cx="0" cy="240"/>
            </a:xfrm>
            <a:prstGeom prst="line">
              <a:avLst/>
            </a:prstGeom>
            <a:noFill/>
            <a:ln w="12700">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40" name="Rectangle 264">
              <a:extLst>
                <a:ext uri="{FF2B5EF4-FFF2-40B4-BE49-F238E27FC236}">
                  <a16:creationId xmlns:a16="http://schemas.microsoft.com/office/drawing/2014/main" id="{6E095F1B-26A3-41CD-80DE-D5E44A0F9F77}"/>
                </a:ext>
              </a:extLst>
            </p:cNvPr>
            <p:cNvSpPr>
              <a:spLocks noChangeArrowheads="1"/>
            </p:cNvSpPr>
            <p:nvPr/>
          </p:nvSpPr>
          <p:spPr bwMode="auto">
            <a:xfrm>
              <a:off x="2208" y="2618"/>
              <a:ext cx="1680" cy="144"/>
            </a:xfrm>
            <a:prstGeom prst="rect">
              <a:avLst/>
            </a:prstGeom>
            <a:solidFill>
              <a:srgbClr val="CCFF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defRPr/>
              </a:pPr>
              <a:r>
                <a:rPr kumimoji="1" lang="en-US" altLang="ja-JP" sz="1733" b="1" kern="0" baseline="30000" dirty="0">
                  <a:solidFill>
                    <a:srgbClr val="000000"/>
                  </a:solidFill>
                  <a:latin typeface="Arial"/>
                  <a:ea typeface="ＭＳ Ｐゴシック" panose="020B0600070205080204" pitchFamily="50" charset="-128"/>
                  <a:cs typeface="Arial" pitchFamily="34" charset="0"/>
                </a:rPr>
                <a:t>Phase.5-6</a:t>
              </a:r>
              <a:r>
                <a:rPr kumimoji="1" lang="en-US" altLang="ja-JP" sz="1733" b="1" kern="0" dirty="0">
                  <a:solidFill>
                    <a:srgbClr val="000000"/>
                  </a:solidFill>
                  <a:latin typeface="Arial"/>
                  <a:ea typeface="ＭＳ Ｐゴシック" panose="020B0600070205080204" pitchFamily="50" charset="-128"/>
                  <a:cs typeface="Arial" pitchFamily="34" charset="0"/>
                </a:rPr>
                <a:t> Product &amp; Process Verification</a:t>
              </a:r>
              <a:endParaRPr kumimoji="1" lang="ja-JP" altLang="en-US" sz="1733" b="1" kern="0" dirty="0">
                <a:solidFill>
                  <a:srgbClr val="000000"/>
                </a:solidFill>
                <a:latin typeface="Arial"/>
                <a:ea typeface="ＭＳ Ｐゴシック" panose="020B0600070205080204" pitchFamily="50" charset="-128"/>
                <a:cs typeface="Arial" pitchFamily="34" charset="0"/>
              </a:endParaRPr>
            </a:p>
          </p:txBody>
        </p:sp>
      </p:grpSp>
      <p:grpSp>
        <p:nvGrpSpPr>
          <p:cNvPr id="44" name="Group 265">
            <a:extLst>
              <a:ext uri="{FF2B5EF4-FFF2-40B4-BE49-F238E27FC236}">
                <a16:creationId xmlns:a16="http://schemas.microsoft.com/office/drawing/2014/main" id="{CEF98F47-A775-451D-9445-D041B60E611C}"/>
              </a:ext>
            </a:extLst>
          </p:cNvPr>
          <p:cNvGrpSpPr>
            <a:grpSpLocks/>
          </p:cNvGrpSpPr>
          <p:nvPr/>
        </p:nvGrpSpPr>
        <p:grpSpPr bwMode="auto">
          <a:xfrm>
            <a:off x="8180917" y="5068229"/>
            <a:ext cx="1117600" cy="812800"/>
            <a:chOff x="288" y="1872"/>
            <a:chExt cx="528" cy="384"/>
          </a:xfrm>
        </p:grpSpPr>
        <p:sp>
          <p:nvSpPr>
            <p:cNvPr id="45" name="Line 266">
              <a:extLst>
                <a:ext uri="{FF2B5EF4-FFF2-40B4-BE49-F238E27FC236}">
                  <a16:creationId xmlns:a16="http://schemas.microsoft.com/office/drawing/2014/main" id="{4FAE95AB-B960-4D59-A5CE-512C0FEE2FE5}"/>
                </a:ext>
              </a:extLst>
            </p:cNvPr>
            <p:cNvSpPr>
              <a:spLocks noChangeShapeType="1"/>
            </p:cNvSpPr>
            <p:nvPr/>
          </p:nvSpPr>
          <p:spPr bwMode="auto">
            <a:xfrm>
              <a:off x="553" y="1872"/>
              <a:ext cx="0" cy="192"/>
            </a:xfrm>
            <a:prstGeom prst="line">
              <a:avLst/>
            </a:prstGeom>
            <a:noFill/>
            <a:ln w="41275">
              <a:solidFill>
                <a:srgbClr val="0000FF"/>
              </a:solidFill>
              <a:round/>
              <a:headEnd/>
              <a:tailEnd type="triangl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46" name="Rectangle 267">
              <a:extLst>
                <a:ext uri="{FF2B5EF4-FFF2-40B4-BE49-F238E27FC236}">
                  <a16:creationId xmlns:a16="http://schemas.microsoft.com/office/drawing/2014/main" id="{5065AEA7-9AF6-4F84-A1BE-7B2F28266BF1}"/>
                </a:ext>
              </a:extLst>
            </p:cNvPr>
            <p:cNvSpPr>
              <a:spLocks noChangeArrowheads="1"/>
            </p:cNvSpPr>
            <p:nvPr/>
          </p:nvSpPr>
          <p:spPr bwMode="auto">
            <a:xfrm>
              <a:off x="288" y="2064"/>
              <a:ext cx="528" cy="192"/>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MP</a:t>
              </a:r>
              <a:endParaRPr kumimoji="1" lang="ja-JP" altLang="en-US" sz="1200" b="1" kern="0" dirty="0">
                <a:solidFill>
                  <a:srgbClr val="3366FF"/>
                </a:solidFill>
                <a:latin typeface="Arial"/>
                <a:ea typeface="ＭＳ Ｐゴシック" panose="020B0600070205080204" pitchFamily="50" charset="-128"/>
                <a:cs typeface="Arial" pitchFamily="34" charset="0"/>
              </a:endParaRPr>
            </a:p>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Control Plan</a:t>
              </a:r>
              <a:endParaRPr kumimoji="1" lang="ja-JP" altLang="en-US" sz="1200" b="1" kern="0" dirty="0">
                <a:solidFill>
                  <a:srgbClr val="3366FF"/>
                </a:solidFill>
                <a:latin typeface="Arial"/>
                <a:ea typeface="ＭＳ Ｐゴシック" panose="020B0600070205080204" pitchFamily="50" charset="-128"/>
                <a:cs typeface="Arial" pitchFamily="34" charset="0"/>
              </a:endParaRPr>
            </a:p>
          </p:txBody>
        </p:sp>
      </p:grpSp>
      <p:sp>
        <p:nvSpPr>
          <p:cNvPr id="47" name="Text Box 268">
            <a:extLst>
              <a:ext uri="{FF2B5EF4-FFF2-40B4-BE49-F238E27FC236}">
                <a16:creationId xmlns:a16="http://schemas.microsoft.com/office/drawing/2014/main" id="{F1A545D8-6FD4-4AD4-91C4-027A45FC48C6}"/>
              </a:ext>
            </a:extLst>
          </p:cNvPr>
          <p:cNvSpPr txBox="1">
            <a:spLocks noChangeArrowheads="1"/>
          </p:cNvSpPr>
          <p:nvPr/>
        </p:nvSpPr>
        <p:spPr bwMode="auto">
          <a:xfrm>
            <a:off x="1526756" y="1342215"/>
            <a:ext cx="1898776" cy="205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a:spcBef>
                <a:spcPct val="50000"/>
              </a:spcBef>
              <a:defRPr/>
            </a:pPr>
            <a:r>
              <a:rPr kumimoji="1" lang="en-US" altLang="ja-JP" sz="1333" b="1" dirty="0">
                <a:solidFill>
                  <a:srgbClr val="FF0000"/>
                </a:solidFill>
                <a:latin typeface="Arial"/>
                <a:ea typeface="ＭＳ Ｐゴシック" panose="020B0600070205080204" pitchFamily="50" charset="-128"/>
                <a:cs typeface="Arial" pitchFamily="34" charset="0"/>
              </a:rPr>
              <a:t>NPD Request Form</a:t>
            </a:r>
            <a:endParaRPr kumimoji="1" lang="ja-JP" altLang="en-US" sz="1333" b="1" dirty="0">
              <a:solidFill>
                <a:srgbClr val="FF0000"/>
              </a:solidFill>
              <a:latin typeface="Arial"/>
              <a:ea typeface="ＭＳ Ｐゴシック" panose="020B0600070205080204" pitchFamily="50" charset="-128"/>
              <a:cs typeface="Arial" pitchFamily="34" charset="0"/>
            </a:endParaRPr>
          </a:p>
        </p:txBody>
      </p:sp>
      <p:sp>
        <p:nvSpPr>
          <p:cNvPr id="48" name="Text Box 269">
            <a:extLst>
              <a:ext uri="{FF2B5EF4-FFF2-40B4-BE49-F238E27FC236}">
                <a16:creationId xmlns:a16="http://schemas.microsoft.com/office/drawing/2014/main" id="{3A904583-4704-492E-A1A2-941B76ED12EC}"/>
              </a:ext>
            </a:extLst>
          </p:cNvPr>
          <p:cNvSpPr txBox="1">
            <a:spLocks noChangeArrowheads="1"/>
          </p:cNvSpPr>
          <p:nvPr/>
        </p:nvSpPr>
        <p:spPr bwMode="auto">
          <a:xfrm>
            <a:off x="1727200" y="5218513"/>
            <a:ext cx="1524000" cy="410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spcBef>
                <a:spcPct val="50000"/>
              </a:spcBef>
              <a:defRPr/>
            </a:pPr>
            <a:r>
              <a:rPr kumimoji="1" lang="en-US" altLang="ja-JP" sz="1333" b="1" dirty="0">
                <a:solidFill>
                  <a:srgbClr val="3366FF"/>
                </a:solidFill>
                <a:latin typeface="Arial"/>
                <a:ea typeface="ＭＳ Ｐゴシック" panose="020B0600070205080204" pitchFamily="50" charset="-128"/>
                <a:cs typeface="Arial" pitchFamily="34" charset="0"/>
              </a:rPr>
              <a:t>NPD Planning &amp; Proposal Form</a:t>
            </a:r>
            <a:endParaRPr kumimoji="1" lang="ja-JP" altLang="en-US" sz="1333" b="1" dirty="0">
              <a:solidFill>
                <a:srgbClr val="3366FF"/>
              </a:solidFill>
              <a:latin typeface="Arial"/>
              <a:ea typeface="ＭＳ Ｐゴシック" panose="020B0600070205080204" pitchFamily="50" charset="-128"/>
              <a:cs typeface="Arial" pitchFamily="34" charset="0"/>
            </a:endParaRPr>
          </a:p>
        </p:txBody>
      </p:sp>
      <p:grpSp>
        <p:nvGrpSpPr>
          <p:cNvPr id="49" name="Group 270">
            <a:extLst>
              <a:ext uri="{FF2B5EF4-FFF2-40B4-BE49-F238E27FC236}">
                <a16:creationId xmlns:a16="http://schemas.microsoft.com/office/drawing/2014/main" id="{050020F3-D14A-44A3-8BBF-11F6DE839F50}"/>
              </a:ext>
            </a:extLst>
          </p:cNvPr>
          <p:cNvGrpSpPr>
            <a:grpSpLocks/>
          </p:cNvGrpSpPr>
          <p:nvPr/>
        </p:nvGrpSpPr>
        <p:grpSpPr bwMode="auto">
          <a:xfrm>
            <a:off x="508000" y="3034112"/>
            <a:ext cx="3454400" cy="711200"/>
            <a:chOff x="240" y="2112"/>
            <a:chExt cx="1632" cy="336"/>
          </a:xfrm>
        </p:grpSpPr>
        <p:grpSp>
          <p:nvGrpSpPr>
            <p:cNvPr id="50" name="Group 271">
              <a:extLst>
                <a:ext uri="{FF2B5EF4-FFF2-40B4-BE49-F238E27FC236}">
                  <a16:creationId xmlns:a16="http://schemas.microsoft.com/office/drawing/2014/main" id="{A0F5CEC3-C2FD-4551-BFBE-74C123E4CC64}"/>
                </a:ext>
              </a:extLst>
            </p:cNvPr>
            <p:cNvGrpSpPr>
              <a:grpSpLocks/>
            </p:cNvGrpSpPr>
            <p:nvPr/>
          </p:nvGrpSpPr>
          <p:grpSpPr bwMode="auto">
            <a:xfrm>
              <a:off x="240" y="2112"/>
              <a:ext cx="1632" cy="336"/>
              <a:chOff x="240" y="2112"/>
              <a:chExt cx="1632" cy="336"/>
            </a:xfrm>
          </p:grpSpPr>
          <p:sp>
            <p:nvSpPr>
              <p:cNvPr id="54" name="Rectangle 272">
                <a:extLst>
                  <a:ext uri="{FF2B5EF4-FFF2-40B4-BE49-F238E27FC236}">
                    <a16:creationId xmlns:a16="http://schemas.microsoft.com/office/drawing/2014/main" id="{B51DC5F1-5504-4637-8BE2-C466FDC7B1CF}"/>
                  </a:ext>
                </a:extLst>
              </p:cNvPr>
              <p:cNvSpPr>
                <a:spLocks noChangeArrowheads="1"/>
              </p:cNvSpPr>
              <p:nvPr/>
            </p:nvSpPr>
            <p:spPr bwMode="auto">
              <a:xfrm rot="10800000">
                <a:off x="288" y="2159"/>
                <a:ext cx="1584" cy="240"/>
              </a:xfrm>
              <a:prstGeom prst="rect">
                <a:avLst/>
              </a:prstGeom>
              <a:solidFill>
                <a:srgbClr val="CCFFCC"/>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pPr algn="ctr">
                  <a:defRPr/>
                </a:pPr>
                <a:r>
                  <a:rPr kumimoji="1" lang="en-US" altLang="ja-JP" sz="1733" b="1" kern="0" dirty="0">
                    <a:solidFill>
                      <a:srgbClr val="000000"/>
                    </a:solidFill>
                    <a:latin typeface="Arial"/>
                    <a:ea typeface="ＭＳ Ｐゴシック" panose="020B0600070205080204" pitchFamily="50" charset="-128"/>
                    <a:cs typeface="Arial" pitchFamily="34" charset="0"/>
                  </a:rPr>
                  <a:t>Planning</a:t>
                </a:r>
                <a:endParaRPr kumimoji="1" lang="ja-JP" altLang="ja-JP" sz="1733" b="1" kern="0" dirty="0">
                  <a:solidFill>
                    <a:srgbClr val="000000"/>
                  </a:solidFill>
                  <a:latin typeface="Arial"/>
                  <a:ea typeface="ＭＳ Ｐゴシック" panose="020B0600070205080204" pitchFamily="50" charset="-128"/>
                  <a:cs typeface="Arial" pitchFamily="34" charset="0"/>
                </a:endParaRPr>
              </a:p>
            </p:txBody>
          </p:sp>
          <p:sp>
            <p:nvSpPr>
              <p:cNvPr id="55" name="AutoShape 273">
                <a:extLst>
                  <a:ext uri="{FF2B5EF4-FFF2-40B4-BE49-F238E27FC236}">
                    <a16:creationId xmlns:a16="http://schemas.microsoft.com/office/drawing/2014/main" id="{674A2CA7-D34A-4561-906F-24AF4F61783A}"/>
                  </a:ext>
                </a:extLst>
              </p:cNvPr>
              <p:cNvSpPr>
                <a:spLocks noChangeArrowheads="1"/>
              </p:cNvSpPr>
              <p:nvPr/>
            </p:nvSpPr>
            <p:spPr bwMode="auto">
              <a:xfrm rot="27000000">
                <a:off x="289" y="2274"/>
                <a:ext cx="122" cy="129"/>
              </a:xfrm>
              <a:prstGeom prst="triangle">
                <a:avLst>
                  <a:gd name="adj" fmla="val 50000"/>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56" name="AutoShape 274">
                <a:extLst>
                  <a:ext uri="{FF2B5EF4-FFF2-40B4-BE49-F238E27FC236}">
                    <a16:creationId xmlns:a16="http://schemas.microsoft.com/office/drawing/2014/main" id="{898DD79A-7D60-4CE3-9AE2-6CDB795F8BB5}"/>
                  </a:ext>
                </a:extLst>
              </p:cNvPr>
              <p:cNvSpPr>
                <a:spLocks noChangeArrowheads="1"/>
              </p:cNvSpPr>
              <p:nvPr/>
            </p:nvSpPr>
            <p:spPr bwMode="auto">
              <a:xfrm rot="27000000">
                <a:off x="289" y="2156"/>
                <a:ext cx="122" cy="129"/>
              </a:xfrm>
              <a:prstGeom prst="triangle">
                <a:avLst>
                  <a:gd name="adj" fmla="val 50000"/>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57" name="Rectangle 275">
                <a:extLst>
                  <a:ext uri="{FF2B5EF4-FFF2-40B4-BE49-F238E27FC236}">
                    <a16:creationId xmlns:a16="http://schemas.microsoft.com/office/drawing/2014/main" id="{7C0153C1-B1C6-4562-A0D2-D2E1248279E9}"/>
                  </a:ext>
                </a:extLst>
              </p:cNvPr>
              <p:cNvSpPr>
                <a:spLocks noChangeArrowheads="1"/>
              </p:cNvSpPr>
              <p:nvPr/>
            </p:nvSpPr>
            <p:spPr bwMode="auto">
              <a:xfrm rot="10800000">
                <a:off x="240" y="2112"/>
                <a:ext cx="50" cy="33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sp>
          <p:nvSpPr>
            <p:cNvPr id="51" name="Line 276">
              <a:extLst>
                <a:ext uri="{FF2B5EF4-FFF2-40B4-BE49-F238E27FC236}">
                  <a16:creationId xmlns:a16="http://schemas.microsoft.com/office/drawing/2014/main" id="{24A04A47-D7DE-42BC-8F84-12E5BB026D9F}"/>
                </a:ext>
              </a:extLst>
            </p:cNvPr>
            <p:cNvSpPr>
              <a:spLocks noChangeShapeType="1"/>
            </p:cNvSpPr>
            <p:nvPr/>
          </p:nvSpPr>
          <p:spPr bwMode="auto">
            <a:xfrm>
              <a:off x="768" y="2160"/>
              <a:ext cx="0" cy="240"/>
            </a:xfrm>
            <a:prstGeom prst="line">
              <a:avLst/>
            </a:prstGeom>
            <a:noFill/>
            <a:ln w="12700">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52" name="Line 277">
              <a:extLst>
                <a:ext uri="{FF2B5EF4-FFF2-40B4-BE49-F238E27FC236}">
                  <a16:creationId xmlns:a16="http://schemas.microsoft.com/office/drawing/2014/main" id="{E4302FCB-1BEA-4B7E-BD0E-9CFC36BD7572}"/>
                </a:ext>
              </a:extLst>
            </p:cNvPr>
            <p:cNvSpPr>
              <a:spLocks noChangeShapeType="1"/>
            </p:cNvSpPr>
            <p:nvPr/>
          </p:nvSpPr>
          <p:spPr bwMode="auto">
            <a:xfrm>
              <a:off x="1632" y="2160"/>
              <a:ext cx="0" cy="240"/>
            </a:xfrm>
            <a:prstGeom prst="line">
              <a:avLst/>
            </a:prstGeom>
            <a:noFill/>
            <a:ln w="12700">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53" name="Rectangle 278">
              <a:extLst>
                <a:ext uri="{FF2B5EF4-FFF2-40B4-BE49-F238E27FC236}">
                  <a16:creationId xmlns:a16="http://schemas.microsoft.com/office/drawing/2014/main" id="{098FB28F-36C9-466D-A2CC-0D2312ECDA52}"/>
                </a:ext>
              </a:extLst>
            </p:cNvPr>
            <p:cNvSpPr>
              <a:spLocks noChangeArrowheads="1"/>
            </p:cNvSpPr>
            <p:nvPr/>
          </p:nvSpPr>
          <p:spPr bwMode="auto">
            <a:xfrm>
              <a:off x="720" y="2208"/>
              <a:ext cx="768" cy="144"/>
            </a:xfrm>
            <a:prstGeom prst="rect">
              <a:avLst/>
            </a:prstGeom>
            <a:solidFill>
              <a:srgbClr val="CCFF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defRPr/>
              </a:pPr>
              <a:r>
                <a:rPr kumimoji="1" lang="en-US" altLang="ja-JP" sz="1733" b="1" kern="0" baseline="30000" dirty="0">
                  <a:solidFill>
                    <a:srgbClr val="000000"/>
                  </a:solidFill>
                  <a:latin typeface="Arial"/>
                  <a:ea typeface="ＭＳ Ｐゴシック" panose="020B0600070205080204" pitchFamily="50" charset="-128"/>
                  <a:cs typeface="Arial" pitchFamily="34" charset="0"/>
                </a:rPr>
                <a:t>Phase.1-3</a:t>
              </a:r>
              <a:r>
                <a:rPr kumimoji="1" lang="en-US" altLang="ja-JP" sz="1733" b="1" kern="0" dirty="0">
                  <a:solidFill>
                    <a:srgbClr val="000000"/>
                  </a:solidFill>
                  <a:latin typeface="Arial"/>
                  <a:ea typeface="ＭＳ Ｐゴシック" panose="020B0600070205080204" pitchFamily="50" charset="-128"/>
                  <a:cs typeface="Arial" pitchFamily="34" charset="0"/>
                </a:rPr>
                <a:t> Planning</a:t>
              </a:r>
              <a:endParaRPr kumimoji="1" lang="ja-JP" altLang="en-US" sz="1733" b="1" kern="0" dirty="0">
                <a:solidFill>
                  <a:srgbClr val="000000"/>
                </a:solidFill>
                <a:latin typeface="Arial"/>
                <a:ea typeface="ＭＳ Ｐゴシック" panose="020B0600070205080204" pitchFamily="50" charset="-128"/>
                <a:cs typeface="Arial" pitchFamily="34" charset="0"/>
              </a:endParaRPr>
            </a:p>
          </p:txBody>
        </p:sp>
      </p:grpSp>
      <p:grpSp>
        <p:nvGrpSpPr>
          <p:cNvPr id="58" name="Group 279">
            <a:extLst>
              <a:ext uri="{FF2B5EF4-FFF2-40B4-BE49-F238E27FC236}">
                <a16:creationId xmlns:a16="http://schemas.microsoft.com/office/drawing/2014/main" id="{B1163A3C-01A2-4738-BF8C-335F668AD65F}"/>
              </a:ext>
            </a:extLst>
          </p:cNvPr>
          <p:cNvGrpSpPr>
            <a:grpSpLocks/>
          </p:cNvGrpSpPr>
          <p:nvPr/>
        </p:nvGrpSpPr>
        <p:grpSpPr bwMode="auto">
          <a:xfrm>
            <a:off x="2796117" y="4151712"/>
            <a:ext cx="5892800" cy="518584"/>
            <a:chOff x="1321" y="2640"/>
            <a:chExt cx="2784" cy="245"/>
          </a:xfrm>
        </p:grpSpPr>
        <p:sp>
          <p:nvSpPr>
            <p:cNvPr id="59" name="AutoShape 280">
              <a:extLst>
                <a:ext uri="{FF2B5EF4-FFF2-40B4-BE49-F238E27FC236}">
                  <a16:creationId xmlns:a16="http://schemas.microsoft.com/office/drawing/2014/main" id="{0F56C1E5-E2AC-40AA-B5DC-A42B2F64F917}"/>
                </a:ext>
              </a:extLst>
            </p:cNvPr>
            <p:cNvSpPr>
              <a:spLocks noChangeArrowheads="1"/>
            </p:cNvSpPr>
            <p:nvPr/>
          </p:nvSpPr>
          <p:spPr bwMode="auto">
            <a:xfrm rot="10800000">
              <a:off x="3656" y="2640"/>
              <a:ext cx="449" cy="240"/>
            </a:xfrm>
            <a:custGeom>
              <a:avLst/>
              <a:gdLst>
                <a:gd name="G0" fmla="+- 10800 0 0"/>
                <a:gd name="G1" fmla="+- 21600 0 10800"/>
                <a:gd name="G2" fmla="*/ 10800 1 2"/>
                <a:gd name="G3" fmla="+- 21600 0 G2"/>
                <a:gd name="G4" fmla="+/ 10800 21600 2"/>
                <a:gd name="G5" fmla="+/ G1 0 2"/>
                <a:gd name="G6" fmla="*/ 21600 21600 10800"/>
                <a:gd name="G7" fmla="*/ G6 1 2"/>
                <a:gd name="G8" fmla="+- 21600 0 G7"/>
                <a:gd name="G9" fmla="*/ 21600 1 2"/>
                <a:gd name="G10" fmla="+- 10800 0 G9"/>
                <a:gd name="G11" fmla="?: G10 G8 0"/>
                <a:gd name="G12" fmla="?: G10 G7 21600"/>
                <a:gd name="T0" fmla="*/ 16200 w 21600"/>
                <a:gd name="T1" fmla="*/ 10800 h 21600"/>
                <a:gd name="T2" fmla="*/ 10800 w 21600"/>
                <a:gd name="T3" fmla="*/ 21600 h 21600"/>
                <a:gd name="T4" fmla="*/ 5400 w 21600"/>
                <a:gd name="T5" fmla="*/ 10800 h 21600"/>
                <a:gd name="T6" fmla="*/ 10800 w 21600"/>
                <a:gd name="T7" fmla="*/ 0 h 21600"/>
                <a:gd name="T8" fmla="*/ 7200 w 21600"/>
                <a:gd name="T9" fmla="*/ 7200 h 21600"/>
                <a:gd name="T10" fmla="*/ 14400 w 21600"/>
                <a:gd name="T11" fmla="*/ 14400 h 21600"/>
              </a:gdLst>
              <a:ahLst/>
              <a:cxnLst>
                <a:cxn ang="0">
                  <a:pos x="T0" y="T1"/>
                </a:cxn>
                <a:cxn ang="0">
                  <a:pos x="T2" y="T3"/>
                </a:cxn>
                <a:cxn ang="0">
                  <a:pos x="T4" y="T5"/>
                </a:cxn>
                <a:cxn ang="0">
                  <a:pos x="T6" y="T7"/>
                </a:cxn>
              </a:cxnLst>
              <a:rect l="T8" t="T9" r="T10" b="T11"/>
              <a:pathLst>
                <a:path w="21600" h="21600">
                  <a:moveTo>
                    <a:pt x="0" y="0"/>
                  </a:moveTo>
                  <a:lnTo>
                    <a:pt x="10800" y="21600"/>
                  </a:lnTo>
                  <a:lnTo>
                    <a:pt x="10800" y="21600"/>
                  </a:lnTo>
                  <a:lnTo>
                    <a:pt x="21600" y="0"/>
                  </a:lnTo>
                  <a:close/>
                </a:path>
              </a:pathLst>
            </a:custGeom>
            <a:solidFill>
              <a:srgbClr val="CCFFCC"/>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60" name="Rectangle 281">
              <a:extLst>
                <a:ext uri="{FF2B5EF4-FFF2-40B4-BE49-F238E27FC236}">
                  <a16:creationId xmlns:a16="http://schemas.microsoft.com/office/drawing/2014/main" id="{B1564F51-E8B1-4BB6-9826-128A9C20A254}"/>
                </a:ext>
              </a:extLst>
            </p:cNvPr>
            <p:cNvSpPr>
              <a:spLocks noChangeArrowheads="1"/>
            </p:cNvSpPr>
            <p:nvPr/>
          </p:nvSpPr>
          <p:spPr bwMode="auto">
            <a:xfrm>
              <a:off x="1321" y="2640"/>
              <a:ext cx="2559" cy="240"/>
            </a:xfrm>
            <a:prstGeom prst="rect">
              <a:avLst/>
            </a:prstGeom>
            <a:solidFill>
              <a:srgbClr val="CCFFCC"/>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defRPr/>
              </a:pPr>
              <a:endParaRPr kumimoji="1" lang="ja-JP" altLang="ja-JP" sz="1733" b="1" kern="0" dirty="0">
                <a:solidFill>
                  <a:srgbClr val="000000"/>
                </a:solidFill>
                <a:latin typeface="Arial"/>
                <a:ea typeface="ＭＳ Ｐゴシック" panose="020B0600070205080204" pitchFamily="50" charset="-128"/>
                <a:cs typeface="Arial" pitchFamily="34" charset="0"/>
              </a:endParaRPr>
            </a:p>
          </p:txBody>
        </p:sp>
        <p:sp>
          <p:nvSpPr>
            <p:cNvPr id="61" name="Rectangle 282">
              <a:extLst>
                <a:ext uri="{FF2B5EF4-FFF2-40B4-BE49-F238E27FC236}">
                  <a16:creationId xmlns:a16="http://schemas.microsoft.com/office/drawing/2014/main" id="{0DB5CCE1-0B61-44CB-BDD3-7105D8F90B82}"/>
                </a:ext>
              </a:extLst>
            </p:cNvPr>
            <p:cNvSpPr>
              <a:spLocks noChangeArrowheads="1"/>
            </p:cNvSpPr>
            <p:nvPr/>
          </p:nvSpPr>
          <p:spPr bwMode="auto">
            <a:xfrm>
              <a:off x="3840" y="2645"/>
              <a:ext cx="47" cy="236"/>
            </a:xfrm>
            <a:prstGeom prst="rect">
              <a:avLst/>
            </a:prstGeom>
            <a:solidFill>
              <a:srgbClr val="CCFFCC"/>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62" name="Line 283">
              <a:extLst>
                <a:ext uri="{FF2B5EF4-FFF2-40B4-BE49-F238E27FC236}">
                  <a16:creationId xmlns:a16="http://schemas.microsoft.com/office/drawing/2014/main" id="{D5E4DE0E-78C0-48E4-8D71-32C742A0D87A}"/>
                </a:ext>
              </a:extLst>
            </p:cNvPr>
            <p:cNvSpPr>
              <a:spLocks noChangeShapeType="1"/>
            </p:cNvSpPr>
            <p:nvPr/>
          </p:nvSpPr>
          <p:spPr bwMode="auto">
            <a:xfrm>
              <a:off x="1632" y="2640"/>
              <a:ext cx="0" cy="240"/>
            </a:xfrm>
            <a:prstGeom prst="line">
              <a:avLst/>
            </a:prstGeom>
            <a:noFill/>
            <a:ln w="12700">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63" name="Line 284">
              <a:extLst>
                <a:ext uri="{FF2B5EF4-FFF2-40B4-BE49-F238E27FC236}">
                  <a16:creationId xmlns:a16="http://schemas.microsoft.com/office/drawing/2014/main" id="{8811FCFD-1A20-4521-94CF-8240135AA42A}"/>
                </a:ext>
              </a:extLst>
            </p:cNvPr>
            <p:cNvSpPr>
              <a:spLocks noChangeShapeType="1"/>
            </p:cNvSpPr>
            <p:nvPr/>
          </p:nvSpPr>
          <p:spPr bwMode="auto">
            <a:xfrm>
              <a:off x="2736" y="2640"/>
              <a:ext cx="0" cy="240"/>
            </a:xfrm>
            <a:prstGeom prst="line">
              <a:avLst/>
            </a:prstGeom>
            <a:noFill/>
            <a:ln w="12700">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64" name="Rectangle 285">
              <a:extLst>
                <a:ext uri="{FF2B5EF4-FFF2-40B4-BE49-F238E27FC236}">
                  <a16:creationId xmlns:a16="http://schemas.microsoft.com/office/drawing/2014/main" id="{4569D621-83DC-4279-83DF-876C810467E3}"/>
                </a:ext>
              </a:extLst>
            </p:cNvPr>
            <p:cNvSpPr>
              <a:spLocks noChangeArrowheads="1"/>
            </p:cNvSpPr>
            <p:nvPr/>
          </p:nvSpPr>
          <p:spPr bwMode="auto">
            <a:xfrm>
              <a:off x="1824" y="2688"/>
              <a:ext cx="1536" cy="144"/>
            </a:xfrm>
            <a:prstGeom prst="rect">
              <a:avLst/>
            </a:prstGeom>
            <a:solidFill>
              <a:srgbClr val="CCFF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defRPr/>
              </a:pPr>
              <a:r>
                <a:rPr kumimoji="1" lang="en-US" altLang="ja-JP" sz="1733" b="1" kern="0" baseline="30000" dirty="0">
                  <a:solidFill>
                    <a:srgbClr val="000000"/>
                  </a:solidFill>
                  <a:latin typeface="Arial"/>
                  <a:ea typeface="ＭＳ Ｐゴシック" panose="020B0600070205080204" pitchFamily="50" charset="-128"/>
                  <a:cs typeface="Arial" pitchFamily="34" charset="0"/>
                </a:rPr>
                <a:t>Phase.4 </a:t>
              </a:r>
              <a:r>
                <a:rPr kumimoji="1" lang="en-US" altLang="ja-JP" sz="1733" b="1" kern="0" dirty="0">
                  <a:solidFill>
                    <a:srgbClr val="000000"/>
                  </a:solidFill>
                  <a:latin typeface="Arial"/>
                  <a:ea typeface="ＭＳ Ｐゴシック" panose="020B0600070205080204" pitchFamily="50" charset="-128"/>
                  <a:cs typeface="Arial" pitchFamily="34" charset="0"/>
                </a:rPr>
                <a:t>Process Development</a:t>
              </a:r>
              <a:endParaRPr kumimoji="1" lang="ja-JP" altLang="en-US" sz="1733" b="1" kern="0" dirty="0">
                <a:solidFill>
                  <a:srgbClr val="000000"/>
                </a:solidFill>
                <a:latin typeface="Arial"/>
                <a:ea typeface="ＭＳ Ｐゴシック" panose="020B0600070205080204" pitchFamily="50" charset="-128"/>
                <a:cs typeface="Arial" pitchFamily="34" charset="0"/>
              </a:endParaRPr>
            </a:p>
          </p:txBody>
        </p:sp>
        <p:sp>
          <p:nvSpPr>
            <p:cNvPr id="65" name="Line 286">
              <a:extLst>
                <a:ext uri="{FF2B5EF4-FFF2-40B4-BE49-F238E27FC236}">
                  <a16:creationId xmlns:a16="http://schemas.microsoft.com/office/drawing/2014/main" id="{58CA6E26-CC07-4EED-AD22-8C6050767BFD}"/>
                </a:ext>
              </a:extLst>
            </p:cNvPr>
            <p:cNvSpPr>
              <a:spLocks noChangeShapeType="1"/>
            </p:cNvSpPr>
            <p:nvPr/>
          </p:nvSpPr>
          <p:spPr bwMode="auto">
            <a:xfrm>
              <a:off x="3888" y="2640"/>
              <a:ext cx="1" cy="245"/>
            </a:xfrm>
            <a:prstGeom prst="line">
              <a:avLst/>
            </a:prstGeom>
            <a:noFill/>
            <a:ln w="12700">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sp>
        <p:nvSpPr>
          <p:cNvPr id="66" name="Rectangle 287">
            <a:extLst>
              <a:ext uri="{FF2B5EF4-FFF2-40B4-BE49-F238E27FC236}">
                <a16:creationId xmlns:a16="http://schemas.microsoft.com/office/drawing/2014/main" id="{441F0D37-5460-4CE8-9A29-57981A3720D7}"/>
              </a:ext>
            </a:extLst>
          </p:cNvPr>
          <p:cNvSpPr>
            <a:spLocks noChangeArrowheads="1"/>
          </p:cNvSpPr>
          <p:nvPr/>
        </p:nvSpPr>
        <p:spPr bwMode="auto">
          <a:xfrm>
            <a:off x="455084" y="3745312"/>
            <a:ext cx="2844800" cy="1422400"/>
          </a:xfrm>
          <a:prstGeom prst="rect">
            <a:avLst/>
          </a:prstGeom>
          <a:solidFill>
            <a:srgbClr val="CCFFFF">
              <a:alpha val="50000"/>
            </a:srgbClr>
          </a:solidFill>
          <a:ln w="15875">
            <a:solidFill>
              <a:srgbClr val="0000FF"/>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dirty="0">
              <a:solidFill>
                <a:srgbClr val="000000"/>
              </a:solidFill>
              <a:latin typeface="Arial"/>
              <a:ea typeface="ＭＳ Ｐゴシック" panose="020B0600070205080204" pitchFamily="50" charset="-128"/>
              <a:cs typeface="Arial" pitchFamily="34" charset="0"/>
            </a:endParaRPr>
          </a:p>
        </p:txBody>
      </p:sp>
      <p:grpSp>
        <p:nvGrpSpPr>
          <p:cNvPr id="67" name="Group 288">
            <a:extLst>
              <a:ext uri="{FF2B5EF4-FFF2-40B4-BE49-F238E27FC236}">
                <a16:creationId xmlns:a16="http://schemas.microsoft.com/office/drawing/2014/main" id="{C9279D6C-3F3B-4F18-B580-0E3442DDBBCF}"/>
              </a:ext>
            </a:extLst>
          </p:cNvPr>
          <p:cNvGrpSpPr>
            <a:grpSpLocks/>
          </p:cNvGrpSpPr>
          <p:nvPr/>
        </p:nvGrpSpPr>
        <p:grpSpPr bwMode="auto">
          <a:xfrm>
            <a:off x="4523317" y="5068229"/>
            <a:ext cx="1117600" cy="812800"/>
            <a:chOff x="288" y="1872"/>
            <a:chExt cx="528" cy="384"/>
          </a:xfrm>
        </p:grpSpPr>
        <p:sp>
          <p:nvSpPr>
            <p:cNvPr id="68" name="Line 289">
              <a:extLst>
                <a:ext uri="{FF2B5EF4-FFF2-40B4-BE49-F238E27FC236}">
                  <a16:creationId xmlns:a16="http://schemas.microsoft.com/office/drawing/2014/main" id="{995F4153-FF81-4876-801B-D4B71E790055}"/>
                </a:ext>
              </a:extLst>
            </p:cNvPr>
            <p:cNvSpPr>
              <a:spLocks noChangeShapeType="1"/>
            </p:cNvSpPr>
            <p:nvPr/>
          </p:nvSpPr>
          <p:spPr bwMode="auto">
            <a:xfrm>
              <a:off x="553" y="1872"/>
              <a:ext cx="0" cy="192"/>
            </a:xfrm>
            <a:prstGeom prst="line">
              <a:avLst/>
            </a:prstGeom>
            <a:noFill/>
            <a:ln w="41275">
              <a:solidFill>
                <a:srgbClr val="0000FF"/>
              </a:solidFill>
              <a:round/>
              <a:headEnd/>
              <a:tailEnd type="triangl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69" name="Rectangle 290">
              <a:extLst>
                <a:ext uri="{FF2B5EF4-FFF2-40B4-BE49-F238E27FC236}">
                  <a16:creationId xmlns:a16="http://schemas.microsoft.com/office/drawing/2014/main" id="{A3ABEA8D-4F18-4333-B72F-0347403F3EDB}"/>
                </a:ext>
              </a:extLst>
            </p:cNvPr>
            <p:cNvSpPr>
              <a:spLocks noChangeArrowheads="1"/>
            </p:cNvSpPr>
            <p:nvPr/>
          </p:nvSpPr>
          <p:spPr bwMode="auto">
            <a:xfrm>
              <a:off x="288" y="2064"/>
              <a:ext cx="528" cy="192"/>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Dimension</a:t>
              </a:r>
            </a:p>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Function</a:t>
              </a:r>
              <a:endParaRPr kumimoji="1" lang="ja-JP" altLang="en-US" sz="1200" b="1" kern="0" dirty="0">
                <a:solidFill>
                  <a:srgbClr val="3366FF"/>
                </a:solidFill>
                <a:latin typeface="Arial"/>
                <a:ea typeface="ＭＳ Ｐゴシック" panose="020B0600070205080204" pitchFamily="50" charset="-128"/>
                <a:cs typeface="Arial" pitchFamily="34" charset="0"/>
              </a:endParaRPr>
            </a:p>
          </p:txBody>
        </p:sp>
      </p:grpSp>
      <p:sp>
        <p:nvSpPr>
          <p:cNvPr id="70" name="AutoShape 291">
            <a:extLst>
              <a:ext uri="{FF2B5EF4-FFF2-40B4-BE49-F238E27FC236}">
                <a16:creationId xmlns:a16="http://schemas.microsoft.com/office/drawing/2014/main" id="{ABAED3C6-1201-4646-9C1D-93BA093B3749}"/>
              </a:ext>
            </a:extLst>
          </p:cNvPr>
          <p:cNvSpPr>
            <a:spLocks noChangeArrowheads="1"/>
          </p:cNvSpPr>
          <p:nvPr/>
        </p:nvSpPr>
        <p:spPr bwMode="auto">
          <a:xfrm>
            <a:off x="3742139" y="1300563"/>
            <a:ext cx="1308983" cy="508000"/>
          </a:xfrm>
          <a:prstGeom prst="wedgeRoundRectCallout">
            <a:avLst>
              <a:gd name="adj1" fmla="val -68181"/>
              <a:gd name="adj2" fmla="val -45417"/>
              <a:gd name="adj3" fmla="val 16667"/>
            </a:avLst>
          </a:prstGeom>
          <a:solidFill>
            <a:srgbClr val="0000FF"/>
          </a:solidFill>
          <a:ln w="12700">
            <a:solidFill>
              <a:srgbClr val="0000FF"/>
            </a:solidFill>
            <a:miter lim="800000"/>
            <a:headEnd/>
            <a:tailEnd/>
          </a:ln>
          <a:effectLst>
            <a:outerShdw dist="71842" dir="2700000" algn="ctr" rotWithShape="0">
              <a:srgbClr val="808080"/>
            </a:outerShdw>
          </a:effectLst>
        </p:spPr>
        <p:txBody>
          <a:bodyPr lIns="0" tIns="0" rIns="0" bIns="0" anchor="ctr"/>
          <a:lstStyle/>
          <a:p>
            <a:pPr algn="ctr">
              <a:defRPr/>
            </a:pPr>
            <a:r>
              <a:rPr kumimoji="1" lang="en-US" altLang="ja-JP" sz="1333" b="1" kern="0" dirty="0">
                <a:solidFill>
                  <a:srgbClr val="FFFFFF"/>
                </a:solidFill>
                <a:latin typeface="Arial"/>
                <a:ea typeface="ＭＳ Ｐゴシック" panose="020B0600070205080204" pitchFamily="50" charset="-128"/>
                <a:cs typeface="Arial" pitchFamily="34" charset="0"/>
              </a:rPr>
              <a:t>Project review</a:t>
            </a:r>
          </a:p>
          <a:p>
            <a:pPr algn="ctr">
              <a:defRPr/>
            </a:pPr>
            <a:r>
              <a:rPr kumimoji="1" lang="en-US" altLang="ja-JP" sz="1333" b="1" kern="0" dirty="0">
                <a:solidFill>
                  <a:srgbClr val="FFFFFF"/>
                </a:solidFill>
                <a:latin typeface="Arial"/>
                <a:ea typeface="ＭＳ Ｐゴシック" panose="020B0600070205080204" pitchFamily="50" charset="-128"/>
                <a:cs typeface="Arial" pitchFamily="34" charset="0"/>
              </a:rPr>
              <a:t>Concept review</a:t>
            </a:r>
          </a:p>
        </p:txBody>
      </p:sp>
      <p:sp>
        <p:nvSpPr>
          <p:cNvPr id="71" name="AutoShape 292">
            <a:extLst>
              <a:ext uri="{FF2B5EF4-FFF2-40B4-BE49-F238E27FC236}">
                <a16:creationId xmlns:a16="http://schemas.microsoft.com/office/drawing/2014/main" id="{1CBFB0FE-56CE-46A2-99DC-1DAE215874CB}"/>
              </a:ext>
            </a:extLst>
          </p:cNvPr>
          <p:cNvSpPr>
            <a:spLocks noChangeArrowheads="1"/>
          </p:cNvSpPr>
          <p:nvPr/>
        </p:nvSpPr>
        <p:spPr bwMode="auto">
          <a:xfrm>
            <a:off x="6096000" y="1288371"/>
            <a:ext cx="1117600" cy="508000"/>
          </a:xfrm>
          <a:prstGeom prst="wedgeRoundRectCallout">
            <a:avLst>
              <a:gd name="adj1" fmla="val -68181"/>
              <a:gd name="adj2" fmla="val -45417"/>
              <a:gd name="adj3" fmla="val 16667"/>
            </a:avLst>
          </a:prstGeom>
          <a:solidFill>
            <a:srgbClr val="0000FF"/>
          </a:solidFill>
          <a:ln w="12700">
            <a:solidFill>
              <a:srgbClr val="0000FF"/>
            </a:solidFill>
            <a:miter lim="800000"/>
            <a:headEnd/>
            <a:tailEnd/>
          </a:ln>
          <a:effectLst>
            <a:outerShdw dist="71842" dir="2700000" algn="ctr" rotWithShape="0">
              <a:srgbClr val="808080"/>
            </a:outerShdw>
          </a:effectLst>
        </p:spPr>
        <p:txBody>
          <a:bodyPr lIns="0" tIns="0" rIns="0" bIns="0" anchor="ctr"/>
          <a:lstStyle/>
          <a:p>
            <a:pPr algn="ctr">
              <a:defRPr/>
            </a:pPr>
            <a:r>
              <a:rPr kumimoji="1" lang="en-US" altLang="ja-JP" sz="1333" b="1" kern="0" dirty="0">
                <a:solidFill>
                  <a:prstClr val="white"/>
                </a:solidFill>
                <a:latin typeface="Arial"/>
                <a:ea typeface="ＭＳ Ｐゴシック" panose="020B0600070205080204" pitchFamily="50" charset="-128"/>
                <a:cs typeface="Arial" pitchFamily="34" charset="0"/>
              </a:rPr>
              <a:t>Design review</a:t>
            </a:r>
          </a:p>
        </p:txBody>
      </p:sp>
      <p:sp>
        <p:nvSpPr>
          <p:cNvPr id="72" name="AutoShape 293">
            <a:extLst>
              <a:ext uri="{FF2B5EF4-FFF2-40B4-BE49-F238E27FC236}">
                <a16:creationId xmlns:a16="http://schemas.microsoft.com/office/drawing/2014/main" id="{29AA60A8-B598-4F3C-A735-47A687AEFA52}"/>
              </a:ext>
            </a:extLst>
          </p:cNvPr>
          <p:cNvSpPr>
            <a:spLocks noChangeArrowheads="1"/>
          </p:cNvSpPr>
          <p:nvPr/>
        </p:nvSpPr>
        <p:spPr bwMode="auto">
          <a:xfrm>
            <a:off x="10184341" y="1286807"/>
            <a:ext cx="1117600" cy="508000"/>
          </a:xfrm>
          <a:prstGeom prst="wedgeRoundRectCallout">
            <a:avLst>
              <a:gd name="adj1" fmla="val -63875"/>
              <a:gd name="adj2" fmla="val -20154"/>
              <a:gd name="adj3" fmla="val 16667"/>
            </a:avLst>
          </a:prstGeom>
          <a:solidFill>
            <a:srgbClr val="0000FF"/>
          </a:solidFill>
          <a:ln w="12700">
            <a:solidFill>
              <a:srgbClr val="0000FF"/>
            </a:solidFill>
            <a:miter lim="800000"/>
            <a:headEnd/>
            <a:tailEnd/>
          </a:ln>
          <a:effectLst>
            <a:outerShdw dist="71842" dir="2700000" algn="ctr" rotWithShape="0">
              <a:srgbClr val="808080"/>
            </a:outerShdw>
          </a:effectLst>
        </p:spPr>
        <p:txBody>
          <a:bodyPr lIns="0" tIns="0" rIns="0" bIns="0" anchor="ctr"/>
          <a:lstStyle/>
          <a:p>
            <a:pPr algn="ctr">
              <a:defRPr/>
            </a:pPr>
            <a:r>
              <a:rPr kumimoji="1" lang="en-US" altLang="ja-JP" sz="1333" b="1" kern="0" dirty="0">
                <a:solidFill>
                  <a:srgbClr val="FFFFFF"/>
                </a:solidFill>
                <a:latin typeface="Arial"/>
                <a:ea typeface="ＭＳ Ｐゴシック" panose="020B0600070205080204" pitchFamily="50" charset="-128"/>
                <a:cs typeface="Arial" pitchFamily="34" charset="0"/>
              </a:rPr>
              <a:t>Final Review</a:t>
            </a:r>
          </a:p>
        </p:txBody>
      </p:sp>
      <p:grpSp>
        <p:nvGrpSpPr>
          <p:cNvPr id="73" name="Group 294">
            <a:extLst>
              <a:ext uri="{FF2B5EF4-FFF2-40B4-BE49-F238E27FC236}">
                <a16:creationId xmlns:a16="http://schemas.microsoft.com/office/drawing/2014/main" id="{A77E8E6D-9A46-438F-9CA4-4DCC99410935}"/>
              </a:ext>
            </a:extLst>
          </p:cNvPr>
          <p:cNvGrpSpPr>
            <a:grpSpLocks/>
          </p:cNvGrpSpPr>
          <p:nvPr/>
        </p:nvGrpSpPr>
        <p:grpSpPr bwMode="auto">
          <a:xfrm>
            <a:off x="5742517" y="5068229"/>
            <a:ext cx="1117600" cy="812800"/>
            <a:chOff x="288" y="1872"/>
            <a:chExt cx="528" cy="384"/>
          </a:xfrm>
        </p:grpSpPr>
        <p:sp>
          <p:nvSpPr>
            <p:cNvPr id="74" name="Line 295">
              <a:extLst>
                <a:ext uri="{FF2B5EF4-FFF2-40B4-BE49-F238E27FC236}">
                  <a16:creationId xmlns:a16="http://schemas.microsoft.com/office/drawing/2014/main" id="{5247EE31-EC15-4475-B737-339D88114C1C}"/>
                </a:ext>
              </a:extLst>
            </p:cNvPr>
            <p:cNvSpPr>
              <a:spLocks noChangeShapeType="1"/>
            </p:cNvSpPr>
            <p:nvPr/>
          </p:nvSpPr>
          <p:spPr bwMode="auto">
            <a:xfrm>
              <a:off x="553" y="1872"/>
              <a:ext cx="0" cy="192"/>
            </a:xfrm>
            <a:prstGeom prst="line">
              <a:avLst/>
            </a:prstGeom>
            <a:noFill/>
            <a:ln w="41275">
              <a:solidFill>
                <a:srgbClr val="0000FF"/>
              </a:solidFill>
              <a:round/>
              <a:headEnd/>
              <a:tailEnd type="triangl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75" name="Rectangle 296">
              <a:extLst>
                <a:ext uri="{FF2B5EF4-FFF2-40B4-BE49-F238E27FC236}">
                  <a16:creationId xmlns:a16="http://schemas.microsoft.com/office/drawing/2014/main" id="{631696B2-5F6B-46CF-AD71-87C574647B1C}"/>
                </a:ext>
              </a:extLst>
            </p:cNvPr>
            <p:cNvSpPr>
              <a:spLocks noChangeArrowheads="1"/>
            </p:cNvSpPr>
            <p:nvPr/>
          </p:nvSpPr>
          <p:spPr bwMode="auto">
            <a:xfrm>
              <a:off x="288" y="2064"/>
              <a:ext cx="528" cy="192"/>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Initial </a:t>
              </a:r>
            </a:p>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Process Study</a:t>
              </a:r>
              <a:endParaRPr kumimoji="1" lang="ja-JP" altLang="en-US" sz="1200" b="1" kern="0" dirty="0">
                <a:solidFill>
                  <a:srgbClr val="3366FF"/>
                </a:solidFill>
                <a:latin typeface="Arial"/>
                <a:ea typeface="ＭＳ Ｐゴシック" panose="020B0600070205080204" pitchFamily="50" charset="-128"/>
                <a:cs typeface="Arial" pitchFamily="34" charset="0"/>
              </a:endParaRPr>
            </a:p>
          </p:txBody>
        </p:sp>
      </p:grpSp>
      <p:sp>
        <p:nvSpPr>
          <p:cNvPr id="76" name="Rectangle 297">
            <a:extLst>
              <a:ext uri="{FF2B5EF4-FFF2-40B4-BE49-F238E27FC236}">
                <a16:creationId xmlns:a16="http://schemas.microsoft.com/office/drawing/2014/main" id="{72312284-9FC4-42B7-BA12-B9F8963BCC14}"/>
              </a:ext>
            </a:extLst>
          </p:cNvPr>
          <p:cNvSpPr>
            <a:spLocks noChangeArrowheads="1"/>
          </p:cNvSpPr>
          <p:nvPr/>
        </p:nvSpPr>
        <p:spPr bwMode="auto">
          <a:xfrm>
            <a:off x="9203267" y="4257545"/>
            <a:ext cx="2641600" cy="812800"/>
          </a:xfrm>
          <a:prstGeom prst="rect">
            <a:avLst/>
          </a:prstGeom>
          <a:solidFill>
            <a:srgbClr val="CCFFFF">
              <a:alpha val="50000"/>
            </a:srgbClr>
          </a:solidFill>
          <a:ln w="15875">
            <a:solidFill>
              <a:srgbClr val="0000FF"/>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kumimoji="1" lang="ja-JP" altLang="en-US" b="1" dirty="0">
              <a:solidFill>
                <a:srgbClr val="000000"/>
              </a:solidFill>
              <a:latin typeface="Arial"/>
              <a:ea typeface="ＭＳ Ｐゴシック" panose="020B0600070205080204" pitchFamily="50" charset="-128"/>
              <a:cs typeface="Arial" pitchFamily="34" charset="0"/>
            </a:endParaRPr>
          </a:p>
        </p:txBody>
      </p:sp>
      <p:grpSp>
        <p:nvGrpSpPr>
          <p:cNvPr id="77" name="Group 298">
            <a:extLst>
              <a:ext uri="{FF2B5EF4-FFF2-40B4-BE49-F238E27FC236}">
                <a16:creationId xmlns:a16="http://schemas.microsoft.com/office/drawing/2014/main" id="{7B6652B0-9A26-4BCD-B9AC-B79700B25A23}"/>
              </a:ext>
            </a:extLst>
          </p:cNvPr>
          <p:cNvGrpSpPr>
            <a:grpSpLocks/>
          </p:cNvGrpSpPr>
          <p:nvPr/>
        </p:nvGrpSpPr>
        <p:grpSpPr bwMode="auto">
          <a:xfrm>
            <a:off x="9347200" y="4454396"/>
            <a:ext cx="1117600" cy="812800"/>
            <a:chOff x="2832" y="1824"/>
            <a:chExt cx="528" cy="384"/>
          </a:xfrm>
        </p:grpSpPr>
        <p:sp>
          <p:nvSpPr>
            <p:cNvPr id="78" name="Rectangle 299">
              <a:extLst>
                <a:ext uri="{FF2B5EF4-FFF2-40B4-BE49-F238E27FC236}">
                  <a16:creationId xmlns:a16="http://schemas.microsoft.com/office/drawing/2014/main" id="{48D95104-EC2D-49F1-BBCE-024281DD4C0E}"/>
                </a:ext>
              </a:extLst>
            </p:cNvPr>
            <p:cNvSpPr>
              <a:spLocks noChangeArrowheads="1"/>
            </p:cNvSpPr>
            <p:nvPr/>
          </p:nvSpPr>
          <p:spPr bwMode="auto">
            <a:xfrm>
              <a:off x="2832" y="1824"/>
              <a:ext cx="528" cy="192"/>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Process</a:t>
              </a:r>
            </a:p>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 Capability</a:t>
              </a:r>
              <a:endParaRPr kumimoji="1" lang="ja-JP" altLang="en-US" sz="1200" b="1" kern="0" dirty="0">
                <a:solidFill>
                  <a:srgbClr val="3366FF"/>
                </a:solidFill>
                <a:latin typeface="Arial"/>
                <a:ea typeface="ＭＳ Ｐゴシック" panose="020B0600070205080204" pitchFamily="50" charset="-128"/>
                <a:cs typeface="Arial" pitchFamily="34" charset="0"/>
              </a:endParaRPr>
            </a:p>
          </p:txBody>
        </p:sp>
        <p:sp>
          <p:nvSpPr>
            <p:cNvPr id="79" name="Line 300">
              <a:extLst>
                <a:ext uri="{FF2B5EF4-FFF2-40B4-BE49-F238E27FC236}">
                  <a16:creationId xmlns:a16="http://schemas.microsoft.com/office/drawing/2014/main" id="{E46DC1D0-6D37-4972-86FF-9A6DFC8ECB77}"/>
                </a:ext>
              </a:extLst>
            </p:cNvPr>
            <p:cNvSpPr>
              <a:spLocks noChangeShapeType="1"/>
            </p:cNvSpPr>
            <p:nvPr/>
          </p:nvSpPr>
          <p:spPr bwMode="auto">
            <a:xfrm>
              <a:off x="3096" y="2016"/>
              <a:ext cx="0" cy="192"/>
            </a:xfrm>
            <a:prstGeom prst="line">
              <a:avLst/>
            </a:prstGeom>
            <a:noFill/>
            <a:ln w="38100">
              <a:solidFill>
                <a:srgbClr val="0000FF"/>
              </a:solidFill>
              <a:round/>
              <a:headEnd type="triangle" w="med" len="sm"/>
              <a:tailEnd type="non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grpSp>
        <p:nvGrpSpPr>
          <p:cNvPr id="80" name="Group 301">
            <a:extLst>
              <a:ext uri="{FF2B5EF4-FFF2-40B4-BE49-F238E27FC236}">
                <a16:creationId xmlns:a16="http://schemas.microsoft.com/office/drawing/2014/main" id="{D3D292C4-29B8-47DD-849F-D6DA7FC14C86}"/>
              </a:ext>
            </a:extLst>
          </p:cNvPr>
          <p:cNvGrpSpPr>
            <a:grpSpLocks/>
          </p:cNvGrpSpPr>
          <p:nvPr/>
        </p:nvGrpSpPr>
        <p:grpSpPr bwMode="auto">
          <a:xfrm>
            <a:off x="10562168" y="4385872"/>
            <a:ext cx="1132417" cy="812800"/>
            <a:chOff x="2832" y="1824"/>
            <a:chExt cx="535" cy="384"/>
          </a:xfrm>
        </p:grpSpPr>
        <p:sp>
          <p:nvSpPr>
            <p:cNvPr id="81" name="Rectangle 302">
              <a:extLst>
                <a:ext uri="{FF2B5EF4-FFF2-40B4-BE49-F238E27FC236}">
                  <a16:creationId xmlns:a16="http://schemas.microsoft.com/office/drawing/2014/main" id="{13A075D7-5E95-4D74-A1FF-5C387AC03A36}"/>
                </a:ext>
              </a:extLst>
            </p:cNvPr>
            <p:cNvSpPr>
              <a:spLocks noChangeArrowheads="1"/>
            </p:cNvSpPr>
            <p:nvPr/>
          </p:nvSpPr>
          <p:spPr bwMode="auto">
            <a:xfrm>
              <a:off x="2832" y="1824"/>
              <a:ext cx="535" cy="296"/>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t"/>
            <a:lstStyle/>
            <a:p>
              <a:pPr>
                <a:defRPr/>
              </a:pPr>
              <a:r>
                <a:rPr lang="en-US" altLang="ja-JP" sz="1067" b="1" kern="0" dirty="0">
                  <a:solidFill>
                    <a:srgbClr val="0000FF"/>
                  </a:solidFill>
                  <a:latin typeface="Arial"/>
                  <a:ea typeface="ＭＳ Ｐゴシック" panose="020B0600070205080204" pitchFamily="50" charset="-128"/>
                  <a:cs typeface="Arial" pitchFamily="34" charset="0"/>
                </a:rPr>
                <a:t>Reduction of</a:t>
              </a:r>
            </a:p>
            <a:p>
              <a:pPr>
                <a:defRPr/>
              </a:pPr>
              <a:r>
                <a:rPr lang="en-US" altLang="ja-JP" sz="1067" b="1" kern="0" dirty="0">
                  <a:solidFill>
                    <a:srgbClr val="0000FF"/>
                  </a:solidFill>
                  <a:latin typeface="Arial"/>
                  <a:ea typeface="ＭＳ Ｐゴシック" panose="020B0600070205080204" pitchFamily="50" charset="-128"/>
                  <a:cs typeface="Arial" pitchFamily="34" charset="0"/>
                </a:rPr>
                <a:t> process</a:t>
              </a:r>
            </a:p>
            <a:p>
              <a:pPr>
                <a:defRPr/>
              </a:pPr>
              <a:r>
                <a:rPr lang="en-US" altLang="ja-JP" sz="1067" b="1" kern="0" dirty="0">
                  <a:solidFill>
                    <a:srgbClr val="0000FF"/>
                  </a:solidFill>
                  <a:latin typeface="Arial"/>
                  <a:ea typeface="ＭＳ Ｐゴシック" panose="020B0600070205080204" pitchFamily="50" charset="-128"/>
                  <a:cs typeface="Arial" pitchFamily="34" charset="0"/>
                </a:rPr>
                <a:t> variation factor</a:t>
              </a:r>
              <a:endParaRPr kumimoji="1" lang="ja-JP" altLang="en-US" sz="1067" b="1" kern="0" dirty="0">
                <a:solidFill>
                  <a:srgbClr val="0000FF"/>
                </a:solidFill>
                <a:latin typeface="Arial"/>
                <a:ea typeface="ＭＳ Ｐゴシック" panose="020B0600070205080204" pitchFamily="50" charset="-128"/>
                <a:cs typeface="Arial" pitchFamily="34" charset="0"/>
              </a:endParaRPr>
            </a:p>
          </p:txBody>
        </p:sp>
        <p:sp>
          <p:nvSpPr>
            <p:cNvPr id="82" name="Line 303">
              <a:extLst>
                <a:ext uri="{FF2B5EF4-FFF2-40B4-BE49-F238E27FC236}">
                  <a16:creationId xmlns:a16="http://schemas.microsoft.com/office/drawing/2014/main" id="{4B2F8A8F-5D58-4AB8-A70D-76DD5D0EFF46}"/>
                </a:ext>
              </a:extLst>
            </p:cNvPr>
            <p:cNvSpPr>
              <a:spLocks noChangeShapeType="1"/>
            </p:cNvSpPr>
            <p:nvPr/>
          </p:nvSpPr>
          <p:spPr bwMode="auto">
            <a:xfrm flipH="1">
              <a:off x="3096" y="2118"/>
              <a:ext cx="26" cy="90"/>
            </a:xfrm>
            <a:prstGeom prst="line">
              <a:avLst/>
            </a:prstGeom>
            <a:noFill/>
            <a:ln w="38100">
              <a:solidFill>
                <a:srgbClr val="0000FF"/>
              </a:solidFill>
              <a:round/>
              <a:headEnd type="triangle" w="med" len="sm"/>
              <a:tailEnd type="non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grpSp>
        <p:nvGrpSpPr>
          <p:cNvPr id="83" name="Group 304">
            <a:extLst>
              <a:ext uri="{FF2B5EF4-FFF2-40B4-BE49-F238E27FC236}">
                <a16:creationId xmlns:a16="http://schemas.microsoft.com/office/drawing/2014/main" id="{08D84999-E1D1-457A-80DD-3848D86C45CC}"/>
              </a:ext>
            </a:extLst>
          </p:cNvPr>
          <p:cNvGrpSpPr>
            <a:grpSpLocks/>
          </p:cNvGrpSpPr>
          <p:nvPr/>
        </p:nvGrpSpPr>
        <p:grpSpPr bwMode="auto">
          <a:xfrm>
            <a:off x="6961717" y="5068229"/>
            <a:ext cx="1117600" cy="812800"/>
            <a:chOff x="288" y="1872"/>
            <a:chExt cx="528" cy="384"/>
          </a:xfrm>
        </p:grpSpPr>
        <p:sp>
          <p:nvSpPr>
            <p:cNvPr id="84" name="Line 305">
              <a:extLst>
                <a:ext uri="{FF2B5EF4-FFF2-40B4-BE49-F238E27FC236}">
                  <a16:creationId xmlns:a16="http://schemas.microsoft.com/office/drawing/2014/main" id="{ECBFB210-A282-44C5-BC46-EB6F84DAC609}"/>
                </a:ext>
              </a:extLst>
            </p:cNvPr>
            <p:cNvSpPr>
              <a:spLocks noChangeShapeType="1"/>
            </p:cNvSpPr>
            <p:nvPr/>
          </p:nvSpPr>
          <p:spPr bwMode="auto">
            <a:xfrm>
              <a:off x="553" y="1872"/>
              <a:ext cx="0" cy="192"/>
            </a:xfrm>
            <a:prstGeom prst="line">
              <a:avLst/>
            </a:prstGeom>
            <a:noFill/>
            <a:ln w="41275">
              <a:solidFill>
                <a:srgbClr val="0000FF"/>
              </a:solidFill>
              <a:round/>
              <a:headEnd/>
              <a:tailEnd type="triangl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85" name="Rectangle 306">
              <a:extLst>
                <a:ext uri="{FF2B5EF4-FFF2-40B4-BE49-F238E27FC236}">
                  <a16:creationId xmlns:a16="http://schemas.microsoft.com/office/drawing/2014/main" id="{9AB6296B-D490-40B2-8BCD-909BBCA89CDA}"/>
                </a:ext>
              </a:extLst>
            </p:cNvPr>
            <p:cNvSpPr>
              <a:spLocks noChangeArrowheads="1"/>
            </p:cNvSpPr>
            <p:nvPr/>
          </p:nvSpPr>
          <p:spPr bwMode="auto">
            <a:xfrm>
              <a:off x="288" y="2064"/>
              <a:ext cx="528" cy="192"/>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MSA</a:t>
              </a:r>
              <a:endParaRPr kumimoji="1" lang="ja-JP" altLang="en-US" sz="1200" b="1" kern="0" dirty="0">
                <a:solidFill>
                  <a:srgbClr val="3366FF"/>
                </a:solidFill>
                <a:latin typeface="Arial"/>
                <a:ea typeface="ＭＳ Ｐゴシック" panose="020B0600070205080204" pitchFamily="50" charset="-128"/>
                <a:cs typeface="Arial" pitchFamily="34" charset="0"/>
              </a:endParaRPr>
            </a:p>
          </p:txBody>
        </p:sp>
      </p:grpSp>
      <p:sp>
        <p:nvSpPr>
          <p:cNvPr id="86" name="AutoShape 307">
            <a:extLst>
              <a:ext uri="{FF2B5EF4-FFF2-40B4-BE49-F238E27FC236}">
                <a16:creationId xmlns:a16="http://schemas.microsoft.com/office/drawing/2014/main" id="{717AAEDC-9495-4DDB-8350-5359C13EFFA4}"/>
              </a:ext>
            </a:extLst>
          </p:cNvPr>
          <p:cNvSpPr>
            <a:spLocks noChangeArrowheads="1"/>
          </p:cNvSpPr>
          <p:nvPr/>
        </p:nvSpPr>
        <p:spPr bwMode="auto">
          <a:xfrm>
            <a:off x="6047361" y="5967184"/>
            <a:ext cx="861439" cy="167845"/>
          </a:xfrm>
          <a:prstGeom prst="downArrow">
            <a:avLst>
              <a:gd name="adj1" fmla="val 49676"/>
              <a:gd name="adj2" fmla="val 51667"/>
            </a:avLst>
          </a:prstGeom>
          <a:solidFill>
            <a:srgbClr val="0000FF"/>
          </a:solidFill>
          <a:ln w="19050">
            <a:solidFill>
              <a:srgbClr val="0000FF"/>
            </a:solidFill>
            <a:miter lim="800000"/>
            <a:headEnd/>
            <a:tailEnd/>
          </a:ln>
          <a:effectLst>
            <a:outerShdw dist="45791" dir="3378596" algn="ctr" rotWithShape="0">
              <a:srgbClr val="808080"/>
            </a:outerShdw>
          </a:effectLst>
        </p:spPr>
        <p:txBody>
          <a:bodyPr vert="eaVert" wrap="none" anchor="ct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87" name="Text Box 308">
            <a:extLst>
              <a:ext uri="{FF2B5EF4-FFF2-40B4-BE49-F238E27FC236}">
                <a16:creationId xmlns:a16="http://schemas.microsoft.com/office/drawing/2014/main" id="{F8E974B6-120C-4B0A-B35A-B0C9507EDEC6}"/>
              </a:ext>
            </a:extLst>
          </p:cNvPr>
          <p:cNvSpPr txBox="1">
            <a:spLocks noChangeArrowheads="1"/>
          </p:cNvSpPr>
          <p:nvPr/>
        </p:nvSpPr>
        <p:spPr bwMode="auto">
          <a:xfrm>
            <a:off x="5805460" y="6133577"/>
            <a:ext cx="1320800"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a:defRPr/>
            </a:pPr>
            <a:r>
              <a:rPr kumimoji="1" lang="en-US" altLang="ja-JP" sz="2133" b="1" dirty="0">
                <a:solidFill>
                  <a:srgbClr val="3366FF"/>
                </a:solidFill>
                <a:latin typeface="Arial"/>
                <a:ea typeface="ＭＳ Ｐゴシック" panose="020B0600070205080204" pitchFamily="50" charset="-128"/>
                <a:cs typeface="Arial" pitchFamily="34" charset="0"/>
              </a:rPr>
              <a:t>PPAP</a:t>
            </a:r>
          </a:p>
        </p:txBody>
      </p:sp>
      <p:sp>
        <p:nvSpPr>
          <p:cNvPr id="88" name="Text Box 309">
            <a:extLst>
              <a:ext uri="{FF2B5EF4-FFF2-40B4-BE49-F238E27FC236}">
                <a16:creationId xmlns:a16="http://schemas.microsoft.com/office/drawing/2014/main" id="{EA265881-25FD-4DCD-87DD-6BF78E8102E8}"/>
              </a:ext>
            </a:extLst>
          </p:cNvPr>
          <p:cNvSpPr txBox="1">
            <a:spLocks noChangeArrowheads="1"/>
          </p:cNvSpPr>
          <p:nvPr/>
        </p:nvSpPr>
        <p:spPr bwMode="auto">
          <a:xfrm>
            <a:off x="9525000" y="3047620"/>
            <a:ext cx="1016000" cy="229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a:lnSpc>
                <a:spcPct val="110000"/>
              </a:lnSpc>
              <a:defRPr/>
            </a:pPr>
            <a:r>
              <a:rPr kumimoji="1" lang="en-US" altLang="ja-JP" sz="1467" b="1" dirty="0">
                <a:solidFill>
                  <a:srgbClr val="3366FF"/>
                </a:solidFill>
                <a:latin typeface="Arial"/>
                <a:ea typeface="ＭＳ Ｐゴシック" panose="020B0600070205080204" pitchFamily="50" charset="-128"/>
                <a:cs typeface="Arial" pitchFamily="34" charset="0"/>
              </a:rPr>
              <a:t>Feedback</a:t>
            </a:r>
            <a:endParaRPr kumimoji="1" lang="ja-JP" altLang="en-US" sz="1467" b="1" dirty="0">
              <a:solidFill>
                <a:srgbClr val="3366FF"/>
              </a:solidFill>
              <a:latin typeface="Arial"/>
              <a:ea typeface="ＭＳ Ｐゴシック" panose="020B0600070205080204" pitchFamily="50" charset="-128"/>
              <a:cs typeface="Arial" pitchFamily="34" charset="0"/>
            </a:endParaRPr>
          </a:p>
        </p:txBody>
      </p:sp>
      <p:sp>
        <p:nvSpPr>
          <p:cNvPr id="89" name="Line 310">
            <a:extLst>
              <a:ext uri="{FF2B5EF4-FFF2-40B4-BE49-F238E27FC236}">
                <a16:creationId xmlns:a16="http://schemas.microsoft.com/office/drawing/2014/main" id="{80CF67BD-3B82-4D40-80C6-B27CA10D97E0}"/>
              </a:ext>
            </a:extLst>
          </p:cNvPr>
          <p:cNvSpPr>
            <a:spLocks noChangeShapeType="1"/>
          </p:cNvSpPr>
          <p:nvPr/>
        </p:nvSpPr>
        <p:spPr bwMode="auto">
          <a:xfrm flipV="1">
            <a:off x="9139767" y="3389712"/>
            <a:ext cx="1422400" cy="0"/>
          </a:xfrm>
          <a:prstGeom prst="line">
            <a:avLst/>
          </a:prstGeom>
          <a:noFill/>
          <a:ln w="63500">
            <a:solidFill>
              <a:srgbClr val="0000FF"/>
            </a:solidFill>
            <a:round/>
            <a:headEnd type="triangle" w="med" len="sm"/>
            <a:tailEnd type="non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90" name="Line 311">
            <a:extLst>
              <a:ext uri="{FF2B5EF4-FFF2-40B4-BE49-F238E27FC236}">
                <a16:creationId xmlns:a16="http://schemas.microsoft.com/office/drawing/2014/main" id="{CA313B47-8B92-4C8F-884C-12DD3C911278}"/>
              </a:ext>
            </a:extLst>
          </p:cNvPr>
          <p:cNvSpPr>
            <a:spLocks noChangeShapeType="1"/>
          </p:cNvSpPr>
          <p:nvPr/>
        </p:nvSpPr>
        <p:spPr bwMode="auto">
          <a:xfrm>
            <a:off x="10513484" y="3389712"/>
            <a:ext cx="0" cy="914400"/>
          </a:xfrm>
          <a:prstGeom prst="line">
            <a:avLst/>
          </a:prstGeom>
          <a:noFill/>
          <a:ln w="63500">
            <a:solidFill>
              <a:srgbClr val="0000FF"/>
            </a:solidFill>
            <a:round/>
            <a:headEnd/>
            <a:tailEnd/>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91" name="Rectangle 312">
            <a:extLst>
              <a:ext uri="{FF2B5EF4-FFF2-40B4-BE49-F238E27FC236}">
                <a16:creationId xmlns:a16="http://schemas.microsoft.com/office/drawing/2014/main" id="{90F7C0D1-E2F5-4B3F-9D02-BC8084F700B3}"/>
              </a:ext>
            </a:extLst>
          </p:cNvPr>
          <p:cNvSpPr>
            <a:spLocks noChangeArrowheads="1"/>
          </p:cNvSpPr>
          <p:nvPr/>
        </p:nvSpPr>
        <p:spPr bwMode="auto">
          <a:xfrm>
            <a:off x="7428128" y="6000871"/>
            <a:ext cx="1196547" cy="331460"/>
          </a:xfrm>
          <a:prstGeom prst="rect">
            <a:avLst/>
          </a:prstGeom>
          <a:solidFill>
            <a:srgbClr val="FFFF00"/>
          </a:solidFill>
          <a:ln w="12700">
            <a:solidFill>
              <a:srgbClr val="000000"/>
            </a:solidFill>
            <a:miter lim="800000"/>
            <a:headEnd/>
            <a:tailEnd/>
          </a:ln>
          <a:effectLst>
            <a:outerShdw dist="53882" dir="2700000" algn="ctr" rotWithShape="0">
              <a:srgbClr val="808080"/>
            </a:outerShdw>
          </a:effectLst>
        </p:spPr>
        <p:txBody>
          <a:bodyPr wrap="none" anchor="ctr"/>
          <a:lstStyle/>
          <a:p>
            <a:pPr algn="ctr">
              <a:defRPr/>
            </a:pPr>
            <a:r>
              <a:rPr kumimoji="1" lang="en-US" altLang="ja-JP" sz="1867" b="1" kern="0" dirty="0">
                <a:solidFill>
                  <a:srgbClr val="000000"/>
                </a:solidFill>
                <a:latin typeface="Arial"/>
                <a:ea typeface="ＭＳ Ｐゴシック" panose="020B0600070205080204" pitchFamily="50" charset="-128"/>
                <a:cs typeface="Arial" pitchFamily="34" charset="0"/>
              </a:rPr>
              <a:t>Customer</a:t>
            </a:r>
            <a:endParaRPr kumimoji="1" lang="ja-JP" altLang="en-US" sz="1867" b="1" kern="0" dirty="0">
              <a:solidFill>
                <a:srgbClr val="000000"/>
              </a:solidFill>
              <a:latin typeface="Arial"/>
              <a:ea typeface="ＭＳ Ｐゴシック" panose="020B0600070205080204" pitchFamily="50" charset="-128"/>
              <a:cs typeface="Arial" pitchFamily="34" charset="0"/>
            </a:endParaRPr>
          </a:p>
        </p:txBody>
      </p:sp>
      <p:sp>
        <p:nvSpPr>
          <p:cNvPr id="92" name="Text Box 313">
            <a:extLst>
              <a:ext uri="{FF2B5EF4-FFF2-40B4-BE49-F238E27FC236}">
                <a16:creationId xmlns:a16="http://schemas.microsoft.com/office/drawing/2014/main" id="{8AEF7A9B-4440-41A2-9637-1DA9C2AC43F4}"/>
              </a:ext>
            </a:extLst>
          </p:cNvPr>
          <p:cNvSpPr txBox="1">
            <a:spLocks noChangeArrowheads="1"/>
          </p:cNvSpPr>
          <p:nvPr/>
        </p:nvSpPr>
        <p:spPr bwMode="auto">
          <a:xfrm>
            <a:off x="8688919" y="6237749"/>
            <a:ext cx="1278467" cy="229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ctr">
              <a:lnSpc>
                <a:spcPct val="110000"/>
              </a:lnSpc>
              <a:defRPr/>
            </a:pPr>
            <a:r>
              <a:rPr kumimoji="1" lang="en-US" altLang="ja-JP" sz="1467" b="1" dirty="0">
                <a:solidFill>
                  <a:srgbClr val="FF0000"/>
                </a:solidFill>
                <a:latin typeface="Arial"/>
                <a:ea typeface="ＭＳ Ｐゴシック" panose="020B0600070205080204" pitchFamily="50" charset="-128"/>
                <a:cs typeface="Arial" pitchFamily="34" charset="0"/>
              </a:rPr>
              <a:t>Approval</a:t>
            </a:r>
            <a:endParaRPr kumimoji="1" lang="ja-JP" altLang="en-US" sz="1467" b="1" dirty="0">
              <a:solidFill>
                <a:srgbClr val="FF0000"/>
              </a:solidFill>
              <a:latin typeface="Arial"/>
              <a:ea typeface="ＭＳ Ｐゴシック" panose="020B0600070205080204" pitchFamily="50" charset="-128"/>
              <a:cs typeface="Arial" pitchFamily="34" charset="0"/>
            </a:endParaRPr>
          </a:p>
        </p:txBody>
      </p:sp>
      <p:sp>
        <p:nvSpPr>
          <p:cNvPr id="93" name="Line 314">
            <a:extLst>
              <a:ext uri="{FF2B5EF4-FFF2-40B4-BE49-F238E27FC236}">
                <a16:creationId xmlns:a16="http://schemas.microsoft.com/office/drawing/2014/main" id="{E160B515-1EA9-418C-B7FC-A15695CA8CA3}"/>
              </a:ext>
            </a:extLst>
          </p:cNvPr>
          <p:cNvSpPr>
            <a:spLocks noChangeShapeType="1"/>
          </p:cNvSpPr>
          <p:nvPr/>
        </p:nvSpPr>
        <p:spPr bwMode="auto">
          <a:xfrm>
            <a:off x="8640144" y="6166600"/>
            <a:ext cx="1207672" cy="0"/>
          </a:xfrm>
          <a:prstGeom prst="line">
            <a:avLst/>
          </a:prstGeom>
          <a:noFill/>
          <a:ln w="63500">
            <a:solidFill>
              <a:srgbClr val="FF0000"/>
            </a:solidFill>
            <a:round/>
            <a:headEnd/>
            <a:tailEnd/>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94" name="Line 315">
            <a:extLst>
              <a:ext uri="{FF2B5EF4-FFF2-40B4-BE49-F238E27FC236}">
                <a16:creationId xmlns:a16="http://schemas.microsoft.com/office/drawing/2014/main" id="{A41132B3-5B2D-4B8B-A934-1AD26C7CBD53}"/>
              </a:ext>
            </a:extLst>
          </p:cNvPr>
          <p:cNvSpPr>
            <a:spLocks noChangeShapeType="1"/>
          </p:cNvSpPr>
          <p:nvPr/>
        </p:nvSpPr>
        <p:spPr bwMode="auto">
          <a:xfrm>
            <a:off x="9847815" y="5557632"/>
            <a:ext cx="0" cy="575912"/>
          </a:xfrm>
          <a:prstGeom prst="line">
            <a:avLst/>
          </a:prstGeom>
          <a:noFill/>
          <a:ln w="63500">
            <a:solidFill>
              <a:srgbClr val="FF0000"/>
            </a:solidFill>
            <a:round/>
            <a:headEnd type="triangle" w="med" len="sm"/>
            <a:tailEnd type="non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95" name="Rectangle 318">
            <a:extLst>
              <a:ext uri="{FF2B5EF4-FFF2-40B4-BE49-F238E27FC236}">
                <a16:creationId xmlns:a16="http://schemas.microsoft.com/office/drawing/2014/main" id="{79F7B52F-13E0-4BDE-98AE-C4BD28F6F232}"/>
              </a:ext>
            </a:extLst>
          </p:cNvPr>
          <p:cNvSpPr>
            <a:spLocks noChangeArrowheads="1"/>
          </p:cNvSpPr>
          <p:nvPr/>
        </p:nvSpPr>
        <p:spPr bwMode="auto">
          <a:xfrm>
            <a:off x="3295651" y="5227795"/>
            <a:ext cx="963084" cy="610901"/>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t"/>
          <a:lstStyle/>
          <a:p>
            <a:pPr>
              <a:defRPr/>
            </a:pPr>
            <a:r>
              <a:rPr lang="en-US" altLang="ja-JP" sz="1067" b="1" kern="0" dirty="0">
                <a:solidFill>
                  <a:srgbClr val="0000FF"/>
                </a:solidFill>
                <a:latin typeface="Arial"/>
                <a:ea typeface="ＭＳ Ｐゴシック" panose="020B0600070205080204" pitchFamily="50" charset="-128"/>
                <a:cs typeface="Arial" pitchFamily="34" charset="0"/>
              </a:rPr>
              <a:t>Mass </a:t>
            </a:r>
          </a:p>
          <a:p>
            <a:pPr>
              <a:defRPr/>
            </a:pPr>
            <a:r>
              <a:rPr lang="en-US" altLang="ja-JP" sz="1067" b="1" kern="0" dirty="0">
                <a:solidFill>
                  <a:srgbClr val="0000FF"/>
                </a:solidFill>
                <a:latin typeface="Arial"/>
                <a:ea typeface="ＭＳ Ｐゴシック" panose="020B0600070205080204" pitchFamily="50" charset="-128"/>
                <a:cs typeface="Arial" pitchFamily="34" charset="0"/>
              </a:rPr>
              <a:t>production </a:t>
            </a:r>
          </a:p>
          <a:p>
            <a:pPr>
              <a:defRPr/>
            </a:pPr>
            <a:r>
              <a:rPr lang="en-US" altLang="ja-JP" sz="1067" b="1" kern="0" dirty="0">
                <a:solidFill>
                  <a:srgbClr val="0000FF"/>
                </a:solidFill>
                <a:latin typeface="Arial"/>
                <a:ea typeface="ＭＳ Ｐゴシック" panose="020B0600070205080204" pitchFamily="50" charset="-128"/>
                <a:cs typeface="Arial" pitchFamily="34" charset="0"/>
              </a:rPr>
              <a:t>Evaluation</a:t>
            </a:r>
          </a:p>
        </p:txBody>
      </p:sp>
      <p:grpSp>
        <p:nvGrpSpPr>
          <p:cNvPr id="96" name="Group 319">
            <a:extLst>
              <a:ext uri="{FF2B5EF4-FFF2-40B4-BE49-F238E27FC236}">
                <a16:creationId xmlns:a16="http://schemas.microsoft.com/office/drawing/2014/main" id="{FF0BA388-A998-40A0-AC5D-7B61C0C436E8}"/>
              </a:ext>
            </a:extLst>
          </p:cNvPr>
          <p:cNvGrpSpPr>
            <a:grpSpLocks/>
          </p:cNvGrpSpPr>
          <p:nvPr/>
        </p:nvGrpSpPr>
        <p:grpSpPr bwMode="auto">
          <a:xfrm>
            <a:off x="9897533" y="1872068"/>
            <a:ext cx="1447800" cy="766235"/>
            <a:chOff x="4676" y="1296"/>
            <a:chExt cx="684" cy="362"/>
          </a:xfrm>
        </p:grpSpPr>
        <p:sp>
          <p:nvSpPr>
            <p:cNvPr id="97" name="Line 320">
              <a:extLst>
                <a:ext uri="{FF2B5EF4-FFF2-40B4-BE49-F238E27FC236}">
                  <a16:creationId xmlns:a16="http://schemas.microsoft.com/office/drawing/2014/main" id="{39CC4380-3D59-4389-8431-3757A60EBFEC}"/>
                </a:ext>
              </a:extLst>
            </p:cNvPr>
            <p:cNvSpPr>
              <a:spLocks noChangeShapeType="1"/>
            </p:cNvSpPr>
            <p:nvPr/>
          </p:nvSpPr>
          <p:spPr bwMode="auto">
            <a:xfrm flipH="1" flipV="1">
              <a:off x="5016" y="1296"/>
              <a:ext cx="0" cy="144"/>
            </a:xfrm>
            <a:prstGeom prst="line">
              <a:avLst/>
            </a:prstGeom>
            <a:noFill/>
            <a:ln w="38100">
              <a:solidFill>
                <a:srgbClr val="0000FF"/>
              </a:solidFill>
              <a:round/>
              <a:headEnd type="triangle" w="med" len="sm"/>
              <a:tailEnd type="non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FF"/>
                </a:solidFill>
                <a:latin typeface="Arial"/>
                <a:ea typeface="ＭＳ Ｐゴシック" panose="020B0600070205080204" pitchFamily="50" charset="-128"/>
                <a:cs typeface="Arial" pitchFamily="34" charset="0"/>
              </a:endParaRPr>
            </a:p>
          </p:txBody>
        </p:sp>
        <p:sp>
          <p:nvSpPr>
            <p:cNvPr id="98" name="Rectangle 321">
              <a:extLst>
                <a:ext uri="{FF2B5EF4-FFF2-40B4-BE49-F238E27FC236}">
                  <a16:creationId xmlns:a16="http://schemas.microsoft.com/office/drawing/2014/main" id="{9DE5643A-BB18-454C-9822-B083A3B5B661}"/>
                </a:ext>
              </a:extLst>
            </p:cNvPr>
            <p:cNvSpPr>
              <a:spLocks noChangeArrowheads="1"/>
            </p:cNvSpPr>
            <p:nvPr/>
          </p:nvSpPr>
          <p:spPr bwMode="auto">
            <a:xfrm>
              <a:off x="4676" y="1440"/>
              <a:ext cx="684" cy="218"/>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lang="en-US" altLang="ja-JP" sz="1200" b="1" kern="0" dirty="0">
                  <a:solidFill>
                    <a:srgbClr val="0000FF"/>
                  </a:solidFill>
                  <a:latin typeface="Arial"/>
                  <a:ea typeface="ＭＳ Ｐゴシック" panose="020B0600070205080204" pitchFamily="50" charset="-128"/>
                  <a:cs typeface="Arial" pitchFamily="34" charset="0"/>
                </a:rPr>
                <a:t>NPD </a:t>
              </a:r>
            </a:p>
            <a:p>
              <a:pPr algn="ctr">
                <a:defRPr/>
              </a:pPr>
              <a:r>
                <a:rPr lang="en-US" altLang="ja-JP" sz="1200" b="1" kern="0" dirty="0">
                  <a:solidFill>
                    <a:srgbClr val="0000FF"/>
                  </a:solidFill>
                  <a:latin typeface="Arial"/>
                  <a:ea typeface="ＭＳ Ｐゴシック" panose="020B0600070205080204" pitchFamily="50" charset="-128"/>
                  <a:cs typeface="Arial" pitchFamily="34" charset="0"/>
                </a:rPr>
                <a:t>completion report</a:t>
              </a:r>
              <a:endParaRPr kumimoji="1" lang="ja-JP" altLang="en-US" sz="1200" b="1" kern="0" dirty="0">
                <a:solidFill>
                  <a:srgbClr val="0000FF"/>
                </a:solidFill>
                <a:latin typeface="Arial"/>
                <a:ea typeface="ＭＳ Ｐゴシック" panose="020B0600070205080204" pitchFamily="50" charset="-128"/>
                <a:cs typeface="Arial" pitchFamily="34" charset="0"/>
              </a:endParaRPr>
            </a:p>
          </p:txBody>
        </p:sp>
      </p:grpSp>
      <p:sp>
        <p:nvSpPr>
          <p:cNvPr id="99" name="Text Box 322">
            <a:extLst>
              <a:ext uri="{FF2B5EF4-FFF2-40B4-BE49-F238E27FC236}">
                <a16:creationId xmlns:a16="http://schemas.microsoft.com/office/drawing/2014/main" id="{57BFC0B2-D65F-40E0-BC4B-DD4060CE40AA}"/>
              </a:ext>
            </a:extLst>
          </p:cNvPr>
          <p:cNvSpPr txBox="1">
            <a:spLocks noChangeArrowheads="1"/>
          </p:cNvSpPr>
          <p:nvPr/>
        </p:nvSpPr>
        <p:spPr bwMode="auto">
          <a:xfrm>
            <a:off x="10617199" y="3026546"/>
            <a:ext cx="1524000" cy="477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ctr">
              <a:lnSpc>
                <a:spcPct val="110000"/>
              </a:lnSpc>
              <a:defRPr/>
            </a:pPr>
            <a:r>
              <a:rPr kumimoji="1" lang="en-US" altLang="ja-JP" sz="1467" b="1" dirty="0">
                <a:solidFill>
                  <a:srgbClr val="3366FF"/>
                </a:solidFill>
                <a:latin typeface="Arial"/>
                <a:ea typeface="ＭＳ Ｐゴシック" panose="020B0600070205080204" pitchFamily="50" charset="-128"/>
                <a:cs typeface="Arial" pitchFamily="34" charset="0"/>
              </a:rPr>
              <a:t>⇒Continuous Improvement</a:t>
            </a:r>
            <a:endParaRPr kumimoji="1" lang="ja-JP" altLang="en-US" sz="1467" b="1" dirty="0">
              <a:solidFill>
                <a:srgbClr val="3366FF"/>
              </a:solidFill>
              <a:latin typeface="Arial"/>
              <a:ea typeface="ＭＳ Ｐゴシック" panose="020B0600070205080204" pitchFamily="50" charset="-128"/>
              <a:cs typeface="Arial" pitchFamily="34" charset="0"/>
            </a:endParaRPr>
          </a:p>
        </p:txBody>
      </p:sp>
      <p:grpSp>
        <p:nvGrpSpPr>
          <p:cNvPr id="100" name="Group 323">
            <a:extLst>
              <a:ext uri="{FF2B5EF4-FFF2-40B4-BE49-F238E27FC236}">
                <a16:creationId xmlns:a16="http://schemas.microsoft.com/office/drawing/2014/main" id="{A8755B53-0B1E-4CD3-B31F-50D46206838D}"/>
              </a:ext>
            </a:extLst>
          </p:cNvPr>
          <p:cNvGrpSpPr>
            <a:grpSpLocks/>
          </p:cNvGrpSpPr>
          <p:nvPr/>
        </p:nvGrpSpPr>
        <p:grpSpPr bwMode="auto">
          <a:xfrm>
            <a:off x="609600" y="2424512"/>
            <a:ext cx="1117600" cy="812800"/>
            <a:chOff x="288" y="1344"/>
            <a:chExt cx="528" cy="384"/>
          </a:xfrm>
        </p:grpSpPr>
        <p:sp>
          <p:nvSpPr>
            <p:cNvPr id="101" name="Rectangle 324">
              <a:extLst>
                <a:ext uri="{FF2B5EF4-FFF2-40B4-BE49-F238E27FC236}">
                  <a16:creationId xmlns:a16="http://schemas.microsoft.com/office/drawing/2014/main" id="{5E29B7A6-D96C-4456-81A2-0598274E19CE}"/>
                </a:ext>
              </a:extLst>
            </p:cNvPr>
            <p:cNvSpPr>
              <a:spLocks noChangeArrowheads="1"/>
            </p:cNvSpPr>
            <p:nvPr/>
          </p:nvSpPr>
          <p:spPr bwMode="auto">
            <a:xfrm>
              <a:off x="288" y="1344"/>
              <a:ext cx="528" cy="192"/>
            </a:xfrm>
            <a:prstGeom prst="rect">
              <a:avLst/>
            </a:prstGeom>
            <a:solidFill>
              <a:srgbClr val="FFFFFF"/>
            </a:solidFill>
            <a:ln w="19050">
              <a:solidFill>
                <a:srgbClr val="FF0000"/>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FF0000"/>
                  </a:solidFill>
                  <a:latin typeface="Arial"/>
                  <a:ea typeface="ＭＳ Ｐゴシック" panose="020B0600070205080204" pitchFamily="50" charset="-128"/>
                  <a:cs typeface="Arial" pitchFamily="34" charset="0"/>
                </a:rPr>
                <a:t>Customer’s</a:t>
              </a:r>
            </a:p>
            <a:p>
              <a:pPr algn="ctr">
                <a:defRPr/>
              </a:pPr>
              <a:r>
                <a:rPr kumimoji="1" lang="en-US" altLang="ja-JP" sz="1200" b="1" kern="0" dirty="0">
                  <a:solidFill>
                    <a:srgbClr val="FF0000"/>
                  </a:solidFill>
                  <a:latin typeface="Arial"/>
                  <a:ea typeface="ＭＳ Ｐゴシック" panose="020B0600070205080204" pitchFamily="50" charset="-128"/>
                  <a:cs typeface="Arial" pitchFamily="34" charset="0"/>
                </a:rPr>
                <a:t> Requirements</a:t>
              </a:r>
              <a:endParaRPr kumimoji="1" lang="ja-JP" altLang="en-US" sz="1200" b="1" kern="0" dirty="0">
                <a:solidFill>
                  <a:srgbClr val="FF0000"/>
                </a:solidFill>
                <a:latin typeface="Arial"/>
                <a:ea typeface="ＭＳ Ｐゴシック" panose="020B0600070205080204" pitchFamily="50" charset="-128"/>
                <a:cs typeface="Arial" pitchFamily="34" charset="0"/>
              </a:endParaRPr>
            </a:p>
          </p:txBody>
        </p:sp>
        <p:sp>
          <p:nvSpPr>
            <p:cNvPr id="102" name="Line 325">
              <a:extLst>
                <a:ext uri="{FF2B5EF4-FFF2-40B4-BE49-F238E27FC236}">
                  <a16:creationId xmlns:a16="http://schemas.microsoft.com/office/drawing/2014/main" id="{6679537A-7ED9-4F69-BA69-08C0FA289ADD}"/>
                </a:ext>
              </a:extLst>
            </p:cNvPr>
            <p:cNvSpPr>
              <a:spLocks noChangeShapeType="1"/>
            </p:cNvSpPr>
            <p:nvPr/>
          </p:nvSpPr>
          <p:spPr bwMode="auto">
            <a:xfrm>
              <a:off x="553" y="1536"/>
              <a:ext cx="0" cy="192"/>
            </a:xfrm>
            <a:prstGeom prst="line">
              <a:avLst/>
            </a:prstGeom>
            <a:noFill/>
            <a:ln w="41275">
              <a:solidFill>
                <a:srgbClr val="FF0000"/>
              </a:solidFill>
              <a:round/>
              <a:headEnd/>
              <a:tailEnd type="triangl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grpSp>
        <p:nvGrpSpPr>
          <p:cNvPr id="103" name="Group 326">
            <a:extLst>
              <a:ext uri="{FF2B5EF4-FFF2-40B4-BE49-F238E27FC236}">
                <a16:creationId xmlns:a16="http://schemas.microsoft.com/office/drawing/2014/main" id="{EC979D8A-EC45-4EFD-A067-0B71FA798632}"/>
              </a:ext>
            </a:extLst>
          </p:cNvPr>
          <p:cNvGrpSpPr>
            <a:grpSpLocks/>
          </p:cNvGrpSpPr>
          <p:nvPr/>
        </p:nvGrpSpPr>
        <p:grpSpPr bwMode="auto">
          <a:xfrm>
            <a:off x="1320800" y="1814912"/>
            <a:ext cx="1117600" cy="1422400"/>
            <a:chOff x="624" y="1056"/>
            <a:chExt cx="528" cy="672"/>
          </a:xfrm>
        </p:grpSpPr>
        <p:sp>
          <p:nvSpPr>
            <p:cNvPr id="104" name="Rectangle 327">
              <a:extLst>
                <a:ext uri="{FF2B5EF4-FFF2-40B4-BE49-F238E27FC236}">
                  <a16:creationId xmlns:a16="http://schemas.microsoft.com/office/drawing/2014/main" id="{B84DE834-A9FC-4D3E-BEB7-256FA2BBEC52}"/>
                </a:ext>
              </a:extLst>
            </p:cNvPr>
            <p:cNvSpPr>
              <a:spLocks noChangeArrowheads="1"/>
            </p:cNvSpPr>
            <p:nvPr/>
          </p:nvSpPr>
          <p:spPr bwMode="auto">
            <a:xfrm>
              <a:off x="624" y="1056"/>
              <a:ext cx="528" cy="192"/>
            </a:xfrm>
            <a:prstGeom prst="rect">
              <a:avLst/>
            </a:prstGeom>
            <a:solidFill>
              <a:srgbClr val="FFFFFF"/>
            </a:solidFill>
            <a:ln w="19050">
              <a:solidFill>
                <a:srgbClr val="FF0000"/>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FF0000"/>
                  </a:solidFill>
                  <a:latin typeface="Arial"/>
                  <a:ea typeface="ＭＳ Ｐゴシック" panose="020B0600070205080204" pitchFamily="50" charset="-128"/>
                  <a:cs typeface="Arial" pitchFamily="34" charset="0"/>
                </a:rPr>
                <a:t>Business </a:t>
              </a:r>
            </a:p>
            <a:p>
              <a:pPr algn="ctr">
                <a:defRPr/>
              </a:pPr>
              <a:r>
                <a:rPr kumimoji="1" lang="en-US" altLang="ja-JP" sz="1200" b="1" kern="0" dirty="0">
                  <a:solidFill>
                    <a:srgbClr val="FF0000"/>
                  </a:solidFill>
                  <a:latin typeface="Arial"/>
                  <a:ea typeface="ＭＳ Ｐゴシック" panose="020B0600070205080204" pitchFamily="50" charset="-128"/>
                  <a:cs typeface="Arial" pitchFamily="34" charset="0"/>
                </a:rPr>
                <a:t>Strategy</a:t>
              </a:r>
              <a:endParaRPr kumimoji="1" lang="ja-JP" altLang="en-US" sz="1200" b="1" kern="0" dirty="0">
                <a:solidFill>
                  <a:srgbClr val="FF0000"/>
                </a:solidFill>
                <a:latin typeface="Arial"/>
                <a:ea typeface="ＭＳ Ｐゴシック" panose="020B0600070205080204" pitchFamily="50" charset="-128"/>
                <a:cs typeface="Arial" pitchFamily="34" charset="0"/>
              </a:endParaRPr>
            </a:p>
          </p:txBody>
        </p:sp>
        <p:sp>
          <p:nvSpPr>
            <p:cNvPr id="105" name="Line 328">
              <a:extLst>
                <a:ext uri="{FF2B5EF4-FFF2-40B4-BE49-F238E27FC236}">
                  <a16:creationId xmlns:a16="http://schemas.microsoft.com/office/drawing/2014/main" id="{68C99AF9-6E85-4277-AB90-D7D02A7B0D9E}"/>
                </a:ext>
              </a:extLst>
            </p:cNvPr>
            <p:cNvSpPr>
              <a:spLocks noChangeShapeType="1"/>
            </p:cNvSpPr>
            <p:nvPr/>
          </p:nvSpPr>
          <p:spPr bwMode="auto">
            <a:xfrm>
              <a:off x="888" y="1248"/>
              <a:ext cx="0" cy="480"/>
            </a:xfrm>
            <a:prstGeom prst="line">
              <a:avLst/>
            </a:prstGeom>
            <a:noFill/>
            <a:ln w="41275">
              <a:solidFill>
                <a:srgbClr val="FF0000"/>
              </a:solidFill>
              <a:round/>
              <a:headEnd/>
              <a:tailEnd type="triangl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grpSp>
        <p:nvGrpSpPr>
          <p:cNvPr id="106" name="Group 329">
            <a:extLst>
              <a:ext uri="{FF2B5EF4-FFF2-40B4-BE49-F238E27FC236}">
                <a16:creationId xmlns:a16="http://schemas.microsoft.com/office/drawing/2014/main" id="{F4908776-4DAB-4F81-BAC8-C678A5C82862}"/>
              </a:ext>
            </a:extLst>
          </p:cNvPr>
          <p:cNvGrpSpPr>
            <a:grpSpLocks/>
          </p:cNvGrpSpPr>
          <p:nvPr/>
        </p:nvGrpSpPr>
        <p:grpSpPr bwMode="auto">
          <a:xfrm>
            <a:off x="2032000" y="2424512"/>
            <a:ext cx="1117600" cy="812800"/>
            <a:chOff x="960" y="1344"/>
            <a:chExt cx="528" cy="384"/>
          </a:xfrm>
        </p:grpSpPr>
        <p:sp>
          <p:nvSpPr>
            <p:cNvPr id="107" name="Rectangle 330">
              <a:extLst>
                <a:ext uri="{FF2B5EF4-FFF2-40B4-BE49-F238E27FC236}">
                  <a16:creationId xmlns:a16="http://schemas.microsoft.com/office/drawing/2014/main" id="{75B3F577-11E9-41C1-B73D-8DDD3747AFAC}"/>
                </a:ext>
              </a:extLst>
            </p:cNvPr>
            <p:cNvSpPr>
              <a:spLocks noChangeArrowheads="1"/>
            </p:cNvSpPr>
            <p:nvPr/>
          </p:nvSpPr>
          <p:spPr bwMode="auto">
            <a:xfrm>
              <a:off x="960" y="1344"/>
              <a:ext cx="528" cy="192"/>
            </a:xfrm>
            <a:prstGeom prst="rect">
              <a:avLst/>
            </a:prstGeom>
            <a:solidFill>
              <a:srgbClr val="FFFFFF"/>
            </a:solidFill>
            <a:ln w="19050">
              <a:solidFill>
                <a:srgbClr val="FF0000"/>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FF0000"/>
                  </a:solidFill>
                  <a:latin typeface="Arial"/>
                  <a:ea typeface="ＭＳ Ｐゴシック" panose="020B0600070205080204" pitchFamily="50" charset="-128"/>
                  <a:cs typeface="Arial" pitchFamily="34" charset="0"/>
                </a:rPr>
                <a:t>Marketing</a:t>
              </a:r>
              <a:endParaRPr kumimoji="1" lang="ja-JP" altLang="en-US" sz="1200" b="1" kern="0" dirty="0">
                <a:solidFill>
                  <a:srgbClr val="FF0000"/>
                </a:solidFill>
                <a:latin typeface="Arial"/>
                <a:ea typeface="ＭＳ Ｐゴシック" panose="020B0600070205080204" pitchFamily="50" charset="-128"/>
                <a:cs typeface="Arial" pitchFamily="34" charset="0"/>
              </a:endParaRPr>
            </a:p>
          </p:txBody>
        </p:sp>
        <p:sp>
          <p:nvSpPr>
            <p:cNvPr id="108" name="Line 331">
              <a:extLst>
                <a:ext uri="{FF2B5EF4-FFF2-40B4-BE49-F238E27FC236}">
                  <a16:creationId xmlns:a16="http://schemas.microsoft.com/office/drawing/2014/main" id="{E103B4F5-78BF-41D7-A2F7-FB3BA0123444}"/>
                </a:ext>
              </a:extLst>
            </p:cNvPr>
            <p:cNvSpPr>
              <a:spLocks noChangeShapeType="1"/>
            </p:cNvSpPr>
            <p:nvPr/>
          </p:nvSpPr>
          <p:spPr bwMode="auto">
            <a:xfrm>
              <a:off x="1226" y="1536"/>
              <a:ext cx="0" cy="192"/>
            </a:xfrm>
            <a:prstGeom prst="line">
              <a:avLst/>
            </a:prstGeom>
            <a:noFill/>
            <a:ln w="41275">
              <a:solidFill>
                <a:srgbClr val="FF0000"/>
              </a:solidFill>
              <a:round/>
              <a:headEnd/>
              <a:tailEnd type="triangl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grpSp>
        <p:nvGrpSpPr>
          <p:cNvPr id="109" name="Group 332">
            <a:extLst>
              <a:ext uri="{FF2B5EF4-FFF2-40B4-BE49-F238E27FC236}">
                <a16:creationId xmlns:a16="http://schemas.microsoft.com/office/drawing/2014/main" id="{DFE7980D-CC28-44A7-A642-FDE29EED0467}"/>
              </a:ext>
            </a:extLst>
          </p:cNvPr>
          <p:cNvGrpSpPr>
            <a:grpSpLocks/>
          </p:cNvGrpSpPr>
          <p:nvPr/>
        </p:nvGrpSpPr>
        <p:grpSpPr bwMode="auto">
          <a:xfrm>
            <a:off x="609600" y="3542112"/>
            <a:ext cx="1117600" cy="812800"/>
            <a:chOff x="288" y="1872"/>
            <a:chExt cx="528" cy="384"/>
          </a:xfrm>
        </p:grpSpPr>
        <p:sp>
          <p:nvSpPr>
            <p:cNvPr id="110" name="Line 333">
              <a:extLst>
                <a:ext uri="{FF2B5EF4-FFF2-40B4-BE49-F238E27FC236}">
                  <a16:creationId xmlns:a16="http://schemas.microsoft.com/office/drawing/2014/main" id="{9EAEC73D-C4AA-4A4A-A29E-F33E8C7C02B8}"/>
                </a:ext>
              </a:extLst>
            </p:cNvPr>
            <p:cNvSpPr>
              <a:spLocks noChangeShapeType="1"/>
            </p:cNvSpPr>
            <p:nvPr/>
          </p:nvSpPr>
          <p:spPr bwMode="auto">
            <a:xfrm>
              <a:off x="553" y="1872"/>
              <a:ext cx="0" cy="192"/>
            </a:xfrm>
            <a:prstGeom prst="line">
              <a:avLst/>
            </a:prstGeom>
            <a:noFill/>
            <a:ln w="41275">
              <a:solidFill>
                <a:srgbClr val="0000FF"/>
              </a:solidFill>
              <a:round/>
              <a:headEnd/>
              <a:tailEnd type="triangl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111" name="Rectangle 334">
              <a:extLst>
                <a:ext uri="{FF2B5EF4-FFF2-40B4-BE49-F238E27FC236}">
                  <a16:creationId xmlns:a16="http://schemas.microsoft.com/office/drawing/2014/main" id="{09E33483-CBCC-4D1E-9305-001A51AA75EC}"/>
                </a:ext>
              </a:extLst>
            </p:cNvPr>
            <p:cNvSpPr>
              <a:spLocks noChangeArrowheads="1"/>
            </p:cNvSpPr>
            <p:nvPr/>
          </p:nvSpPr>
          <p:spPr bwMode="auto">
            <a:xfrm>
              <a:off x="288" y="2064"/>
              <a:ext cx="528" cy="192"/>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Product </a:t>
              </a:r>
            </a:p>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Specification</a:t>
              </a:r>
              <a:endParaRPr kumimoji="1" lang="ja-JP" altLang="en-US" sz="1200" b="1" kern="0" dirty="0">
                <a:solidFill>
                  <a:srgbClr val="3366FF"/>
                </a:solidFill>
                <a:latin typeface="Arial"/>
                <a:ea typeface="ＭＳ Ｐゴシック" panose="020B0600070205080204" pitchFamily="50" charset="-128"/>
                <a:cs typeface="Arial" pitchFamily="34" charset="0"/>
              </a:endParaRPr>
            </a:p>
          </p:txBody>
        </p:sp>
      </p:grpSp>
      <p:grpSp>
        <p:nvGrpSpPr>
          <p:cNvPr id="112" name="Group 335">
            <a:extLst>
              <a:ext uri="{FF2B5EF4-FFF2-40B4-BE49-F238E27FC236}">
                <a16:creationId xmlns:a16="http://schemas.microsoft.com/office/drawing/2014/main" id="{7FE83067-F277-46D1-9876-7DAD51A12D29}"/>
              </a:ext>
            </a:extLst>
          </p:cNvPr>
          <p:cNvGrpSpPr>
            <a:grpSpLocks/>
          </p:cNvGrpSpPr>
          <p:nvPr/>
        </p:nvGrpSpPr>
        <p:grpSpPr bwMode="auto">
          <a:xfrm>
            <a:off x="1320800" y="3542112"/>
            <a:ext cx="1117600" cy="1466851"/>
            <a:chOff x="624" y="1872"/>
            <a:chExt cx="528" cy="693"/>
          </a:xfrm>
        </p:grpSpPr>
        <p:sp>
          <p:nvSpPr>
            <p:cNvPr id="113" name="Line 336">
              <a:extLst>
                <a:ext uri="{FF2B5EF4-FFF2-40B4-BE49-F238E27FC236}">
                  <a16:creationId xmlns:a16="http://schemas.microsoft.com/office/drawing/2014/main" id="{EE611547-7FD8-4420-B21E-9B5ACF482054}"/>
                </a:ext>
              </a:extLst>
            </p:cNvPr>
            <p:cNvSpPr>
              <a:spLocks noChangeShapeType="1"/>
            </p:cNvSpPr>
            <p:nvPr/>
          </p:nvSpPr>
          <p:spPr bwMode="auto">
            <a:xfrm>
              <a:off x="888" y="1872"/>
              <a:ext cx="0" cy="503"/>
            </a:xfrm>
            <a:prstGeom prst="line">
              <a:avLst/>
            </a:prstGeom>
            <a:noFill/>
            <a:ln w="41275">
              <a:solidFill>
                <a:srgbClr val="0000FF"/>
              </a:solidFill>
              <a:round/>
              <a:headEnd/>
              <a:tailEnd type="triangl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114" name="Rectangle 337">
              <a:extLst>
                <a:ext uri="{FF2B5EF4-FFF2-40B4-BE49-F238E27FC236}">
                  <a16:creationId xmlns:a16="http://schemas.microsoft.com/office/drawing/2014/main" id="{89E00318-FE7B-4E02-8694-5C502DFA6723}"/>
                </a:ext>
              </a:extLst>
            </p:cNvPr>
            <p:cNvSpPr>
              <a:spLocks noChangeArrowheads="1"/>
            </p:cNvSpPr>
            <p:nvPr/>
          </p:nvSpPr>
          <p:spPr bwMode="auto">
            <a:xfrm>
              <a:off x="624" y="2373"/>
              <a:ext cx="528" cy="192"/>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Process</a:t>
              </a:r>
            </a:p>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 Feasibility</a:t>
              </a:r>
              <a:endParaRPr kumimoji="1" lang="ja-JP" altLang="en-US" sz="1200" b="1" kern="0" dirty="0">
                <a:solidFill>
                  <a:srgbClr val="3366FF"/>
                </a:solidFill>
                <a:latin typeface="Arial"/>
                <a:ea typeface="ＭＳ Ｐゴシック" panose="020B0600070205080204" pitchFamily="50" charset="-128"/>
                <a:cs typeface="Arial" pitchFamily="34" charset="0"/>
              </a:endParaRPr>
            </a:p>
          </p:txBody>
        </p:sp>
      </p:grpSp>
      <p:grpSp>
        <p:nvGrpSpPr>
          <p:cNvPr id="115" name="Group 338">
            <a:extLst>
              <a:ext uri="{FF2B5EF4-FFF2-40B4-BE49-F238E27FC236}">
                <a16:creationId xmlns:a16="http://schemas.microsoft.com/office/drawing/2014/main" id="{AD577274-333D-44DC-ABA1-2AE0144FAE10}"/>
              </a:ext>
            </a:extLst>
          </p:cNvPr>
          <p:cNvGrpSpPr>
            <a:grpSpLocks/>
          </p:cNvGrpSpPr>
          <p:nvPr/>
        </p:nvGrpSpPr>
        <p:grpSpPr bwMode="auto">
          <a:xfrm>
            <a:off x="2032000" y="3542112"/>
            <a:ext cx="1117600" cy="812800"/>
            <a:chOff x="960" y="1872"/>
            <a:chExt cx="528" cy="384"/>
          </a:xfrm>
        </p:grpSpPr>
        <p:sp>
          <p:nvSpPr>
            <p:cNvPr id="116" name="Line 339">
              <a:extLst>
                <a:ext uri="{FF2B5EF4-FFF2-40B4-BE49-F238E27FC236}">
                  <a16:creationId xmlns:a16="http://schemas.microsoft.com/office/drawing/2014/main" id="{E2075268-AA05-456B-8A37-DDD08AE093EE}"/>
                </a:ext>
              </a:extLst>
            </p:cNvPr>
            <p:cNvSpPr>
              <a:spLocks noChangeShapeType="1"/>
            </p:cNvSpPr>
            <p:nvPr/>
          </p:nvSpPr>
          <p:spPr bwMode="auto">
            <a:xfrm>
              <a:off x="1226" y="1872"/>
              <a:ext cx="0" cy="192"/>
            </a:xfrm>
            <a:prstGeom prst="line">
              <a:avLst/>
            </a:prstGeom>
            <a:noFill/>
            <a:ln w="41275">
              <a:solidFill>
                <a:srgbClr val="0000FF"/>
              </a:solidFill>
              <a:round/>
              <a:headEnd/>
              <a:tailEnd type="triangl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117" name="Rectangle 340">
              <a:extLst>
                <a:ext uri="{FF2B5EF4-FFF2-40B4-BE49-F238E27FC236}">
                  <a16:creationId xmlns:a16="http://schemas.microsoft.com/office/drawing/2014/main" id="{50170B26-B367-4258-B515-3608FCDFA4D1}"/>
                </a:ext>
              </a:extLst>
            </p:cNvPr>
            <p:cNvSpPr>
              <a:spLocks noChangeArrowheads="1"/>
            </p:cNvSpPr>
            <p:nvPr/>
          </p:nvSpPr>
          <p:spPr bwMode="auto">
            <a:xfrm>
              <a:off x="960" y="2064"/>
              <a:ext cx="528" cy="192"/>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Quality Target</a:t>
              </a:r>
              <a:endParaRPr kumimoji="1" lang="ja-JP" altLang="en-US" sz="1200" b="1" kern="0" dirty="0">
                <a:solidFill>
                  <a:srgbClr val="3366FF"/>
                </a:solidFill>
                <a:latin typeface="Arial"/>
                <a:ea typeface="ＭＳ Ｐゴシック" panose="020B0600070205080204" pitchFamily="50" charset="-128"/>
                <a:cs typeface="Arial" pitchFamily="34" charset="0"/>
              </a:endParaRPr>
            </a:p>
          </p:txBody>
        </p:sp>
      </p:grpSp>
      <p:grpSp>
        <p:nvGrpSpPr>
          <p:cNvPr id="118" name="Group 341">
            <a:extLst>
              <a:ext uri="{FF2B5EF4-FFF2-40B4-BE49-F238E27FC236}">
                <a16:creationId xmlns:a16="http://schemas.microsoft.com/office/drawing/2014/main" id="{63DAD3DC-04E1-4D9A-845B-2EB8F79CB420}"/>
              </a:ext>
            </a:extLst>
          </p:cNvPr>
          <p:cNvGrpSpPr>
            <a:grpSpLocks/>
          </p:cNvGrpSpPr>
          <p:nvPr/>
        </p:nvGrpSpPr>
        <p:grpSpPr bwMode="auto">
          <a:xfrm>
            <a:off x="3657600" y="2784345"/>
            <a:ext cx="1117600" cy="958851"/>
            <a:chOff x="1680" y="1514"/>
            <a:chExt cx="528" cy="453"/>
          </a:xfrm>
        </p:grpSpPr>
        <p:sp>
          <p:nvSpPr>
            <p:cNvPr id="119" name="Rectangle 342">
              <a:extLst>
                <a:ext uri="{FF2B5EF4-FFF2-40B4-BE49-F238E27FC236}">
                  <a16:creationId xmlns:a16="http://schemas.microsoft.com/office/drawing/2014/main" id="{E4123882-0288-49A8-B842-FD5ACD383D92}"/>
                </a:ext>
              </a:extLst>
            </p:cNvPr>
            <p:cNvSpPr>
              <a:spLocks noChangeArrowheads="1"/>
            </p:cNvSpPr>
            <p:nvPr/>
          </p:nvSpPr>
          <p:spPr bwMode="auto">
            <a:xfrm>
              <a:off x="1680" y="1514"/>
              <a:ext cx="528" cy="192"/>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DFMEA</a:t>
              </a:r>
            </a:p>
          </p:txBody>
        </p:sp>
        <p:sp>
          <p:nvSpPr>
            <p:cNvPr id="120" name="Line 343">
              <a:extLst>
                <a:ext uri="{FF2B5EF4-FFF2-40B4-BE49-F238E27FC236}">
                  <a16:creationId xmlns:a16="http://schemas.microsoft.com/office/drawing/2014/main" id="{370CE1E9-0F3D-4D6D-AB57-B17A0650FFA6}"/>
                </a:ext>
              </a:extLst>
            </p:cNvPr>
            <p:cNvSpPr>
              <a:spLocks noChangeShapeType="1"/>
            </p:cNvSpPr>
            <p:nvPr/>
          </p:nvSpPr>
          <p:spPr bwMode="auto">
            <a:xfrm>
              <a:off x="1945" y="1704"/>
              <a:ext cx="0" cy="263"/>
            </a:xfrm>
            <a:prstGeom prst="line">
              <a:avLst/>
            </a:prstGeom>
            <a:noFill/>
            <a:ln w="41275">
              <a:solidFill>
                <a:srgbClr val="0000FF"/>
              </a:solidFill>
              <a:round/>
              <a:headEnd type="triangle" w="med" len="sm"/>
              <a:tailEnd type="non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grpSp>
        <p:nvGrpSpPr>
          <p:cNvPr id="121" name="Group 344">
            <a:extLst>
              <a:ext uri="{FF2B5EF4-FFF2-40B4-BE49-F238E27FC236}">
                <a16:creationId xmlns:a16="http://schemas.microsoft.com/office/drawing/2014/main" id="{F98406AE-46C5-445A-870C-7F25B5F1C018}"/>
              </a:ext>
            </a:extLst>
          </p:cNvPr>
          <p:cNvGrpSpPr>
            <a:grpSpLocks/>
          </p:cNvGrpSpPr>
          <p:nvPr/>
        </p:nvGrpSpPr>
        <p:grpSpPr bwMode="auto">
          <a:xfrm>
            <a:off x="4165602" y="1946146"/>
            <a:ext cx="1598084" cy="1807633"/>
            <a:chOff x="1968" y="1286"/>
            <a:chExt cx="755" cy="854"/>
          </a:xfrm>
        </p:grpSpPr>
        <p:sp>
          <p:nvSpPr>
            <p:cNvPr id="122" name="Rectangle 345">
              <a:extLst>
                <a:ext uri="{FF2B5EF4-FFF2-40B4-BE49-F238E27FC236}">
                  <a16:creationId xmlns:a16="http://schemas.microsoft.com/office/drawing/2014/main" id="{23AD7EDD-F3E0-4183-BB8E-07CDE982EB1F}"/>
                </a:ext>
              </a:extLst>
            </p:cNvPr>
            <p:cNvSpPr>
              <a:spLocks noChangeArrowheads="1"/>
            </p:cNvSpPr>
            <p:nvPr/>
          </p:nvSpPr>
          <p:spPr bwMode="auto">
            <a:xfrm>
              <a:off x="1968" y="1286"/>
              <a:ext cx="755" cy="219"/>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Design Specification </a:t>
              </a:r>
            </a:p>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Checklist</a:t>
              </a:r>
              <a:endParaRPr kumimoji="1" lang="ja-JP" altLang="en-US" sz="1200" b="1" kern="0" dirty="0">
                <a:solidFill>
                  <a:srgbClr val="3366FF"/>
                </a:solidFill>
                <a:latin typeface="Arial"/>
                <a:ea typeface="ＭＳ Ｐゴシック" panose="020B0600070205080204" pitchFamily="50" charset="-128"/>
                <a:cs typeface="Arial" pitchFamily="34" charset="0"/>
              </a:endParaRPr>
            </a:p>
          </p:txBody>
        </p:sp>
        <p:sp>
          <p:nvSpPr>
            <p:cNvPr id="123" name="Line 346">
              <a:extLst>
                <a:ext uri="{FF2B5EF4-FFF2-40B4-BE49-F238E27FC236}">
                  <a16:creationId xmlns:a16="http://schemas.microsoft.com/office/drawing/2014/main" id="{17C153D1-DF4F-4A53-B402-04B02FBFF41A}"/>
                </a:ext>
              </a:extLst>
            </p:cNvPr>
            <p:cNvSpPr>
              <a:spLocks noChangeShapeType="1"/>
            </p:cNvSpPr>
            <p:nvPr/>
          </p:nvSpPr>
          <p:spPr bwMode="auto">
            <a:xfrm>
              <a:off x="2328" y="1498"/>
              <a:ext cx="0" cy="642"/>
            </a:xfrm>
            <a:prstGeom prst="line">
              <a:avLst/>
            </a:prstGeom>
            <a:noFill/>
            <a:ln w="41275">
              <a:solidFill>
                <a:srgbClr val="0000FF"/>
              </a:solidFill>
              <a:round/>
              <a:headEnd type="triangle" w="med" len="sm"/>
              <a:tailEnd type="non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grpSp>
        <p:nvGrpSpPr>
          <p:cNvPr id="124" name="Group 347">
            <a:extLst>
              <a:ext uri="{FF2B5EF4-FFF2-40B4-BE49-F238E27FC236}">
                <a16:creationId xmlns:a16="http://schemas.microsoft.com/office/drawing/2014/main" id="{7C9D49F1-74CF-425A-A02F-27932AED968F}"/>
              </a:ext>
            </a:extLst>
          </p:cNvPr>
          <p:cNvGrpSpPr>
            <a:grpSpLocks/>
          </p:cNvGrpSpPr>
          <p:nvPr/>
        </p:nvGrpSpPr>
        <p:grpSpPr bwMode="auto">
          <a:xfrm>
            <a:off x="5080000" y="2784345"/>
            <a:ext cx="1117600" cy="958851"/>
            <a:chOff x="2352" y="1514"/>
            <a:chExt cx="528" cy="453"/>
          </a:xfrm>
        </p:grpSpPr>
        <p:sp>
          <p:nvSpPr>
            <p:cNvPr id="125" name="Rectangle 348">
              <a:extLst>
                <a:ext uri="{FF2B5EF4-FFF2-40B4-BE49-F238E27FC236}">
                  <a16:creationId xmlns:a16="http://schemas.microsoft.com/office/drawing/2014/main" id="{28733817-4910-402A-B5EF-903A3456408F}"/>
                </a:ext>
              </a:extLst>
            </p:cNvPr>
            <p:cNvSpPr>
              <a:spLocks noChangeArrowheads="1"/>
            </p:cNvSpPr>
            <p:nvPr/>
          </p:nvSpPr>
          <p:spPr bwMode="auto">
            <a:xfrm>
              <a:off x="2352" y="1514"/>
              <a:ext cx="528" cy="192"/>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Drawings &amp; </a:t>
              </a:r>
            </a:p>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Specification</a:t>
              </a:r>
              <a:endParaRPr kumimoji="1" lang="ja-JP" altLang="en-US" sz="1200" b="1" kern="0" dirty="0">
                <a:solidFill>
                  <a:srgbClr val="3366FF"/>
                </a:solidFill>
                <a:latin typeface="Arial"/>
                <a:ea typeface="ＭＳ Ｐゴシック" panose="020B0600070205080204" pitchFamily="50" charset="-128"/>
                <a:cs typeface="Arial" pitchFamily="34" charset="0"/>
              </a:endParaRPr>
            </a:p>
          </p:txBody>
        </p:sp>
        <p:sp>
          <p:nvSpPr>
            <p:cNvPr id="126" name="Line 349">
              <a:extLst>
                <a:ext uri="{FF2B5EF4-FFF2-40B4-BE49-F238E27FC236}">
                  <a16:creationId xmlns:a16="http://schemas.microsoft.com/office/drawing/2014/main" id="{1D1C3876-9744-420A-8E3C-B21F4B9CA062}"/>
                </a:ext>
              </a:extLst>
            </p:cNvPr>
            <p:cNvSpPr>
              <a:spLocks noChangeShapeType="1"/>
            </p:cNvSpPr>
            <p:nvPr/>
          </p:nvSpPr>
          <p:spPr bwMode="auto">
            <a:xfrm>
              <a:off x="2618" y="1704"/>
              <a:ext cx="0" cy="263"/>
            </a:xfrm>
            <a:prstGeom prst="line">
              <a:avLst/>
            </a:prstGeom>
            <a:noFill/>
            <a:ln w="41275">
              <a:solidFill>
                <a:srgbClr val="0000FF"/>
              </a:solidFill>
              <a:round/>
              <a:headEnd type="triangle" w="med" len="sm"/>
              <a:tailEnd type="non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grpSp>
        <p:nvGrpSpPr>
          <p:cNvPr id="127" name="Group 350">
            <a:extLst>
              <a:ext uri="{FF2B5EF4-FFF2-40B4-BE49-F238E27FC236}">
                <a16:creationId xmlns:a16="http://schemas.microsoft.com/office/drawing/2014/main" id="{E6CA405B-11EB-4D93-BE11-9D8488A18D2F}"/>
              </a:ext>
            </a:extLst>
          </p:cNvPr>
          <p:cNvGrpSpPr>
            <a:grpSpLocks/>
          </p:cNvGrpSpPr>
          <p:nvPr/>
        </p:nvGrpSpPr>
        <p:grpSpPr bwMode="auto">
          <a:xfrm>
            <a:off x="6096000" y="3440512"/>
            <a:ext cx="1117600" cy="812800"/>
            <a:chOff x="2832" y="1824"/>
            <a:chExt cx="528" cy="384"/>
          </a:xfrm>
        </p:grpSpPr>
        <p:sp>
          <p:nvSpPr>
            <p:cNvPr id="128" name="Rectangle 351">
              <a:extLst>
                <a:ext uri="{FF2B5EF4-FFF2-40B4-BE49-F238E27FC236}">
                  <a16:creationId xmlns:a16="http://schemas.microsoft.com/office/drawing/2014/main" id="{12F8A98D-93A5-4007-810F-F44C697C716B}"/>
                </a:ext>
              </a:extLst>
            </p:cNvPr>
            <p:cNvSpPr>
              <a:spLocks noChangeArrowheads="1"/>
            </p:cNvSpPr>
            <p:nvPr/>
          </p:nvSpPr>
          <p:spPr bwMode="auto">
            <a:xfrm>
              <a:off x="2832" y="1824"/>
              <a:ext cx="528" cy="192"/>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Process </a:t>
              </a:r>
            </a:p>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flow chart</a:t>
              </a:r>
            </a:p>
          </p:txBody>
        </p:sp>
        <p:sp>
          <p:nvSpPr>
            <p:cNvPr id="129" name="Line 352">
              <a:extLst>
                <a:ext uri="{FF2B5EF4-FFF2-40B4-BE49-F238E27FC236}">
                  <a16:creationId xmlns:a16="http://schemas.microsoft.com/office/drawing/2014/main" id="{F316E187-AE09-49A7-8D17-54B851F6669F}"/>
                </a:ext>
              </a:extLst>
            </p:cNvPr>
            <p:cNvSpPr>
              <a:spLocks noChangeShapeType="1"/>
            </p:cNvSpPr>
            <p:nvPr/>
          </p:nvSpPr>
          <p:spPr bwMode="auto">
            <a:xfrm>
              <a:off x="3096" y="2016"/>
              <a:ext cx="0" cy="192"/>
            </a:xfrm>
            <a:prstGeom prst="line">
              <a:avLst/>
            </a:prstGeom>
            <a:noFill/>
            <a:ln w="38100">
              <a:solidFill>
                <a:srgbClr val="0000FF"/>
              </a:solidFill>
              <a:round/>
              <a:headEnd type="triangle" w="med" len="sm"/>
              <a:tailEnd type="non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grpSp>
        <p:nvGrpSpPr>
          <p:cNvPr id="130" name="Group 353">
            <a:extLst>
              <a:ext uri="{FF2B5EF4-FFF2-40B4-BE49-F238E27FC236}">
                <a16:creationId xmlns:a16="http://schemas.microsoft.com/office/drawing/2014/main" id="{42386606-7CC0-425F-A076-43F2875317E0}"/>
              </a:ext>
            </a:extLst>
          </p:cNvPr>
          <p:cNvGrpSpPr>
            <a:grpSpLocks/>
          </p:cNvGrpSpPr>
          <p:nvPr/>
        </p:nvGrpSpPr>
        <p:grpSpPr bwMode="auto">
          <a:xfrm>
            <a:off x="6807200" y="2784345"/>
            <a:ext cx="1117600" cy="1466851"/>
            <a:chOff x="3168" y="1514"/>
            <a:chExt cx="528" cy="693"/>
          </a:xfrm>
        </p:grpSpPr>
        <p:sp>
          <p:nvSpPr>
            <p:cNvPr id="131" name="Rectangle 354">
              <a:extLst>
                <a:ext uri="{FF2B5EF4-FFF2-40B4-BE49-F238E27FC236}">
                  <a16:creationId xmlns:a16="http://schemas.microsoft.com/office/drawing/2014/main" id="{7DD90934-F70B-4A63-92C1-FD501C4EEE3F}"/>
                </a:ext>
              </a:extLst>
            </p:cNvPr>
            <p:cNvSpPr>
              <a:spLocks noChangeArrowheads="1"/>
            </p:cNvSpPr>
            <p:nvPr/>
          </p:nvSpPr>
          <p:spPr bwMode="auto">
            <a:xfrm>
              <a:off x="3168" y="1514"/>
              <a:ext cx="528" cy="192"/>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P-FMEA</a:t>
              </a:r>
            </a:p>
          </p:txBody>
        </p:sp>
        <p:sp>
          <p:nvSpPr>
            <p:cNvPr id="132" name="Line 355">
              <a:extLst>
                <a:ext uri="{FF2B5EF4-FFF2-40B4-BE49-F238E27FC236}">
                  <a16:creationId xmlns:a16="http://schemas.microsoft.com/office/drawing/2014/main" id="{DB4D52AD-A1FA-4E0B-8C70-A11145967888}"/>
                </a:ext>
              </a:extLst>
            </p:cNvPr>
            <p:cNvSpPr>
              <a:spLocks noChangeShapeType="1"/>
            </p:cNvSpPr>
            <p:nvPr/>
          </p:nvSpPr>
          <p:spPr bwMode="auto">
            <a:xfrm>
              <a:off x="3432" y="1704"/>
              <a:ext cx="0" cy="503"/>
            </a:xfrm>
            <a:prstGeom prst="line">
              <a:avLst/>
            </a:prstGeom>
            <a:noFill/>
            <a:ln w="38100">
              <a:solidFill>
                <a:srgbClr val="0000FF"/>
              </a:solidFill>
              <a:round/>
              <a:headEnd type="triangle" w="med" len="sm"/>
              <a:tailEnd type="non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grpSp>
        <p:nvGrpSpPr>
          <p:cNvPr id="133" name="Group 356">
            <a:extLst>
              <a:ext uri="{FF2B5EF4-FFF2-40B4-BE49-F238E27FC236}">
                <a16:creationId xmlns:a16="http://schemas.microsoft.com/office/drawing/2014/main" id="{134F82B1-6D9C-4E3A-8422-A8A824994EDF}"/>
              </a:ext>
            </a:extLst>
          </p:cNvPr>
          <p:cNvGrpSpPr>
            <a:grpSpLocks/>
          </p:cNvGrpSpPr>
          <p:nvPr/>
        </p:nvGrpSpPr>
        <p:grpSpPr bwMode="auto">
          <a:xfrm>
            <a:off x="7518400" y="3440512"/>
            <a:ext cx="1117600" cy="812800"/>
            <a:chOff x="3504" y="1824"/>
            <a:chExt cx="528" cy="384"/>
          </a:xfrm>
        </p:grpSpPr>
        <p:sp>
          <p:nvSpPr>
            <p:cNvPr id="134" name="Rectangle 357">
              <a:extLst>
                <a:ext uri="{FF2B5EF4-FFF2-40B4-BE49-F238E27FC236}">
                  <a16:creationId xmlns:a16="http://schemas.microsoft.com/office/drawing/2014/main" id="{BB0F87DB-0199-41FF-A509-AD829EB982C1}"/>
                </a:ext>
              </a:extLst>
            </p:cNvPr>
            <p:cNvSpPr>
              <a:spLocks noChangeArrowheads="1"/>
            </p:cNvSpPr>
            <p:nvPr/>
          </p:nvSpPr>
          <p:spPr bwMode="auto">
            <a:xfrm>
              <a:off x="3504" y="1824"/>
              <a:ext cx="528" cy="192"/>
            </a:xfrm>
            <a:prstGeom prst="rect">
              <a:avLst/>
            </a:prstGeom>
            <a:solidFill>
              <a:srgbClr val="FFFFFF"/>
            </a:solidFill>
            <a:ln w="19050">
              <a:solidFill>
                <a:srgbClr val="0000FF"/>
              </a:solidFill>
              <a:miter lim="800000"/>
              <a:headEnd/>
              <a:tailEnd/>
            </a:ln>
            <a:effectLst>
              <a:outerShdw dist="53882" dir="2700000" algn="ctr" rotWithShape="0">
                <a:srgbClr val="808080"/>
              </a:outerShdw>
            </a:effectLst>
          </p:spPr>
          <p:txBody>
            <a:bodyPr wrap="none" anchor="ctr"/>
            <a:lstStyle/>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Pre-Launch</a:t>
              </a:r>
            </a:p>
            <a:p>
              <a:pPr algn="ctr">
                <a:defRPr/>
              </a:pPr>
              <a:r>
                <a:rPr kumimoji="1" lang="en-US" altLang="ja-JP" sz="1200" b="1" kern="0" dirty="0">
                  <a:solidFill>
                    <a:srgbClr val="3366FF"/>
                  </a:solidFill>
                  <a:latin typeface="Arial"/>
                  <a:ea typeface="ＭＳ Ｐゴシック" panose="020B0600070205080204" pitchFamily="50" charset="-128"/>
                  <a:cs typeface="Arial" pitchFamily="34" charset="0"/>
                </a:rPr>
                <a:t>Control Plan</a:t>
              </a:r>
              <a:endParaRPr kumimoji="1" lang="ja-JP" altLang="en-US" sz="1200" b="1" kern="0" dirty="0">
                <a:solidFill>
                  <a:srgbClr val="3366FF"/>
                </a:solidFill>
                <a:latin typeface="Arial"/>
                <a:ea typeface="ＭＳ Ｐゴシック" panose="020B0600070205080204" pitchFamily="50" charset="-128"/>
                <a:cs typeface="Arial" pitchFamily="34" charset="0"/>
              </a:endParaRPr>
            </a:p>
          </p:txBody>
        </p:sp>
        <p:sp>
          <p:nvSpPr>
            <p:cNvPr id="135" name="Line 358">
              <a:extLst>
                <a:ext uri="{FF2B5EF4-FFF2-40B4-BE49-F238E27FC236}">
                  <a16:creationId xmlns:a16="http://schemas.microsoft.com/office/drawing/2014/main" id="{8B64B613-6162-45E2-9964-E5B9C55B090E}"/>
                </a:ext>
              </a:extLst>
            </p:cNvPr>
            <p:cNvSpPr>
              <a:spLocks noChangeShapeType="1"/>
            </p:cNvSpPr>
            <p:nvPr/>
          </p:nvSpPr>
          <p:spPr bwMode="auto">
            <a:xfrm>
              <a:off x="3770" y="2016"/>
              <a:ext cx="0" cy="192"/>
            </a:xfrm>
            <a:prstGeom prst="line">
              <a:avLst/>
            </a:prstGeom>
            <a:noFill/>
            <a:ln w="38100">
              <a:solidFill>
                <a:srgbClr val="0000FF"/>
              </a:solidFill>
              <a:round/>
              <a:headEnd type="triangle" w="med" len="sm"/>
              <a:tailEnd type="non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grpSp>
        <p:nvGrpSpPr>
          <p:cNvPr id="136" name="グループ化 135">
            <a:extLst>
              <a:ext uri="{FF2B5EF4-FFF2-40B4-BE49-F238E27FC236}">
                <a16:creationId xmlns:a16="http://schemas.microsoft.com/office/drawing/2014/main" id="{5FE80F10-2740-42E3-9F9A-1C63CA2091DC}"/>
              </a:ext>
            </a:extLst>
          </p:cNvPr>
          <p:cNvGrpSpPr/>
          <p:nvPr/>
        </p:nvGrpSpPr>
        <p:grpSpPr>
          <a:xfrm>
            <a:off x="3848102" y="4890429"/>
            <a:ext cx="306916" cy="306916"/>
            <a:chOff x="3400031" y="6767756"/>
            <a:chExt cx="230187" cy="230187"/>
          </a:xfrm>
        </p:grpSpPr>
        <p:sp>
          <p:nvSpPr>
            <p:cNvPr id="137" name="Line 317">
              <a:extLst>
                <a:ext uri="{FF2B5EF4-FFF2-40B4-BE49-F238E27FC236}">
                  <a16:creationId xmlns:a16="http://schemas.microsoft.com/office/drawing/2014/main" id="{847FF4AD-A05E-4D8D-8062-7336D3C668FA}"/>
                </a:ext>
              </a:extLst>
            </p:cNvPr>
            <p:cNvSpPr>
              <a:spLocks noChangeShapeType="1"/>
            </p:cNvSpPr>
            <p:nvPr/>
          </p:nvSpPr>
          <p:spPr bwMode="auto">
            <a:xfrm flipH="1">
              <a:off x="3416073" y="6767756"/>
              <a:ext cx="0" cy="230187"/>
            </a:xfrm>
            <a:prstGeom prst="line">
              <a:avLst/>
            </a:prstGeom>
            <a:noFill/>
            <a:ln w="41275">
              <a:solidFill>
                <a:srgbClr val="0000FF"/>
              </a:solidFill>
              <a:round/>
              <a:headEnd/>
              <a:tailEnd type="triangle" w="med" len="sm"/>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sp>
          <p:nvSpPr>
            <p:cNvPr id="138" name="Line 317">
              <a:extLst>
                <a:ext uri="{FF2B5EF4-FFF2-40B4-BE49-F238E27FC236}">
                  <a16:creationId xmlns:a16="http://schemas.microsoft.com/office/drawing/2014/main" id="{A25B8FF6-6118-48A7-9D81-C69983634ABB}"/>
                </a:ext>
              </a:extLst>
            </p:cNvPr>
            <p:cNvSpPr>
              <a:spLocks noChangeShapeType="1"/>
            </p:cNvSpPr>
            <p:nvPr/>
          </p:nvSpPr>
          <p:spPr bwMode="auto">
            <a:xfrm rot="16200000" flipH="1">
              <a:off x="3515125" y="6652663"/>
              <a:ext cx="0" cy="230187"/>
            </a:xfrm>
            <a:prstGeom prst="line">
              <a:avLst/>
            </a:prstGeom>
            <a:noFill/>
            <a:ln w="41275">
              <a:solidFill>
                <a:srgbClr val="0000FF"/>
              </a:solidFill>
              <a:round/>
              <a:headEnd type="none" w="med" len="med"/>
              <a:tailEnd type="none" w="med" len="med"/>
            </a:ln>
            <a:effectLst>
              <a:outerShdw dist="53882" dir="2700000" algn="ctr" rotWithShape="0">
                <a:srgbClr val="808080"/>
              </a:outerShdw>
            </a:effectLst>
            <a:extLst>
              <a:ext uri="{909E8E84-426E-40DD-AFC4-6F175D3DCCD1}">
                <a14:hiddenFill xmlns:a14="http://schemas.microsoft.com/office/drawing/2010/main">
                  <a:noFill/>
                </a14:hiddenFill>
              </a:ext>
            </a:extLst>
          </p:spPr>
          <p:txBody>
            <a:bodyPr/>
            <a:lstStyle/>
            <a:p>
              <a:pPr>
                <a:defRPr/>
              </a:pPr>
              <a:endParaRPr kumimoji="1" lang="ja-JP" altLang="en-US" b="1" kern="0" dirty="0">
                <a:solidFill>
                  <a:srgbClr val="000000"/>
                </a:solidFill>
                <a:latin typeface="Arial"/>
                <a:ea typeface="ＭＳ Ｐゴシック" panose="020B0600070205080204" pitchFamily="50" charset="-128"/>
                <a:cs typeface="Arial" pitchFamily="34" charset="0"/>
              </a:endParaRPr>
            </a:p>
          </p:txBody>
        </p:sp>
      </p:grpSp>
      <p:sp>
        <p:nvSpPr>
          <p:cNvPr id="139" name="AutoShape 292">
            <a:extLst>
              <a:ext uri="{FF2B5EF4-FFF2-40B4-BE49-F238E27FC236}">
                <a16:creationId xmlns:a16="http://schemas.microsoft.com/office/drawing/2014/main" id="{99E17FF8-38DD-44C9-B9C9-AFB706B66B86}"/>
              </a:ext>
            </a:extLst>
          </p:cNvPr>
          <p:cNvSpPr>
            <a:spLocks noChangeArrowheads="1"/>
          </p:cNvSpPr>
          <p:nvPr/>
        </p:nvSpPr>
        <p:spPr bwMode="auto">
          <a:xfrm>
            <a:off x="8321525" y="1533258"/>
            <a:ext cx="1117600" cy="887021"/>
          </a:xfrm>
          <a:prstGeom prst="wedgeRoundRectCallout">
            <a:avLst>
              <a:gd name="adj1" fmla="val -43266"/>
              <a:gd name="adj2" fmla="val -74149"/>
              <a:gd name="adj3" fmla="val 16667"/>
            </a:avLst>
          </a:prstGeom>
          <a:solidFill>
            <a:srgbClr val="0000FF"/>
          </a:solidFill>
          <a:ln w="12700">
            <a:solidFill>
              <a:srgbClr val="0000FF"/>
            </a:solidFill>
            <a:miter lim="800000"/>
            <a:headEnd/>
            <a:tailEnd/>
          </a:ln>
          <a:effectLst>
            <a:outerShdw dist="71842" dir="2700000" algn="ctr" rotWithShape="0">
              <a:srgbClr val="808080"/>
            </a:outerShdw>
          </a:effectLst>
        </p:spPr>
        <p:txBody>
          <a:bodyPr lIns="0" tIns="0" rIns="0" bIns="0" anchor="ctr"/>
          <a:lstStyle/>
          <a:p>
            <a:pPr algn="ctr">
              <a:defRPr/>
            </a:pPr>
            <a:r>
              <a:rPr kumimoji="1" lang="en-US" altLang="ja-JP" sz="1333" b="1" kern="0" dirty="0">
                <a:solidFill>
                  <a:prstClr val="white"/>
                </a:solidFill>
                <a:latin typeface="Arial"/>
                <a:ea typeface="ＭＳ Ｐゴシック" panose="020B0600070205080204" pitchFamily="50" charset="-128"/>
                <a:cs typeface="Arial" pitchFamily="34" charset="0"/>
              </a:rPr>
              <a:t>Phase review</a:t>
            </a:r>
          </a:p>
          <a:p>
            <a:pPr algn="ctr">
              <a:defRPr/>
            </a:pPr>
            <a:r>
              <a:rPr kumimoji="1" lang="en-US" altLang="ja-JP" sz="1333" b="1" kern="0" dirty="0">
                <a:solidFill>
                  <a:prstClr val="white"/>
                </a:solidFill>
                <a:latin typeface="Arial"/>
                <a:ea typeface="ＭＳ Ｐゴシック" panose="020B0600070205080204" pitchFamily="50" charset="-128"/>
                <a:cs typeface="Arial" pitchFamily="34" charset="0"/>
              </a:rPr>
              <a:t>Product release</a:t>
            </a:r>
          </a:p>
        </p:txBody>
      </p:sp>
      <p:sp>
        <p:nvSpPr>
          <p:cNvPr id="140" name="タイトル 1">
            <a:extLst>
              <a:ext uri="{FF2B5EF4-FFF2-40B4-BE49-F238E27FC236}">
                <a16:creationId xmlns:a16="http://schemas.microsoft.com/office/drawing/2014/main" id="{926029FF-ED15-46EE-AE04-274B5DEC1445}"/>
              </a:ext>
            </a:extLst>
          </p:cNvPr>
          <p:cNvSpPr>
            <a:spLocks noGrp="1"/>
          </p:cNvSpPr>
          <p:nvPr>
            <p:ph type="title"/>
          </p:nvPr>
        </p:nvSpPr>
        <p:spPr>
          <a:xfrm>
            <a:off x="454931" y="66837"/>
            <a:ext cx="11231948" cy="706380"/>
          </a:xfrm>
        </p:spPr>
        <p:txBody>
          <a:bodyPr anchor="ctr"/>
          <a:lstStyle/>
          <a:p>
            <a:r>
              <a:rPr lang="en-US" altLang="ja-JP" dirty="0"/>
              <a:t>1. Process control  </a:t>
            </a:r>
            <a:r>
              <a:rPr lang="en-US" altLang="ja-JP" sz="2667" dirty="0">
                <a:solidFill>
                  <a:srgbClr val="0000FF"/>
                </a:solidFill>
              </a:rPr>
              <a:t>1) Product development process</a:t>
            </a:r>
            <a:endParaRPr kumimoji="1" lang="ja-JP" altLang="en-US" dirty="0">
              <a:solidFill>
                <a:srgbClr val="0000FF"/>
              </a:solidFill>
            </a:endParaRPr>
          </a:p>
        </p:txBody>
      </p:sp>
    </p:spTree>
    <p:extLst>
      <p:ext uri="{BB962C8B-B14F-4D97-AF65-F5344CB8AC3E}">
        <p14:creationId xmlns:p14="http://schemas.microsoft.com/office/powerpoint/2010/main" val="27970416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en-US" dirty="0"/>
              <a:t>Current-State Capability /Product Quality Management</a:t>
            </a:r>
          </a:p>
        </p:txBody>
      </p:sp>
      <p:grpSp>
        <p:nvGrpSpPr>
          <p:cNvPr id="2" name="Group 1">
            <a:extLst>
              <a:ext uri="{FF2B5EF4-FFF2-40B4-BE49-F238E27FC236}">
                <a16:creationId xmlns:a16="http://schemas.microsoft.com/office/drawing/2014/main" id="{E7A21B8F-4ED2-46A4-8680-2EDCE3257591}"/>
              </a:ext>
            </a:extLst>
          </p:cNvPr>
          <p:cNvGrpSpPr/>
          <p:nvPr/>
        </p:nvGrpSpPr>
        <p:grpSpPr>
          <a:xfrm>
            <a:off x="469899" y="887809"/>
            <a:ext cx="11252199" cy="5393721"/>
            <a:chOff x="649252" y="4827052"/>
            <a:chExt cx="10923052" cy="1485306"/>
          </a:xfrm>
        </p:grpSpPr>
        <p:sp>
          <p:nvSpPr>
            <p:cNvPr id="5" name="Content Placeholder 2">
              <a:extLst>
                <a:ext uri="{FF2B5EF4-FFF2-40B4-BE49-F238E27FC236}">
                  <a16:creationId xmlns:a16="http://schemas.microsoft.com/office/drawing/2014/main" id="{D105B340-91FE-4713-91F6-44138599D7D9}"/>
                </a:ext>
              </a:extLst>
            </p:cNvPr>
            <p:cNvSpPr txBox="1">
              <a:spLocks/>
            </p:cNvSpPr>
            <p:nvPr/>
          </p:nvSpPr>
          <p:spPr>
            <a:xfrm>
              <a:off x="649252" y="4827052"/>
              <a:ext cx="3789050" cy="1485306"/>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Pain Points </a:t>
              </a:r>
            </a:p>
            <a:p>
              <a:pPr marL="344487" lvl="1" indent="-342900">
                <a:buFont typeface="Arial" panose="020B0604020202020204" pitchFamily="34" charset="0"/>
                <a:buAutoNum type="arabicPeriod"/>
              </a:pPr>
              <a:r>
                <a:rPr lang="en-US" altLang="ja-JP" sz="1400" dirty="0">
                  <a:latin typeface="+mj-lt"/>
                </a:rPr>
                <a:t>No consistent product quality target (Manufacturing/NPD).  VS. Varieties of customer’s requirements of product quality</a:t>
              </a:r>
            </a:p>
            <a:p>
              <a:pPr marL="344487" lvl="1" indent="-342900">
                <a:buFont typeface="Arial" panose="020B0604020202020204" pitchFamily="34" charset="0"/>
                <a:buAutoNum type="arabicPeriod"/>
              </a:pPr>
              <a:r>
                <a:rPr lang="en-US" altLang="ja-JP" sz="1400" dirty="0"/>
                <a:t>It is difficult to align the concept of quality / definition of words.  separately by people ,department, and region. Sometimes not data oriented, it judges by the impression</a:t>
              </a:r>
            </a:p>
            <a:p>
              <a:pPr marL="344487" lvl="1" indent="-342900">
                <a:buFont typeface="Arial" panose="020B0604020202020204" pitchFamily="34" charset="0"/>
                <a:buAutoNum type="arabicPeriod"/>
              </a:pPr>
              <a:r>
                <a:rPr lang="en-US" altLang="ja-JP" sz="1400" dirty="0">
                  <a:latin typeface="+mj-lt"/>
                </a:rPr>
                <a:t>There is no consistent quality process to cover end to end</a:t>
              </a:r>
            </a:p>
            <a:p>
              <a:pPr marL="1587" lvl="1" indent="0">
                <a:buNone/>
              </a:pPr>
              <a:r>
                <a:rPr lang="en-US" altLang="ja-JP" sz="1400" dirty="0">
                  <a:latin typeface="+mj-lt"/>
                </a:rPr>
                <a:t>(e.g, DFMEA</a:t>
              </a:r>
              <a:r>
                <a:rPr lang="en-US" altLang="ja-JP" sz="1400" dirty="0">
                  <a:latin typeface="+mj-lt"/>
                  <a:sym typeface="Wingdings" panose="05000000000000000000" pitchFamily="2" charset="2"/>
                </a:rPr>
                <a:t> EPFMEA  PFMEA)</a:t>
              </a:r>
              <a:endParaRPr lang="en-US" altLang="ja-JP" sz="1400" dirty="0">
                <a:latin typeface="+mj-lt"/>
              </a:endParaRPr>
            </a:p>
            <a:p>
              <a:pPr marL="344487" lvl="1" indent="-342900">
                <a:buFont typeface="+mj-lt"/>
                <a:buAutoNum type="arabicPeriod" startAt="4"/>
              </a:pPr>
              <a:r>
                <a:rPr lang="en-US" altLang="ja-JP" sz="1400" dirty="0">
                  <a:latin typeface="+mj-lt"/>
                </a:rPr>
                <a:t>Reactive quality system (Event/Incident driven)</a:t>
              </a:r>
            </a:p>
          </p:txBody>
        </p:sp>
        <p:sp>
          <p:nvSpPr>
            <p:cNvPr id="38" name="Content Placeholder 2">
              <a:extLst>
                <a:ext uri="{FF2B5EF4-FFF2-40B4-BE49-F238E27FC236}">
                  <a16:creationId xmlns:a16="http://schemas.microsoft.com/office/drawing/2014/main" id="{1CC05C0C-D496-46EE-A944-9B2BB98AFC14}"/>
                </a:ext>
              </a:extLst>
            </p:cNvPr>
            <p:cNvSpPr txBox="1">
              <a:spLocks/>
            </p:cNvSpPr>
            <p:nvPr/>
          </p:nvSpPr>
          <p:spPr>
            <a:xfrm>
              <a:off x="4552949" y="4827052"/>
              <a:ext cx="3560801" cy="1485306"/>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Improvement Opportunities  </a:t>
              </a:r>
            </a:p>
            <a:p>
              <a:pPr marL="344487" lvl="1" indent="-342900">
                <a:buFont typeface="Arial" panose="020B0604020202020204" pitchFamily="34" charset="0"/>
                <a:buAutoNum type="arabicPeriod"/>
              </a:pPr>
              <a:r>
                <a:rPr lang="en-US" sz="1400" dirty="0">
                  <a:latin typeface="+mj-lt"/>
                </a:rPr>
                <a:t>Define the process to determine product quality target in early stage of NPD  (Customer’s DPM/Manufacturing quality/Reliability, and supplier’s quality)</a:t>
              </a:r>
            </a:p>
            <a:p>
              <a:pPr marL="344487" lvl="1" indent="-342900">
                <a:buFont typeface="Arial" panose="020B0604020202020204" pitchFamily="34" charset="0"/>
                <a:buAutoNum type="arabicPeriod"/>
              </a:pPr>
              <a:r>
                <a:rPr lang="en-US" sz="1400" dirty="0">
                  <a:latin typeface="+mj-lt"/>
                </a:rPr>
                <a:t>Employee Quality Understanding/mindset</a:t>
              </a:r>
            </a:p>
            <a:p>
              <a:pPr marL="344487" lvl="1" indent="-342900">
                <a:buFont typeface="Arial" panose="020B0604020202020204" pitchFamily="34" charset="0"/>
                <a:buAutoNum type="arabicPeriod"/>
              </a:pPr>
              <a:r>
                <a:rPr lang="en-US" altLang="ja-JP" sz="1400" dirty="0"/>
                <a:t>Molex global quality policy/standard and governance to cover end to end (NPD =&gt; Manufacturing =&gt; EOL)</a:t>
              </a:r>
            </a:p>
            <a:p>
              <a:pPr marL="344487" lvl="1" indent="-342900">
                <a:buFont typeface="Arial" panose="020B0604020202020204" pitchFamily="34" charset="0"/>
                <a:buAutoNum type="arabicPeriod"/>
              </a:pPr>
              <a:r>
                <a:rPr lang="en-US" altLang="ja-JP" sz="1400" dirty="0"/>
                <a:t>Quality dashboard to monitor and control real time quality (SPC, DPM, process data, vision data, by M/C, by P/N, supplier products/components …)</a:t>
              </a:r>
            </a:p>
            <a:p>
              <a:pPr marL="344487" lvl="1" indent="-342900">
                <a:buFont typeface="Arial" panose="020B0604020202020204" pitchFamily="34" charset="0"/>
                <a:buAutoNum type="arabicPeriod"/>
              </a:pPr>
              <a:r>
                <a:rPr lang="en-US" altLang="ja-JP" sz="1400" dirty="0"/>
                <a:t>Linkage between development data and mass production data</a:t>
              </a:r>
            </a:p>
            <a:p>
              <a:pPr lvl="1"/>
              <a:endParaRPr lang="en-US" dirty="0">
                <a:latin typeface="+mj-lt"/>
              </a:endParaRPr>
            </a:p>
          </p:txBody>
        </p:sp>
        <p:sp>
          <p:nvSpPr>
            <p:cNvPr id="37" name="Content Placeholder 2">
              <a:extLst>
                <a:ext uri="{FF2B5EF4-FFF2-40B4-BE49-F238E27FC236}">
                  <a16:creationId xmlns:a16="http://schemas.microsoft.com/office/drawing/2014/main" id="{1368719C-95CF-444F-8171-A5A2E1569750}"/>
                </a:ext>
              </a:extLst>
            </p:cNvPr>
            <p:cNvSpPr txBox="1">
              <a:spLocks/>
            </p:cNvSpPr>
            <p:nvPr/>
          </p:nvSpPr>
          <p:spPr>
            <a:xfrm>
              <a:off x="8228397" y="4827052"/>
              <a:ext cx="3343907" cy="1485306"/>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Technology / Data Utilized   </a:t>
              </a:r>
            </a:p>
            <a:p>
              <a:pPr marL="344487" lvl="1" indent="-342900">
                <a:buFont typeface="Arial" panose="020B0604020202020204" pitchFamily="34" charset="0"/>
                <a:buAutoNum type="arabicPeriod"/>
              </a:pPr>
              <a:r>
                <a:rPr lang="en-US" sz="1400" dirty="0">
                  <a:latin typeface="+mj-lt"/>
                </a:rPr>
                <a:t>SAP</a:t>
              </a:r>
            </a:p>
            <a:p>
              <a:pPr marL="344487" lvl="1" indent="-342900">
                <a:buFont typeface="Arial" panose="020B0604020202020204" pitchFamily="34" charset="0"/>
                <a:buAutoNum type="arabicPeriod"/>
              </a:pPr>
              <a:r>
                <a:rPr lang="en-US" sz="1400" dirty="0">
                  <a:latin typeface="+mj-lt"/>
                </a:rPr>
                <a:t>ECTR</a:t>
              </a:r>
            </a:p>
            <a:p>
              <a:pPr marL="344487" lvl="1" indent="-342900">
                <a:buFont typeface="Arial" panose="020B0604020202020204" pitchFamily="34" charset="0"/>
                <a:buAutoNum type="arabicPeriod"/>
              </a:pPr>
              <a:r>
                <a:rPr lang="en-US" altLang="ja-JP" sz="1400" dirty="0">
                  <a:latin typeface="+mj-lt"/>
                </a:rPr>
                <a:t>STATURE (FMEA)</a:t>
              </a:r>
            </a:p>
            <a:p>
              <a:pPr marL="344487" lvl="1" indent="-342900">
                <a:buFont typeface="Arial" panose="020B0604020202020204" pitchFamily="34" charset="0"/>
                <a:buAutoNum type="arabicPeriod"/>
              </a:pPr>
              <a:r>
                <a:rPr lang="en-US" altLang="ja-JP" sz="1400" dirty="0">
                  <a:latin typeface="+mj-lt"/>
                </a:rPr>
                <a:t>SharePoint</a:t>
              </a:r>
            </a:p>
            <a:p>
              <a:pPr marL="344487" lvl="1" indent="-342900">
                <a:buFont typeface="Arial" panose="020B0604020202020204" pitchFamily="34" charset="0"/>
                <a:buAutoNum type="arabicPeriod"/>
              </a:pPr>
              <a:r>
                <a:rPr lang="en-US" altLang="ja-JP" sz="1400" dirty="0">
                  <a:latin typeface="+mj-lt"/>
                </a:rPr>
                <a:t>Air 2 (Inspection data monitoring)</a:t>
              </a:r>
            </a:p>
            <a:p>
              <a:pPr marL="344487" lvl="1" indent="-342900">
                <a:buFont typeface="Arial" panose="020B0604020202020204" pitchFamily="34" charset="0"/>
                <a:buAutoNum type="arabicPeriod"/>
              </a:pPr>
              <a:r>
                <a:rPr lang="en-US" altLang="ja-JP" sz="1400" dirty="0">
                  <a:latin typeface="+mj-lt"/>
                </a:rPr>
                <a:t>MII</a:t>
              </a:r>
              <a:endParaRPr lang="en-US" sz="1400" dirty="0">
                <a:latin typeface="+mj-lt"/>
              </a:endParaRPr>
            </a:p>
            <a:p>
              <a:pPr lvl="1"/>
              <a:endParaRPr lang="en-US" dirty="0">
                <a:latin typeface="+mj-lt"/>
              </a:endParaRPr>
            </a:p>
            <a:p>
              <a:pPr lvl="1"/>
              <a:endParaRPr lang="en-US" dirty="0">
                <a:latin typeface="+mj-lt"/>
              </a:endParaRPr>
            </a:p>
            <a:p>
              <a:pPr lvl="1"/>
              <a:endParaRPr lang="en-US" dirty="0">
                <a:latin typeface="+mj-lt"/>
              </a:endParaRPr>
            </a:p>
          </p:txBody>
        </p:sp>
      </p:grpSp>
    </p:spTree>
    <p:extLst>
      <p:ext uri="{BB962C8B-B14F-4D97-AF65-F5344CB8AC3E}">
        <p14:creationId xmlns:p14="http://schemas.microsoft.com/office/powerpoint/2010/main" val="99450792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8396E48-CB60-4954-84D6-90468C55ADC6}"/>
              </a:ext>
            </a:extLst>
          </p:cNvPr>
          <p:cNvGrpSpPr/>
          <p:nvPr/>
        </p:nvGrpSpPr>
        <p:grpSpPr>
          <a:xfrm>
            <a:off x="355474" y="1205658"/>
            <a:ext cx="10688098" cy="4966456"/>
            <a:chOff x="453612" y="1159741"/>
            <a:chExt cx="8365698" cy="4756737"/>
          </a:xfrm>
        </p:grpSpPr>
        <p:sp>
          <p:nvSpPr>
            <p:cNvPr id="45" name="Text Box 11"/>
            <p:cNvSpPr txBox="1">
              <a:spLocks noChangeArrowheads="1"/>
            </p:cNvSpPr>
            <p:nvPr/>
          </p:nvSpPr>
          <p:spPr bwMode="auto">
            <a:xfrm rot="16200000">
              <a:off x="266360" y="4601216"/>
              <a:ext cx="637653" cy="26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b"/>
            <a:lstStyle>
              <a:lvl1pPr defTabSz="901700" eaLnBrk="0" hangingPunct="0">
                <a:defRPr sz="2400">
                  <a:solidFill>
                    <a:schemeClr val="tx1"/>
                  </a:solidFill>
                  <a:latin typeface="Tahoma" pitchFamily="34" charset="0"/>
                  <a:cs typeface="Arial" pitchFamily="34" charset="0"/>
                </a:defRPr>
              </a:lvl1pPr>
              <a:lvl2pPr marL="742950" indent="-285750" defTabSz="901700" eaLnBrk="0" hangingPunct="0">
                <a:defRPr sz="2400">
                  <a:solidFill>
                    <a:schemeClr val="tx1"/>
                  </a:solidFill>
                  <a:latin typeface="Tahoma" pitchFamily="34" charset="0"/>
                  <a:cs typeface="Arial" pitchFamily="34" charset="0"/>
                </a:defRPr>
              </a:lvl2pPr>
              <a:lvl3pPr marL="1143000" indent="-228600" defTabSz="901700" eaLnBrk="0" hangingPunct="0">
                <a:defRPr sz="2400">
                  <a:solidFill>
                    <a:schemeClr val="tx1"/>
                  </a:solidFill>
                  <a:latin typeface="Tahoma" pitchFamily="34" charset="0"/>
                  <a:cs typeface="Arial" pitchFamily="34" charset="0"/>
                </a:defRPr>
              </a:lvl3pPr>
              <a:lvl4pPr marL="1600200" indent="-228600" defTabSz="901700" eaLnBrk="0" hangingPunct="0">
                <a:defRPr sz="2400">
                  <a:solidFill>
                    <a:schemeClr val="tx1"/>
                  </a:solidFill>
                  <a:latin typeface="Tahoma" pitchFamily="34" charset="0"/>
                  <a:cs typeface="Arial" pitchFamily="34" charset="0"/>
                </a:defRPr>
              </a:lvl4pPr>
              <a:lvl5pPr marL="2057400" indent="-228600" defTabSz="901700" eaLnBrk="0" hangingPunct="0">
                <a:defRPr sz="2400">
                  <a:solidFill>
                    <a:schemeClr val="tx1"/>
                  </a:solidFill>
                  <a:latin typeface="Tahoma" pitchFamily="34" charset="0"/>
                  <a:cs typeface="Arial" pitchFamily="34" charset="0"/>
                </a:defRPr>
              </a:lvl5pPr>
              <a:lvl6pPr marL="2514600" indent="-228600" defTabSz="9017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defTabSz="9017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defTabSz="9017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defTabSz="901700" eaLnBrk="0" fontAlgn="base" hangingPunct="0">
                <a:spcBef>
                  <a:spcPct val="0"/>
                </a:spcBef>
                <a:spcAft>
                  <a:spcPct val="0"/>
                </a:spcAft>
                <a:defRPr sz="2400">
                  <a:solidFill>
                    <a:schemeClr val="tx1"/>
                  </a:solidFill>
                  <a:latin typeface="Tahoma" pitchFamily="34" charset="0"/>
                  <a:cs typeface="Arial" pitchFamily="34" charset="0"/>
                </a:defRPr>
              </a:lvl9pPr>
            </a:lstStyle>
            <a:p>
              <a:pPr marL="0" marR="0" lvl="0" indent="0" algn="ctr" defTabSz="901700" rtl="0" eaLnBrk="0" fontAlgn="auto" latinLnBrk="0" hangingPunct="0">
                <a:lnSpc>
                  <a:spcPct val="90000"/>
                </a:lnSpc>
                <a:spcBef>
                  <a:spcPct val="50000"/>
                </a:spcBef>
                <a:spcAft>
                  <a:spcPts val="0"/>
                </a:spcAft>
                <a:buClr>
                  <a:srgbClr val="8099CC"/>
                </a:buClr>
                <a:buSzPct val="100000"/>
                <a:buFont typeface="Monotype Sorts" pitchFamily="2" charset="2"/>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pitchFamily="34" charset="0"/>
                </a:rPr>
                <a:t>Low</a:t>
              </a:r>
            </a:p>
          </p:txBody>
        </p:sp>
        <p:sp>
          <p:nvSpPr>
            <p:cNvPr id="46" name="Text Box 12"/>
            <p:cNvSpPr txBox="1">
              <a:spLocks noChangeArrowheads="1"/>
            </p:cNvSpPr>
            <p:nvPr/>
          </p:nvSpPr>
          <p:spPr bwMode="auto">
            <a:xfrm rot="16200000">
              <a:off x="266301" y="1655099"/>
              <a:ext cx="721206" cy="258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rIns="0" anchor="b">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marL="0" marR="0" lvl="0" indent="0" algn="ctr" defTabSz="1219170" rtl="0" eaLnBrk="0" fontAlgn="auto" latinLnBrk="0" hangingPunct="0">
                <a:lnSpc>
                  <a:spcPct val="106000"/>
                </a:lnSpc>
                <a:spcBef>
                  <a:spcPct val="50000"/>
                </a:spcBef>
                <a:spcAft>
                  <a:spcPts val="0"/>
                </a:spcAft>
                <a:buClrTx/>
                <a:buSzPct val="100000"/>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pitchFamily="34" charset="0"/>
                </a:rPr>
                <a:t>Advanced</a:t>
              </a:r>
            </a:p>
          </p:txBody>
        </p:sp>
        <p:sp>
          <p:nvSpPr>
            <p:cNvPr id="47" name="Text Box 13"/>
            <p:cNvSpPr txBox="1">
              <a:spLocks noChangeArrowheads="1"/>
            </p:cNvSpPr>
            <p:nvPr/>
          </p:nvSpPr>
          <p:spPr bwMode="auto">
            <a:xfrm rot="16200000">
              <a:off x="328145" y="3238235"/>
              <a:ext cx="603937" cy="258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rIns="0" anchor="b">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marL="0" marR="0" lvl="0" indent="0" algn="ctr" defTabSz="1219170" rtl="0" eaLnBrk="0" fontAlgn="auto" latinLnBrk="0" hangingPunct="0">
                <a:lnSpc>
                  <a:spcPct val="106000"/>
                </a:lnSpc>
                <a:spcBef>
                  <a:spcPct val="50000"/>
                </a:spcBef>
                <a:spcAft>
                  <a:spcPts val="0"/>
                </a:spcAft>
                <a:buClrTx/>
                <a:buSzPct val="100000"/>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pitchFamily="34" charset="0"/>
                </a:rPr>
                <a:t>Basic</a:t>
              </a:r>
            </a:p>
          </p:txBody>
        </p:sp>
        <p:sp>
          <p:nvSpPr>
            <p:cNvPr id="48" name="Line 15"/>
            <p:cNvSpPr>
              <a:spLocks noChangeShapeType="1"/>
            </p:cNvSpPr>
            <p:nvPr/>
          </p:nvSpPr>
          <p:spPr bwMode="auto">
            <a:xfrm flipV="1">
              <a:off x="742434" y="1159741"/>
              <a:ext cx="0" cy="3972499"/>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Verdana"/>
                <a:ea typeface="+mn-ea"/>
                <a:cs typeface="+mn-cs"/>
              </a:endParaRPr>
            </a:p>
          </p:txBody>
        </p:sp>
        <p:sp>
          <p:nvSpPr>
            <p:cNvPr id="49" name="Line 16"/>
            <p:cNvSpPr>
              <a:spLocks noChangeShapeType="1"/>
            </p:cNvSpPr>
            <p:nvPr/>
          </p:nvSpPr>
          <p:spPr bwMode="auto">
            <a:xfrm flipV="1">
              <a:off x="749575" y="5132239"/>
              <a:ext cx="8040851"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solidFill>
                    <a:sysClr val="windowText" lastClr="000000"/>
                  </a:solidFill>
                </a:ln>
                <a:solidFill>
                  <a:prstClr val="black"/>
                </a:solidFill>
                <a:effectLst/>
                <a:uLnTx/>
                <a:uFillTx/>
                <a:latin typeface="Verdana"/>
                <a:ea typeface="+mn-ea"/>
                <a:cs typeface="+mn-cs"/>
              </a:endParaRPr>
            </a:p>
          </p:txBody>
        </p:sp>
        <p:sp>
          <p:nvSpPr>
            <p:cNvPr id="50" name="Rectangle 8"/>
            <p:cNvSpPr>
              <a:spLocks noChangeArrowheads="1"/>
            </p:cNvSpPr>
            <p:nvPr/>
          </p:nvSpPr>
          <p:spPr bwMode="auto">
            <a:xfrm>
              <a:off x="4185574" y="5240713"/>
              <a:ext cx="1386354" cy="675765"/>
            </a:xfrm>
            <a:prstGeom prst="roundRect">
              <a:avLst/>
            </a:prstGeom>
            <a:solidFill>
              <a:srgbClr val="4B0082"/>
            </a:solidFill>
            <a:ln>
              <a:headEnd/>
              <a:tailEnd/>
            </a:ln>
          </p:spPr>
          <p:style>
            <a:lnRef idx="2">
              <a:schemeClr val="dk1"/>
            </a:lnRef>
            <a:fillRef idx="1">
              <a:schemeClr val="lt1"/>
            </a:fillRef>
            <a:effectRef idx="0">
              <a:schemeClr val="dk1"/>
            </a:effectRef>
            <a:fontRef idx="minor">
              <a:schemeClr val="dk1"/>
            </a:fontRef>
          </p:style>
          <p:txBody>
            <a:bodyPr lIns="18288" tIns="0" rIns="18288" bIns="0" anchor="ctr"/>
            <a:lstStyle/>
            <a:p>
              <a:pPr marL="0" marR="0" lvl="0" indent="0" algn="ctr" defTabSz="1219170" rtl="0" eaLnBrk="0" fontAlgn="auto" latinLnBrk="0" hangingPunct="0">
                <a:lnSpc>
                  <a:spcPct val="90000"/>
                </a:lnSpc>
                <a:spcBef>
                  <a:spcPts val="0"/>
                </a:spcBef>
                <a:spcAft>
                  <a:spcPts val="0"/>
                </a:spcAft>
                <a:buClrTx/>
                <a:buSzPct val="100000"/>
                <a:buFontTx/>
                <a:buNone/>
                <a:tabLst/>
                <a:defRPr/>
              </a:pPr>
              <a:r>
                <a:rPr kumimoji="0" lang="en-US" sz="800" b="1" i="0" u="none" strike="noStrike" kern="1200" cap="none" spc="0" normalizeH="0" baseline="0" noProof="0" dirty="0">
                  <a:ln>
                    <a:noFill/>
                  </a:ln>
                  <a:solidFill>
                    <a:schemeClr val="bg1"/>
                  </a:solidFill>
                  <a:effectLst/>
                  <a:uLnTx/>
                  <a:uFillTx/>
                  <a:latin typeface="Verdana"/>
                  <a:ea typeface="+mn-ea"/>
                  <a:cs typeface="+mn-cs"/>
                </a:rPr>
                <a:t>Quality Control &amp; Governance </a:t>
              </a:r>
            </a:p>
          </p:txBody>
        </p:sp>
        <p:sp>
          <p:nvSpPr>
            <p:cNvPr id="51" name="Rectangle 22"/>
            <p:cNvSpPr>
              <a:spLocks noChangeArrowheads="1"/>
            </p:cNvSpPr>
            <p:nvPr/>
          </p:nvSpPr>
          <p:spPr bwMode="auto">
            <a:xfrm>
              <a:off x="4185574" y="4179147"/>
              <a:ext cx="1386354" cy="84433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Monotype Sorts" pitchFamily="2" charset="2"/>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Tahoma" pitchFamily="34" charset="0"/>
                </a:rPr>
                <a:t>Manual tracking of suppliers’  adherence to quality standards. Manual tracking of product quality standards</a:t>
              </a:r>
            </a:p>
          </p:txBody>
        </p:sp>
        <p:sp>
          <p:nvSpPr>
            <p:cNvPr id="52" name="Rectangle 30"/>
            <p:cNvSpPr>
              <a:spLocks noChangeArrowheads="1"/>
            </p:cNvSpPr>
            <p:nvPr/>
          </p:nvSpPr>
          <p:spPr bwMode="auto">
            <a:xfrm>
              <a:off x="4185574" y="1247413"/>
              <a:ext cx="1386354" cy="1350064"/>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Monotype Sorts" pitchFamily="2" charset="2"/>
                <a:buNone/>
                <a:tabLst/>
                <a:defRPr/>
              </a:pPr>
              <a:r>
                <a:rPr kumimoji="0" lang="en-US" altLang="en-US" sz="800" b="0" i="0" u="none" strike="noStrike" kern="1200" cap="none" spc="0" normalizeH="0" baseline="0" noProof="0" dirty="0">
                  <a:ln>
                    <a:noFill/>
                  </a:ln>
                  <a:solidFill>
                    <a:prstClr val="black"/>
                  </a:solidFill>
                  <a:effectLst/>
                  <a:uLnTx/>
                  <a:uFillTx/>
                  <a:latin typeface="Verdana"/>
                  <a:ea typeface="+mn-ea"/>
                  <a:cs typeface="Tahoma" pitchFamily="34" charset="0"/>
                </a:rPr>
                <a:t>Quality processes integrated into development lifecycle. Centralized regulations database. Methods for supplier collaboration in assessing and tracking quality standards</a:t>
              </a:r>
            </a:p>
          </p:txBody>
        </p:sp>
        <p:sp>
          <p:nvSpPr>
            <p:cNvPr id="53" name="Rectangle 38"/>
            <p:cNvSpPr>
              <a:spLocks noChangeArrowheads="1"/>
            </p:cNvSpPr>
            <p:nvPr/>
          </p:nvSpPr>
          <p:spPr bwMode="auto">
            <a:xfrm>
              <a:off x="4185574" y="2868662"/>
              <a:ext cx="1386354" cy="1055424"/>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Monotype Sorts" pitchFamily="2" charset="2"/>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Tahoma" pitchFamily="34" charset="0"/>
                </a:rPr>
                <a:t>Assessing and tracking adherence to product quality standards at every stage of product  lifecycle. Automated assessing/ tracking of change in quality standards </a:t>
              </a:r>
            </a:p>
          </p:txBody>
        </p:sp>
        <p:sp>
          <p:nvSpPr>
            <p:cNvPr id="54" name="Rectangle 9"/>
            <p:cNvSpPr>
              <a:spLocks noChangeArrowheads="1"/>
            </p:cNvSpPr>
            <p:nvPr/>
          </p:nvSpPr>
          <p:spPr bwMode="auto">
            <a:xfrm>
              <a:off x="938192" y="5240713"/>
              <a:ext cx="1386354" cy="675765"/>
            </a:xfrm>
            <a:prstGeom prst="roundRect">
              <a:avLst/>
            </a:prstGeom>
            <a:solidFill>
              <a:srgbClr val="4B0082"/>
            </a:solidFill>
            <a:ln>
              <a:headEnd/>
              <a:tailEnd/>
            </a:ln>
          </p:spPr>
          <p:style>
            <a:lnRef idx="2">
              <a:schemeClr val="dk1"/>
            </a:lnRef>
            <a:fillRef idx="1">
              <a:schemeClr val="lt1"/>
            </a:fillRef>
            <a:effectRef idx="0">
              <a:schemeClr val="dk1"/>
            </a:effectRef>
            <a:fontRef idx="minor">
              <a:schemeClr val="dk1"/>
            </a:fontRef>
          </p:style>
          <p:txBody>
            <a:bodyPr lIns="18288" tIns="0" rIns="18288" bIns="0" anchor="ctr"/>
            <a:lstStyle/>
            <a:p>
              <a:pPr marL="0" marR="0" lvl="0" indent="0" algn="ctr" defTabSz="1219170" rtl="0" eaLnBrk="0" fontAlgn="auto" latinLnBrk="0" hangingPunct="0">
                <a:lnSpc>
                  <a:spcPct val="90000"/>
                </a:lnSpc>
                <a:spcBef>
                  <a:spcPts val="0"/>
                </a:spcBef>
                <a:spcAft>
                  <a:spcPts val="0"/>
                </a:spcAft>
                <a:buClrTx/>
                <a:buSzPct val="100000"/>
                <a:buFontTx/>
                <a:buNone/>
                <a:tabLst/>
                <a:defRPr/>
              </a:pPr>
              <a:r>
                <a:rPr kumimoji="0" lang="en-US" sz="800" b="1" i="0" u="none" strike="noStrike" kern="1200" cap="none" spc="0" normalizeH="0" baseline="0" noProof="0" dirty="0">
                  <a:ln>
                    <a:noFill/>
                  </a:ln>
                  <a:solidFill>
                    <a:schemeClr val="bg1"/>
                  </a:solidFill>
                  <a:effectLst/>
                  <a:uLnTx/>
                  <a:uFillTx/>
                  <a:latin typeface="Verdana"/>
                  <a:ea typeface="+mn-ea"/>
                  <a:cs typeface="+mn-cs"/>
                </a:rPr>
                <a:t>Product Quality Management</a:t>
              </a:r>
            </a:p>
          </p:txBody>
        </p:sp>
        <p:sp>
          <p:nvSpPr>
            <p:cNvPr id="55" name="Rectangle 23"/>
            <p:cNvSpPr>
              <a:spLocks noChangeArrowheads="1"/>
            </p:cNvSpPr>
            <p:nvPr/>
          </p:nvSpPr>
          <p:spPr bwMode="auto">
            <a:xfrm>
              <a:off x="938192" y="4179147"/>
              <a:ext cx="1386354" cy="84433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Tahoma" pitchFamily="34" charset="0"/>
                </a:rPr>
                <a:t>Defects detected during production or in the field. Lack of common defect reporting and tracking system</a:t>
              </a:r>
            </a:p>
          </p:txBody>
        </p:sp>
        <p:sp>
          <p:nvSpPr>
            <p:cNvPr id="56" name="Rectangle 31"/>
            <p:cNvSpPr>
              <a:spLocks noChangeArrowheads="1"/>
            </p:cNvSpPr>
            <p:nvPr/>
          </p:nvSpPr>
          <p:spPr bwMode="auto">
            <a:xfrm>
              <a:off x="938192" y="1247413"/>
              <a:ext cx="1386354" cy="1350064"/>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Tahoma" pitchFamily="34" charset="0"/>
                </a:rPr>
                <a:t>Defined quality metrics. Real-time visibility into quality metrics, statistical analysis of quality data, statistical quality control</a:t>
              </a:r>
            </a:p>
          </p:txBody>
        </p:sp>
        <p:sp>
          <p:nvSpPr>
            <p:cNvPr id="57" name="Rectangle 39"/>
            <p:cNvSpPr>
              <a:spLocks noChangeArrowheads="1"/>
            </p:cNvSpPr>
            <p:nvPr/>
          </p:nvSpPr>
          <p:spPr bwMode="auto">
            <a:xfrm>
              <a:off x="938192" y="2868662"/>
              <a:ext cx="1386354" cy="1055424"/>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Tahoma" pitchFamily="34" charset="0"/>
                </a:rPr>
                <a:t>Defects detected early during development. Defect classification system established root cause analysis procedures. Established  defect corrective procedures. Processes to define objective criteria</a:t>
              </a:r>
            </a:p>
          </p:txBody>
        </p:sp>
        <p:sp>
          <p:nvSpPr>
            <p:cNvPr id="58" name="Rectangle 4"/>
            <p:cNvSpPr>
              <a:spLocks noChangeArrowheads="1"/>
            </p:cNvSpPr>
            <p:nvPr/>
          </p:nvSpPr>
          <p:spPr bwMode="auto">
            <a:xfrm>
              <a:off x="2561883" y="5240713"/>
              <a:ext cx="1386354" cy="675765"/>
            </a:xfrm>
            <a:prstGeom prst="roundRect">
              <a:avLst/>
            </a:prstGeom>
            <a:solidFill>
              <a:srgbClr val="4B0082"/>
            </a:solidFill>
            <a:ln>
              <a:headEnd/>
              <a:tailEnd/>
            </a:ln>
          </p:spPr>
          <p:style>
            <a:lnRef idx="2">
              <a:schemeClr val="dk1"/>
            </a:lnRef>
            <a:fillRef idx="1">
              <a:schemeClr val="lt1"/>
            </a:fillRef>
            <a:effectRef idx="0">
              <a:schemeClr val="dk1"/>
            </a:effectRef>
            <a:fontRef idx="minor">
              <a:schemeClr val="dk1"/>
            </a:fontRef>
          </p:style>
          <p:txBody>
            <a:bodyPr lIns="18288" tIns="0" rIns="18288" bIns="0" anchor="ctr"/>
            <a:lstStyle/>
            <a:p>
              <a:pPr marL="0" marR="0" lvl="0" indent="0" algn="ctr" defTabSz="1219170" rtl="0" eaLnBrk="0" fontAlgn="auto" latinLnBrk="0" hangingPunct="0">
                <a:lnSpc>
                  <a:spcPct val="90000"/>
                </a:lnSpc>
                <a:spcBef>
                  <a:spcPts val="0"/>
                </a:spcBef>
                <a:spcAft>
                  <a:spcPts val="0"/>
                </a:spcAft>
                <a:buClrTx/>
                <a:buSzPct val="100000"/>
                <a:buFontTx/>
                <a:buNone/>
                <a:tabLst/>
                <a:defRPr/>
              </a:pPr>
              <a:r>
                <a:rPr kumimoji="0" lang="en-US" sz="800" b="1" i="0" u="none" strike="noStrike" kern="1200" cap="none" spc="0" normalizeH="0" baseline="0" noProof="0" dirty="0">
                  <a:ln>
                    <a:noFill/>
                  </a:ln>
                  <a:solidFill>
                    <a:schemeClr val="bg1"/>
                  </a:solidFill>
                  <a:effectLst/>
                  <a:uLnTx/>
                  <a:uFillTx/>
                  <a:latin typeface="Verdana"/>
                  <a:ea typeface="+mn-ea"/>
                  <a:cs typeface="+mn-cs"/>
                </a:rPr>
                <a:t>Quality Knowledge &amp; Awareness </a:t>
              </a:r>
            </a:p>
          </p:txBody>
        </p:sp>
        <p:sp>
          <p:nvSpPr>
            <p:cNvPr id="59" name="Rectangle 18"/>
            <p:cNvSpPr>
              <a:spLocks noChangeArrowheads="1"/>
            </p:cNvSpPr>
            <p:nvPr/>
          </p:nvSpPr>
          <p:spPr bwMode="auto">
            <a:xfrm>
              <a:off x="2561883" y="4179147"/>
              <a:ext cx="1386354" cy="84433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Monotype Sorts" pitchFamily="2" charset="2"/>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Tahoma" pitchFamily="34" charset="0"/>
                </a:rPr>
                <a:t>No consistent target quality standards </a:t>
              </a:r>
            </a:p>
          </p:txBody>
        </p:sp>
        <p:sp>
          <p:nvSpPr>
            <p:cNvPr id="60" name="Rectangle 26"/>
            <p:cNvSpPr>
              <a:spLocks noChangeArrowheads="1"/>
            </p:cNvSpPr>
            <p:nvPr/>
          </p:nvSpPr>
          <p:spPr bwMode="auto">
            <a:xfrm>
              <a:off x="2561883" y="1256487"/>
              <a:ext cx="1386354" cy="1350064"/>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Monotype Sorts" pitchFamily="2" charset="2"/>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Tahoma" pitchFamily="34" charset="0"/>
                </a:rPr>
                <a:t>Strong embedded quality culture. Required training in quality standards for development personnel. Systematic analysis of impacted parts and products as quality regulations change. “Zero-Defect” thinking embedded in all job functions</a:t>
              </a:r>
            </a:p>
          </p:txBody>
        </p:sp>
        <p:sp>
          <p:nvSpPr>
            <p:cNvPr id="61" name="Rectangle 7"/>
            <p:cNvSpPr>
              <a:spLocks noChangeArrowheads="1"/>
            </p:cNvSpPr>
            <p:nvPr/>
          </p:nvSpPr>
          <p:spPr bwMode="auto">
            <a:xfrm>
              <a:off x="7432956" y="5240713"/>
              <a:ext cx="1386354" cy="675765"/>
            </a:xfrm>
            <a:prstGeom prst="roundRect">
              <a:avLst/>
            </a:prstGeom>
            <a:solidFill>
              <a:srgbClr val="4B0082"/>
            </a:solidFill>
            <a:ln>
              <a:headEnd/>
              <a:tailEnd/>
            </a:ln>
          </p:spPr>
          <p:style>
            <a:lnRef idx="2">
              <a:schemeClr val="dk1"/>
            </a:lnRef>
            <a:fillRef idx="1">
              <a:schemeClr val="lt1"/>
            </a:fillRef>
            <a:effectRef idx="0">
              <a:schemeClr val="dk1"/>
            </a:effectRef>
            <a:fontRef idx="minor">
              <a:schemeClr val="dk1"/>
            </a:fontRef>
          </p:style>
          <p:txBody>
            <a:bodyPr lIns="18288" tIns="0" rIns="18288" bIns="0" anchor="ctr"/>
            <a:lstStyle/>
            <a:p>
              <a:pPr marL="0" marR="0" lvl="0" indent="0" algn="ctr" defTabSz="1219170" rtl="0" eaLnBrk="0" fontAlgn="auto" latinLnBrk="0" hangingPunct="0">
                <a:lnSpc>
                  <a:spcPct val="90000"/>
                </a:lnSpc>
                <a:spcBef>
                  <a:spcPts val="0"/>
                </a:spcBef>
                <a:spcAft>
                  <a:spcPts val="0"/>
                </a:spcAft>
                <a:buClrTx/>
                <a:buSzPct val="100000"/>
                <a:buFontTx/>
                <a:buNone/>
                <a:tabLst/>
                <a:defRPr/>
              </a:pPr>
              <a:r>
                <a:rPr kumimoji="0" lang="en-US" sz="800" b="1" i="0" u="none" strike="noStrike" kern="1200" cap="none" spc="0" normalizeH="0" baseline="0" noProof="0" dirty="0">
                  <a:ln>
                    <a:noFill/>
                  </a:ln>
                  <a:solidFill>
                    <a:schemeClr val="bg1"/>
                  </a:solidFill>
                  <a:effectLst/>
                  <a:uLnTx/>
                  <a:uFillTx/>
                  <a:latin typeface="Verdana"/>
                  <a:ea typeface="+mn-ea"/>
                  <a:cs typeface="+mn-cs"/>
                </a:rPr>
                <a:t>Product Quality Data &amp; Reporting </a:t>
              </a:r>
            </a:p>
          </p:txBody>
        </p:sp>
        <p:sp>
          <p:nvSpPr>
            <p:cNvPr id="62" name="Rectangle 21"/>
            <p:cNvSpPr>
              <a:spLocks noChangeArrowheads="1"/>
            </p:cNvSpPr>
            <p:nvPr/>
          </p:nvSpPr>
          <p:spPr bwMode="auto">
            <a:xfrm>
              <a:off x="7432956" y="4188221"/>
              <a:ext cx="1386354" cy="84433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Tahoma" pitchFamily="34" charset="0"/>
                </a:rPr>
                <a:t>Manual methods for reporting and declaring adherence to quality standards to customers and authorities</a:t>
              </a:r>
            </a:p>
          </p:txBody>
        </p:sp>
        <p:sp>
          <p:nvSpPr>
            <p:cNvPr id="106" name="Rectangle 29"/>
            <p:cNvSpPr>
              <a:spLocks noChangeArrowheads="1"/>
            </p:cNvSpPr>
            <p:nvPr/>
          </p:nvSpPr>
          <p:spPr bwMode="auto">
            <a:xfrm>
              <a:off x="7432956" y="1247413"/>
              <a:ext cx="1386354" cy="1350064"/>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Tahoma" pitchFamily="34" charset="0"/>
                </a:rPr>
                <a:t>Automated reporting of quality information. Report showing component-level adherence to different quality standards</a:t>
              </a:r>
            </a:p>
          </p:txBody>
        </p:sp>
        <p:sp>
          <p:nvSpPr>
            <p:cNvPr id="107" name="Rectangle 37"/>
            <p:cNvSpPr>
              <a:spLocks noChangeArrowheads="1"/>
            </p:cNvSpPr>
            <p:nvPr/>
          </p:nvSpPr>
          <p:spPr bwMode="auto">
            <a:xfrm>
              <a:off x="7432956" y="2868662"/>
              <a:ext cx="1386354" cy="1055424"/>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Tahoma" pitchFamily="34" charset="0"/>
                </a:rPr>
                <a:t>Set reporting requirements for parts/components. Quality standard approval certifications for materials systematically gathered from suppliers</a:t>
              </a:r>
            </a:p>
          </p:txBody>
        </p:sp>
        <p:sp>
          <p:nvSpPr>
            <p:cNvPr id="108" name="Rectangle 7"/>
            <p:cNvSpPr>
              <a:spLocks noChangeArrowheads="1"/>
            </p:cNvSpPr>
            <p:nvPr/>
          </p:nvSpPr>
          <p:spPr bwMode="auto">
            <a:xfrm>
              <a:off x="5809265" y="5240713"/>
              <a:ext cx="1386354" cy="675765"/>
            </a:xfrm>
            <a:prstGeom prst="roundRect">
              <a:avLst/>
            </a:prstGeom>
            <a:solidFill>
              <a:srgbClr val="4B0082"/>
            </a:solidFill>
            <a:ln>
              <a:headEnd/>
              <a:tailEnd/>
            </a:ln>
          </p:spPr>
          <p:style>
            <a:lnRef idx="2">
              <a:schemeClr val="dk1"/>
            </a:lnRef>
            <a:fillRef idx="1">
              <a:schemeClr val="lt1"/>
            </a:fillRef>
            <a:effectRef idx="0">
              <a:schemeClr val="dk1"/>
            </a:effectRef>
            <a:fontRef idx="minor">
              <a:schemeClr val="dk1"/>
            </a:fontRef>
          </p:style>
          <p:txBody>
            <a:bodyPr lIns="18288" tIns="0" rIns="18288" bIns="0" anchor="ctr"/>
            <a:lstStyle/>
            <a:p>
              <a:pPr marL="0" marR="0" lvl="0" indent="0" algn="ctr" defTabSz="1219170" rtl="0" eaLnBrk="0" fontAlgn="auto" latinLnBrk="0" hangingPunct="0">
                <a:lnSpc>
                  <a:spcPct val="90000"/>
                </a:lnSpc>
                <a:spcBef>
                  <a:spcPts val="0"/>
                </a:spcBef>
                <a:spcAft>
                  <a:spcPts val="0"/>
                </a:spcAft>
                <a:buClrTx/>
                <a:buSzPct val="100000"/>
                <a:buFontTx/>
                <a:buNone/>
                <a:tabLst/>
                <a:defRPr/>
              </a:pPr>
              <a:r>
                <a:rPr kumimoji="0" lang="en-US" sz="800" b="1" i="0" u="none" strike="noStrike" kern="1200" cap="none" spc="0" normalizeH="0" baseline="0" noProof="0" dirty="0">
                  <a:ln>
                    <a:noFill/>
                  </a:ln>
                  <a:solidFill>
                    <a:schemeClr val="bg1"/>
                  </a:solidFill>
                  <a:effectLst/>
                  <a:uLnTx/>
                  <a:uFillTx/>
                  <a:latin typeface="Verdana"/>
                  <a:ea typeface="+mn-ea"/>
                  <a:cs typeface="+mn-cs"/>
                </a:rPr>
                <a:t>Design for Quality </a:t>
              </a:r>
            </a:p>
          </p:txBody>
        </p:sp>
        <p:sp>
          <p:nvSpPr>
            <p:cNvPr id="109" name="Rectangle 21"/>
            <p:cNvSpPr>
              <a:spLocks noChangeArrowheads="1"/>
            </p:cNvSpPr>
            <p:nvPr/>
          </p:nvSpPr>
          <p:spPr bwMode="auto">
            <a:xfrm>
              <a:off x="5809265" y="4179147"/>
              <a:ext cx="1386354" cy="84433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Tahoma" pitchFamily="34" charset="0"/>
                </a:rPr>
                <a:t>Quality management is reactionary. Issue resolution is ad-hoc</a:t>
              </a:r>
            </a:p>
          </p:txBody>
        </p:sp>
        <p:sp>
          <p:nvSpPr>
            <p:cNvPr id="110" name="Rectangle 29"/>
            <p:cNvSpPr>
              <a:spLocks noChangeArrowheads="1"/>
            </p:cNvSpPr>
            <p:nvPr/>
          </p:nvSpPr>
          <p:spPr bwMode="auto">
            <a:xfrm>
              <a:off x="5809265" y="1247413"/>
              <a:ext cx="1386354" cy="1350064"/>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Tahoma" pitchFamily="34" charset="0"/>
                </a:rPr>
                <a:t>Customers proactively engaged to gain first-hand knowledge of quality issues. Formal, closed-loop quality processes and metrics in place across all functions of the value chain, including suppliers </a:t>
              </a:r>
            </a:p>
          </p:txBody>
        </p:sp>
        <p:sp>
          <p:nvSpPr>
            <p:cNvPr id="111" name="Rectangle: Rounded Corners 110"/>
            <p:cNvSpPr>
              <a:spLocks noChangeArrowheads="1"/>
            </p:cNvSpPr>
            <p:nvPr/>
          </p:nvSpPr>
          <p:spPr bwMode="auto">
            <a:xfrm>
              <a:off x="5809265" y="2868662"/>
              <a:ext cx="1386354" cy="1055424"/>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Tahoma" pitchFamily="34" charset="0"/>
                </a:rPr>
                <a:t>Quality management is proactive and designed into manufacturing. Quality issues documented and factored into future designs. Quality primarily managed through audits and appraisals </a:t>
              </a:r>
            </a:p>
          </p:txBody>
        </p:sp>
        <p:sp>
          <p:nvSpPr>
            <p:cNvPr id="122" name="Rectangle 34"/>
            <p:cNvSpPr>
              <a:spLocks noChangeArrowheads="1"/>
            </p:cNvSpPr>
            <p:nvPr/>
          </p:nvSpPr>
          <p:spPr bwMode="auto">
            <a:xfrm>
              <a:off x="2561883" y="2868662"/>
              <a:ext cx="1386354" cy="1055424"/>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 typeface="Monotype Sorts" pitchFamily="2" charset="2"/>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Tahoma" pitchFamily="34" charset="0"/>
                </a:rPr>
                <a:t>Visibility of quality issues to engineering, procurement, compliance, sales and logistics. Defect prevention is standard policy, and principles widely understood</a:t>
              </a:r>
            </a:p>
          </p:txBody>
        </p:sp>
        <p:cxnSp>
          <p:nvCxnSpPr>
            <p:cNvPr id="75" name="Straight Arrow Connector 74">
              <a:extLst>
                <a:ext uri="{FF2B5EF4-FFF2-40B4-BE49-F238E27FC236}">
                  <a16:creationId xmlns:a16="http://schemas.microsoft.com/office/drawing/2014/main" id="{0673AB09-9683-4E11-A531-B97C0F93D796}"/>
                </a:ext>
              </a:extLst>
            </p:cNvPr>
            <p:cNvCxnSpPr>
              <a:cxnSpLocks/>
              <a:endCxn id="56" idx="2"/>
            </p:cNvCxnSpPr>
            <p:nvPr/>
          </p:nvCxnSpPr>
          <p:spPr>
            <a:xfrm flipV="1">
              <a:off x="1631369" y="2597477"/>
              <a:ext cx="0" cy="25506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6" name="Straight Arrow Connector 75">
              <a:extLst>
                <a:ext uri="{FF2B5EF4-FFF2-40B4-BE49-F238E27FC236}">
                  <a16:creationId xmlns:a16="http://schemas.microsoft.com/office/drawing/2014/main" id="{C9FADB90-65D3-41D9-8234-4557BCF84B1A}"/>
                </a:ext>
              </a:extLst>
            </p:cNvPr>
            <p:cNvCxnSpPr>
              <a:cxnSpLocks/>
            </p:cNvCxnSpPr>
            <p:nvPr/>
          </p:nvCxnSpPr>
          <p:spPr>
            <a:xfrm flipV="1">
              <a:off x="3227216" y="2605157"/>
              <a:ext cx="0" cy="25506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9" name="Straight Arrow Connector 78">
              <a:extLst>
                <a:ext uri="{FF2B5EF4-FFF2-40B4-BE49-F238E27FC236}">
                  <a16:creationId xmlns:a16="http://schemas.microsoft.com/office/drawing/2014/main" id="{78B028A9-E4B5-47BF-B5E2-B86F1A2FDA09}"/>
                </a:ext>
              </a:extLst>
            </p:cNvPr>
            <p:cNvCxnSpPr>
              <a:cxnSpLocks/>
            </p:cNvCxnSpPr>
            <p:nvPr/>
          </p:nvCxnSpPr>
          <p:spPr>
            <a:xfrm flipV="1">
              <a:off x="4844903" y="2606551"/>
              <a:ext cx="0" cy="25506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805FB82C-28FE-412D-801E-6565E03D6203}"/>
                </a:ext>
              </a:extLst>
            </p:cNvPr>
            <p:cNvCxnSpPr>
              <a:cxnSpLocks/>
            </p:cNvCxnSpPr>
            <p:nvPr/>
          </p:nvCxnSpPr>
          <p:spPr>
            <a:xfrm flipV="1">
              <a:off x="6465473" y="2597476"/>
              <a:ext cx="0" cy="25506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1" name="Straight Arrow Connector 80">
              <a:extLst>
                <a:ext uri="{FF2B5EF4-FFF2-40B4-BE49-F238E27FC236}">
                  <a16:creationId xmlns:a16="http://schemas.microsoft.com/office/drawing/2014/main" id="{BA295DE1-D7D4-498F-9C9E-0692751C5B5E}"/>
                </a:ext>
              </a:extLst>
            </p:cNvPr>
            <p:cNvCxnSpPr>
              <a:cxnSpLocks/>
            </p:cNvCxnSpPr>
            <p:nvPr/>
          </p:nvCxnSpPr>
          <p:spPr>
            <a:xfrm flipV="1">
              <a:off x="8083222" y="2606550"/>
              <a:ext cx="0" cy="25506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6FED446A-9FE3-40AF-9863-A79428B88E25}"/>
                </a:ext>
              </a:extLst>
            </p:cNvPr>
            <p:cNvCxnSpPr>
              <a:cxnSpLocks/>
            </p:cNvCxnSpPr>
            <p:nvPr/>
          </p:nvCxnSpPr>
          <p:spPr>
            <a:xfrm flipV="1">
              <a:off x="1565480" y="3924086"/>
              <a:ext cx="0" cy="25506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3" name="Straight Arrow Connector 82">
              <a:extLst>
                <a:ext uri="{FF2B5EF4-FFF2-40B4-BE49-F238E27FC236}">
                  <a16:creationId xmlns:a16="http://schemas.microsoft.com/office/drawing/2014/main" id="{0A5C4CC6-144D-4716-B0CA-DB05E95D744A}"/>
                </a:ext>
              </a:extLst>
            </p:cNvPr>
            <p:cNvCxnSpPr>
              <a:cxnSpLocks/>
            </p:cNvCxnSpPr>
            <p:nvPr/>
          </p:nvCxnSpPr>
          <p:spPr>
            <a:xfrm flipV="1">
              <a:off x="3274507" y="3924085"/>
              <a:ext cx="0" cy="25506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4" name="Straight Arrow Connector 83">
              <a:extLst>
                <a:ext uri="{FF2B5EF4-FFF2-40B4-BE49-F238E27FC236}">
                  <a16:creationId xmlns:a16="http://schemas.microsoft.com/office/drawing/2014/main" id="{6A4FFBBF-F3E8-4302-A676-B769166BDEA7}"/>
                </a:ext>
              </a:extLst>
            </p:cNvPr>
            <p:cNvCxnSpPr>
              <a:cxnSpLocks/>
            </p:cNvCxnSpPr>
            <p:nvPr/>
          </p:nvCxnSpPr>
          <p:spPr>
            <a:xfrm flipV="1">
              <a:off x="4844903" y="3924084"/>
              <a:ext cx="0" cy="25506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73858ED4-0CCA-4138-8484-83FEA25AFDC0}"/>
                </a:ext>
              </a:extLst>
            </p:cNvPr>
            <p:cNvCxnSpPr>
              <a:cxnSpLocks/>
            </p:cNvCxnSpPr>
            <p:nvPr/>
          </p:nvCxnSpPr>
          <p:spPr>
            <a:xfrm flipV="1">
              <a:off x="6465473" y="3910595"/>
              <a:ext cx="0" cy="25506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7" name="Straight Arrow Connector 86">
              <a:extLst>
                <a:ext uri="{FF2B5EF4-FFF2-40B4-BE49-F238E27FC236}">
                  <a16:creationId xmlns:a16="http://schemas.microsoft.com/office/drawing/2014/main" id="{2BCDB158-A18C-4EDB-842E-1EEEC1C98F54}"/>
                </a:ext>
              </a:extLst>
            </p:cNvPr>
            <p:cNvCxnSpPr>
              <a:cxnSpLocks/>
            </p:cNvCxnSpPr>
            <p:nvPr/>
          </p:nvCxnSpPr>
          <p:spPr>
            <a:xfrm flipV="1">
              <a:off x="8164500" y="3920228"/>
              <a:ext cx="0" cy="25506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sp>
        <p:nvSpPr>
          <p:cNvPr id="63" name="Title 1"/>
          <p:cNvSpPr txBox="1">
            <a:spLocks/>
          </p:cNvSpPr>
          <p:nvPr/>
        </p:nvSpPr>
        <p:spPr>
          <a:xfrm>
            <a:off x="469900" y="402587"/>
            <a:ext cx="10149917" cy="717944"/>
          </a:xfrm>
          <a:prstGeom prst="rect">
            <a:avLst/>
          </a:prstGeom>
        </p:spPr>
        <p:txBody>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Verdana"/>
                <a:ea typeface="+mj-ea"/>
                <a:cs typeface="+mj-cs"/>
              </a:rPr>
              <a:t>Product Quality Management</a:t>
            </a:r>
          </a:p>
        </p:txBody>
      </p:sp>
      <p:sp>
        <p:nvSpPr>
          <p:cNvPr id="123" name="Text Box 28"/>
          <p:cNvSpPr txBox="1">
            <a:spLocks noChangeArrowheads="1"/>
          </p:cNvSpPr>
          <p:nvPr/>
        </p:nvSpPr>
        <p:spPr bwMode="auto">
          <a:xfrm>
            <a:off x="306314" y="975721"/>
            <a:ext cx="855239" cy="206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type="none" w="med" len="lg"/>
              </a14:hiddenLine>
            </a:ext>
          </a:extLst>
        </p:spPr>
        <p:txBody>
          <a:bodyPr lIns="0" tIns="45716" rIns="91432" bIns="45716">
            <a:spAutoFit/>
          </a:bodyPr>
          <a:lstStyle>
            <a:lvl1pPr marL="228600" indent="-228600" defTabSz="901700" eaLnBrk="0" hangingPunct="0">
              <a:defRPr sz="2400">
                <a:solidFill>
                  <a:schemeClr val="tx1"/>
                </a:solidFill>
                <a:latin typeface="Tahoma" pitchFamily="34" charset="0"/>
                <a:cs typeface="Arial" pitchFamily="34" charset="0"/>
              </a:defRPr>
            </a:lvl1pPr>
            <a:lvl2pPr marL="742950" indent="-285750" defTabSz="901700" eaLnBrk="0" hangingPunct="0">
              <a:defRPr sz="2400">
                <a:solidFill>
                  <a:schemeClr val="tx1"/>
                </a:solidFill>
                <a:latin typeface="Tahoma" pitchFamily="34" charset="0"/>
                <a:cs typeface="Arial" pitchFamily="34" charset="0"/>
              </a:defRPr>
            </a:lvl2pPr>
            <a:lvl3pPr marL="1143000" indent="-228600" defTabSz="901700" eaLnBrk="0" hangingPunct="0">
              <a:defRPr sz="2400">
                <a:solidFill>
                  <a:schemeClr val="tx1"/>
                </a:solidFill>
                <a:latin typeface="Tahoma" pitchFamily="34" charset="0"/>
                <a:cs typeface="Arial" pitchFamily="34" charset="0"/>
              </a:defRPr>
            </a:lvl3pPr>
            <a:lvl4pPr marL="1600200" indent="-228600" defTabSz="901700" eaLnBrk="0" hangingPunct="0">
              <a:defRPr sz="2400">
                <a:solidFill>
                  <a:schemeClr val="tx1"/>
                </a:solidFill>
                <a:latin typeface="Tahoma" pitchFamily="34" charset="0"/>
                <a:cs typeface="Arial" pitchFamily="34" charset="0"/>
              </a:defRPr>
            </a:lvl4pPr>
            <a:lvl5pPr marL="2057400" indent="-228600" defTabSz="901700" eaLnBrk="0" hangingPunct="0">
              <a:defRPr sz="2400">
                <a:solidFill>
                  <a:schemeClr val="tx1"/>
                </a:solidFill>
                <a:latin typeface="Tahoma" pitchFamily="34" charset="0"/>
                <a:cs typeface="Arial" pitchFamily="34" charset="0"/>
              </a:defRPr>
            </a:lvl5pPr>
            <a:lvl6pPr marL="2514600" indent="-228600" defTabSz="9017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defTabSz="9017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defTabSz="9017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defTabSz="901700" eaLnBrk="0" fontAlgn="base" hangingPunct="0">
              <a:spcBef>
                <a:spcPct val="0"/>
              </a:spcBef>
              <a:spcAft>
                <a:spcPct val="0"/>
              </a:spcAft>
              <a:defRPr sz="2400">
                <a:solidFill>
                  <a:schemeClr val="tx1"/>
                </a:solidFill>
                <a:latin typeface="Tahoma" pitchFamily="34" charset="0"/>
                <a:cs typeface="Arial" pitchFamily="34" charset="0"/>
              </a:defRPr>
            </a:lvl9pPr>
          </a:lstStyle>
          <a:p>
            <a:pPr marL="228600" marR="0" lvl="0" indent="-228600" algn="r" defTabSz="901700" rtl="0" eaLnBrk="0" fontAlgn="auto" latinLnBrk="0" hangingPunct="0">
              <a:lnSpc>
                <a:spcPct val="85000"/>
              </a:lnSpc>
              <a:spcBef>
                <a:spcPct val="20000"/>
              </a:spcBef>
              <a:spcAft>
                <a:spcPts val="0"/>
              </a:spcAft>
              <a:buClr>
                <a:srgbClr val="8099CC"/>
              </a:buClr>
              <a:buSzTx/>
              <a:buFont typeface="Monotype Sorts" pitchFamily="2" charset="2"/>
              <a:buNone/>
              <a:tabLst/>
              <a:defRPr/>
            </a:pPr>
            <a:r>
              <a:rPr kumimoji="0" lang="en-US" altLang="en-US" sz="1000" b="1" i="0" u="none" strike="noStrike" kern="1200" cap="none" spc="0" normalizeH="0" baseline="0" noProof="0" dirty="0">
                <a:ln>
                  <a:noFill/>
                </a:ln>
                <a:solidFill>
                  <a:prstClr val="black"/>
                </a:solidFill>
                <a:effectLst/>
                <a:uLnTx/>
                <a:uFillTx/>
                <a:latin typeface="Verdana"/>
                <a:ea typeface="+mn-ea"/>
                <a:cs typeface="Arial" pitchFamily="34" charset="0"/>
              </a:rPr>
              <a:t>Maturity</a:t>
            </a:r>
          </a:p>
        </p:txBody>
      </p:sp>
      <p:grpSp>
        <p:nvGrpSpPr>
          <p:cNvPr id="65" name="Group 90"/>
          <p:cNvGrpSpPr/>
          <p:nvPr/>
        </p:nvGrpSpPr>
        <p:grpSpPr>
          <a:xfrm>
            <a:off x="8960144" y="237259"/>
            <a:ext cx="2430508" cy="289004"/>
            <a:chOff x="9447824" y="732559"/>
            <a:chExt cx="2430508" cy="289004"/>
          </a:xfrm>
        </p:grpSpPr>
        <p:grpSp>
          <p:nvGrpSpPr>
            <p:cNvPr id="67"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92"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93"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68"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90"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91"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73"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74"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89"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sp>
        <p:nvSpPr>
          <p:cNvPr id="64" name="Freeform 42">
            <a:extLst>
              <a:ext uri="{FF2B5EF4-FFF2-40B4-BE49-F238E27FC236}">
                <a16:creationId xmlns:a16="http://schemas.microsoft.com/office/drawing/2014/main" id="{7C9390C9-8DFD-4AC2-9577-23C5FD7231ED}"/>
              </a:ext>
            </a:extLst>
          </p:cNvPr>
          <p:cNvSpPr/>
          <p:nvPr/>
        </p:nvSpPr>
        <p:spPr bwMode="auto">
          <a:xfrm>
            <a:off x="1842778" y="1399464"/>
            <a:ext cx="8316293" cy="1175089"/>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1317807 w 7136640"/>
              <a:gd name="connsiteY1" fmla="*/ 54363 h 308134"/>
              <a:gd name="connsiteX2" fmla="*/ 1992056 w 7136640"/>
              <a:gd name="connsiteY2" fmla="*/ 307577 h 308134"/>
              <a:gd name="connsiteX3" fmla="*/ 2642777 w 7136640"/>
              <a:gd name="connsiteY3" fmla="*/ 124402 h 308134"/>
              <a:gd name="connsiteX4" fmla="*/ 3302093 w 7136640"/>
              <a:gd name="connsiteY4" fmla="*/ 189711 h 308134"/>
              <a:gd name="connsiteX5" fmla="*/ 3964644 w 7136640"/>
              <a:gd name="connsiteY5" fmla="*/ 417 h 308134"/>
              <a:gd name="connsiteX6" fmla="*/ 4578995 w 7136640"/>
              <a:gd name="connsiteY6" fmla="*/ 255894 h 308134"/>
              <a:gd name="connsiteX7" fmla="*/ 5236906 w 7136640"/>
              <a:gd name="connsiteY7" fmla="*/ 128120 h 308134"/>
              <a:gd name="connsiteX8" fmla="*/ 5843222 w 7136640"/>
              <a:gd name="connsiteY8" fmla="*/ 271154 h 308134"/>
              <a:gd name="connsiteX9" fmla="*/ 6486411 w 7136640"/>
              <a:gd name="connsiteY9" fmla="*/ 18281 h 308134"/>
              <a:gd name="connsiteX10" fmla="*/ 7136640 w 7136640"/>
              <a:gd name="connsiteY10" fmla="*/ 141032 h 308134"/>
              <a:gd name="connsiteX0" fmla="*/ 0 w 7136640"/>
              <a:gd name="connsiteY0" fmla="*/ 50651 h 308191"/>
              <a:gd name="connsiteX1" fmla="*/ 1992056 w 7136640"/>
              <a:gd name="connsiteY1" fmla="*/ 307577 h 308191"/>
              <a:gd name="connsiteX2" fmla="*/ 2642777 w 7136640"/>
              <a:gd name="connsiteY2" fmla="*/ 124402 h 308191"/>
              <a:gd name="connsiteX3" fmla="*/ 3302093 w 7136640"/>
              <a:gd name="connsiteY3" fmla="*/ 189711 h 308191"/>
              <a:gd name="connsiteX4" fmla="*/ 3964644 w 7136640"/>
              <a:gd name="connsiteY4" fmla="*/ 417 h 308191"/>
              <a:gd name="connsiteX5" fmla="*/ 4578995 w 7136640"/>
              <a:gd name="connsiteY5" fmla="*/ 255894 h 308191"/>
              <a:gd name="connsiteX6" fmla="*/ 5236906 w 7136640"/>
              <a:gd name="connsiteY6" fmla="*/ 128120 h 308191"/>
              <a:gd name="connsiteX7" fmla="*/ 5843222 w 7136640"/>
              <a:gd name="connsiteY7" fmla="*/ 271154 h 308191"/>
              <a:gd name="connsiteX8" fmla="*/ 6486411 w 7136640"/>
              <a:gd name="connsiteY8" fmla="*/ 18281 h 308191"/>
              <a:gd name="connsiteX9" fmla="*/ 7136640 w 7136640"/>
              <a:gd name="connsiteY9" fmla="*/ 141032 h 308191"/>
              <a:gd name="connsiteX0" fmla="*/ 0 w 7136640"/>
              <a:gd name="connsiteY0" fmla="*/ 50814 h 311487"/>
              <a:gd name="connsiteX1" fmla="*/ 1992056 w 7136640"/>
              <a:gd name="connsiteY1" fmla="*/ 307740 h 311487"/>
              <a:gd name="connsiteX2" fmla="*/ 3302093 w 7136640"/>
              <a:gd name="connsiteY2" fmla="*/ 189874 h 311487"/>
              <a:gd name="connsiteX3" fmla="*/ 3964644 w 7136640"/>
              <a:gd name="connsiteY3" fmla="*/ 580 h 311487"/>
              <a:gd name="connsiteX4" fmla="*/ 4578995 w 7136640"/>
              <a:gd name="connsiteY4" fmla="*/ 256057 h 311487"/>
              <a:gd name="connsiteX5" fmla="*/ 5236906 w 7136640"/>
              <a:gd name="connsiteY5" fmla="*/ 128283 h 311487"/>
              <a:gd name="connsiteX6" fmla="*/ 5843222 w 7136640"/>
              <a:gd name="connsiteY6" fmla="*/ 271317 h 311487"/>
              <a:gd name="connsiteX7" fmla="*/ 6486411 w 7136640"/>
              <a:gd name="connsiteY7" fmla="*/ 18444 h 311487"/>
              <a:gd name="connsiteX8" fmla="*/ 7136640 w 7136640"/>
              <a:gd name="connsiteY8" fmla="*/ 141195 h 311487"/>
              <a:gd name="connsiteX0" fmla="*/ 0 w 7136640"/>
              <a:gd name="connsiteY0" fmla="*/ 51321 h 310670"/>
              <a:gd name="connsiteX1" fmla="*/ 1992056 w 7136640"/>
              <a:gd name="connsiteY1" fmla="*/ 308247 h 310670"/>
              <a:gd name="connsiteX2" fmla="*/ 3452375 w 7136640"/>
              <a:gd name="connsiteY2" fmla="*/ 170194 h 310670"/>
              <a:gd name="connsiteX3" fmla="*/ 3964644 w 7136640"/>
              <a:gd name="connsiteY3" fmla="*/ 1087 h 310670"/>
              <a:gd name="connsiteX4" fmla="*/ 4578995 w 7136640"/>
              <a:gd name="connsiteY4" fmla="*/ 256564 h 310670"/>
              <a:gd name="connsiteX5" fmla="*/ 5236906 w 7136640"/>
              <a:gd name="connsiteY5" fmla="*/ 128790 h 310670"/>
              <a:gd name="connsiteX6" fmla="*/ 5843222 w 7136640"/>
              <a:gd name="connsiteY6" fmla="*/ 271824 h 310670"/>
              <a:gd name="connsiteX7" fmla="*/ 6486411 w 7136640"/>
              <a:gd name="connsiteY7" fmla="*/ 18951 h 310670"/>
              <a:gd name="connsiteX8" fmla="*/ 7136640 w 7136640"/>
              <a:gd name="connsiteY8" fmla="*/ 141702 h 310670"/>
              <a:gd name="connsiteX0" fmla="*/ 0 w 7136640"/>
              <a:gd name="connsiteY0" fmla="*/ 32651 h 291386"/>
              <a:gd name="connsiteX1" fmla="*/ 1992056 w 7136640"/>
              <a:gd name="connsiteY1" fmla="*/ 289577 h 291386"/>
              <a:gd name="connsiteX2" fmla="*/ 3452375 w 7136640"/>
              <a:gd name="connsiteY2" fmla="*/ 151524 h 291386"/>
              <a:gd name="connsiteX3" fmla="*/ 4578995 w 7136640"/>
              <a:gd name="connsiteY3" fmla="*/ 237894 h 291386"/>
              <a:gd name="connsiteX4" fmla="*/ 5236906 w 7136640"/>
              <a:gd name="connsiteY4" fmla="*/ 110120 h 291386"/>
              <a:gd name="connsiteX5" fmla="*/ 5843222 w 7136640"/>
              <a:gd name="connsiteY5" fmla="*/ 253154 h 291386"/>
              <a:gd name="connsiteX6" fmla="*/ 6486411 w 7136640"/>
              <a:gd name="connsiteY6" fmla="*/ 281 h 291386"/>
              <a:gd name="connsiteX7" fmla="*/ 7136640 w 7136640"/>
              <a:gd name="connsiteY7" fmla="*/ 123032 h 291386"/>
              <a:gd name="connsiteX0" fmla="*/ 0 w 7136640"/>
              <a:gd name="connsiteY0" fmla="*/ 32651 h 291650"/>
              <a:gd name="connsiteX1" fmla="*/ 1992056 w 7136640"/>
              <a:gd name="connsiteY1" fmla="*/ 289577 h 291650"/>
              <a:gd name="connsiteX2" fmla="*/ 3452375 w 7136640"/>
              <a:gd name="connsiteY2" fmla="*/ 151524 h 291650"/>
              <a:gd name="connsiteX3" fmla="*/ 5236906 w 7136640"/>
              <a:gd name="connsiteY3" fmla="*/ 110120 h 291650"/>
              <a:gd name="connsiteX4" fmla="*/ 5843222 w 7136640"/>
              <a:gd name="connsiteY4" fmla="*/ 253154 h 291650"/>
              <a:gd name="connsiteX5" fmla="*/ 6486411 w 7136640"/>
              <a:gd name="connsiteY5" fmla="*/ 281 h 291650"/>
              <a:gd name="connsiteX6" fmla="*/ 7136640 w 7136640"/>
              <a:gd name="connsiteY6" fmla="*/ 123032 h 291650"/>
              <a:gd name="connsiteX0" fmla="*/ 0 w 7136640"/>
              <a:gd name="connsiteY0" fmla="*/ 32410 h 291409"/>
              <a:gd name="connsiteX1" fmla="*/ 1992056 w 7136640"/>
              <a:gd name="connsiteY1" fmla="*/ 289336 h 291409"/>
              <a:gd name="connsiteX2" fmla="*/ 3452375 w 7136640"/>
              <a:gd name="connsiteY2" fmla="*/ 151283 h 291409"/>
              <a:gd name="connsiteX3" fmla="*/ 5236906 w 7136640"/>
              <a:gd name="connsiteY3" fmla="*/ 109879 h 291409"/>
              <a:gd name="connsiteX4" fmla="*/ 6486411 w 7136640"/>
              <a:gd name="connsiteY4" fmla="*/ 40 h 291409"/>
              <a:gd name="connsiteX5" fmla="*/ 7136640 w 7136640"/>
              <a:gd name="connsiteY5" fmla="*/ 122791 h 291409"/>
              <a:gd name="connsiteX0" fmla="*/ 0 w 6486411"/>
              <a:gd name="connsiteY0" fmla="*/ 32410 h 291409"/>
              <a:gd name="connsiteX1" fmla="*/ 1992056 w 6486411"/>
              <a:gd name="connsiteY1" fmla="*/ 289336 h 291409"/>
              <a:gd name="connsiteX2" fmla="*/ 3452375 w 6486411"/>
              <a:gd name="connsiteY2" fmla="*/ 151283 h 291409"/>
              <a:gd name="connsiteX3" fmla="*/ 5236906 w 6486411"/>
              <a:gd name="connsiteY3" fmla="*/ 109879 h 291409"/>
              <a:gd name="connsiteX4" fmla="*/ 6486411 w 6486411"/>
              <a:gd name="connsiteY4" fmla="*/ 40 h 291409"/>
              <a:gd name="connsiteX0" fmla="*/ 0 w 6749404"/>
              <a:gd name="connsiteY0" fmla="*/ 43416 h 302415"/>
              <a:gd name="connsiteX1" fmla="*/ 1992056 w 6749404"/>
              <a:gd name="connsiteY1" fmla="*/ 300342 h 302415"/>
              <a:gd name="connsiteX2" fmla="*/ 3452375 w 6749404"/>
              <a:gd name="connsiteY2" fmla="*/ 162289 h 302415"/>
              <a:gd name="connsiteX3" fmla="*/ 5236906 w 6749404"/>
              <a:gd name="connsiteY3" fmla="*/ 120885 h 302415"/>
              <a:gd name="connsiteX4" fmla="*/ 6749404 w 6749404"/>
              <a:gd name="connsiteY4" fmla="*/ 35 h 302415"/>
              <a:gd name="connsiteX0" fmla="*/ 0 w 6756068"/>
              <a:gd name="connsiteY0" fmla="*/ 112117 h 300770"/>
              <a:gd name="connsiteX1" fmla="*/ 1998720 w 6756068"/>
              <a:gd name="connsiteY1" fmla="*/ 300342 h 300770"/>
              <a:gd name="connsiteX2" fmla="*/ 3459039 w 6756068"/>
              <a:gd name="connsiteY2" fmla="*/ 162289 h 300770"/>
              <a:gd name="connsiteX3" fmla="*/ 5243570 w 6756068"/>
              <a:gd name="connsiteY3" fmla="*/ 120885 h 300770"/>
              <a:gd name="connsiteX4" fmla="*/ 6756068 w 6756068"/>
              <a:gd name="connsiteY4" fmla="*/ 35 h 300770"/>
              <a:gd name="connsiteX0" fmla="*/ 0 w 6756068"/>
              <a:gd name="connsiteY0" fmla="*/ 112117 h 300770"/>
              <a:gd name="connsiteX1" fmla="*/ 1998720 w 6756068"/>
              <a:gd name="connsiteY1" fmla="*/ 300342 h 300770"/>
              <a:gd name="connsiteX2" fmla="*/ 3459039 w 6756068"/>
              <a:gd name="connsiteY2" fmla="*/ 162289 h 300770"/>
              <a:gd name="connsiteX3" fmla="*/ 5243570 w 6756068"/>
              <a:gd name="connsiteY3" fmla="*/ 120885 h 300770"/>
              <a:gd name="connsiteX4" fmla="*/ 6756068 w 6756068"/>
              <a:gd name="connsiteY4" fmla="*/ 35 h 300770"/>
              <a:gd name="connsiteX0" fmla="*/ 0 w 6756068"/>
              <a:gd name="connsiteY0" fmla="*/ 112117 h 307472"/>
              <a:gd name="connsiteX1" fmla="*/ 1998720 w 6756068"/>
              <a:gd name="connsiteY1" fmla="*/ 300342 h 307472"/>
              <a:gd name="connsiteX2" fmla="*/ 3459039 w 6756068"/>
              <a:gd name="connsiteY2" fmla="*/ 253887 h 307472"/>
              <a:gd name="connsiteX3" fmla="*/ 5243570 w 6756068"/>
              <a:gd name="connsiteY3" fmla="*/ 120885 h 307472"/>
              <a:gd name="connsiteX4" fmla="*/ 6756068 w 6756068"/>
              <a:gd name="connsiteY4" fmla="*/ 35 h 307472"/>
              <a:gd name="connsiteX0" fmla="*/ 0 w 6756068"/>
              <a:gd name="connsiteY0" fmla="*/ 112117 h 301389"/>
              <a:gd name="connsiteX1" fmla="*/ 1998720 w 6756068"/>
              <a:gd name="connsiteY1" fmla="*/ 300342 h 301389"/>
              <a:gd name="connsiteX2" fmla="*/ 3459039 w 6756068"/>
              <a:gd name="connsiteY2" fmla="*/ 185189 h 301389"/>
              <a:gd name="connsiteX3" fmla="*/ 5243570 w 6756068"/>
              <a:gd name="connsiteY3" fmla="*/ 120885 h 301389"/>
              <a:gd name="connsiteX4" fmla="*/ 6756068 w 6756068"/>
              <a:gd name="connsiteY4" fmla="*/ 35 h 301389"/>
              <a:gd name="connsiteX0" fmla="*/ 0 w 6756068"/>
              <a:gd name="connsiteY0" fmla="*/ 112117 h 304311"/>
              <a:gd name="connsiteX1" fmla="*/ 1998720 w 6756068"/>
              <a:gd name="connsiteY1" fmla="*/ 300342 h 304311"/>
              <a:gd name="connsiteX2" fmla="*/ 3459039 w 6756068"/>
              <a:gd name="connsiteY2" fmla="*/ 230986 h 304311"/>
              <a:gd name="connsiteX3" fmla="*/ 5243570 w 6756068"/>
              <a:gd name="connsiteY3" fmla="*/ 120885 h 304311"/>
              <a:gd name="connsiteX4" fmla="*/ 6756068 w 6756068"/>
              <a:gd name="connsiteY4" fmla="*/ 35 h 304311"/>
              <a:gd name="connsiteX0" fmla="*/ 0 w 6756068"/>
              <a:gd name="connsiteY0" fmla="*/ 112107 h 303954"/>
              <a:gd name="connsiteX1" fmla="*/ 1998720 w 6756068"/>
              <a:gd name="connsiteY1" fmla="*/ 300332 h 303954"/>
              <a:gd name="connsiteX2" fmla="*/ 3459039 w 6756068"/>
              <a:gd name="connsiteY2" fmla="*/ 230976 h 303954"/>
              <a:gd name="connsiteX3" fmla="*/ 5176931 w 6756068"/>
              <a:gd name="connsiteY3" fmla="*/ 166676 h 303954"/>
              <a:gd name="connsiteX4" fmla="*/ 6756068 w 6756068"/>
              <a:gd name="connsiteY4" fmla="*/ 25 h 303954"/>
              <a:gd name="connsiteX0" fmla="*/ 0 w 6669436"/>
              <a:gd name="connsiteY0" fmla="*/ 0 h 191847"/>
              <a:gd name="connsiteX1" fmla="*/ 1998720 w 6669436"/>
              <a:gd name="connsiteY1" fmla="*/ 188225 h 191847"/>
              <a:gd name="connsiteX2" fmla="*/ 3459039 w 6669436"/>
              <a:gd name="connsiteY2" fmla="*/ 118869 h 191847"/>
              <a:gd name="connsiteX3" fmla="*/ 5176931 w 6669436"/>
              <a:gd name="connsiteY3" fmla="*/ 54569 h 191847"/>
              <a:gd name="connsiteX4" fmla="*/ 6669436 w 6669436"/>
              <a:gd name="connsiteY4" fmla="*/ 25314 h 191847"/>
              <a:gd name="connsiteX0" fmla="*/ 0 w 6258701"/>
              <a:gd name="connsiteY0" fmla="*/ 0 h 6844677"/>
              <a:gd name="connsiteX1" fmla="*/ 1587985 w 6258701"/>
              <a:gd name="connsiteY1" fmla="*/ 6389195 h 6844677"/>
              <a:gd name="connsiteX2" fmla="*/ 3048304 w 6258701"/>
              <a:gd name="connsiteY2" fmla="*/ 6319839 h 6844677"/>
              <a:gd name="connsiteX3" fmla="*/ 4766196 w 6258701"/>
              <a:gd name="connsiteY3" fmla="*/ 6255539 h 6844677"/>
              <a:gd name="connsiteX4" fmla="*/ 6258701 w 6258701"/>
              <a:gd name="connsiteY4" fmla="*/ 6226284 h 6844677"/>
              <a:gd name="connsiteX0" fmla="*/ 0 w 6305835"/>
              <a:gd name="connsiteY0" fmla="*/ 0 h 7540497"/>
              <a:gd name="connsiteX1" fmla="*/ 1635119 w 6305835"/>
              <a:gd name="connsiteY1" fmla="*/ 7037058 h 7540497"/>
              <a:gd name="connsiteX2" fmla="*/ 3095438 w 6305835"/>
              <a:gd name="connsiteY2" fmla="*/ 6967702 h 7540497"/>
              <a:gd name="connsiteX3" fmla="*/ 4813330 w 6305835"/>
              <a:gd name="connsiteY3" fmla="*/ 6903402 h 7540497"/>
              <a:gd name="connsiteX4" fmla="*/ 6305835 w 6305835"/>
              <a:gd name="connsiteY4" fmla="*/ 6874147 h 7540497"/>
              <a:gd name="connsiteX0" fmla="*/ 0 w 6305835"/>
              <a:gd name="connsiteY0" fmla="*/ 0 h 7252962"/>
              <a:gd name="connsiteX1" fmla="*/ 1635119 w 6305835"/>
              <a:gd name="connsiteY1" fmla="*/ 7037058 h 7252962"/>
              <a:gd name="connsiteX2" fmla="*/ 3095438 w 6305835"/>
              <a:gd name="connsiteY2" fmla="*/ 6967702 h 7252962"/>
              <a:gd name="connsiteX3" fmla="*/ 4813330 w 6305835"/>
              <a:gd name="connsiteY3" fmla="*/ 6903402 h 7252962"/>
              <a:gd name="connsiteX4" fmla="*/ 6305835 w 6305835"/>
              <a:gd name="connsiteY4" fmla="*/ 6874147 h 7252962"/>
              <a:gd name="connsiteX0" fmla="*/ 0 w 6305835"/>
              <a:gd name="connsiteY0" fmla="*/ 0 h 6967771"/>
              <a:gd name="connsiteX1" fmla="*/ 1466785 w 6305835"/>
              <a:gd name="connsiteY1" fmla="*/ 1183157 h 6967771"/>
              <a:gd name="connsiteX2" fmla="*/ 3095438 w 6305835"/>
              <a:gd name="connsiteY2" fmla="*/ 6967702 h 6967771"/>
              <a:gd name="connsiteX3" fmla="*/ 4813330 w 6305835"/>
              <a:gd name="connsiteY3" fmla="*/ 6903402 h 6967771"/>
              <a:gd name="connsiteX4" fmla="*/ 6305835 w 6305835"/>
              <a:gd name="connsiteY4" fmla="*/ 6874147 h 6967771"/>
              <a:gd name="connsiteX0" fmla="*/ 0 w 6305835"/>
              <a:gd name="connsiteY0" fmla="*/ 0 h 6967771"/>
              <a:gd name="connsiteX1" fmla="*/ 1466785 w 6305835"/>
              <a:gd name="connsiteY1" fmla="*/ 1183157 h 6967771"/>
              <a:gd name="connsiteX2" fmla="*/ 3095438 w 6305835"/>
              <a:gd name="connsiteY2" fmla="*/ 6967702 h 6967771"/>
              <a:gd name="connsiteX3" fmla="*/ 4813330 w 6305835"/>
              <a:gd name="connsiteY3" fmla="*/ 6903402 h 6967771"/>
              <a:gd name="connsiteX4" fmla="*/ 6305835 w 6305835"/>
              <a:gd name="connsiteY4" fmla="*/ 6874147 h 6967771"/>
              <a:gd name="connsiteX0" fmla="*/ 0 w 6305835"/>
              <a:gd name="connsiteY0" fmla="*/ 402224 h 7369980"/>
              <a:gd name="connsiteX1" fmla="*/ 1520652 w 6305835"/>
              <a:gd name="connsiteY1" fmla="*/ 150828 h 7369980"/>
              <a:gd name="connsiteX2" fmla="*/ 3095438 w 6305835"/>
              <a:gd name="connsiteY2" fmla="*/ 7369926 h 7369980"/>
              <a:gd name="connsiteX3" fmla="*/ 4813330 w 6305835"/>
              <a:gd name="connsiteY3" fmla="*/ 7305626 h 7369980"/>
              <a:gd name="connsiteX4" fmla="*/ 6305835 w 6305835"/>
              <a:gd name="connsiteY4" fmla="*/ 7276371 h 7369980"/>
              <a:gd name="connsiteX0" fmla="*/ 0 w 6305835"/>
              <a:gd name="connsiteY0" fmla="*/ 302929 h 7270682"/>
              <a:gd name="connsiteX1" fmla="*/ 1520652 w 6305835"/>
              <a:gd name="connsiteY1" fmla="*/ 51533 h 7270682"/>
              <a:gd name="connsiteX2" fmla="*/ 3095438 w 6305835"/>
              <a:gd name="connsiteY2" fmla="*/ 7270631 h 7270682"/>
              <a:gd name="connsiteX3" fmla="*/ 4813330 w 6305835"/>
              <a:gd name="connsiteY3" fmla="*/ 7206331 h 7270682"/>
              <a:gd name="connsiteX4" fmla="*/ 6305835 w 6305835"/>
              <a:gd name="connsiteY4" fmla="*/ 7177076 h 7270682"/>
              <a:gd name="connsiteX0" fmla="*/ 0 w 6305835"/>
              <a:gd name="connsiteY0" fmla="*/ 282184 h 7185585"/>
              <a:gd name="connsiteX1" fmla="*/ 1520652 w 6305835"/>
              <a:gd name="connsiteY1" fmla="*/ 30788 h 7185585"/>
              <a:gd name="connsiteX2" fmla="*/ 2987705 w 6305835"/>
              <a:gd name="connsiteY2" fmla="*/ 1187743 h 7185585"/>
              <a:gd name="connsiteX3" fmla="*/ 4813330 w 6305835"/>
              <a:gd name="connsiteY3" fmla="*/ 7185586 h 7185585"/>
              <a:gd name="connsiteX4" fmla="*/ 6305835 w 6305835"/>
              <a:gd name="connsiteY4" fmla="*/ 7156331 h 7185585"/>
              <a:gd name="connsiteX0" fmla="*/ 0 w 6305835"/>
              <a:gd name="connsiteY0" fmla="*/ 282184 h 7185585"/>
              <a:gd name="connsiteX1" fmla="*/ 1520652 w 6305835"/>
              <a:gd name="connsiteY1" fmla="*/ 30788 h 7185585"/>
              <a:gd name="connsiteX2" fmla="*/ 2987705 w 6305835"/>
              <a:gd name="connsiteY2" fmla="*/ 1187743 h 7185585"/>
              <a:gd name="connsiteX3" fmla="*/ 4813330 w 6305835"/>
              <a:gd name="connsiteY3" fmla="*/ 7185586 h 7185585"/>
              <a:gd name="connsiteX4" fmla="*/ 6305835 w 6305835"/>
              <a:gd name="connsiteY4" fmla="*/ 7156331 h 7185585"/>
              <a:gd name="connsiteX0" fmla="*/ 0 w 6305835"/>
              <a:gd name="connsiteY0" fmla="*/ 282184 h 7185585"/>
              <a:gd name="connsiteX1" fmla="*/ 1520652 w 6305835"/>
              <a:gd name="connsiteY1" fmla="*/ 30788 h 7185585"/>
              <a:gd name="connsiteX2" fmla="*/ 2987705 w 6305835"/>
              <a:gd name="connsiteY2" fmla="*/ 1187743 h 7185585"/>
              <a:gd name="connsiteX3" fmla="*/ 4813330 w 6305835"/>
              <a:gd name="connsiteY3" fmla="*/ 7185586 h 7185585"/>
              <a:gd name="connsiteX4" fmla="*/ 6305835 w 6305835"/>
              <a:gd name="connsiteY4" fmla="*/ 7156331 h 7185585"/>
              <a:gd name="connsiteX0" fmla="*/ 0 w 6305835"/>
              <a:gd name="connsiteY0" fmla="*/ 280974 h 7184375"/>
              <a:gd name="connsiteX1" fmla="*/ 1520652 w 6305835"/>
              <a:gd name="connsiteY1" fmla="*/ 29578 h 7184375"/>
              <a:gd name="connsiteX2" fmla="*/ 2974239 w 6305835"/>
              <a:gd name="connsiteY2" fmla="*/ 1163395 h 7184375"/>
              <a:gd name="connsiteX3" fmla="*/ 4813330 w 6305835"/>
              <a:gd name="connsiteY3" fmla="*/ 7184376 h 7184375"/>
              <a:gd name="connsiteX4" fmla="*/ 6305835 w 6305835"/>
              <a:gd name="connsiteY4" fmla="*/ 7155121 h 7184375"/>
              <a:gd name="connsiteX0" fmla="*/ 0 w 6305835"/>
              <a:gd name="connsiteY0" fmla="*/ 272875 h 7176276"/>
              <a:gd name="connsiteX1" fmla="*/ 1520652 w 6305835"/>
              <a:gd name="connsiteY1" fmla="*/ 21479 h 7176276"/>
              <a:gd name="connsiteX2" fmla="*/ 2947306 w 6305835"/>
              <a:gd name="connsiteY2" fmla="*/ 993331 h 7176276"/>
              <a:gd name="connsiteX3" fmla="*/ 4813330 w 6305835"/>
              <a:gd name="connsiteY3" fmla="*/ 7176277 h 7176276"/>
              <a:gd name="connsiteX4" fmla="*/ 6305835 w 6305835"/>
              <a:gd name="connsiteY4" fmla="*/ 7147022 h 7176276"/>
              <a:gd name="connsiteX0" fmla="*/ 0 w 6305835"/>
              <a:gd name="connsiteY0" fmla="*/ 278591 h 7181992"/>
              <a:gd name="connsiteX1" fmla="*/ 1520652 w 6305835"/>
              <a:gd name="connsiteY1" fmla="*/ 27195 h 7181992"/>
              <a:gd name="connsiteX2" fmla="*/ 2967506 w 6305835"/>
              <a:gd name="connsiteY2" fmla="*/ 1114737 h 7181992"/>
              <a:gd name="connsiteX3" fmla="*/ 4813330 w 6305835"/>
              <a:gd name="connsiteY3" fmla="*/ 7181993 h 7181992"/>
              <a:gd name="connsiteX4" fmla="*/ 6305835 w 6305835"/>
              <a:gd name="connsiteY4" fmla="*/ 7152738 h 7181992"/>
              <a:gd name="connsiteX0" fmla="*/ 0 w 6305835"/>
              <a:gd name="connsiteY0" fmla="*/ 1103847 h 7977993"/>
              <a:gd name="connsiteX1" fmla="*/ 1520652 w 6305835"/>
              <a:gd name="connsiteY1" fmla="*/ 852451 h 7977993"/>
              <a:gd name="connsiteX2" fmla="*/ 2967506 w 6305835"/>
              <a:gd name="connsiteY2" fmla="*/ 1939993 h 7977993"/>
              <a:gd name="connsiteX3" fmla="*/ 4503596 w 6305835"/>
              <a:gd name="connsiteY3" fmla="*/ 626245 h 7977993"/>
              <a:gd name="connsiteX4" fmla="*/ 6305835 w 6305835"/>
              <a:gd name="connsiteY4" fmla="*/ 7977994 h 7977993"/>
              <a:gd name="connsiteX0" fmla="*/ 0 w 6305835"/>
              <a:gd name="connsiteY0" fmla="*/ 497346 h 7371492"/>
              <a:gd name="connsiteX1" fmla="*/ 1520652 w 6305835"/>
              <a:gd name="connsiteY1" fmla="*/ 245950 h 7371492"/>
              <a:gd name="connsiteX2" fmla="*/ 2967506 w 6305835"/>
              <a:gd name="connsiteY2" fmla="*/ 1333492 h 7371492"/>
              <a:gd name="connsiteX3" fmla="*/ 4503596 w 6305835"/>
              <a:gd name="connsiteY3" fmla="*/ 19744 h 7371492"/>
              <a:gd name="connsiteX4" fmla="*/ 6305835 w 6305835"/>
              <a:gd name="connsiteY4" fmla="*/ 7371493 h 7371492"/>
              <a:gd name="connsiteX0" fmla="*/ 0 w 6305835"/>
              <a:gd name="connsiteY0" fmla="*/ 588929 h 7463075"/>
              <a:gd name="connsiteX1" fmla="*/ 1520652 w 6305835"/>
              <a:gd name="connsiteY1" fmla="*/ 337533 h 7463075"/>
              <a:gd name="connsiteX2" fmla="*/ 2967506 w 6305835"/>
              <a:gd name="connsiteY2" fmla="*/ 1425075 h 7463075"/>
              <a:gd name="connsiteX3" fmla="*/ 4449729 w 6305835"/>
              <a:gd name="connsiteY3" fmla="*/ 18776 h 7463075"/>
              <a:gd name="connsiteX4" fmla="*/ 6305835 w 6305835"/>
              <a:gd name="connsiteY4" fmla="*/ 7463076 h 7463075"/>
              <a:gd name="connsiteX0" fmla="*/ 0 w 6305835"/>
              <a:gd name="connsiteY0" fmla="*/ 278591 h 7152737"/>
              <a:gd name="connsiteX1" fmla="*/ 1520652 w 6305835"/>
              <a:gd name="connsiteY1" fmla="*/ 27195 h 7152737"/>
              <a:gd name="connsiteX2" fmla="*/ 2967506 w 6305835"/>
              <a:gd name="connsiteY2" fmla="*/ 1114737 h 7152737"/>
              <a:gd name="connsiteX3" fmla="*/ 4463196 w 6305835"/>
              <a:gd name="connsiteY3" fmla="*/ 1906542 h 7152737"/>
              <a:gd name="connsiteX4" fmla="*/ 6305835 w 6305835"/>
              <a:gd name="connsiteY4" fmla="*/ 7152738 h 7152737"/>
              <a:gd name="connsiteX0" fmla="*/ 0 w 6305835"/>
              <a:gd name="connsiteY0" fmla="*/ 566024 h 7440170"/>
              <a:gd name="connsiteX1" fmla="*/ 1520652 w 6305835"/>
              <a:gd name="connsiteY1" fmla="*/ 314628 h 7440170"/>
              <a:gd name="connsiteX2" fmla="*/ 2967506 w 6305835"/>
              <a:gd name="connsiteY2" fmla="*/ 1402170 h 7440170"/>
              <a:gd name="connsiteX3" fmla="*/ 4416063 w 6305835"/>
              <a:gd name="connsiteY3" fmla="*/ 19009 h 7440170"/>
              <a:gd name="connsiteX4" fmla="*/ 6305835 w 6305835"/>
              <a:gd name="connsiteY4" fmla="*/ 7440171 h 7440170"/>
              <a:gd name="connsiteX0" fmla="*/ 0 w 6332768"/>
              <a:gd name="connsiteY0" fmla="*/ 288368 h 7440170"/>
              <a:gd name="connsiteX1" fmla="*/ 1547585 w 6332768"/>
              <a:gd name="connsiteY1" fmla="*/ 314628 h 7440170"/>
              <a:gd name="connsiteX2" fmla="*/ 2994439 w 6332768"/>
              <a:gd name="connsiteY2" fmla="*/ 1402170 h 7440170"/>
              <a:gd name="connsiteX3" fmla="*/ 4442996 w 6332768"/>
              <a:gd name="connsiteY3" fmla="*/ 19009 h 7440170"/>
              <a:gd name="connsiteX4" fmla="*/ 6332768 w 6332768"/>
              <a:gd name="connsiteY4" fmla="*/ 7440171 h 7440170"/>
              <a:gd name="connsiteX0" fmla="*/ 0 w 6332768"/>
              <a:gd name="connsiteY0" fmla="*/ 288368 h 7440170"/>
              <a:gd name="connsiteX1" fmla="*/ 1500451 w 6332768"/>
              <a:gd name="connsiteY1" fmla="*/ 777386 h 7440170"/>
              <a:gd name="connsiteX2" fmla="*/ 2994439 w 6332768"/>
              <a:gd name="connsiteY2" fmla="*/ 1402170 h 7440170"/>
              <a:gd name="connsiteX3" fmla="*/ 4442996 w 6332768"/>
              <a:gd name="connsiteY3" fmla="*/ 19009 h 7440170"/>
              <a:gd name="connsiteX4" fmla="*/ 6332768 w 6332768"/>
              <a:gd name="connsiteY4" fmla="*/ 7440171 h 7440170"/>
              <a:gd name="connsiteX0" fmla="*/ 0 w 6366435"/>
              <a:gd name="connsiteY0" fmla="*/ 0 h 7452595"/>
              <a:gd name="connsiteX1" fmla="*/ 1534118 w 6366435"/>
              <a:gd name="connsiteY1" fmla="*/ 789811 h 7452595"/>
              <a:gd name="connsiteX2" fmla="*/ 3028106 w 6366435"/>
              <a:gd name="connsiteY2" fmla="*/ 1414595 h 7452595"/>
              <a:gd name="connsiteX3" fmla="*/ 4476663 w 6366435"/>
              <a:gd name="connsiteY3" fmla="*/ 31434 h 7452595"/>
              <a:gd name="connsiteX4" fmla="*/ 6366435 w 6366435"/>
              <a:gd name="connsiteY4" fmla="*/ 7452596 h 7452595"/>
              <a:gd name="connsiteX0" fmla="*/ 0 w 5955700"/>
              <a:gd name="connsiteY0" fmla="*/ 0 h 2362249"/>
              <a:gd name="connsiteX1" fmla="*/ 1534118 w 5955700"/>
              <a:gd name="connsiteY1" fmla="*/ 789811 h 2362249"/>
              <a:gd name="connsiteX2" fmla="*/ 3028106 w 5955700"/>
              <a:gd name="connsiteY2" fmla="*/ 1414595 h 2362249"/>
              <a:gd name="connsiteX3" fmla="*/ 4476663 w 5955700"/>
              <a:gd name="connsiteY3" fmla="*/ 31434 h 2362249"/>
              <a:gd name="connsiteX4" fmla="*/ 5955700 w 5955700"/>
              <a:gd name="connsiteY4" fmla="*/ 2362249 h 2362249"/>
              <a:gd name="connsiteX0" fmla="*/ 0 w 5981049"/>
              <a:gd name="connsiteY0" fmla="*/ 0 h 2688901"/>
              <a:gd name="connsiteX1" fmla="*/ 1559467 w 5981049"/>
              <a:gd name="connsiteY1" fmla="*/ 1116463 h 2688901"/>
              <a:gd name="connsiteX2" fmla="*/ 3053455 w 5981049"/>
              <a:gd name="connsiteY2" fmla="*/ 1741247 h 2688901"/>
              <a:gd name="connsiteX3" fmla="*/ 4502012 w 5981049"/>
              <a:gd name="connsiteY3" fmla="*/ 358086 h 2688901"/>
              <a:gd name="connsiteX4" fmla="*/ 5981049 w 5981049"/>
              <a:gd name="connsiteY4" fmla="*/ 2688901 h 2688901"/>
              <a:gd name="connsiteX0" fmla="*/ 0 w 5981049"/>
              <a:gd name="connsiteY0" fmla="*/ 973608 h 3662509"/>
              <a:gd name="connsiteX1" fmla="*/ 1635515 w 5981049"/>
              <a:gd name="connsiteY1" fmla="*/ 43042 h 3662509"/>
              <a:gd name="connsiteX2" fmla="*/ 3053455 w 5981049"/>
              <a:gd name="connsiteY2" fmla="*/ 2714855 h 3662509"/>
              <a:gd name="connsiteX3" fmla="*/ 4502012 w 5981049"/>
              <a:gd name="connsiteY3" fmla="*/ 1331694 h 3662509"/>
              <a:gd name="connsiteX4" fmla="*/ 5981049 w 5981049"/>
              <a:gd name="connsiteY4" fmla="*/ 3662509 h 3662509"/>
              <a:gd name="connsiteX0" fmla="*/ 0 w 5981049"/>
              <a:gd name="connsiteY0" fmla="*/ 934129 h 3623030"/>
              <a:gd name="connsiteX1" fmla="*/ 1635515 w 5981049"/>
              <a:gd name="connsiteY1" fmla="*/ 3563 h 3623030"/>
              <a:gd name="connsiteX2" fmla="*/ 3053455 w 5981049"/>
              <a:gd name="connsiteY2" fmla="*/ 2675376 h 3623030"/>
              <a:gd name="connsiteX3" fmla="*/ 4502012 w 5981049"/>
              <a:gd name="connsiteY3" fmla="*/ 1292215 h 3623030"/>
              <a:gd name="connsiteX4" fmla="*/ 5981049 w 5981049"/>
              <a:gd name="connsiteY4" fmla="*/ 3623030 h 3623030"/>
              <a:gd name="connsiteX0" fmla="*/ 0 w 5949363"/>
              <a:gd name="connsiteY0" fmla="*/ 1533187 h 3634112"/>
              <a:gd name="connsiteX1" fmla="*/ 1603829 w 5949363"/>
              <a:gd name="connsiteY1" fmla="*/ 14645 h 3634112"/>
              <a:gd name="connsiteX2" fmla="*/ 3021769 w 5949363"/>
              <a:gd name="connsiteY2" fmla="*/ 2686458 h 3634112"/>
              <a:gd name="connsiteX3" fmla="*/ 4470326 w 5949363"/>
              <a:gd name="connsiteY3" fmla="*/ 1303297 h 3634112"/>
              <a:gd name="connsiteX4" fmla="*/ 5949363 w 5949363"/>
              <a:gd name="connsiteY4" fmla="*/ 3634112 h 3634112"/>
              <a:gd name="connsiteX0" fmla="*/ 0 w 5949363"/>
              <a:gd name="connsiteY0" fmla="*/ 1323347 h 3642041"/>
              <a:gd name="connsiteX1" fmla="*/ 1603829 w 5949363"/>
              <a:gd name="connsiteY1" fmla="*/ 22574 h 3642041"/>
              <a:gd name="connsiteX2" fmla="*/ 3021769 w 5949363"/>
              <a:gd name="connsiteY2" fmla="*/ 2694387 h 3642041"/>
              <a:gd name="connsiteX3" fmla="*/ 4470326 w 5949363"/>
              <a:gd name="connsiteY3" fmla="*/ 1311226 h 3642041"/>
              <a:gd name="connsiteX4" fmla="*/ 5949363 w 5949363"/>
              <a:gd name="connsiteY4" fmla="*/ 3642041 h 3642041"/>
              <a:gd name="connsiteX0" fmla="*/ 0 w 5949363"/>
              <a:gd name="connsiteY0" fmla="*/ 1323347 h 3337164"/>
              <a:gd name="connsiteX1" fmla="*/ 1603829 w 5949363"/>
              <a:gd name="connsiteY1" fmla="*/ 22574 h 3337164"/>
              <a:gd name="connsiteX2" fmla="*/ 3021769 w 5949363"/>
              <a:gd name="connsiteY2" fmla="*/ 2694387 h 3337164"/>
              <a:gd name="connsiteX3" fmla="*/ 4470326 w 5949363"/>
              <a:gd name="connsiteY3" fmla="*/ 1311226 h 3337164"/>
              <a:gd name="connsiteX4" fmla="*/ 5949363 w 5949363"/>
              <a:gd name="connsiteY4" fmla="*/ 3337164 h 3337164"/>
              <a:gd name="connsiteX0" fmla="*/ 0 w 5955700"/>
              <a:gd name="connsiteY0" fmla="*/ 1323347 h 2901624"/>
              <a:gd name="connsiteX1" fmla="*/ 1603829 w 5955700"/>
              <a:gd name="connsiteY1" fmla="*/ 22574 h 2901624"/>
              <a:gd name="connsiteX2" fmla="*/ 3021769 w 5955700"/>
              <a:gd name="connsiteY2" fmla="*/ 2694387 h 2901624"/>
              <a:gd name="connsiteX3" fmla="*/ 4470326 w 5955700"/>
              <a:gd name="connsiteY3" fmla="*/ 1311226 h 2901624"/>
              <a:gd name="connsiteX4" fmla="*/ 5955700 w 5955700"/>
              <a:gd name="connsiteY4" fmla="*/ 2901624 h 2901624"/>
              <a:gd name="connsiteX0" fmla="*/ 0 w 5955700"/>
              <a:gd name="connsiteY0" fmla="*/ 406310 h 1984587"/>
              <a:gd name="connsiteX1" fmla="*/ 1587669 w 5955700"/>
              <a:gd name="connsiteY1" fmla="*/ 49565 h 1984587"/>
              <a:gd name="connsiteX2" fmla="*/ 3021769 w 5955700"/>
              <a:gd name="connsiteY2" fmla="*/ 1777350 h 1984587"/>
              <a:gd name="connsiteX3" fmla="*/ 4470326 w 5955700"/>
              <a:gd name="connsiteY3" fmla="*/ 394189 h 1984587"/>
              <a:gd name="connsiteX4" fmla="*/ 5955700 w 5955700"/>
              <a:gd name="connsiteY4" fmla="*/ 1984587 h 1984587"/>
              <a:gd name="connsiteX0" fmla="*/ 0 w 5955700"/>
              <a:gd name="connsiteY0" fmla="*/ 356959 h 1935236"/>
              <a:gd name="connsiteX1" fmla="*/ 1587669 w 5955700"/>
              <a:gd name="connsiteY1" fmla="*/ 214 h 1935236"/>
              <a:gd name="connsiteX2" fmla="*/ 3021769 w 5955700"/>
              <a:gd name="connsiteY2" fmla="*/ 423020 h 1935236"/>
              <a:gd name="connsiteX3" fmla="*/ 4470326 w 5955700"/>
              <a:gd name="connsiteY3" fmla="*/ 344838 h 1935236"/>
              <a:gd name="connsiteX4" fmla="*/ 5955700 w 5955700"/>
              <a:gd name="connsiteY4" fmla="*/ 1935236 h 1935236"/>
              <a:gd name="connsiteX0" fmla="*/ 0 w 6004180"/>
              <a:gd name="connsiteY0" fmla="*/ 356959 h 630256"/>
              <a:gd name="connsiteX1" fmla="*/ 1587669 w 6004180"/>
              <a:gd name="connsiteY1" fmla="*/ 214 h 630256"/>
              <a:gd name="connsiteX2" fmla="*/ 3021769 w 6004180"/>
              <a:gd name="connsiteY2" fmla="*/ 423020 h 630256"/>
              <a:gd name="connsiteX3" fmla="*/ 4470326 w 6004180"/>
              <a:gd name="connsiteY3" fmla="*/ 344838 h 630256"/>
              <a:gd name="connsiteX4" fmla="*/ 6004180 w 6004180"/>
              <a:gd name="connsiteY4" fmla="*/ 630256 h 630256"/>
              <a:gd name="connsiteX0" fmla="*/ 0 w 5763658"/>
              <a:gd name="connsiteY0" fmla="*/ 0 h 11324494"/>
              <a:gd name="connsiteX1" fmla="*/ 1347147 w 5763658"/>
              <a:gd name="connsiteY1" fmla="*/ 10466010 h 11324494"/>
              <a:gd name="connsiteX2" fmla="*/ 2781247 w 5763658"/>
              <a:gd name="connsiteY2" fmla="*/ 10888816 h 11324494"/>
              <a:gd name="connsiteX3" fmla="*/ 4229804 w 5763658"/>
              <a:gd name="connsiteY3" fmla="*/ 10810634 h 11324494"/>
              <a:gd name="connsiteX4" fmla="*/ 5763658 w 5763658"/>
              <a:gd name="connsiteY4" fmla="*/ 11096052 h 11324494"/>
              <a:gd name="connsiteX0" fmla="*/ 0 w 5788712"/>
              <a:gd name="connsiteY0" fmla="*/ 0 h 16248245"/>
              <a:gd name="connsiteX1" fmla="*/ 1372201 w 5788712"/>
              <a:gd name="connsiteY1" fmla="*/ 15051439 h 16248245"/>
              <a:gd name="connsiteX2" fmla="*/ 2806301 w 5788712"/>
              <a:gd name="connsiteY2" fmla="*/ 15474245 h 16248245"/>
              <a:gd name="connsiteX3" fmla="*/ 4254858 w 5788712"/>
              <a:gd name="connsiteY3" fmla="*/ 15396063 h 16248245"/>
              <a:gd name="connsiteX4" fmla="*/ 5788712 w 5788712"/>
              <a:gd name="connsiteY4" fmla="*/ 15681481 h 16248245"/>
              <a:gd name="connsiteX0" fmla="*/ 0 w 5758647"/>
              <a:gd name="connsiteY0" fmla="*/ 0 h 16187071"/>
              <a:gd name="connsiteX1" fmla="*/ 1342136 w 5758647"/>
              <a:gd name="connsiteY1" fmla="*/ 14994476 h 16187071"/>
              <a:gd name="connsiteX2" fmla="*/ 2776236 w 5758647"/>
              <a:gd name="connsiteY2" fmla="*/ 15417282 h 16187071"/>
              <a:gd name="connsiteX3" fmla="*/ 4224793 w 5758647"/>
              <a:gd name="connsiteY3" fmla="*/ 15339100 h 16187071"/>
              <a:gd name="connsiteX4" fmla="*/ 5758647 w 5758647"/>
              <a:gd name="connsiteY4" fmla="*/ 15624518 h 16187071"/>
              <a:gd name="connsiteX0" fmla="*/ 0 w 5763658"/>
              <a:gd name="connsiteY0" fmla="*/ 0 h 16187071"/>
              <a:gd name="connsiteX1" fmla="*/ 1347147 w 5763658"/>
              <a:gd name="connsiteY1" fmla="*/ 14994476 h 16187071"/>
              <a:gd name="connsiteX2" fmla="*/ 2781247 w 5763658"/>
              <a:gd name="connsiteY2" fmla="*/ 15417282 h 16187071"/>
              <a:gd name="connsiteX3" fmla="*/ 4229804 w 5763658"/>
              <a:gd name="connsiteY3" fmla="*/ 15339100 h 16187071"/>
              <a:gd name="connsiteX4" fmla="*/ 5763658 w 5763658"/>
              <a:gd name="connsiteY4" fmla="*/ 15624518 h 16187071"/>
              <a:gd name="connsiteX0" fmla="*/ 0 w 5773680"/>
              <a:gd name="connsiteY0" fmla="*/ 0 h 20285613"/>
              <a:gd name="connsiteX1" fmla="*/ 1357169 w 5773680"/>
              <a:gd name="connsiteY1" fmla="*/ 18810920 h 20285613"/>
              <a:gd name="connsiteX2" fmla="*/ 2791269 w 5773680"/>
              <a:gd name="connsiteY2" fmla="*/ 19233726 h 20285613"/>
              <a:gd name="connsiteX3" fmla="*/ 4239826 w 5773680"/>
              <a:gd name="connsiteY3" fmla="*/ 19155544 h 20285613"/>
              <a:gd name="connsiteX4" fmla="*/ 5773680 w 5773680"/>
              <a:gd name="connsiteY4" fmla="*/ 19440962 h 20285613"/>
              <a:gd name="connsiteX0" fmla="*/ 0 w 5773680"/>
              <a:gd name="connsiteY0" fmla="*/ 0 h 20285613"/>
              <a:gd name="connsiteX1" fmla="*/ 1357169 w 5773680"/>
              <a:gd name="connsiteY1" fmla="*/ 18810920 h 20285613"/>
              <a:gd name="connsiteX2" fmla="*/ 2791269 w 5773680"/>
              <a:gd name="connsiteY2" fmla="*/ 19233726 h 20285613"/>
              <a:gd name="connsiteX3" fmla="*/ 4239826 w 5773680"/>
              <a:gd name="connsiteY3" fmla="*/ 19155544 h 20285613"/>
              <a:gd name="connsiteX4" fmla="*/ 5773680 w 5773680"/>
              <a:gd name="connsiteY4" fmla="*/ 19440962 h 20285613"/>
              <a:gd name="connsiteX0" fmla="*/ 0 w 5773680"/>
              <a:gd name="connsiteY0" fmla="*/ 0 h 19440962"/>
              <a:gd name="connsiteX1" fmla="*/ 1502484 w 5773680"/>
              <a:gd name="connsiteY1" fmla="*/ 4371094 h 19440962"/>
              <a:gd name="connsiteX2" fmla="*/ 2791269 w 5773680"/>
              <a:gd name="connsiteY2" fmla="*/ 19233726 h 19440962"/>
              <a:gd name="connsiteX3" fmla="*/ 4239826 w 5773680"/>
              <a:gd name="connsiteY3" fmla="*/ 19155544 h 19440962"/>
              <a:gd name="connsiteX4" fmla="*/ 5773680 w 5773680"/>
              <a:gd name="connsiteY4" fmla="*/ 19440962 h 19440962"/>
              <a:gd name="connsiteX0" fmla="*/ 0 w 5773680"/>
              <a:gd name="connsiteY0" fmla="*/ 0 h 19440962"/>
              <a:gd name="connsiteX1" fmla="*/ 1502484 w 5773680"/>
              <a:gd name="connsiteY1" fmla="*/ 4371094 h 19440962"/>
              <a:gd name="connsiteX2" fmla="*/ 2791269 w 5773680"/>
              <a:gd name="connsiteY2" fmla="*/ 19233726 h 19440962"/>
              <a:gd name="connsiteX3" fmla="*/ 4239826 w 5773680"/>
              <a:gd name="connsiteY3" fmla="*/ 19155544 h 19440962"/>
              <a:gd name="connsiteX4" fmla="*/ 5773680 w 5773680"/>
              <a:gd name="connsiteY4" fmla="*/ 19440962 h 19440962"/>
              <a:gd name="connsiteX0" fmla="*/ 0 w 5773680"/>
              <a:gd name="connsiteY0" fmla="*/ 0 h 19440962"/>
              <a:gd name="connsiteX1" fmla="*/ 1467407 w 5773680"/>
              <a:gd name="connsiteY1" fmla="*/ 4371094 h 19440962"/>
              <a:gd name="connsiteX2" fmla="*/ 2791269 w 5773680"/>
              <a:gd name="connsiteY2" fmla="*/ 19233726 h 19440962"/>
              <a:gd name="connsiteX3" fmla="*/ 4239826 w 5773680"/>
              <a:gd name="connsiteY3" fmla="*/ 19155544 h 19440962"/>
              <a:gd name="connsiteX4" fmla="*/ 5773680 w 5773680"/>
              <a:gd name="connsiteY4" fmla="*/ 19440962 h 19440962"/>
              <a:gd name="connsiteX0" fmla="*/ 0 w 5773680"/>
              <a:gd name="connsiteY0" fmla="*/ 230335 h 19671297"/>
              <a:gd name="connsiteX1" fmla="*/ 1467407 w 5773680"/>
              <a:gd name="connsiteY1" fmla="*/ 4601429 h 19671297"/>
              <a:gd name="connsiteX2" fmla="*/ 2981682 w 5773680"/>
              <a:gd name="connsiteY2" fmla="*/ 11592 h 19671297"/>
              <a:gd name="connsiteX3" fmla="*/ 4239826 w 5773680"/>
              <a:gd name="connsiteY3" fmla="*/ 19385879 h 19671297"/>
              <a:gd name="connsiteX4" fmla="*/ 5773680 w 5773680"/>
              <a:gd name="connsiteY4" fmla="*/ 19671297 h 19671297"/>
              <a:gd name="connsiteX0" fmla="*/ 0 w 5773680"/>
              <a:gd name="connsiteY0" fmla="*/ 230335 h 19671297"/>
              <a:gd name="connsiteX1" fmla="*/ 1467407 w 5773680"/>
              <a:gd name="connsiteY1" fmla="*/ 4601429 h 19671297"/>
              <a:gd name="connsiteX2" fmla="*/ 2981682 w 5773680"/>
              <a:gd name="connsiteY2" fmla="*/ 11592 h 19671297"/>
              <a:gd name="connsiteX3" fmla="*/ 4239826 w 5773680"/>
              <a:gd name="connsiteY3" fmla="*/ 19385879 h 19671297"/>
              <a:gd name="connsiteX4" fmla="*/ 5773680 w 5773680"/>
              <a:gd name="connsiteY4" fmla="*/ 19671297 h 19671297"/>
              <a:gd name="connsiteX0" fmla="*/ 0 w 5773680"/>
              <a:gd name="connsiteY0" fmla="*/ 218743 h 19659705"/>
              <a:gd name="connsiteX1" fmla="*/ 1467407 w 5773680"/>
              <a:gd name="connsiteY1" fmla="*/ 4589837 h 19659705"/>
              <a:gd name="connsiteX2" fmla="*/ 2981682 w 5773680"/>
              <a:gd name="connsiteY2" fmla="*/ 0 h 19659705"/>
              <a:gd name="connsiteX3" fmla="*/ 4239826 w 5773680"/>
              <a:gd name="connsiteY3" fmla="*/ 19374287 h 19659705"/>
              <a:gd name="connsiteX4" fmla="*/ 5773680 w 5773680"/>
              <a:gd name="connsiteY4" fmla="*/ 19659705 h 19659705"/>
              <a:gd name="connsiteX0" fmla="*/ 0 w 5773680"/>
              <a:gd name="connsiteY0" fmla="*/ 0 h 19440962"/>
              <a:gd name="connsiteX1" fmla="*/ 1467407 w 5773680"/>
              <a:gd name="connsiteY1" fmla="*/ 4371094 h 19440962"/>
              <a:gd name="connsiteX2" fmla="*/ 2981682 w 5773680"/>
              <a:gd name="connsiteY2" fmla="*/ 2031248 h 19440962"/>
              <a:gd name="connsiteX3" fmla="*/ 4239826 w 5773680"/>
              <a:gd name="connsiteY3" fmla="*/ 19155544 h 19440962"/>
              <a:gd name="connsiteX4" fmla="*/ 5773680 w 5773680"/>
              <a:gd name="connsiteY4" fmla="*/ 19440962 h 19440962"/>
              <a:gd name="connsiteX0" fmla="*/ 0 w 5773680"/>
              <a:gd name="connsiteY0" fmla="*/ 309939 h 19750901"/>
              <a:gd name="connsiteX1" fmla="*/ 1467407 w 5773680"/>
              <a:gd name="connsiteY1" fmla="*/ 4681033 h 19750901"/>
              <a:gd name="connsiteX2" fmla="*/ 2981682 w 5773680"/>
              <a:gd name="connsiteY2" fmla="*/ 2341187 h 19750901"/>
              <a:gd name="connsiteX3" fmla="*/ 4420217 w 5773680"/>
              <a:gd name="connsiteY3" fmla="*/ 13014 h 19750901"/>
              <a:gd name="connsiteX4" fmla="*/ 5773680 w 5773680"/>
              <a:gd name="connsiteY4" fmla="*/ 19750901 h 19750901"/>
              <a:gd name="connsiteX0" fmla="*/ 0 w 5773680"/>
              <a:gd name="connsiteY0" fmla="*/ 309939 h 19750901"/>
              <a:gd name="connsiteX1" fmla="*/ 1467407 w 5773680"/>
              <a:gd name="connsiteY1" fmla="*/ 4681033 h 19750901"/>
              <a:gd name="connsiteX2" fmla="*/ 2981682 w 5773680"/>
              <a:gd name="connsiteY2" fmla="*/ 2341187 h 19750901"/>
              <a:gd name="connsiteX3" fmla="*/ 4420217 w 5773680"/>
              <a:gd name="connsiteY3" fmla="*/ 13014 h 19750901"/>
              <a:gd name="connsiteX4" fmla="*/ 5773680 w 5773680"/>
              <a:gd name="connsiteY4" fmla="*/ 19750901 h 19750901"/>
              <a:gd name="connsiteX0" fmla="*/ 0 w 5773680"/>
              <a:gd name="connsiteY0" fmla="*/ 313290 h 19754252"/>
              <a:gd name="connsiteX1" fmla="*/ 1467407 w 5773680"/>
              <a:gd name="connsiteY1" fmla="*/ 4684384 h 19754252"/>
              <a:gd name="connsiteX2" fmla="*/ 2981682 w 5773680"/>
              <a:gd name="connsiteY2" fmla="*/ 2344538 h 19754252"/>
              <a:gd name="connsiteX3" fmla="*/ 4420217 w 5773680"/>
              <a:gd name="connsiteY3" fmla="*/ 16365 h 19754252"/>
              <a:gd name="connsiteX4" fmla="*/ 5773680 w 5773680"/>
              <a:gd name="connsiteY4" fmla="*/ 19754252 h 19754252"/>
              <a:gd name="connsiteX0" fmla="*/ 0 w 5878908"/>
              <a:gd name="connsiteY0" fmla="*/ 313290 h 4721482"/>
              <a:gd name="connsiteX1" fmla="*/ 1467407 w 5878908"/>
              <a:gd name="connsiteY1" fmla="*/ 4684384 h 4721482"/>
              <a:gd name="connsiteX2" fmla="*/ 2981682 w 5878908"/>
              <a:gd name="connsiteY2" fmla="*/ 2344538 h 4721482"/>
              <a:gd name="connsiteX3" fmla="*/ 4420217 w 5878908"/>
              <a:gd name="connsiteY3" fmla="*/ 16365 h 4721482"/>
              <a:gd name="connsiteX4" fmla="*/ 5878908 w 5878908"/>
              <a:gd name="connsiteY4" fmla="*/ 2580253 h 4721482"/>
              <a:gd name="connsiteX0" fmla="*/ 0 w 5878908"/>
              <a:gd name="connsiteY0" fmla="*/ 313290 h 4721482"/>
              <a:gd name="connsiteX1" fmla="*/ 1467407 w 5878908"/>
              <a:gd name="connsiteY1" fmla="*/ 4684384 h 4721482"/>
              <a:gd name="connsiteX2" fmla="*/ 2981682 w 5878908"/>
              <a:gd name="connsiteY2" fmla="*/ 2344538 h 4721482"/>
              <a:gd name="connsiteX3" fmla="*/ 4420217 w 5878908"/>
              <a:gd name="connsiteY3" fmla="*/ 16365 h 4721482"/>
              <a:gd name="connsiteX4" fmla="*/ 5878908 w 5878908"/>
              <a:gd name="connsiteY4" fmla="*/ 2580253 h 4721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78908" h="4721482">
                <a:moveTo>
                  <a:pt x="0" y="313290"/>
                </a:moveTo>
                <a:cubicBezTo>
                  <a:pt x="354882" y="1420613"/>
                  <a:pt x="970460" y="4345843"/>
                  <a:pt x="1467407" y="4684384"/>
                </a:cubicBezTo>
                <a:cubicBezTo>
                  <a:pt x="1964354" y="5022925"/>
                  <a:pt x="2647561" y="2948931"/>
                  <a:pt x="2981682" y="2344538"/>
                </a:cubicBezTo>
                <a:cubicBezTo>
                  <a:pt x="3301159" y="1814583"/>
                  <a:pt x="3966542" y="-201294"/>
                  <a:pt x="4420217" y="16365"/>
                </a:cubicBezTo>
                <a:cubicBezTo>
                  <a:pt x="4969722" y="-10677"/>
                  <a:pt x="5567297" y="2093925"/>
                  <a:pt x="5878908" y="2580253"/>
                </a:cubicBezTo>
              </a:path>
            </a:pathLst>
          </a:custGeom>
          <a:noFill/>
          <a:ln w="136525" cap="rnd" cmpd="sng" algn="ctr">
            <a:solidFill>
              <a:srgbClr val="43B02A">
                <a:alpha val="50000"/>
              </a:srgb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66" name="Freeform 42">
            <a:extLst>
              <a:ext uri="{FF2B5EF4-FFF2-40B4-BE49-F238E27FC236}">
                <a16:creationId xmlns:a16="http://schemas.microsoft.com/office/drawing/2014/main" id="{DC1B6B06-7C6B-4E29-B94D-0FD6E826CBAC}"/>
              </a:ext>
            </a:extLst>
          </p:cNvPr>
          <p:cNvSpPr/>
          <p:nvPr/>
        </p:nvSpPr>
        <p:spPr bwMode="auto">
          <a:xfrm>
            <a:off x="1789619" y="3954281"/>
            <a:ext cx="8465148" cy="537271"/>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1317807 w 7136640"/>
              <a:gd name="connsiteY1" fmla="*/ 54363 h 308134"/>
              <a:gd name="connsiteX2" fmla="*/ 1992056 w 7136640"/>
              <a:gd name="connsiteY2" fmla="*/ 307577 h 308134"/>
              <a:gd name="connsiteX3" fmla="*/ 2642777 w 7136640"/>
              <a:gd name="connsiteY3" fmla="*/ 124402 h 308134"/>
              <a:gd name="connsiteX4" fmla="*/ 3302093 w 7136640"/>
              <a:gd name="connsiteY4" fmla="*/ 189711 h 308134"/>
              <a:gd name="connsiteX5" fmla="*/ 3964644 w 7136640"/>
              <a:gd name="connsiteY5" fmla="*/ 417 h 308134"/>
              <a:gd name="connsiteX6" fmla="*/ 4578995 w 7136640"/>
              <a:gd name="connsiteY6" fmla="*/ 255894 h 308134"/>
              <a:gd name="connsiteX7" fmla="*/ 5236906 w 7136640"/>
              <a:gd name="connsiteY7" fmla="*/ 128120 h 308134"/>
              <a:gd name="connsiteX8" fmla="*/ 5843222 w 7136640"/>
              <a:gd name="connsiteY8" fmla="*/ 271154 h 308134"/>
              <a:gd name="connsiteX9" fmla="*/ 6486411 w 7136640"/>
              <a:gd name="connsiteY9" fmla="*/ 18281 h 308134"/>
              <a:gd name="connsiteX10" fmla="*/ 7136640 w 7136640"/>
              <a:gd name="connsiteY10" fmla="*/ 141032 h 308134"/>
              <a:gd name="connsiteX0" fmla="*/ 0 w 7136640"/>
              <a:gd name="connsiteY0" fmla="*/ 50651 h 308191"/>
              <a:gd name="connsiteX1" fmla="*/ 1992056 w 7136640"/>
              <a:gd name="connsiteY1" fmla="*/ 307577 h 308191"/>
              <a:gd name="connsiteX2" fmla="*/ 2642777 w 7136640"/>
              <a:gd name="connsiteY2" fmla="*/ 124402 h 308191"/>
              <a:gd name="connsiteX3" fmla="*/ 3302093 w 7136640"/>
              <a:gd name="connsiteY3" fmla="*/ 189711 h 308191"/>
              <a:gd name="connsiteX4" fmla="*/ 3964644 w 7136640"/>
              <a:gd name="connsiteY4" fmla="*/ 417 h 308191"/>
              <a:gd name="connsiteX5" fmla="*/ 4578995 w 7136640"/>
              <a:gd name="connsiteY5" fmla="*/ 255894 h 308191"/>
              <a:gd name="connsiteX6" fmla="*/ 5236906 w 7136640"/>
              <a:gd name="connsiteY6" fmla="*/ 128120 h 308191"/>
              <a:gd name="connsiteX7" fmla="*/ 5843222 w 7136640"/>
              <a:gd name="connsiteY7" fmla="*/ 271154 h 308191"/>
              <a:gd name="connsiteX8" fmla="*/ 6486411 w 7136640"/>
              <a:gd name="connsiteY8" fmla="*/ 18281 h 308191"/>
              <a:gd name="connsiteX9" fmla="*/ 7136640 w 7136640"/>
              <a:gd name="connsiteY9" fmla="*/ 141032 h 308191"/>
              <a:gd name="connsiteX0" fmla="*/ 0 w 7136640"/>
              <a:gd name="connsiteY0" fmla="*/ 50814 h 311487"/>
              <a:gd name="connsiteX1" fmla="*/ 1992056 w 7136640"/>
              <a:gd name="connsiteY1" fmla="*/ 307740 h 311487"/>
              <a:gd name="connsiteX2" fmla="*/ 3302093 w 7136640"/>
              <a:gd name="connsiteY2" fmla="*/ 189874 h 311487"/>
              <a:gd name="connsiteX3" fmla="*/ 3964644 w 7136640"/>
              <a:gd name="connsiteY3" fmla="*/ 580 h 311487"/>
              <a:gd name="connsiteX4" fmla="*/ 4578995 w 7136640"/>
              <a:gd name="connsiteY4" fmla="*/ 256057 h 311487"/>
              <a:gd name="connsiteX5" fmla="*/ 5236906 w 7136640"/>
              <a:gd name="connsiteY5" fmla="*/ 128283 h 311487"/>
              <a:gd name="connsiteX6" fmla="*/ 5843222 w 7136640"/>
              <a:gd name="connsiteY6" fmla="*/ 271317 h 311487"/>
              <a:gd name="connsiteX7" fmla="*/ 6486411 w 7136640"/>
              <a:gd name="connsiteY7" fmla="*/ 18444 h 311487"/>
              <a:gd name="connsiteX8" fmla="*/ 7136640 w 7136640"/>
              <a:gd name="connsiteY8" fmla="*/ 141195 h 311487"/>
              <a:gd name="connsiteX0" fmla="*/ 0 w 7136640"/>
              <a:gd name="connsiteY0" fmla="*/ 51321 h 310670"/>
              <a:gd name="connsiteX1" fmla="*/ 1992056 w 7136640"/>
              <a:gd name="connsiteY1" fmla="*/ 308247 h 310670"/>
              <a:gd name="connsiteX2" fmla="*/ 3452375 w 7136640"/>
              <a:gd name="connsiteY2" fmla="*/ 170194 h 310670"/>
              <a:gd name="connsiteX3" fmla="*/ 3964644 w 7136640"/>
              <a:gd name="connsiteY3" fmla="*/ 1087 h 310670"/>
              <a:gd name="connsiteX4" fmla="*/ 4578995 w 7136640"/>
              <a:gd name="connsiteY4" fmla="*/ 256564 h 310670"/>
              <a:gd name="connsiteX5" fmla="*/ 5236906 w 7136640"/>
              <a:gd name="connsiteY5" fmla="*/ 128790 h 310670"/>
              <a:gd name="connsiteX6" fmla="*/ 5843222 w 7136640"/>
              <a:gd name="connsiteY6" fmla="*/ 271824 h 310670"/>
              <a:gd name="connsiteX7" fmla="*/ 6486411 w 7136640"/>
              <a:gd name="connsiteY7" fmla="*/ 18951 h 310670"/>
              <a:gd name="connsiteX8" fmla="*/ 7136640 w 7136640"/>
              <a:gd name="connsiteY8" fmla="*/ 141702 h 310670"/>
              <a:gd name="connsiteX0" fmla="*/ 0 w 7136640"/>
              <a:gd name="connsiteY0" fmla="*/ 32651 h 291386"/>
              <a:gd name="connsiteX1" fmla="*/ 1992056 w 7136640"/>
              <a:gd name="connsiteY1" fmla="*/ 289577 h 291386"/>
              <a:gd name="connsiteX2" fmla="*/ 3452375 w 7136640"/>
              <a:gd name="connsiteY2" fmla="*/ 151524 h 291386"/>
              <a:gd name="connsiteX3" fmla="*/ 4578995 w 7136640"/>
              <a:gd name="connsiteY3" fmla="*/ 237894 h 291386"/>
              <a:gd name="connsiteX4" fmla="*/ 5236906 w 7136640"/>
              <a:gd name="connsiteY4" fmla="*/ 110120 h 291386"/>
              <a:gd name="connsiteX5" fmla="*/ 5843222 w 7136640"/>
              <a:gd name="connsiteY5" fmla="*/ 253154 h 291386"/>
              <a:gd name="connsiteX6" fmla="*/ 6486411 w 7136640"/>
              <a:gd name="connsiteY6" fmla="*/ 281 h 291386"/>
              <a:gd name="connsiteX7" fmla="*/ 7136640 w 7136640"/>
              <a:gd name="connsiteY7" fmla="*/ 123032 h 291386"/>
              <a:gd name="connsiteX0" fmla="*/ 0 w 7136640"/>
              <a:gd name="connsiteY0" fmla="*/ 32651 h 291650"/>
              <a:gd name="connsiteX1" fmla="*/ 1992056 w 7136640"/>
              <a:gd name="connsiteY1" fmla="*/ 289577 h 291650"/>
              <a:gd name="connsiteX2" fmla="*/ 3452375 w 7136640"/>
              <a:gd name="connsiteY2" fmla="*/ 151524 h 291650"/>
              <a:gd name="connsiteX3" fmla="*/ 5236906 w 7136640"/>
              <a:gd name="connsiteY3" fmla="*/ 110120 h 291650"/>
              <a:gd name="connsiteX4" fmla="*/ 5843222 w 7136640"/>
              <a:gd name="connsiteY4" fmla="*/ 253154 h 291650"/>
              <a:gd name="connsiteX5" fmla="*/ 6486411 w 7136640"/>
              <a:gd name="connsiteY5" fmla="*/ 281 h 291650"/>
              <a:gd name="connsiteX6" fmla="*/ 7136640 w 7136640"/>
              <a:gd name="connsiteY6" fmla="*/ 123032 h 291650"/>
              <a:gd name="connsiteX0" fmla="*/ 0 w 7136640"/>
              <a:gd name="connsiteY0" fmla="*/ 32410 h 291409"/>
              <a:gd name="connsiteX1" fmla="*/ 1992056 w 7136640"/>
              <a:gd name="connsiteY1" fmla="*/ 289336 h 291409"/>
              <a:gd name="connsiteX2" fmla="*/ 3452375 w 7136640"/>
              <a:gd name="connsiteY2" fmla="*/ 151283 h 291409"/>
              <a:gd name="connsiteX3" fmla="*/ 5236906 w 7136640"/>
              <a:gd name="connsiteY3" fmla="*/ 109879 h 291409"/>
              <a:gd name="connsiteX4" fmla="*/ 6486411 w 7136640"/>
              <a:gd name="connsiteY4" fmla="*/ 40 h 291409"/>
              <a:gd name="connsiteX5" fmla="*/ 7136640 w 7136640"/>
              <a:gd name="connsiteY5" fmla="*/ 122791 h 291409"/>
              <a:gd name="connsiteX0" fmla="*/ 0 w 6486411"/>
              <a:gd name="connsiteY0" fmla="*/ 32410 h 291409"/>
              <a:gd name="connsiteX1" fmla="*/ 1992056 w 6486411"/>
              <a:gd name="connsiteY1" fmla="*/ 289336 h 291409"/>
              <a:gd name="connsiteX2" fmla="*/ 3452375 w 6486411"/>
              <a:gd name="connsiteY2" fmla="*/ 151283 h 291409"/>
              <a:gd name="connsiteX3" fmla="*/ 5236906 w 6486411"/>
              <a:gd name="connsiteY3" fmla="*/ 109879 h 291409"/>
              <a:gd name="connsiteX4" fmla="*/ 6486411 w 6486411"/>
              <a:gd name="connsiteY4" fmla="*/ 40 h 291409"/>
              <a:gd name="connsiteX0" fmla="*/ 0 w 6749404"/>
              <a:gd name="connsiteY0" fmla="*/ 43416 h 302415"/>
              <a:gd name="connsiteX1" fmla="*/ 1992056 w 6749404"/>
              <a:gd name="connsiteY1" fmla="*/ 300342 h 302415"/>
              <a:gd name="connsiteX2" fmla="*/ 3452375 w 6749404"/>
              <a:gd name="connsiteY2" fmla="*/ 162289 h 302415"/>
              <a:gd name="connsiteX3" fmla="*/ 5236906 w 6749404"/>
              <a:gd name="connsiteY3" fmla="*/ 120885 h 302415"/>
              <a:gd name="connsiteX4" fmla="*/ 6749404 w 6749404"/>
              <a:gd name="connsiteY4" fmla="*/ 35 h 302415"/>
              <a:gd name="connsiteX0" fmla="*/ 0 w 6756068"/>
              <a:gd name="connsiteY0" fmla="*/ 112117 h 300770"/>
              <a:gd name="connsiteX1" fmla="*/ 1998720 w 6756068"/>
              <a:gd name="connsiteY1" fmla="*/ 300342 h 300770"/>
              <a:gd name="connsiteX2" fmla="*/ 3459039 w 6756068"/>
              <a:gd name="connsiteY2" fmla="*/ 162289 h 300770"/>
              <a:gd name="connsiteX3" fmla="*/ 5243570 w 6756068"/>
              <a:gd name="connsiteY3" fmla="*/ 120885 h 300770"/>
              <a:gd name="connsiteX4" fmla="*/ 6756068 w 6756068"/>
              <a:gd name="connsiteY4" fmla="*/ 35 h 300770"/>
              <a:gd name="connsiteX0" fmla="*/ 0 w 6756068"/>
              <a:gd name="connsiteY0" fmla="*/ 112117 h 300770"/>
              <a:gd name="connsiteX1" fmla="*/ 1998720 w 6756068"/>
              <a:gd name="connsiteY1" fmla="*/ 300342 h 300770"/>
              <a:gd name="connsiteX2" fmla="*/ 3459039 w 6756068"/>
              <a:gd name="connsiteY2" fmla="*/ 162289 h 300770"/>
              <a:gd name="connsiteX3" fmla="*/ 5243570 w 6756068"/>
              <a:gd name="connsiteY3" fmla="*/ 120885 h 300770"/>
              <a:gd name="connsiteX4" fmla="*/ 6756068 w 6756068"/>
              <a:gd name="connsiteY4" fmla="*/ 35 h 300770"/>
              <a:gd name="connsiteX0" fmla="*/ 0 w 6756068"/>
              <a:gd name="connsiteY0" fmla="*/ 112117 h 307472"/>
              <a:gd name="connsiteX1" fmla="*/ 1998720 w 6756068"/>
              <a:gd name="connsiteY1" fmla="*/ 300342 h 307472"/>
              <a:gd name="connsiteX2" fmla="*/ 3459039 w 6756068"/>
              <a:gd name="connsiteY2" fmla="*/ 253887 h 307472"/>
              <a:gd name="connsiteX3" fmla="*/ 5243570 w 6756068"/>
              <a:gd name="connsiteY3" fmla="*/ 120885 h 307472"/>
              <a:gd name="connsiteX4" fmla="*/ 6756068 w 6756068"/>
              <a:gd name="connsiteY4" fmla="*/ 35 h 307472"/>
              <a:gd name="connsiteX0" fmla="*/ 0 w 6756068"/>
              <a:gd name="connsiteY0" fmla="*/ 112117 h 301389"/>
              <a:gd name="connsiteX1" fmla="*/ 1998720 w 6756068"/>
              <a:gd name="connsiteY1" fmla="*/ 300342 h 301389"/>
              <a:gd name="connsiteX2" fmla="*/ 3459039 w 6756068"/>
              <a:gd name="connsiteY2" fmla="*/ 185189 h 301389"/>
              <a:gd name="connsiteX3" fmla="*/ 5243570 w 6756068"/>
              <a:gd name="connsiteY3" fmla="*/ 120885 h 301389"/>
              <a:gd name="connsiteX4" fmla="*/ 6756068 w 6756068"/>
              <a:gd name="connsiteY4" fmla="*/ 35 h 301389"/>
              <a:gd name="connsiteX0" fmla="*/ 0 w 6756068"/>
              <a:gd name="connsiteY0" fmla="*/ 112117 h 304311"/>
              <a:gd name="connsiteX1" fmla="*/ 1998720 w 6756068"/>
              <a:gd name="connsiteY1" fmla="*/ 300342 h 304311"/>
              <a:gd name="connsiteX2" fmla="*/ 3459039 w 6756068"/>
              <a:gd name="connsiteY2" fmla="*/ 230986 h 304311"/>
              <a:gd name="connsiteX3" fmla="*/ 5243570 w 6756068"/>
              <a:gd name="connsiteY3" fmla="*/ 120885 h 304311"/>
              <a:gd name="connsiteX4" fmla="*/ 6756068 w 6756068"/>
              <a:gd name="connsiteY4" fmla="*/ 35 h 304311"/>
              <a:gd name="connsiteX0" fmla="*/ 0 w 6756068"/>
              <a:gd name="connsiteY0" fmla="*/ 112107 h 303954"/>
              <a:gd name="connsiteX1" fmla="*/ 1998720 w 6756068"/>
              <a:gd name="connsiteY1" fmla="*/ 300332 h 303954"/>
              <a:gd name="connsiteX2" fmla="*/ 3459039 w 6756068"/>
              <a:gd name="connsiteY2" fmla="*/ 230976 h 303954"/>
              <a:gd name="connsiteX3" fmla="*/ 5176931 w 6756068"/>
              <a:gd name="connsiteY3" fmla="*/ 166676 h 303954"/>
              <a:gd name="connsiteX4" fmla="*/ 6756068 w 6756068"/>
              <a:gd name="connsiteY4" fmla="*/ 25 h 303954"/>
              <a:gd name="connsiteX0" fmla="*/ 0 w 6669436"/>
              <a:gd name="connsiteY0" fmla="*/ 0 h 191847"/>
              <a:gd name="connsiteX1" fmla="*/ 1998720 w 6669436"/>
              <a:gd name="connsiteY1" fmla="*/ 188225 h 191847"/>
              <a:gd name="connsiteX2" fmla="*/ 3459039 w 6669436"/>
              <a:gd name="connsiteY2" fmla="*/ 118869 h 191847"/>
              <a:gd name="connsiteX3" fmla="*/ 5176931 w 6669436"/>
              <a:gd name="connsiteY3" fmla="*/ 54569 h 191847"/>
              <a:gd name="connsiteX4" fmla="*/ 6669436 w 6669436"/>
              <a:gd name="connsiteY4" fmla="*/ 25314 h 191847"/>
              <a:gd name="connsiteX0" fmla="*/ 0 w 6258701"/>
              <a:gd name="connsiteY0" fmla="*/ 0 h 6844677"/>
              <a:gd name="connsiteX1" fmla="*/ 1587985 w 6258701"/>
              <a:gd name="connsiteY1" fmla="*/ 6389195 h 6844677"/>
              <a:gd name="connsiteX2" fmla="*/ 3048304 w 6258701"/>
              <a:gd name="connsiteY2" fmla="*/ 6319839 h 6844677"/>
              <a:gd name="connsiteX3" fmla="*/ 4766196 w 6258701"/>
              <a:gd name="connsiteY3" fmla="*/ 6255539 h 6844677"/>
              <a:gd name="connsiteX4" fmla="*/ 6258701 w 6258701"/>
              <a:gd name="connsiteY4" fmla="*/ 6226284 h 6844677"/>
              <a:gd name="connsiteX0" fmla="*/ 0 w 6305835"/>
              <a:gd name="connsiteY0" fmla="*/ 0 h 7540497"/>
              <a:gd name="connsiteX1" fmla="*/ 1635119 w 6305835"/>
              <a:gd name="connsiteY1" fmla="*/ 7037058 h 7540497"/>
              <a:gd name="connsiteX2" fmla="*/ 3095438 w 6305835"/>
              <a:gd name="connsiteY2" fmla="*/ 6967702 h 7540497"/>
              <a:gd name="connsiteX3" fmla="*/ 4813330 w 6305835"/>
              <a:gd name="connsiteY3" fmla="*/ 6903402 h 7540497"/>
              <a:gd name="connsiteX4" fmla="*/ 6305835 w 6305835"/>
              <a:gd name="connsiteY4" fmla="*/ 6874147 h 7540497"/>
              <a:gd name="connsiteX0" fmla="*/ 0 w 6305835"/>
              <a:gd name="connsiteY0" fmla="*/ 0 h 7252962"/>
              <a:gd name="connsiteX1" fmla="*/ 1635119 w 6305835"/>
              <a:gd name="connsiteY1" fmla="*/ 7037058 h 7252962"/>
              <a:gd name="connsiteX2" fmla="*/ 3095438 w 6305835"/>
              <a:gd name="connsiteY2" fmla="*/ 6967702 h 7252962"/>
              <a:gd name="connsiteX3" fmla="*/ 4813330 w 6305835"/>
              <a:gd name="connsiteY3" fmla="*/ 6903402 h 7252962"/>
              <a:gd name="connsiteX4" fmla="*/ 6305835 w 6305835"/>
              <a:gd name="connsiteY4" fmla="*/ 6874147 h 7252962"/>
              <a:gd name="connsiteX0" fmla="*/ 0 w 6305835"/>
              <a:gd name="connsiteY0" fmla="*/ 0 h 6967771"/>
              <a:gd name="connsiteX1" fmla="*/ 1466785 w 6305835"/>
              <a:gd name="connsiteY1" fmla="*/ 1183157 h 6967771"/>
              <a:gd name="connsiteX2" fmla="*/ 3095438 w 6305835"/>
              <a:gd name="connsiteY2" fmla="*/ 6967702 h 6967771"/>
              <a:gd name="connsiteX3" fmla="*/ 4813330 w 6305835"/>
              <a:gd name="connsiteY3" fmla="*/ 6903402 h 6967771"/>
              <a:gd name="connsiteX4" fmla="*/ 6305835 w 6305835"/>
              <a:gd name="connsiteY4" fmla="*/ 6874147 h 6967771"/>
              <a:gd name="connsiteX0" fmla="*/ 0 w 6305835"/>
              <a:gd name="connsiteY0" fmla="*/ 0 h 6967771"/>
              <a:gd name="connsiteX1" fmla="*/ 1466785 w 6305835"/>
              <a:gd name="connsiteY1" fmla="*/ 1183157 h 6967771"/>
              <a:gd name="connsiteX2" fmla="*/ 3095438 w 6305835"/>
              <a:gd name="connsiteY2" fmla="*/ 6967702 h 6967771"/>
              <a:gd name="connsiteX3" fmla="*/ 4813330 w 6305835"/>
              <a:gd name="connsiteY3" fmla="*/ 6903402 h 6967771"/>
              <a:gd name="connsiteX4" fmla="*/ 6305835 w 6305835"/>
              <a:gd name="connsiteY4" fmla="*/ 6874147 h 6967771"/>
              <a:gd name="connsiteX0" fmla="*/ 0 w 6305835"/>
              <a:gd name="connsiteY0" fmla="*/ 402224 h 7369980"/>
              <a:gd name="connsiteX1" fmla="*/ 1520652 w 6305835"/>
              <a:gd name="connsiteY1" fmla="*/ 150828 h 7369980"/>
              <a:gd name="connsiteX2" fmla="*/ 3095438 w 6305835"/>
              <a:gd name="connsiteY2" fmla="*/ 7369926 h 7369980"/>
              <a:gd name="connsiteX3" fmla="*/ 4813330 w 6305835"/>
              <a:gd name="connsiteY3" fmla="*/ 7305626 h 7369980"/>
              <a:gd name="connsiteX4" fmla="*/ 6305835 w 6305835"/>
              <a:gd name="connsiteY4" fmla="*/ 7276371 h 7369980"/>
              <a:gd name="connsiteX0" fmla="*/ 0 w 6305835"/>
              <a:gd name="connsiteY0" fmla="*/ 302929 h 7270682"/>
              <a:gd name="connsiteX1" fmla="*/ 1520652 w 6305835"/>
              <a:gd name="connsiteY1" fmla="*/ 51533 h 7270682"/>
              <a:gd name="connsiteX2" fmla="*/ 3095438 w 6305835"/>
              <a:gd name="connsiteY2" fmla="*/ 7270631 h 7270682"/>
              <a:gd name="connsiteX3" fmla="*/ 4813330 w 6305835"/>
              <a:gd name="connsiteY3" fmla="*/ 7206331 h 7270682"/>
              <a:gd name="connsiteX4" fmla="*/ 6305835 w 6305835"/>
              <a:gd name="connsiteY4" fmla="*/ 7177076 h 7270682"/>
              <a:gd name="connsiteX0" fmla="*/ 0 w 6305835"/>
              <a:gd name="connsiteY0" fmla="*/ 282184 h 7185585"/>
              <a:gd name="connsiteX1" fmla="*/ 1520652 w 6305835"/>
              <a:gd name="connsiteY1" fmla="*/ 30788 h 7185585"/>
              <a:gd name="connsiteX2" fmla="*/ 2987705 w 6305835"/>
              <a:gd name="connsiteY2" fmla="*/ 1187743 h 7185585"/>
              <a:gd name="connsiteX3" fmla="*/ 4813330 w 6305835"/>
              <a:gd name="connsiteY3" fmla="*/ 7185586 h 7185585"/>
              <a:gd name="connsiteX4" fmla="*/ 6305835 w 6305835"/>
              <a:gd name="connsiteY4" fmla="*/ 7156331 h 7185585"/>
              <a:gd name="connsiteX0" fmla="*/ 0 w 6305835"/>
              <a:gd name="connsiteY0" fmla="*/ 282184 h 7185585"/>
              <a:gd name="connsiteX1" fmla="*/ 1520652 w 6305835"/>
              <a:gd name="connsiteY1" fmla="*/ 30788 h 7185585"/>
              <a:gd name="connsiteX2" fmla="*/ 2987705 w 6305835"/>
              <a:gd name="connsiteY2" fmla="*/ 1187743 h 7185585"/>
              <a:gd name="connsiteX3" fmla="*/ 4813330 w 6305835"/>
              <a:gd name="connsiteY3" fmla="*/ 7185586 h 7185585"/>
              <a:gd name="connsiteX4" fmla="*/ 6305835 w 6305835"/>
              <a:gd name="connsiteY4" fmla="*/ 7156331 h 7185585"/>
              <a:gd name="connsiteX0" fmla="*/ 0 w 6305835"/>
              <a:gd name="connsiteY0" fmla="*/ 282184 h 7185585"/>
              <a:gd name="connsiteX1" fmla="*/ 1520652 w 6305835"/>
              <a:gd name="connsiteY1" fmla="*/ 30788 h 7185585"/>
              <a:gd name="connsiteX2" fmla="*/ 2987705 w 6305835"/>
              <a:gd name="connsiteY2" fmla="*/ 1187743 h 7185585"/>
              <a:gd name="connsiteX3" fmla="*/ 4813330 w 6305835"/>
              <a:gd name="connsiteY3" fmla="*/ 7185586 h 7185585"/>
              <a:gd name="connsiteX4" fmla="*/ 6305835 w 6305835"/>
              <a:gd name="connsiteY4" fmla="*/ 7156331 h 7185585"/>
              <a:gd name="connsiteX0" fmla="*/ 0 w 6305835"/>
              <a:gd name="connsiteY0" fmla="*/ 280974 h 7184375"/>
              <a:gd name="connsiteX1" fmla="*/ 1520652 w 6305835"/>
              <a:gd name="connsiteY1" fmla="*/ 29578 h 7184375"/>
              <a:gd name="connsiteX2" fmla="*/ 2974239 w 6305835"/>
              <a:gd name="connsiteY2" fmla="*/ 1163395 h 7184375"/>
              <a:gd name="connsiteX3" fmla="*/ 4813330 w 6305835"/>
              <a:gd name="connsiteY3" fmla="*/ 7184376 h 7184375"/>
              <a:gd name="connsiteX4" fmla="*/ 6305835 w 6305835"/>
              <a:gd name="connsiteY4" fmla="*/ 7155121 h 7184375"/>
              <a:gd name="connsiteX0" fmla="*/ 0 w 6305835"/>
              <a:gd name="connsiteY0" fmla="*/ 272875 h 7176276"/>
              <a:gd name="connsiteX1" fmla="*/ 1520652 w 6305835"/>
              <a:gd name="connsiteY1" fmla="*/ 21479 h 7176276"/>
              <a:gd name="connsiteX2" fmla="*/ 2947306 w 6305835"/>
              <a:gd name="connsiteY2" fmla="*/ 993331 h 7176276"/>
              <a:gd name="connsiteX3" fmla="*/ 4813330 w 6305835"/>
              <a:gd name="connsiteY3" fmla="*/ 7176277 h 7176276"/>
              <a:gd name="connsiteX4" fmla="*/ 6305835 w 6305835"/>
              <a:gd name="connsiteY4" fmla="*/ 7147022 h 7176276"/>
              <a:gd name="connsiteX0" fmla="*/ 0 w 6305835"/>
              <a:gd name="connsiteY0" fmla="*/ 278591 h 7181992"/>
              <a:gd name="connsiteX1" fmla="*/ 1520652 w 6305835"/>
              <a:gd name="connsiteY1" fmla="*/ 27195 h 7181992"/>
              <a:gd name="connsiteX2" fmla="*/ 2967506 w 6305835"/>
              <a:gd name="connsiteY2" fmla="*/ 1114737 h 7181992"/>
              <a:gd name="connsiteX3" fmla="*/ 4813330 w 6305835"/>
              <a:gd name="connsiteY3" fmla="*/ 7181993 h 7181992"/>
              <a:gd name="connsiteX4" fmla="*/ 6305835 w 6305835"/>
              <a:gd name="connsiteY4" fmla="*/ 7152738 h 7181992"/>
              <a:gd name="connsiteX0" fmla="*/ 0 w 6305835"/>
              <a:gd name="connsiteY0" fmla="*/ 1103847 h 7977993"/>
              <a:gd name="connsiteX1" fmla="*/ 1520652 w 6305835"/>
              <a:gd name="connsiteY1" fmla="*/ 852451 h 7977993"/>
              <a:gd name="connsiteX2" fmla="*/ 2967506 w 6305835"/>
              <a:gd name="connsiteY2" fmla="*/ 1939993 h 7977993"/>
              <a:gd name="connsiteX3" fmla="*/ 4503596 w 6305835"/>
              <a:gd name="connsiteY3" fmla="*/ 626245 h 7977993"/>
              <a:gd name="connsiteX4" fmla="*/ 6305835 w 6305835"/>
              <a:gd name="connsiteY4" fmla="*/ 7977994 h 7977993"/>
              <a:gd name="connsiteX0" fmla="*/ 0 w 6305835"/>
              <a:gd name="connsiteY0" fmla="*/ 497346 h 7371492"/>
              <a:gd name="connsiteX1" fmla="*/ 1520652 w 6305835"/>
              <a:gd name="connsiteY1" fmla="*/ 245950 h 7371492"/>
              <a:gd name="connsiteX2" fmla="*/ 2967506 w 6305835"/>
              <a:gd name="connsiteY2" fmla="*/ 1333492 h 7371492"/>
              <a:gd name="connsiteX3" fmla="*/ 4503596 w 6305835"/>
              <a:gd name="connsiteY3" fmla="*/ 19744 h 7371492"/>
              <a:gd name="connsiteX4" fmla="*/ 6305835 w 6305835"/>
              <a:gd name="connsiteY4" fmla="*/ 7371493 h 7371492"/>
              <a:gd name="connsiteX0" fmla="*/ 0 w 6305835"/>
              <a:gd name="connsiteY0" fmla="*/ 588929 h 7463075"/>
              <a:gd name="connsiteX1" fmla="*/ 1520652 w 6305835"/>
              <a:gd name="connsiteY1" fmla="*/ 337533 h 7463075"/>
              <a:gd name="connsiteX2" fmla="*/ 2967506 w 6305835"/>
              <a:gd name="connsiteY2" fmla="*/ 1425075 h 7463075"/>
              <a:gd name="connsiteX3" fmla="*/ 4449729 w 6305835"/>
              <a:gd name="connsiteY3" fmla="*/ 18776 h 7463075"/>
              <a:gd name="connsiteX4" fmla="*/ 6305835 w 6305835"/>
              <a:gd name="connsiteY4" fmla="*/ 7463076 h 7463075"/>
              <a:gd name="connsiteX0" fmla="*/ 0 w 6305835"/>
              <a:gd name="connsiteY0" fmla="*/ 278591 h 7152737"/>
              <a:gd name="connsiteX1" fmla="*/ 1520652 w 6305835"/>
              <a:gd name="connsiteY1" fmla="*/ 27195 h 7152737"/>
              <a:gd name="connsiteX2" fmla="*/ 2967506 w 6305835"/>
              <a:gd name="connsiteY2" fmla="*/ 1114737 h 7152737"/>
              <a:gd name="connsiteX3" fmla="*/ 4463196 w 6305835"/>
              <a:gd name="connsiteY3" fmla="*/ 1906542 h 7152737"/>
              <a:gd name="connsiteX4" fmla="*/ 6305835 w 6305835"/>
              <a:gd name="connsiteY4" fmla="*/ 7152738 h 7152737"/>
              <a:gd name="connsiteX0" fmla="*/ 0 w 6305835"/>
              <a:gd name="connsiteY0" fmla="*/ 566024 h 7440170"/>
              <a:gd name="connsiteX1" fmla="*/ 1520652 w 6305835"/>
              <a:gd name="connsiteY1" fmla="*/ 314628 h 7440170"/>
              <a:gd name="connsiteX2" fmla="*/ 2967506 w 6305835"/>
              <a:gd name="connsiteY2" fmla="*/ 1402170 h 7440170"/>
              <a:gd name="connsiteX3" fmla="*/ 4416063 w 6305835"/>
              <a:gd name="connsiteY3" fmla="*/ 19009 h 7440170"/>
              <a:gd name="connsiteX4" fmla="*/ 6305835 w 6305835"/>
              <a:gd name="connsiteY4" fmla="*/ 7440171 h 7440170"/>
              <a:gd name="connsiteX0" fmla="*/ 0 w 6332768"/>
              <a:gd name="connsiteY0" fmla="*/ 288368 h 7440170"/>
              <a:gd name="connsiteX1" fmla="*/ 1547585 w 6332768"/>
              <a:gd name="connsiteY1" fmla="*/ 314628 h 7440170"/>
              <a:gd name="connsiteX2" fmla="*/ 2994439 w 6332768"/>
              <a:gd name="connsiteY2" fmla="*/ 1402170 h 7440170"/>
              <a:gd name="connsiteX3" fmla="*/ 4442996 w 6332768"/>
              <a:gd name="connsiteY3" fmla="*/ 19009 h 7440170"/>
              <a:gd name="connsiteX4" fmla="*/ 6332768 w 6332768"/>
              <a:gd name="connsiteY4" fmla="*/ 7440171 h 7440170"/>
              <a:gd name="connsiteX0" fmla="*/ 0 w 6332768"/>
              <a:gd name="connsiteY0" fmla="*/ 288368 h 7440170"/>
              <a:gd name="connsiteX1" fmla="*/ 1500451 w 6332768"/>
              <a:gd name="connsiteY1" fmla="*/ 777386 h 7440170"/>
              <a:gd name="connsiteX2" fmla="*/ 2994439 w 6332768"/>
              <a:gd name="connsiteY2" fmla="*/ 1402170 h 7440170"/>
              <a:gd name="connsiteX3" fmla="*/ 4442996 w 6332768"/>
              <a:gd name="connsiteY3" fmla="*/ 19009 h 7440170"/>
              <a:gd name="connsiteX4" fmla="*/ 6332768 w 6332768"/>
              <a:gd name="connsiteY4" fmla="*/ 7440171 h 7440170"/>
              <a:gd name="connsiteX0" fmla="*/ 0 w 6366435"/>
              <a:gd name="connsiteY0" fmla="*/ 0 h 7452595"/>
              <a:gd name="connsiteX1" fmla="*/ 1534118 w 6366435"/>
              <a:gd name="connsiteY1" fmla="*/ 789811 h 7452595"/>
              <a:gd name="connsiteX2" fmla="*/ 3028106 w 6366435"/>
              <a:gd name="connsiteY2" fmla="*/ 1414595 h 7452595"/>
              <a:gd name="connsiteX3" fmla="*/ 4476663 w 6366435"/>
              <a:gd name="connsiteY3" fmla="*/ 31434 h 7452595"/>
              <a:gd name="connsiteX4" fmla="*/ 6366435 w 6366435"/>
              <a:gd name="connsiteY4" fmla="*/ 7452596 h 7452595"/>
              <a:gd name="connsiteX0" fmla="*/ 0 w 5955700"/>
              <a:gd name="connsiteY0" fmla="*/ 0 h 2362249"/>
              <a:gd name="connsiteX1" fmla="*/ 1534118 w 5955700"/>
              <a:gd name="connsiteY1" fmla="*/ 789811 h 2362249"/>
              <a:gd name="connsiteX2" fmla="*/ 3028106 w 5955700"/>
              <a:gd name="connsiteY2" fmla="*/ 1414595 h 2362249"/>
              <a:gd name="connsiteX3" fmla="*/ 4476663 w 5955700"/>
              <a:gd name="connsiteY3" fmla="*/ 31434 h 2362249"/>
              <a:gd name="connsiteX4" fmla="*/ 5955700 w 5955700"/>
              <a:gd name="connsiteY4" fmla="*/ 2362249 h 2362249"/>
              <a:gd name="connsiteX0" fmla="*/ 0 w 5981049"/>
              <a:gd name="connsiteY0" fmla="*/ 0 h 2688901"/>
              <a:gd name="connsiteX1" fmla="*/ 1559467 w 5981049"/>
              <a:gd name="connsiteY1" fmla="*/ 1116463 h 2688901"/>
              <a:gd name="connsiteX2" fmla="*/ 3053455 w 5981049"/>
              <a:gd name="connsiteY2" fmla="*/ 1741247 h 2688901"/>
              <a:gd name="connsiteX3" fmla="*/ 4502012 w 5981049"/>
              <a:gd name="connsiteY3" fmla="*/ 358086 h 2688901"/>
              <a:gd name="connsiteX4" fmla="*/ 5981049 w 5981049"/>
              <a:gd name="connsiteY4" fmla="*/ 2688901 h 2688901"/>
              <a:gd name="connsiteX0" fmla="*/ 0 w 5981049"/>
              <a:gd name="connsiteY0" fmla="*/ 973608 h 3662509"/>
              <a:gd name="connsiteX1" fmla="*/ 1635515 w 5981049"/>
              <a:gd name="connsiteY1" fmla="*/ 43042 h 3662509"/>
              <a:gd name="connsiteX2" fmla="*/ 3053455 w 5981049"/>
              <a:gd name="connsiteY2" fmla="*/ 2714855 h 3662509"/>
              <a:gd name="connsiteX3" fmla="*/ 4502012 w 5981049"/>
              <a:gd name="connsiteY3" fmla="*/ 1331694 h 3662509"/>
              <a:gd name="connsiteX4" fmla="*/ 5981049 w 5981049"/>
              <a:gd name="connsiteY4" fmla="*/ 3662509 h 3662509"/>
              <a:gd name="connsiteX0" fmla="*/ 0 w 5981049"/>
              <a:gd name="connsiteY0" fmla="*/ 934129 h 3623030"/>
              <a:gd name="connsiteX1" fmla="*/ 1635515 w 5981049"/>
              <a:gd name="connsiteY1" fmla="*/ 3563 h 3623030"/>
              <a:gd name="connsiteX2" fmla="*/ 3053455 w 5981049"/>
              <a:gd name="connsiteY2" fmla="*/ 2675376 h 3623030"/>
              <a:gd name="connsiteX3" fmla="*/ 4502012 w 5981049"/>
              <a:gd name="connsiteY3" fmla="*/ 1292215 h 3623030"/>
              <a:gd name="connsiteX4" fmla="*/ 5981049 w 5981049"/>
              <a:gd name="connsiteY4" fmla="*/ 3623030 h 3623030"/>
              <a:gd name="connsiteX0" fmla="*/ 0 w 5949363"/>
              <a:gd name="connsiteY0" fmla="*/ 1533187 h 3634112"/>
              <a:gd name="connsiteX1" fmla="*/ 1603829 w 5949363"/>
              <a:gd name="connsiteY1" fmla="*/ 14645 h 3634112"/>
              <a:gd name="connsiteX2" fmla="*/ 3021769 w 5949363"/>
              <a:gd name="connsiteY2" fmla="*/ 2686458 h 3634112"/>
              <a:gd name="connsiteX3" fmla="*/ 4470326 w 5949363"/>
              <a:gd name="connsiteY3" fmla="*/ 1303297 h 3634112"/>
              <a:gd name="connsiteX4" fmla="*/ 5949363 w 5949363"/>
              <a:gd name="connsiteY4" fmla="*/ 3634112 h 3634112"/>
              <a:gd name="connsiteX0" fmla="*/ 0 w 5949363"/>
              <a:gd name="connsiteY0" fmla="*/ 1323347 h 3642041"/>
              <a:gd name="connsiteX1" fmla="*/ 1603829 w 5949363"/>
              <a:gd name="connsiteY1" fmla="*/ 22574 h 3642041"/>
              <a:gd name="connsiteX2" fmla="*/ 3021769 w 5949363"/>
              <a:gd name="connsiteY2" fmla="*/ 2694387 h 3642041"/>
              <a:gd name="connsiteX3" fmla="*/ 4470326 w 5949363"/>
              <a:gd name="connsiteY3" fmla="*/ 1311226 h 3642041"/>
              <a:gd name="connsiteX4" fmla="*/ 5949363 w 5949363"/>
              <a:gd name="connsiteY4" fmla="*/ 3642041 h 3642041"/>
              <a:gd name="connsiteX0" fmla="*/ 0 w 5949363"/>
              <a:gd name="connsiteY0" fmla="*/ 1323347 h 3337164"/>
              <a:gd name="connsiteX1" fmla="*/ 1603829 w 5949363"/>
              <a:gd name="connsiteY1" fmla="*/ 22574 h 3337164"/>
              <a:gd name="connsiteX2" fmla="*/ 3021769 w 5949363"/>
              <a:gd name="connsiteY2" fmla="*/ 2694387 h 3337164"/>
              <a:gd name="connsiteX3" fmla="*/ 4470326 w 5949363"/>
              <a:gd name="connsiteY3" fmla="*/ 1311226 h 3337164"/>
              <a:gd name="connsiteX4" fmla="*/ 5949363 w 5949363"/>
              <a:gd name="connsiteY4" fmla="*/ 3337164 h 3337164"/>
              <a:gd name="connsiteX0" fmla="*/ 0 w 5955700"/>
              <a:gd name="connsiteY0" fmla="*/ 1323347 h 2901624"/>
              <a:gd name="connsiteX1" fmla="*/ 1603829 w 5955700"/>
              <a:gd name="connsiteY1" fmla="*/ 22574 h 2901624"/>
              <a:gd name="connsiteX2" fmla="*/ 3021769 w 5955700"/>
              <a:gd name="connsiteY2" fmla="*/ 2694387 h 2901624"/>
              <a:gd name="connsiteX3" fmla="*/ 4470326 w 5955700"/>
              <a:gd name="connsiteY3" fmla="*/ 1311226 h 2901624"/>
              <a:gd name="connsiteX4" fmla="*/ 5955700 w 5955700"/>
              <a:gd name="connsiteY4" fmla="*/ 2901624 h 2901624"/>
              <a:gd name="connsiteX0" fmla="*/ 0 w 5955700"/>
              <a:gd name="connsiteY0" fmla="*/ 406310 h 1984587"/>
              <a:gd name="connsiteX1" fmla="*/ 1587669 w 5955700"/>
              <a:gd name="connsiteY1" fmla="*/ 49565 h 1984587"/>
              <a:gd name="connsiteX2" fmla="*/ 3021769 w 5955700"/>
              <a:gd name="connsiteY2" fmla="*/ 1777350 h 1984587"/>
              <a:gd name="connsiteX3" fmla="*/ 4470326 w 5955700"/>
              <a:gd name="connsiteY3" fmla="*/ 394189 h 1984587"/>
              <a:gd name="connsiteX4" fmla="*/ 5955700 w 5955700"/>
              <a:gd name="connsiteY4" fmla="*/ 1984587 h 1984587"/>
              <a:gd name="connsiteX0" fmla="*/ 0 w 5955700"/>
              <a:gd name="connsiteY0" fmla="*/ 356959 h 1935236"/>
              <a:gd name="connsiteX1" fmla="*/ 1587669 w 5955700"/>
              <a:gd name="connsiteY1" fmla="*/ 214 h 1935236"/>
              <a:gd name="connsiteX2" fmla="*/ 3021769 w 5955700"/>
              <a:gd name="connsiteY2" fmla="*/ 423020 h 1935236"/>
              <a:gd name="connsiteX3" fmla="*/ 4470326 w 5955700"/>
              <a:gd name="connsiteY3" fmla="*/ 344838 h 1935236"/>
              <a:gd name="connsiteX4" fmla="*/ 5955700 w 5955700"/>
              <a:gd name="connsiteY4" fmla="*/ 1935236 h 1935236"/>
              <a:gd name="connsiteX0" fmla="*/ 0 w 6004180"/>
              <a:gd name="connsiteY0" fmla="*/ 356959 h 630256"/>
              <a:gd name="connsiteX1" fmla="*/ 1587669 w 6004180"/>
              <a:gd name="connsiteY1" fmla="*/ 214 h 630256"/>
              <a:gd name="connsiteX2" fmla="*/ 3021769 w 6004180"/>
              <a:gd name="connsiteY2" fmla="*/ 423020 h 630256"/>
              <a:gd name="connsiteX3" fmla="*/ 4470326 w 6004180"/>
              <a:gd name="connsiteY3" fmla="*/ 344838 h 630256"/>
              <a:gd name="connsiteX4" fmla="*/ 6004180 w 6004180"/>
              <a:gd name="connsiteY4" fmla="*/ 630256 h 630256"/>
              <a:gd name="connsiteX0" fmla="*/ 0 w 6119430"/>
              <a:gd name="connsiteY0" fmla="*/ 0 h 8267178"/>
              <a:gd name="connsiteX1" fmla="*/ 1702919 w 6119430"/>
              <a:gd name="connsiteY1" fmla="*/ 7617914 h 8267178"/>
              <a:gd name="connsiteX2" fmla="*/ 3137019 w 6119430"/>
              <a:gd name="connsiteY2" fmla="*/ 8040720 h 8267178"/>
              <a:gd name="connsiteX3" fmla="*/ 4585576 w 6119430"/>
              <a:gd name="connsiteY3" fmla="*/ 7962538 h 8267178"/>
              <a:gd name="connsiteX4" fmla="*/ 6119430 w 6119430"/>
              <a:gd name="connsiteY4" fmla="*/ 8247956 h 8267178"/>
              <a:gd name="connsiteX0" fmla="*/ 0 w 6149495"/>
              <a:gd name="connsiteY0" fmla="*/ 0 h 10774095"/>
              <a:gd name="connsiteX1" fmla="*/ 1732984 w 6149495"/>
              <a:gd name="connsiteY1" fmla="*/ 9953351 h 10774095"/>
              <a:gd name="connsiteX2" fmla="*/ 3167084 w 6149495"/>
              <a:gd name="connsiteY2" fmla="*/ 10376157 h 10774095"/>
              <a:gd name="connsiteX3" fmla="*/ 4615641 w 6149495"/>
              <a:gd name="connsiteY3" fmla="*/ 10297975 h 10774095"/>
              <a:gd name="connsiteX4" fmla="*/ 6149495 w 6149495"/>
              <a:gd name="connsiteY4" fmla="*/ 10583393 h 10774095"/>
              <a:gd name="connsiteX0" fmla="*/ 0 w 6139473"/>
              <a:gd name="connsiteY0" fmla="*/ 0 h 10774095"/>
              <a:gd name="connsiteX1" fmla="*/ 1722962 w 6139473"/>
              <a:gd name="connsiteY1" fmla="*/ 9953351 h 10774095"/>
              <a:gd name="connsiteX2" fmla="*/ 3157062 w 6139473"/>
              <a:gd name="connsiteY2" fmla="*/ 10376157 h 10774095"/>
              <a:gd name="connsiteX3" fmla="*/ 4605619 w 6139473"/>
              <a:gd name="connsiteY3" fmla="*/ 10297975 h 10774095"/>
              <a:gd name="connsiteX4" fmla="*/ 6139473 w 6139473"/>
              <a:gd name="connsiteY4" fmla="*/ 10583393 h 10774095"/>
              <a:gd name="connsiteX0" fmla="*/ 0 w 6139473"/>
              <a:gd name="connsiteY0" fmla="*/ 0 h 9489957"/>
              <a:gd name="connsiteX1" fmla="*/ 1722962 w 6139473"/>
              <a:gd name="connsiteY1" fmla="*/ 8757155 h 9489957"/>
              <a:gd name="connsiteX2" fmla="*/ 3157062 w 6139473"/>
              <a:gd name="connsiteY2" fmla="*/ 9179961 h 9489957"/>
              <a:gd name="connsiteX3" fmla="*/ 4605619 w 6139473"/>
              <a:gd name="connsiteY3" fmla="*/ 9101779 h 9489957"/>
              <a:gd name="connsiteX4" fmla="*/ 6139473 w 6139473"/>
              <a:gd name="connsiteY4" fmla="*/ 9387197 h 9489957"/>
              <a:gd name="connsiteX0" fmla="*/ 0 w 6134462"/>
              <a:gd name="connsiteY0" fmla="*/ 0 h 9489957"/>
              <a:gd name="connsiteX1" fmla="*/ 1717951 w 6134462"/>
              <a:gd name="connsiteY1" fmla="*/ 8757155 h 9489957"/>
              <a:gd name="connsiteX2" fmla="*/ 3152051 w 6134462"/>
              <a:gd name="connsiteY2" fmla="*/ 9179961 h 9489957"/>
              <a:gd name="connsiteX3" fmla="*/ 4600608 w 6134462"/>
              <a:gd name="connsiteY3" fmla="*/ 9101779 h 9489957"/>
              <a:gd name="connsiteX4" fmla="*/ 6134462 w 6134462"/>
              <a:gd name="connsiteY4" fmla="*/ 9387197 h 9489957"/>
              <a:gd name="connsiteX0" fmla="*/ 0 w 6134462"/>
              <a:gd name="connsiteY0" fmla="*/ 1544792 h 10931989"/>
              <a:gd name="connsiteX1" fmla="*/ 1562614 w 6134462"/>
              <a:gd name="connsiteY1" fmla="*/ 476026 h 10931989"/>
              <a:gd name="connsiteX2" fmla="*/ 3152051 w 6134462"/>
              <a:gd name="connsiteY2" fmla="*/ 10724753 h 10931989"/>
              <a:gd name="connsiteX3" fmla="*/ 4600608 w 6134462"/>
              <a:gd name="connsiteY3" fmla="*/ 10646571 h 10931989"/>
              <a:gd name="connsiteX4" fmla="*/ 6134462 w 6134462"/>
              <a:gd name="connsiteY4" fmla="*/ 10931989 h 10931989"/>
              <a:gd name="connsiteX0" fmla="*/ 0 w 6134462"/>
              <a:gd name="connsiteY0" fmla="*/ 1445958 h 10833155"/>
              <a:gd name="connsiteX1" fmla="*/ 1562614 w 6134462"/>
              <a:gd name="connsiteY1" fmla="*/ 491118 h 10833155"/>
              <a:gd name="connsiteX2" fmla="*/ 3152051 w 6134462"/>
              <a:gd name="connsiteY2" fmla="*/ 10625919 h 10833155"/>
              <a:gd name="connsiteX3" fmla="*/ 4600608 w 6134462"/>
              <a:gd name="connsiteY3" fmla="*/ 10547737 h 10833155"/>
              <a:gd name="connsiteX4" fmla="*/ 6134462 w 6134462"/>
              <a:gd name="connsiteY4" fmla="*/ 10833155 h 10833155"/>
              <a:gd name="connsiteX0" fmla="*/ 0 w 6134462"/>
              <a:gd name="connsiteY0" fmla="*/ 1495259 h 10882456"/>
              <a:gd name="connsiteX1" fmla="*/ 1537560 w 6134462"/>
              <a:gd name="connsiteY1" fmla="*/ 483456 h 10882456"/>
              <a:gd name="connsiteX2" fmla="*/ 3152051 w 6134462"/>
              <a:gd name="connsiteY2" fmla="*/ 10675220 h 10882456"/>
              <a:gd name="connsiteX3" fmla="*/ 4600608 w 6134462"/>
              <a:gd name="connsiteY3" fmla="*/ 10597038 h 10882456"/>
              <a:gd name="connsiteX4" fmla="*/ 6134462 w 6134462"/>
              <a:gd name="connsiteY4" fmla="*/ 10882456 h 10882456"/>
              <a:gd name="connsiteX0" fmla="*/ 0 w 6134462"/>
              <a:gd name="connsiteY0" fmla="*/ 1027486 h 10414683"/>
              <a:gd name="connsiteX1" fmla="*/ 1537560 w 6134462"/>
              <a:gd name="connsiteY1" fmla="*/ 15683 h 10414683"/>
              <a:gd name="connsiteX2" fmla="*/ 2966649 w 6134462"/>
              <a:gd name="connsiteY2" fmla="*/ 2033422 h 10414683"/>
              <a:gd name="connsiteX3" fmla="*/ 4600608 w 6134462"/>
              <a:gd name="connsiteY3" fmla="*/ 10129265 h 10414683"/>
              <a:gd name="connsiteX4" fmla="*/ 6134462 w 6134462"/>
              <a:gd name="connsiteY4" fmla="*/ 10414683 h 10414683"/>
              <a:gd name="connsiteX0" fmla="*/ 0 w 6134462"/>
              <a:gd name="connsiteY0" fmla="*/ 1027486 h 10414683"/>
              <a:gd name="connsiteX1" fmla="*/ 1537560 w 6134462"/>
              <a:gd name="connsiteY1" fmla="*/ 15683 h 10414683"/>
              <a:gd name="connsiteX2" fmla="*/ 2966649 w 6134462"/>
              <a:gd name="connsiteY2" fmla="*/ 2033422 h 10414683"/>
              <a:gd name="connsiteX3" fmla="*/ 4600608 w 6134462"/>
              <a:gd name="connsiteY3" fmla="*/ 10129265 h 10414683"/>
              <a:gd name="connsiteX4" fmla="*/ 6134462 w 6134462"/>
              <a:gd name="connsiteY4" fmla="*/ 10414683 h 10414683"/>
              <a:gd name="connsiteX0" fmla="*/ 0 w 6134462"/>
              <a:gd name="connsiteY0" fmla="*/ 1027486 h 10414683"/>
              <a:gd name="connsiteX1" fmla="*/ 1537560 w 6134462"/>
              <a:gd name="connsiteY1" fmla="*/ 15683 h 10414683"/>
              <a:gd name="connsiteX2" fmla="*/ 2966649 w 6134462"/>
              <a:gd name="connsiteY2" fmla="*/ 2033422 h 10414683"/>
              <a:gd name="connsiteX3" fmla="*/ 4600608 w 6134462"/>
              <a:gd name="connsiteY3" fmla="*/ 10129265 h 10414683"/>
              <a:gd name="connsiteX4" fmla="*/ 6134462 w 6134462"/>
              <a:gd name="connsiteY4" fmla="*/ 10414683 h 10414683"/>
              <a:gd name="connsiteX0" fmla="*/ 0 w 6134462"/>
              <a:gd name="connsiteY0" fmla="*/ 1027486 h 10414683"/>
              <a:gd name="connsiteX1" fmla="*/ 1537560 w 6134462"/>
              <a:gd name="connsiteY1" fmla="*/ 15683 h 10414683"/>
              <a:gd name="connsiteX2" fmla="*/ 2966649 w 6134462"/>
              <a:gd name="connsiteY2" fmla="*/ 2033422 h 10414683"/>
              <a:gd name="connsiteX3" fmla="*/ 4485358 w 6134462"/>
              <a:gd name="connsiteY3" fmla="*/ 103981 h 10414683"/>
              <a:gd name="connsiteX4" fmla="*/ 6134462 w 6134462"/>
              <a:gd name="connsiteY4" fmla="*/ 10414683 h 10414683"/>
              <a:gd name="connsiteX0" fmla="*/ 0 w 6134462"/>
              <a:gd name="connsiteY0" fmla="*/ 1027486 h 10414683"/>
              <a:gd name="connsiteX1" fmla="*/ 1537560 w 6134462"/>
              <a:gd name="connsiteY1" fmla="*/ 15683 h 10414683"/>
              <a:gd name="connsiteX2" fmla="*/ 2966649 w 6134462"/>
              <a:gd name="connsiteY2" fmla="*/ 2033422 h 10414683"/>
              <a:gd name="connsiteX3" fmla="*/ 4485358 w 6134462"/>
              <a:gd name="connsiteY3" fmla="*/ 103981 h 10414683"/>
              <a:gd name="connsiteX4" fmla="*/ 6134462 w 6134462"/>
              <a:gd name="connsiteY4" fmla="*/ 10414683 h 10414683"/>
              <a:gd name="connsiteX0" fmla="*/ 0 w 6134462"/>
              <a:gd name="connsiteY0" fmla="*/ 1027486 h 10414683"/>
              <a:gd name="connsiteX1" fmla="*/ 1537560 w 6134462"/>
              <a:gd name="connsiteY1" fmla="*/ 15683 h 10414683"/>
              <a:gd name="connsiteX2" fmla="*/ 2966649 w 6134462"/>
              <a:gd name="connsiteY2" fmla="*/ 2033422 h 10414683"/>
              <a:gd name="connsiteX3" fmla="*/ 4485358 w 6134462"/>
              <a:gd name="connsiteY3" fmla="*/ 103981 h 10414683"/>
              <a:gd name="connsiteX4" fmla="*/ 6134462 w 6134462"/>
              <a:gd name="connsiteY4" fmla="*/ 10414683 h 10414683"/>
              <a:gd name="connsiteX0" fmla="*/ 0 w 5984136"/>
              <a:gd name="connsiteY0" fmla="*/ 1027486 h 2158743"/>
              <a:gd name="connsiteX1" fmla="*/ 1537560 w 5984136"/>
              <a:gd name="connsiteY1" fmla="*/ 15683 h 2158743"/>
              <a:gd name="connsiteX2" fmla="*/ 2966649 w 5984136"/>
              <a:gd name="connsiteY2" fmla="*/ 2033422 h 2158743"/>
              <a:gd name="connsiteX3" fmla="*/ 4485358 w 5984136"/>
              <a:gd name="connsiteY3" fmla="*/ 103981 h 2158743"/>
              <a:gd name="connsiteX4" fmla="*/ 5984136 w 5984136"/>
              <a:gd name="connsiteY4" fmla="*/ 2069773 h 2158743"/>
              <a:gd name="connsiteX0" fmla="*/ 0 w 5984136"/>
              <a:gd name="connsiteY0" fmla="*/ 1027486 h 2158743"/>
              <a:gd name="connsiteX1" fmla="*/ 1537560 w 5984136"/>
              <a:gd name="connsiteY1" fmla="*/ 15683 h 2158743"/>
              <a:gd name="connsiteX2" fmla="*/ 2966649 w 5984136"/>
              <a:gd name="connsiteY2" fmla="*/ 2033422 h 2158743"/>
              <a:gd name="connsiteX3" fmla="*/ 4485358 w 5984136"/>
              <a:gd name="connsiteY3" fmla="*/ 103981 h 2158743"/>
              <a:gd name="connsiteX4" fmla="*/ 5984136 w 5984136"/>
              <a:gd name="connsiteY4" fmla="*/ 2069773 h 2158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4136" h="2158743">
                <a:moveTo>
                  <a:pt x="0" y="1027486"/>
                </a:moveTo>
                <a:cubicBezTo>
                  <a:pt x="415012" y="1081012"/>
                  <a:pt x="1043119" y="-151973"/>
                  <a:pt x="1537560" y="15683"/>
                </a:cubicBezTo>
                <a:cubicBezTo>
                  <a:pt x="2032002" y="183339"/>
                  <a:pt x="2737756" y="1584019"/>
                  <a:pt x="2966649" y="2033422"/>
                </a:cubicBezTo>
                <a:cubicBezTo>
                  <a:pt x="3296148" y="2756626"/>
                  <a:pt x="4242140" y="114171"/>
                  <a:pt x="4485358" y="103981"/>
                </a:cubicBezTo>
                <a:cubicBezTo>
                  <a:pt x="4779308" y="162383"/>
                  <a:pt x="5652481" y="1754330"/>
                  <a:pt x="5984136" y="2069773"/>
                </a:cubicBezTo>
              </a:path>
            </a:pathLst>
          </a:custGeom>
          <a:noFill/>
          <a:ln w="136525" cap="rnd" cmpd="sng" algn="ctr">
            <a:solidFill>
              <a:srgbClr val="FFCD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69" name="Freeform 42">
            <a:extLst>
              <a:ext uri="{FF2B5EF4-FFF2-40B4-BE49-F238E27FC236}">
                <a16:creationId xmlns:a16="http://schemas.microsoft.com/office/drawing/2014/main" id="{77B7DFF0-6F1D-4590-BDD2-F9B7043E8D4A}"/>
              </a:ext>
            </a:extLst>
          </p:cNvPr>
          <p:cNvSpPr/>
          <p:nvPr/>
        </p:nvSpPr>
        <p:spPr bwMode="auto">
          <a:xfrm>
            <a:off x="1814624" y="3565149"/>
            <a:ext cx="8408244" cy="1595376"/>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1317807 w 7136640"/>
              <a:gd name="connsiteY1" fmla="*/ 54363 h 308134"/>
              <a:gd name="connsiteX2" fmla="*/ 1992056 w 7136640"/>
              <a:gd name="connsiteY2" fmla="*/ 307577 h 308134"/>
              <a:gd name="connsiteX3" fmla="*/ 2642777 w 7136640"/>
              <a:gd name="connsiteY3" fmla="*/ 124402 h 308134"/>
              <a:gd name="connsiteX4" fmla="*/ 3302093 w 7136640"/>
              <a:gd name="connsiteY4" fmla="*/ 189711 h 308134"/>
              <a:gd name="connsiteX5" fmla="*/ 3964644 w 7136640"/>
              <a:gd name="connsiteY5" fmla="*/ 417 h 308134"/>
              <a:gd name="connsiteX6" fmla="*/ 4578995 w 7136640"/>
              <a:gd name="connsiteY6" fmla="*/ 255894 h 308134"/>
              <a:gd name="connsiteX7" fmla="*/ 5236906 w 7136640"/>
              <a:gd name="connsiteY7" fmla="*/ 128120 h 308134"/>
              <a:gd name="connsiteX8" fmla="*/ 5843222 w 7136640"/>
              <a:gd name="connsiteY8" fmla="*/ 271154 h 308134"/>
              <a:gd name="connsiteX9" fmla="*/ 6486411 w 7136640"/>
              <a:gd name="connsiteY9" fmla="*/ 18281 h 308134"/>
              <a:gd name="connsiteX10" fmla="*/ 7136640 w 7136640"/>
              <a:gd name="connsiteY10" fmla="*/ 141032 h 308134"/>
              <a:gd name="connsiteX0" fmla="*/ 0 w 7136640"/>
              <a:gd name="connsiteY0" fmla="*/ 50651 h 308191"/>
              <a:gd name="connsiteX1" fmla="*/ 1992056 w 7136640"/>
              <a:gd name="connsiteY1" fmla="*/ 307577 h 308191"/>
              <a:gd name="connsiteX2" fmla="*/ 2642777 w 7136640"/>
              <a:gd name="connsiteY2" fmla="*/ 124402 h 308191"/>
              <a:gd name="connsiteX3" fmla="*/ 3302093 w 7136640"/>
              <a:gd name="connsiteY3" fmla="*/ 189711 h 308191"/>
              <a:gd name="connsiteX4" fmla="*/ 3964644 w 7136640"/>
              <a:gd name="connsiteY4" fmla="*/ 417 h 308191"/>
              <a:gd name="connsiteX5" fmla="*/ 4578995 w 7136640"/>
              <a:gd name="connsiteY5" fmla="*/ 255894 h 308191"/>
              <a:gd name="connsiteX6" fmla="*/ 5236906 w 7136640"/>
              <a:gd name="connsiteY6" fmla="*/ 128120 h 308191"/>
              <a:gd name="connsiteX7" fmla="*/ 5843222 w 7136640"/>
              <a:gd name="connsiteY7" fmla="*/ 271154 h 308191"/>
              <a:gd name="connsiteX8" fmla="*/ 6486411 w 7136640"/>
              <a:gd name="connsiteY8" fmla="*/ 18281 h 308191"/>
              <a:gd name="connsiteX9" fmla="*/ 7136640 w 7136640"/>
              <a:gd name="connsiteY9" fmla="*/ 141032 h 308191"/>
              <a:gd name="connsiteX0" fmla="*/ 0 w 7136640"/>
              <a:gd name="connsiteY0" fmla="*/ 50814 h 311487"/>
              <a:gd name="connsiteX1" fmla="*/ 1992056 w 7136640"/>
              <a:gd name="connsiteY1" fmla="*/ 307740 h 311487"/>
              <a:gd name="connsiteX2" fmla="*/ 3302093 w 7136640"/>
              <a:gd name="connsiteY2" fmla="*/ 189874 h 311487"/>
              <a:gd name="connsiteX3" fmla="*/ 3964644 w 7136640"/>
              <a:gd name="connsiteY3" fmla="*/ 580 h 311487"/>
              <a:gd name="connsiteX4" fmla="*/ 4578995 w 7136640"/>
              <a:gd name="connsiteY4" fmla="*/ 256057 h 311487"/>
              <a:gd name="connsiteX5" fmla="*/ 5236906 w 7136640"/>
              <a:gd name="connsiteY5" fmla="*/ 128283 h 311487"/>
              <a:gd name="connsiteX6" fmla="*/ 5843222 w 7136640"/>
              <a:gd name="connsiteY6" fmla="*/ 271317 h 311487"/>
              <a:gd name="connsiteX7" fmla="*/ 6486411 w 7136640"/>
              <a:gd name="connsiteY7" fmla="*/ 18444 h 311487"/>
              <a:gd name="connsiteX8" fmla="*/ 7136640 w 7136640"/>
              <a:gd name="connsiteY8" fmla="*/ 141195 h 311487"/>
              <a:gd name="connsiteX0" fmla="*/ 0 w 7136640"/>
              <a:gd name="connsiteY0" fmla="*/ 51321 h 310670"/>
              <a:gd name="connsiteX1" fmla="*/ 1992056 w 7136640"/>
              <a:gd name="connsiteY1" fmla="*/ 308247 h 310670"/>
              <a:gd name="connsiteX2" fmla="*/ 3452375 w 7136640"/>
              <a:gd name="connsiteY2" fmla="*/ 170194 h 310670"/>
              <a:gd name="connsiteX3" fmla="*/ 3964644 w 7136640"/>
              <a:gd name="connsiteY3" fmla="*/ 1087 h 310670"/>
              <a:gd name="connsiteX4" fmla="*/ 4578995 w 7136640"/>
              <a:gd name="connsiteY4" fmla="*/ 256564 h 310670"/>
              <a:gd name="connsiteX5" fmla="*/ 5236906 w 7136640"/>
              <a:gd name="connsiteY5" fmla="*/ 128790 h 310670"/>
              <a:gd name="connsiteX6" fmla="*/ 5843222 w 7136640"/>
              <a:gd name="connsiteY6" fmla="*/ 271824 h 310670"/>
              <a:gd name="connsiteX7" fmla="*/ 6486411 w 7136640"/>
              <a:gd name="connsiteY7" fmla="*/ 18951 h 310670"/>
              <a:gd name="connsiteX8" fmla="*/ 7136640 w 7136640"/>
              <a:gd name="connsiteY8" fmla="*/ 141702 h 310670"/>
              <a:gd name="connsiteX0" fmla="*/ 0 w 7136640"/>
              <a:gd name="connsiteY0" fmla="*/ 32651 h 291386"/>
              <a:gd name="connsiteX1" fmla="*/ 1992056 w 7136640"/>
              <a:gd name="connsiteY1" fmla="*/ 289577 h 291386"/>
              <a:gd name="connsiteX2" fmla="*/ 3452375 w 7136640"/>
              <a:gd name="connsiteY2" fmla="*/ 151524 h 291386"/>
              <a:gd name="connsiteX3" fmla="*/ 4578995 w 7136640"/>
              <a:gd name="connsiteY3" fmla="*/ 237894 h 291386"/>
              <a:gd name="connsiteX4" fmla="*/ 5236906 w 7136640"/>
              <a:gd name="connsiteY4" fmla="*/ 110120 h 291386"/>
              <a:gd name="connsiteX5" fmla="*/ 5843222 w 7136640"/>
              <a:gd name="connsiteY5" fmla="*/ 253154 h 291386"/>
              <a:gd name="connsiteX6" fmla="*/ 6486411 w 7136640"/>
              <a:gd name="connsiteY6" fmla="*/ 281 h 291386"/>
              <a:gd name="connsiteX7" fmla="*/ 7136640 w 7136640"/>
              <a:gd name="connsiteY7" fmla="*/ 123032 h 291386"/>
              <a:gd name="connsiteX0" fmla="*/ 0 w 7136640"/>
              <a:gd name="connsiteY0" fmla="*/ 32651 h 291650"/>
              <a:gd name="connsiteX1" fmla="*/ 1992056 w 7136640"/>
              <a:gd name="connsiteY1" fmla="*/ 289577 h 291650"/>
              <a:gd name="connsiteX2" fmla="*/ 3452375 w 7136640"/>
              <a:gd name="connsiteY2" fmla="*/ 151524 h 291650"/>
              <a:gd name="connsiteX3" fmla="*/ 5236906 w 7136640"/>
              <a:gd name="connsiteY3" fmla="*/ 110120 h 291650"/>
              <a:gd name="connsiteX4" fmla="*/ 5843222 w 7136640"/>
              <a:gd name="connsiteY4" fmla="*/ 253154 h 291650"/>
              <a:gd name="connsiteX5" fmla="*/ 6486411 w 7136640"/>
              <a:gd name="connsiteY5" fmla="*/ 281 h 291650"/>
              <a:gd name="connsiteX6" fmla="*/ 7136640 w 7136640"/>
              <a:gd name="connsiteY6" fmla="*/ 123032 h 291650"/>
              <a:gd name="connsiteX0" fmla="*/ 0 w 7136640"/>
              <a:gd name="connsiteY0" fmla="*/ 32410 h 291409"/>
              <a:gd name="connsiteX1" fmla="*/ 1992056 w 7136640"/>
              <a:gd name="connsiteY1" fmla="*/ 289336 h 291409"/>
              <a:gd name="connsiteX2" fmla="*/ 3452375 w 7136640"/>
              <a:gd name="connsiteY2" fmla="*/ 151283 h 291409"/>
              <a:gd name="connsiteX3" fmla="*/ 5236906 w 7136640"/>
              <a:gd name="connsiteY3" fmla="*/ 109879 h 291409"/>
              <a:gd name="connsiteX4" fmla="*/ 6486411 w 7136640"/>
              <a:gd name="connsiteY4" fmla="*/ 40 h 291409"/>
              <a:gd name="connsiteX5" fmla="*/ 7136640 w 7136640"/>
              <a:gd name="connsiteY5" fmla="*/ 122791 h 291409"/>
              <a:gd name="connsiteX0" fmla="*/ 0 w 6486411"/>
              <a:gd name="connsiteY0" fmla="*/ 32410 h 291409"/>
              <a:gd name="connsiteX1" fmla="*/ 1992056 w 6486411"/>
              <a:gd name="connsiteY1" fmla="*/ 289336 h 291409"/>
              <a:gd name="connsiteX2" fmla="*/ 3452375 w 6486411"/>
              <a:gd name="connsiteY2" fmla="*/ 151283 h 291409"/>
              <a:gd name="connsiteX3" fmla="*/ 5236906 w 6486411"/>
              <a:gd name="connsiteY3" fmla="*/ 109879 h 291409"/>
              <a:gd name="connsiteX4" fmla="*/ 6486411 w 6486411"/>
              <a:gd name="connsiteY4" fmla="*/ 40 h 291409"/>
              <a:gd name="connsiteX0" fmla="*/ 0 w 6749404"/>
              <a:gd name="connsiteY0" fmla="*/ 43416 h 302415"/>
              <a:gd name="connsiteX1" fmla="*/ 1992056 w 6749404"/>
              <a:gd name="connsiteY1" fmla="*/ 300342 h 302415"/>
              <a:gd name="connsiteX2" fmla="*/ 3452375 w 6749404"/>
              <a:gd name="connsiteY2" fmla="*/ 162289 h 302415"/>
              <a:gd name="connsiteX3" fmla="*/ 5236906 w 6749404"/>
              <a:gd name="connsiteY3" fmla="*/ 120885 h 302415"/>
              <a:gd name="connsiteX4" fmla="*/ 6749404 w 6749404"/>
              <a:gd name="connsiteY4" fmla="*/ 35 h 302415"/>
              <a:gd name="connsiteX0" fmla="*/ 0 w 6756068"/>
              <a:gd name="connsiteY0" fmla="*/ 112117 h 300770"/>
              <a:gd name="connsiteX1" fmla="*/ 1998720 w 6756068"/>
              <a:gd name="connsiteY1" fmla="*/ 300342 h 300770"/>
              <a:gd name="connsiteX2" fmla="*/ 3459039 w 6756068"/>
              <a:gd name="connsiteY2" fmla="*/ 162289 h 300770"/>
              <a:gd name="connsiteX3" fmla="*/ 5243570 w 6756068"/>
              <a:gd name="connsiteY3" fmla="*/ 120885 h 300770"/>
              <a:gd name="connsiteX4" fmla="*/ 6756068 w 6756068"/>
              <a:gd name="connsiteY4" fmla="*/ 35 h 300770"/>
              <a:gd name="connsiteX0" fmla="*/ 0 w 6756068"/>
              <a:gd name="connsiteY0" fmla="*/ 112117 h 300770"/>
              <a:gd name="connsiteX1" fmla="*/ 1998720 w 6756068"/>
              <a:gd name="connsiteY1" fmla="*/ 300342 h 300770"/>
              <a:gd name="connsiteX2" fmla="*/ 3459039 w 6756068"/>
              <a:gd name="connsiteY2" fmla="*/ 162289 h 300770"/>
              <a:gd name="connsiteX3" fmla="*/ 5243570 w 6756068"/>
              <a:gd name="connsiteY3" fmla="*/ 120885 h 300770"/>
              <a:gd name="connsiteX4" fmla="*/ 6756068 w 6756068"/>
              <a:gd name="connsiteY4" fmla="*/ 35 h 300770"/>
              <a:gd name="connsiteX0" fmla="*/ 0 w 6756068"/>
              <a:gd name="connsiteY0" fmla="*/ 112117 h 307472"/>
              <a:gd name="connsiteX1" fmla="*/ 1998720 w 6756068"/>
              <a:gd name="connsiteY1" fmla="*/ 300342 h 307472"/>
              <a:gd name="connsiteX2" fmla="*/ 3459039 w 6756068"/>
              <a:gd name="connsiteY2" fmla="*/ 253887 h 307472"/>
              <a:gd name="connsiteX3" fmla="*/ 5243570 w 6756068"/>
              <a:gd name="connsiteY3" fmla="*/ 120885 h 307472"/>
              <a:gd name="connsiteX4" fmla="*/ 6756068 w 6756068"/>
              <a:gd name="connsiteY4" fmla="*/ 35 h 307472"/>
              <a:gd name="connsiteX0" fmla="*/ 0 w 6756068"/>
              <a:gd name="connsiteY0" fmla="*/ 112117 h 301389"/>
              <a:gd name="connsiteX1" fmla="*/ 1998720 w 6756068"/>
              <a:gd name="connsiteY1" fmla="*/ 300342 h 301389"/>
              <a:gd name="connsiteX2" fmla="*/ 3459039 w 6756068"/>
              <a:gd name="connsiteY2" fmla="*/ 185189 h 301389"/>
              <a:gd name="connsiteX3" fmla="*/ 5243570 w 6756068"/>
              <a:gd name="connsiteY3" fmla="*/ 120885 h 301389"/>
              <a:gd name="connsiteX4" fmla="*/ 6756068 w 6756068"/>
              <a:gd name="connsiteY4" fmla="*/ 35 h 301389"/>
              <a:gd name="connsiteX0" fmla="*/ 0 w 6756068"/>
              <a:gd name="connsiteY0" fmla="*/ 112117 h 304311"/>
              <a:gd name="connsiteX1" fmla="*/ 1998720 w 6756068"/>
              <a:gd name="connsiteY1" fmla="*/ 300342 h 304311"/>
              <a:gd name="connsiteX2" fmla="*/ 3459039 w 6756068"/>
              <a:gd name="connsiteY2" fmla="*/ 230986 h 304311"/>
              <a:gd name="connsiteX3" fmla="*/ 5243570 w 6756068"/>
              <a:gd name="connsiteY3" fmla="*/ 120885 h 304311"/>
              <a:gd name="connsiteX4" fmla="*/ 6756068 w 6756068"/>
              <a:gd name="connsiteY4" fmla="*/ 35 h 304311"/>
              <a:gd name="connsiteX0" fmla="*/ 0 w 6756068"/>
              <a:gd name="connsiteY0" fmla="*/ 112107 h 303954"/>
              <a:gd name="connsiteX1" fmla="*/ 1998720 w 6756068"/>
              <a:gd name="connsiteY1" fmla="*/ 300332 h 303954"/>
              <a:gd name="connsiteX2" fmla="*/ 3459039 w 6756068"/>
              <a:gd name="connsiteY2" fmla="*/ 230976 h 303954"/>
              <a:gd name="connsiteX3" fmla="*/ 5176931 w 6756068"/>
              <a:gd name="connsiteY3" fmla="*/ 166676 h 303954"/>
              <a:gd name="connsiteX4" fmla="*/ 6756068 w 6756068"/>
              <a:gd name="connsiteY4" fmla="*/ 25 h 303954"/>
              <a:gd name="connsiteX0" fmla="*/ 0 w 6669436"/>
              <a:gd name="connsiteY0" fmla="*/ 0 h 191847"/>
              <a:gd name="connsiteX1" fmla="*/ 1998720 w 6669436"/>
              <a:gd name="connsiteY1" fmla="*/ 188225 h 191847"/>
              <a:gd name="connsiteX2" fmla="*/ 3459039 w 6669436"/>
              <a:gd name="connsiteY2" fmla="*/ 118869 h 191847"/>
              <a:gd name="connsiteX3" fmla="*/ 5176931 w 6669436"/>
              <a:gd name="connsiteY3" fmla="*/ 54569 h 191847"/>
              <a:gd name="connsiteX4" fmla="*/ 6669436 w 6669436"/>
              <a:gd name="connsiteY4" fmla="*/ 25314 h 191847"/>
              <a:gd name="connsiteX0" fmla="*/ 0 w 6258701"/>
              <a:gd name="connsiteY0" fmla="*/ 0 h 6844677"/>
              <a:gd name="connsiteX1" fmla="*/ 1587985 w 6258701"/>
              <a:gd name="connsiteY1" fmla="*/ 6389195 h 6844677"/>
              <a:gd name="connsiteX2" fmla="*/ 3048304 w 6258701"/>
              <a:gd name="connsiteY2" fmla="*/ 6319839 h 6844677"/>
              <a:gd name="connsiteX3" fmla="*/ 4766196 w 6258701"/>
              <a:gd name="connsiteY3" fmla="*/ 6255539 h 6844677"/>
              <a:gd name="connsiteX4" fmla="*/ 6258701 w 6258701"/>
              <a:gd name="connsiteY4" fmla="*/ 6226284 h 6844677"/>
              <a:gd name="connsiteX0" fmla="*/ 0 w 6305835"/>
              <a:gd name="connsiteY0" fmla="*/ 0 h 7540497"/>
              <a:gd name="connsiteX1" fmla="*/ 1635119 w 6305835"/>
              <a:gd name="connsiteY1" fmla="*/ 7037058 h 7540497"/>
              <a:gd name="connsiteX2" fmla="*/ 3095438 w 6305835"/>
              <a:gd name="connsiteY2" fmla="*/ 6967702 h 7540497"/>
              <a:gd name="connsiteX3" fmla="*/ 4813330 w 6305835"/>
              <a:gd name="connsiteY3" fmla="*/ 6903402 h 7540497"/>
              <a:gd name="connsiteX4" fmla="*/ 6305835 w 6305835"/>
              <a:gd name="connsiteY4" fmla="*/ 6874147 h 7540497"/>
              <a:gd name="connsiteX0" fmla="*/ 0 w 6305835"/>
              <a:gd name="connsiteY0" fmla="*/ 0 h 7252962"/>
              <a:gd name="connsiteX1" fmla="*/ 1635119 w 6305835"/>
              <a:gd name="connsiteY1" fmla="*/ 7037058 h 7252962"/>
              <a:gd name="connsiteX2" fmla="*/ 3095438 w 6305835"/>
              <a:gd name="connsiteY2" fmla="*/ 6967702 h 7252962"/>
              <a:gd name="connsiteX3" fmla="*/ 4813330 w 6305835"/>
              <a:gd name="connsiteY3" fmla="*/ 6903402 h 7252962"/>
              <a:gd name="connsiteX4" fmla="*/ 6305835 w 6305835"/>
              <a:gd name="connsiteY4" fmla="*/ 6874147 h 7252962"/>
              <a:gd name="connsiteX0" fmla="*/ 0 w 6305835"/>
              <a:gd name="connsiteY0" fmla="*/ 0 h 6967771"/>
              <a:gd name="connsiteX1" fmla="*/ 1466785 w 6305835"/>
              <a:gd name="connsiteY1" fmla="*/ 1183157 h 6967771"/>
              <a:gd name="connsiteX2" fmla="*/ 3095438 w 6305835"/>
              <a:gd name="connsiteY2" fmla="*/ 6967702 h 6967771"/>
              <a:gd name="connsiteX3" fmla="*/ 4813330 w 6305835"/>
              <a:gd name="connsiteY3" fmla="*/ 6903402 h 6967771"/>
              <a:gd name="connsiteX4" fmla="*/ 6305835 w 6305835"/>
              <a:gd name="connsiteY4" fmla="*/ 6874147 h 6967771"/>
              <a:gd name="connsiteX0" fmla="*/ 0 w 6305835"/>
              <a:gd name="connsiteY0" fmla="*/ 0 h 6967771"/>
              <a:gd name="connsiteX1" fmla="*/ 1466785 w 6305835"/>
              <a:gd name="connsiteY1" fmla="*/ 1183157 h 6967771"/>
              <a:gd name="connsiteX2" fmla="*/ 3095438 w 6305835"/>
              <a:gd name="connsiteY2" fmla="*/ 6967702 h 6967771"/>
              <a:gd name="connsiteX3" fmla="*/ 4813330 w 6305835"/>
              <a:gd name="connsiteY3" fmla="*/ 6903402 h 6967771"/>
              <a:gd name="connsiteX4" fmla="*/ 6305835 w 6305835"/>
              <a:gd name="connsiteY4" fmla="*/ 6874147 h 6967771"/>
              <a:gd name="connsiteX0" fmla="*/ 0 w 6305835"/>
              <a:gd name="connsiteY0" fmla="*/ 402224 h 7369980"/>
              <a:gd name="connsiteX1" fmla="*/ 1520652 w 6305835"/>
              <a:gd name="connsiteY1" fmla="*/ 150828 h 7369980"/>
              <a:gd name="connsiteX2" fmla="*/ 3095438 w 6305835"/>
              <a:gd name="connsiteY2" fmla="*/ 7369926 h 7369980"/>
              <a:gd name="connsiteX3" fmla="*/ 4813330 w 6305835"/>
              <a:gd name="connsiteY3" fmla="*/ 7305626 h 7369980"/>
              <a:gd name="connsiteX4" fmla="*/ 6305835 w 6305835"/>
              <a:gd name="connsiteY4" fmla="*/ 7276371 h 7369980"/>
              <a:gd name="connsiteX0" fmla="*/ 0 w 6305835"/>
              <a:gd name="connsiteY0" fmla="*/ 302929 h 7270682"/>
              <a:gd name="connsiteX1" fmla="*/ 1520652 w 6305835"/>
              <a:gd name="connsiteY1" fmla="*/ 51533 h 7270682"/>
              <a:gd name="connsiteX2" fmla="*/ 3095438 w 6305835"/>
              <a:gd name="connsiteY2" fmla="*/ 7270631 h 7270682"/>
              <a:gd name="connsiteX3" fmla="*/ 4813330 w 6305835"/>
              <a:gd name="connsiteY3" fmla="*/ 7206331 h 7270682"/>
              <a:gd name="connsiteX4" fmla="*/ 6305835 w 6305835"/>
              <a:gd name="connsiteY4" fmla="*/ 7177076 h 7270682"/>
              <a:gd name="connsiteX0" fmla="*/ 0 w 6305835"/>
              <a:gd name="connsiteY0" fmla="*/ 282184 h 7185585"/>
              <a:gd name="connsiteX1" fmla="*/ 1520652 w 6305835"/>
              <a:gd name="connsiteY1" fmla="*/ 30788 h 7185585"/>
              <a:gd name="connsiteX2" fmla="*/ 2987705 w 6305835"/>
              <a:gd name="connsiteY2" fmla="*/ 1187743 h 7185585"/>
              <a:gd name="connsiteX3" fmla="*/ 4813330 w 6305835"/>
              <a:gd name="connsiteY3" fmla="*/ 7185586 h 7185585"/>
              <a:gd name="connsiteX4" fmla="*/ 6305835 w 6305835"/>
              <a:gd name="connsiteY4" fmla="*/ 7156331 h 7185585"/>
              <a:gd name="connsiteX0" fmla="*/ 0 w 6305835"/>
              <a:gd name="connsiteY0" fmla="*/ 282184 h 7185585"/>
              <a:gd name="connsiteX1" fmla="*/ 1520652 w 6305835"/>
              <a:gd name="connsiteY1" fmla="*/ 30788 h 7185585"/>
              <a:gd name="connsiteX2" fmla="*/ 2987705 w 6305835"/>
              <a:gd name="connsiteY2" fmla="*/ 1187743 h 7185585"/>
              <a:gd name="connsiteX3" fmla="*/ 4813330 w 6305835"/>
              <a:gd name="connsiteY3" fmla="*/ 7185586 h 7185585"/>
              <a:gd name="connsiteX4" fmla="*/ 6305835 w 6305835"/>
              <a:gd name="connsiteY4" fmla="*/ 7156331 h 7185585"/>
              <a:gd name="connsiteX0" fmla="*/ 0 w 6305835"/>
              <a:gd name="connsiteY0" fmla="*/ 282184 h 7185585"/>
              <a:gd name="connsiteX1" fmla="*/ 1520652 w 6305835"/>
              <a:gd name="connsiteY1" fmla="*/ 30788 h 7185585"/>
              <a:gd name="connsiteX2" fmla="*/ 2987705 w 6305835"/>
              <a:gd name="connsiteY2" fmla="*/ 1187743 h 7185585"/>
              <a:gd name="connsiteX3" fmla="*/ 4813330 w 6305835"/>
              <a:gd name="connsiteY3" fmla="*/ 7185586 h 7185585"/>
              <a:gd name="connsiteX4" fmla="*/ 6305835 w 6305835"/>
              <a:gd name="connsiteY4" fmla="*/ 7156331 h 7185585"/>
              <a:gd name="connsiteX0" fmla="*/ 0 w 6305835"/>
              <a:gd name="connsiteY0" fmla="*/ 280974 h 7184375"/>
              <a:gd name="connsiteX1" fmla="*/ 1520652 w 6305835"/>
              <a:gd name="connsiteY1" fmla="*/ 29578 h 7184375"/>
              <a:gd name="connsiteX2" fmla="*/ 2974239 w 6305835"/>
              <a:gd name="connsiteY2" fmla="*/ 1163395 h 7184375"/>
              <a:gd name="connsiteX3" fmla="*/ 4813330 w 6305835"/>
              <a:gd name="connsiteY3" fmla="*/ 7184376 h 7184375"/>
              <a:gd name="connsiteX4" fmla="*/ 6305835 w 6305835"/>
              <a:gd name="connsiteY4" fmla="*/ 7155121 h 7184375"/>
              <a:gd name="connsiteX0" fmla="*/ 0 w 6305835"/>
              <a:gd name="connsiteY0" fmla="*/ 272875 h 7176276"/>
              <a:gd name="connsiteX1" fmla="*/ 1520652 w 6305835"/>
              <a:gd name="connsiteY1" fmla="*/ 21479 h 7176276"/>
              <a:gd name="connsiteX2" fmla="*/ 2947306 w 6305835"/>
              <a:gd name="connsiteY2" fmla="*/ 993331 h 7176276"/>
              <a:gd name="connsiteX3" fmla="*/ 4813330 w 6305835"/>
              <a:gd name="connsiteY3" fmla="*/ 7176277 h 7176276"/>
              <a:gd name="connsiteX4" fmla="*/ 6305835 w 6305835"/>
              <a:gd name="connsiteY4" fmla="*/ 7147022 h 7176276"/>
              <a:gd name="connsiteX0" fmla="*/ 0 w 6305835"/>
              <a:gd name="connsiteY0" fmla="*/ 278591 h 7181992"/>
              <a:gd name="connsiteX1" fmla="*/ 1520652 w 6305835"/>
              <a:gd name="connsiteY1" fmla="*/ 27195 h 7181992"/>
              <a:gd name="connsiteX2" fmla="*/ 2967506 w 6305835"/>
              <a:gd name="connsiteY2" fmla="*/ 1114737 h 7181992"/>
              <a:gd name="connsiteX3" fmla="*/ 4813330 w 6305835"/>
              <a:gd name="connsiteY3" fmla="*/ 7181993 h 7181992"/>
              <a:gd name="connsiteX4" fmla="*/ 6305835 w 6305835"/>
              <a:gd name="connsiteY4" fmla="*/ 7152738 h 7181992"/>
              <a:gd name="connsiteX0" fmla="*/ 0 w 6305835"/>
              <a:gd name="connsiteY0" fmla="*/ 1103847 h 7977993"/>
              <a:gd name="connsiteX1" fmla="*/ 1520652 w 6305835"/>
              <a:gd name="connsiteY1" fmla="*/ 852451 h 7977993"/>
              <a:gd name="connsiteX2" fmla="*/ 2967506 w 6305835"/>
              <a:gd name="connsiteY2" fmla="*/ 1939993 h 7977993"/>
              <a:gd name="connsiteX3" fmla="*/ 4503596 w 6305835"/>
              <a:gd name="connsiteY3" fmla="*/ 626245 h 7977993"/>
              <a:gd name="connsiteX4" fmla="*/ 6305835 w 6305835"/>
              <a:gd name="connsiteY4" fmla="*/ 7977994 h 7977993"/>
              <a:gd name="connsiteX0" fmla="*/ 0 w 6305835"/>
              <a:gd name="connsiteY0" fmla="*/ 497346 h 7371492"/>
              <a:gd name="connsiteX1" fmla="*/ 1520652 w 6305835"/>
              <a:gd name="connsiteY1" fmla="*/ 245950 h 7371492"/>
              <a:gd name="connsiteX2" fmla="*/ 2967506 w 6305835"/>
              <a:gd name="connsiteY2" fmla="*/ 1333492 h 7371492"/>
              <a:gd name="connsiteX3" fmla="*/ 4503596 w 6305835"/>
              <a:gd name="connsiteY3" fmla="*/ 19744 h 7371492"/>
              <a:gd name="connsiteX4" fmla="*/ 6305835 w 6305835"/>
              <a:gd name="connsiteY4" fmla="*/ 7371493 h 7371492"/>
              <a:gd name="connsiteX0" fmla="*/ 0 w 6305835"/>
              <a:gd name="connsiteY0" fmla="*/ 588929 h 7463075"/>
              <a:gd name="connsiteX1" fmla="*/ 1520652 w 6305835"/>
              <a:gd name="connsiteY1" fmla="*/ 337533 h 7463075"/>
              <a:gd name="connsiteX2" fmla="*/ 2967506 w 6305835"/>
              <a:gd name="connsiteY2" fmla="*/ 1425075 h 7463075"/>
              <a:gd name="connsiteX3" fmla="*/ 4449729 w 6305835"/>
              <a:gd name="connsiteY3" fmla="*/ 18776 h 7463075"/>
              <a:gd name="connsiteX4" fmla="*/ 6305835 w 6305835"/>
              <a:gd name="connsiteY4" fmla="*/ 7463076 h 7463075"/>
              <a:gd name="connsiteX0" fmla="*/ 0 w 6305835"/>
              <a:gd name="connsiteY0" fmla="*/ 278591 h 7152737"/>
              <a:gd name="connsiteX1" fmla="*/ 1520652 w 6305835"/>
              <a:gd name="connsiteY1" fmla="*/ 27195 h 7152737"/>
              <a:gd name="connsiteX2" fmla="*/ 2967506 w 6305835"/>
              <a:gd name="connsiteY2" fmla="*/ 1114737 h 7152737"/>
              <a:gd name="connsiteX3" fmla="*/ 4463196 w 6305835"/>
              <a:gd name="connsiteY3" fmla="*/ 1906542 h 7152737"/>
              <a:gd name="connsiteX4" fmla="*/ 6305835 w 6305835"/>
              <a:gd name="connsiteY4" fmla="*/ 7152738 h 7152737"/>
              <a:gd name="connsiteX0" fmla="*/ 0 w 6305835"/>
              <a:gd name="connsiteY0" fmla="*/ 566024 h 7440170"/>
              <a:gd name="connsiteX1" fmla="*/ 1520652 w 6305835"/>
              <a:gd name="connsiteY1" fmla="*/ 314628 h 7440170"/>
              <a:gd name="connsiteX2" fmla="*/ 2967506 w 6305835"/>
              <a:gd name="connsiteY2" fmla="*/ 1402170 h 7440170"/>
              <a:gd name="connsiteX3" fmla="*/ 4416063 w 6305835"/>
              <a:gd name="connsiteY3" fmla="*/ 19009 h 7440170"/>
              <a:gd name="connsiteX4" fmla="*/ 6305835 w 6305835"/>
              <a:gd name="connsiteY4" fmla="*/ 7440171 h 7440170"/>
              <a:gd name="connsiteX0" fmla="*/ 0 w 6332768"/>
              <a:gd name="connsiteY0" fmla="*/ 288368 h 7440170"/>
              <a:gd name="connsiteX1" fmla="*/ 1547585 w 6332768"/>
              <a:gd name="connsiteY1" fmla="*/ 314628 h 7440170"/>
              <a:gd name="connsiteX2" fmla="*/ 2994439 w 6332768"/>
              <a:gd name="connsiteY2" fmla="*/ 1402170 h 7440170"/>
              <a:gd name="connsiteX3" fmla="*/ 4442996 w 6332768"/>
              <a:gd name="connsiteY3" fmla="*/ 19009 h 7440170"/>
              <a:gd name="connsiteX4" fmla="*/ 6332768 w 6332768"/>
              <a:gd name="connsiteY4" fmla="*/ 7440171 h 7440170"/>
              <a:gd name="connsiteX0" fmla="*/ 0 w 6332768"/>
              <a:gd name="connsiteY0" fmla="*/ 288368 h 7440170"/>
              <a:gd name="connsiteX1" fmla="*/ 1500451 w 6332768"/>
              <a:gd name="connsiteY1" fmla="*/ 777386 h 7440170"/>
              <a:gd name="connsiteX2" fmla="*/ 2994439 w 6332768"/>
              <a:gd name="connsiteY2" fmla="*/ 1402170 h 7440170"/>
              <a:gd name="connsiteX3" fmla="*/ 4442996 w 6332768"/>
              <a:gd name="connsiteY3" fmla="*/ 19009 h 7440170"/>
              <a:gd name="connsiteX4" fmla="*/ 6332768 w 6332768"/>
              <a:gd name="connsiteY4" fmla="*/ 7440171 h 7440170"/>
              <a:gd name="connsiteX0" fmla="*/ 0 w 6366435"/>
              <a:gd name="connsiteY0" fmla="*/ 0 h 7452595"/>
              <a:gd name="connsiteX1" fmla="*/ 1534118 w 6366435"/>
              <a:gd name="connsiteY1" fmla="*/ 789811 h 7452595"/>
              <a:gd name="connsiteX2" fmla="*/ 3028106 w 6366435"/>
              <a:gd name="connsiteY2" fmla="*/ 1414595 h 7452595"/>
              <a:gd name="connsiteX3" fmla="*/ 4476663 w 6366435"/>
              <a:gd name="connsiteY3" fmla="*/ 31434 h 7452595"/>
              <a:gd name="connsiteX4" fmla="*/ 6366435 w 6366435"/>
              <a:gd name="connsiteY4" fmla="*/ 7452596 h 7452595"/>
              <a:gd name="connsiteX0" fmla="*/ 0 w 5955700"/>
              <a:gd name="connsiteY0" fmla="*/ 0 h 2362249"/>
              <a:gd name="connsiteX1" fmla="*/ 1534118 w 5955700"/>
              <a:gd name="connsiteY1" fmla="*/ 789811 h 2362249"/>
              <a:gd name="connsiteX2" fmla="*/ 3028106 w 5955700"/>
              <a:gd name="connsiteY2" fmla="*/ 1414595 h 2362249"/>
              <a:gd name="connsiteX3" fmla="*/ 4476663 w 5955700"/>
              <a:gd name="connsiteY3" fmla="*/ 31434 h 2362249"/>
              <a:gd name="connsiteX4" fmla="*/ 5955700 w 5955700"/>
              <a:gd name="connsiteY4" fmla="*/ 2362249 h 2362249"/>
              <a:gd name="connsiteX0" fmla="*/ 0 w 5981049"/>
              <a:gd name="connsiteY0" fmla="*/ 0 h 2688901"/>
              <a:gd name="connsiteX1" fmla="*/ 1559467 w 5981049"/>
              <a:gd name="connsiteY1" fmla="*/ 1116463 h 2688901"/>
              <a:gd name="connsiteX2" fmla="*/ 3053455 w 5981049"/>
              <a:gd name="connsiteY2" fmla="*/ 1741247 h 2688901"/>
              <a:gd name="connsiteX3" fmla="*/ 4502012 w 5981049"/>
              <a:gd name="connsiteY3" fmla="*/ 358086 h 2688901"/>
              <a:gd name="connsiteX4" fmla="*/ 5981049 w 5981049"/>
              <a:gd name="connsiteY4" fmla="*/ 2688901 h 2688901"/>
              <a:gd name="connsiteX0" fmla="*/ 0 w 5981049"/>
              <a:gd name="connsiteY0" fmla="*/ 973608 h 3662509"/>
              <a:gd name="connsiteX1" fmla="*/ 1635515 w 5981049"/>
              <a:gd name="connsiteY1" fmla="*/ 43042 h 3662509"/>
              <a:gd name="connsiteX2" fmla="*/ 3053455 w 5981049"/>
              <a:gd name="connsiteY2" fmla="*/ 2714855 h 3662509"/>
              <a:gd name="connsiteX3" fmla="*/ 4502012 w 5981049"/>
              <a:gd name="connsiteY3" fmla="*/ 1331694 h 3662509"/>
              <a:gd name="connsiteX4" fmla="*/ 5981049 w 5981049"/>
              <a:gd name="connsiteY4" fmla="*/ 3662509 h 3662509"/>
              <a:gd name="connsiteX0" fmla="*/ 0 w 5981049"/>
              <a:gd name="connsiteY0" fmla="*/ 934129 h 3623030"/>
              <a:gd name="connsiteX1" fmla="*/ 1635515 w 5981049"/>
              <a:gd name="connsiteY1" fmla="*/ 3563 h 3623030"/>
              <a:gd name="connsiteX2" fmla="*/ 3053455 w 5981049"/>
              <a:gd name="connsiteY2" fmla="*/ 2675376 h 3623030"/>
              <a:gd name="connsiteX3" fmla="*/ 4502012 w 5981049"/>
              <a:gd name="connsiteY3" fmla="*/ 1292215 h 3623030"/>
              <a:gd name="connsiteX4" fmla="*/ 5981049 w 5981049"/>
              <a:gd name="connsiteY4" fmla="*/ 3623030 h 3623030"/>
              <a:gd name="connsiteX0" fmla="*/ 0 w 5949363"/>
              <a:gd name="connsiteY0" fmla="*/ 1533187 h 3634112"/>
              <a:gd name="connsiteX1" fmla="*/ 1603829 w 5949363"/>
              <a:gd name="connsiteY1" fmla="*/ 14645 h 3634112"/>
              <a:gd name="connsiteX2" fmla="*/ 3021769 w 5949363"/>
              <a:gd name="connsiteY2" fmla="*/ 2686458 h 3634112"/>
              <a:gd name="connsiteX3" fmla="*/ 4470326 w 5949363"/>
              <a:gd name="connsiteY3" fmla="*/ 1303297 h 3634112"/>
              <a:gd name="connsiteX4" fmla="*/ 5949363 w 5949363"/>
              <a:gd name="connsiteY4" fmla="*/ 3634112 h 3634112"/>
              <a:gd name="connsiteX0" fmla="*/ 0 w 5949363"/>
              <a:gd name="connsiteY0" fmla="*/ 1323347 h 3642041"/>
              <a:gd name="connsiteX1" fmla="*/ 1603829 w 5949363"/>
              <a:gd name="connsiteY1" fmla="*/ 22574 h 3642041"/>
              <a:gd name="connsiteX2" fmla="*/ 3021769 w 5949363"/>
              <a:gd name="connsiteY2" fmla="*/ 2694387 h 3642041"/>
              <a:gd name="connsiteX3" fmla="*/ 4470326 w 5949363"/>
              <a:gd name="connsiteY3" fmla="*/ 1311226 h 3642041"/>
              <a:gd name="connsiteX4" fmla="*/ 5949363 w 5949363"/>
              <a:gd name="connsiteY4" fmla="*/ 3642041 h 3642041"/>
              <a:gd name="connsiteX0" fmla="*/ 0 w 5949363"/>
              <a:gd name="connsiteY0" fmla="*/ 1323347 h 3337164"/>
              <a:gd name="connsiteX1" fmla="*/ 1603829 w 5949363"/>
              <a:gd name="connsiteY1" fmla="*/ 22574 h 3337164"/>
              <a:gd name="connsiteX2" fmla="*/ 3021769 w 5949363"/>
              <a:gd name="connsiteY2" fmla="*/ 2694387 h 3337164"/>
              <a:gd name="connsiteX3" fmla="*/ 4470326 w 5949363"/>
              <a:gd name="connsiteY3" fmla="*/ 1311226 h 3337164"/>
              <a:gd name="connsiteX4" fmla="*/ 5949363 w 5949363"/>
              <a:gd name="connsiteY4" fmla="*/ 3337164 h 3337164"/>
              <a:gd name="connsiteX0" fmla="*/ 0 w 5955700"/>
              <a:gd name="connsiteY0" fmla="*/ 1323347 h 2901624"/>
              <a:gd name="connsiteX1" fmla="*/ 1603829 w 5955700"/>
              <a:gd name="connsiteY1" fmla="*/ 22574 h 2901624"/>
              <a:gd name="connsiteX2" fmla="*/ 3021769 w 5955700"/>
              <a:gd name="connsiteY2" fmla="*/ 2694387 h 2901624"/>
              <a:gd name="connsiteX3" fmla="*/ 4470326 w 5955700"/>
              <a:gd name="connsiteY3" fmla="*/ 1311226 h 2901624"/>
              <a:gd name="connsiteX4" fmla="*/ 5955700 w 5955700"/>
              <a:gd name="connsiteY4" fmla="*/ 2901624 h 2901624"/>
              <a:gd name="connsiteX0" fmla="*/ 0 w 5955700"/>
              <a:gd name="connsiteY0" fmla="*/ 406310 h 1984587"/>
              <a:gd name="connsiteX1" fmla="*/ 1587669 w 5955700"/>
              <a:gd name="connsiteY1" fmla="*/ 49565 h 1984587"/>
              <a:gd name="connsiteX2" fmla="*/ 3021769 w 5955700"/>
              <a:gd name="connsiteY2" fmla="*/ 1777350 h 1984587"/>
              <a:gd name="connsiteX3" fmla="*/ 4470326 w 5955700"/>
              <a:gd name="connsiteY3" fmla="*/ 394189 h 1984587"/>
              <a:gd name="connsiteX4" fmla="*/ 5955700 w 5955700"/>
              <a:gd name="connsiteY4" fmla="*/ 1984587 h 1984587"/>
              <a:gd name="connsiteX0" fmla="*/ 0 w 5955700"/>
              <a:gd name="connsiteY0" fmla="*/ 356959 h 1935236"/>
              <a:gd name="connsiteX1" fmla="*/ 1587669 w 5955700"/>
              <a:gd name="connsiteY1" fmla="*/ 214 h 1935236"/>
              <a:gd name="connsiteX2" fmla="*/ 3021769 w 5955700"/>
              <a:gd name="connsiteY2" fmla="*/ 423020 h 1935236"/>
              <a:gd name="connsiteX3" fmla="*/ 4470326 w 5955700"/>
              <a:gd name="connsiteY3" fmla="*/ 344838 h 1935236"/>
              <a:gd name="connsiteX4" fmla="*/ 5955700 w 5955700"/>
              <a:gd name="connsiteY4" fmla="*/ 1935236 h 1935236"/>
              <a:gd name="connsiteX0" fmla="*/ 0 w 6004180"/>
              <a:gd name="connsiteY0" fmla="*/ 356959 h 630256"/>
              <a:gd name="connsiteX1" fmla="*/ 1587669 w 6004180"/>
              <a:gd name="connsiteY1" fmla="*/ 214 h 630256"/>
              <a:gd name="connsiteX2" fmla="*/ 3021769 w 6004180"/>
              <a:gd name="connsiteY2" fmla="*/ 423020 h 630256"/>
              <a:gd name="connsiteX3" fmla="*/ 4470326 w 6004180"/>
              <a:gd name="connsiteY3" fmla="*/ 344838 h 630256"/>
              <a:gd name="connsiteX4" fmla="*/ 6004180 w 6004180"/>
              <a:gd name="connsiteY4" fmla="*/ 630256 h 630256"/>
              <a:gd name="connsiteX0" fmla="*/ 0 w 6250954"/>
              <a:gd name="connsiteY0" fmla="*/ 0 h 13220068"/>
              <a:gd name="connsiteX1" fmla="*/ 1834443 w 6250954"/>
              <a:gd name="connsiteY1" fmla="*/ 12231455 h 13220068"/>
              <a:gd name="connsiteX2" fmla="*/ 3268543 w 6250954"/>
              <a:gd name="connsiteY2" fmla="*/ 12654261 h 13220068"/>
              <a:gd name="connsiteX3" fmla="*/ 4717100 w 6250954"/>
              <a:gd name="connsiteY3" fmla="*/ 12576079 h 13220068"/>
              <a:gd name="connsiteX4" fmla="*/ 6250954 w 6250954"/>
              <a:gd name="connsiteY4" fmla="*/ 12861497 h 13220068"/>
              <a:gd name="connsiteX0" fmla="*/ 0 w 6250954"/>
              <a:gd name="connsiteY0" fmla="*/ 817555 h 13679052"/>
              <a:gd name="connsiteX1" fmla="*/ 1517163 w 6250954"/>
              <a:gd name="connsiteY1" fmla="*/ 964337 h 13679052"/>
              <a:gd name="connsiteX2" fmla="*/ 3268543 w 6250954"/>
              <a:gd name="connsiteY2" fmla="*/ 13471816 h 13679052"/>
              <a:gd name="connsiteX3" fmla="*/ 4717100 w 6250954"/>
              <a:gd name="connsiteY3" fmla="*/ 13393634 h 13679052"/>
              <a:gd name="connsiteX4" fmla="*/ 6250954 w 6250954"/>
              <a:gd name="connsiteY4" fmla="*/ 13679052 h 13679052"/>
              <a:gd name="connsiteX0" fmla="*/ 0 w 6250954"/>
              <a:gd name="connsiteY0" fmla="*/ 342921 h 13204418"/>
              <a:gd name="connsiteX1" fmla="*/ 1517163 w 6250954"/>
              <a:gd name="connsiteY1" fmla="*/ 489703 h 13204418"/>
              <a:gd name="connsiteX2" fmla="*/ 3268543 w 6250954"/>
              <a:gd name="connsiteY2" fmla="*/ 12997182 h 13204418"/>
              <a:gd name="connsiteX3" fmla="*/ 4717100 w 6250954"/>
              <a:gd name="connsiteY3" fmla="*/ 12919000 h 13204418"/>
              <a:gd name="connsiteX4" fmla="*/ 6250954 w 6250954"/>
              <a:gd name="connsiteY4" fmla="*/ 13204418 h 13204418"/>
              <a:gd name="connsiteX0" fmla="*/ 0 w 6250954"/>
              <a:gd name="connsiteY0" fmla="*/ 388082 h 13249579"/>
              <a:gd name="connsiteX1" fmla="*/ 1507091 w 6250954"/>
              <a:gd name="connsiteY1" fmla="*/ 471922 h 13249579"/>
              <a:gd name="connsiteX2" fmla="*/ 3268543 w 6250954"/>
              <a:gd name="connsiteY2" fmla="*/ 13042343 h 13249579"/>
              <a:gd name="connsiteX3" fmla="*/ 4717100 w 6250954"/>
              <a:gd name="connsiteY3" fmla="*/ 12964161 h 13249579"/>
              <a:gd name="connsiteX4" fmla="*/ 6250954 w 6250954"/>
              <a:gd name="connsiteY4" fmla="*/ 13249579 h 13249579"/>
              <a:gd name="connsiteX0" fmla="*/ 0 w 6255990"/>
              <a:gd name="connsiteY0" fmla="*/ 905342 h 13703897"/>
              <a:gd name="connsiteX1" fmla="*/ 1512127 w 6255990"/>
              <a:gd name="connsiteY1" fmla="*/ 926240 h 13703897"/>
              <a:gd name="connsiteX2" fmla="*/ 3273579 w 6255990"/>
              <a:gd name="connsiteY2" fmla="*/ 13496661 h 13703897"/>
              <a:gd name="connsiteX3" fmla="*/ 4722136 w 6255990"/>
              <a:gd name="connsiteY3" fmla="*/ 13418479 h 13703897"/>
              <a:gd name="connsiteX4" fmla="*/ 6255990 w 6255990"/>
              <a:gd name="connsiteY4" fmla="*/ 13703897 h 13703897"/>
              <a:gd name="connsiteX0" fmla="*/ 0 w 6255990"/>
              <a:gd name="connsiteY0" fmla="*/ 1002248 h 13800803"/>
              <a:gd name="connsiteX1" fmla="*/ 1512127 w 6255990"/>
              <a:gd name="connsiteY1" fmla="*/ 1023146 h 13800803"/>
              <a:gd name="connsiteX2" fmla="*/ 3273579 w 6255990"/>
              <a:gd name="connsiteY2" fmla="*/ 13593567 h 13800803"/>
              <a:gd name="connsiteX3" fmla="*/ 4722136 w 6255990"/>
              <a:gd name="connsiteY3" fmla="*/ 13515385 h 13800803"/>
              <a:gd name="connsiteX4" fmla="*/ 6255990 w 6255990"/>
              <a:gd name="connsiteY4" fmla="*/ 13800803 h 13800803"/>
              <a:gd name="connsiteX0" fmla="*/ 0 w 6255990"/>
              <a:gd name="connsiteY0" fmla="*/ 372782 h 13171337"/>
              <a:gd name="connsiteX1" fmla="*/ 1512127 w 6255990"/>
              <a:gd name="connsiteY1" fmla="*/ 393680 h 13171337"/>
              <a:gd name="connsiteX2" fmla="*/ 2991552 w 6255990"/>
              <a:gd name="connsiteY2" fmla="*/ 4278244 h 13171337"/>
              <a:gd name="connsiteX3" fmla="*/ 4722136 w 6255990"/>
              <a:gd name="connsiteY3" fmla="*/ 12885919 h 13171337"/>
              <a:gd name="connsiteX4" fmla="*/ 6255990 w 6255990"/>
              <a:gd name="connsiteY4" fmla="*/ 13171337 h 13171337"/>
              <a:gd name="connsiteX0" fmla="*/ 0 w 6255990"/>
              <a:gd name="connsiteY0" fmla="*/ 372782 h 13171337"/>
              <a:gd name="connsiteX1" fmla="*/ 1512127 w 6255990"/>
              <a:gd name="connsiteY1" fmla="*/ 393680 h 13171337"/>
              <a:gd name="connsiteX2" fmla="*/ 2991552 w 6255990"/>
              <a:gd name="connsiteY2" fmla="*/ 4278244 h 13171337"/>
              <a:gd name="connsiteX3" fmla="*/ 4722136 w 6255990"/>
              <a:gd name="connsiteY3" fmla="*/ 12885919 h 13171337"/>
              <a:gd name="connsiteX4" fmla="*/ 6255990 w 6255990"/>
              <a:gd name="connsiteY4" fmla="*/ 13171337 h 13171337"/>
              <a:gd name="connsiteX0" fmla="*/ 0 w 6255990"/>
              <a:gd name="connsiteY0" fmla="*/ 3006620 h 15805175"/>
              <a:gd name="connsiteX1" fmla="*/ 1512127 w 6255990"/>
              <a:gd name="connsiteY1" fmla="*/ 3027518 h 15805175"/>
              <a:gd name="connsiteX2" fmla="*/ 2991552 w 6255990"/>
              <a:gd name="connsiteY2" fmla="*/ 6912082 h 15805175"/>
              <a:gd name="connsiteX3" fmla="*/ 4450181 w 6255990"/>
              <a:gd name="connsiteY3" fmla="*/ 4804 h 15805175"/>
              <a:gd name="connsiteX4" fmla="*/ 6255990 w 6255990"/>
              <a:gd name="connsiteY4" fmla="*/ 15805175 h 15805175"/>
              <a:gd name="connsiteX0" fmla="*/ 0 w 6255990"/>
              <a:gd name="connsiteY0" fmla="*/ 3006620 h 15805175"/>
              <a:gd name="connsiteX1" fmla="*/ 1512127 w 6255990"/>
              <a:gd name="connsiteY1" fmla="*/ 3027518 h 15805175"/>
              <a:gd name="connsiteX2" fmla="*/ 2991552 w 6255990"/>
              <a:gd name="connsiteY2" fmla="*/ 6912082 h 15805175"/>
              <a:gd name="connsiteX3" fmla="*/ 4450181 w 6255990"/>
              <a:gd name="connsiteY3" fmla="*/ 4804 h 15805175"/>
              <a:gd name="connsiteX4" fmla="*/ 6255990 w 6255990"/>
              <a:gd name="connsiteY4" fmla="*/ 15805175 h 15805175"/>
              <a:gd name="connsiteX0" fmla="*/ 0 w 6255990"/>
              <a:gd name="connsiteY0" fmla="*/ 3001816 h 15800371"/>
              <a:gd name="connsiteX1" fmla="*/ 1512127 w 6255990"/>
              <a:gd name="connsiteY1" fmla="*/ 3022714 h 15800371"/>
              <a:gd name="connsiteX2" fmla="*/ 2991552 w 6255990"/>
              <a:gd name="connsiteY2" fmla="*/ 6907278 h 15800371"/>
              <a:gd name="connsiteX3" fmla="*/ 4450181 w 6255990"/>
              <a:gd name="connsiteY3" fmla="*/ 0 h 15800371"/>
              <a:gd name="connsiteX4" fmla="*/ 6255990 w 6255990"/>
              <a:gd name="connsiteY4" fmla="*/ 15800371 h 15800371"/>
              <a:gd name="connsiteX0" fmla="*/ 0 w 6255990"/>
              <a:gd name="connsiteY0" fmla="*/ 1617116 h 14415671"/>
              <a:gd name="connsiteX1" fmla="*/ 1512127 w 6255990"/>
              <a:gd name="connsiteY1" fmla="*/ 1638014 h 14415671"/>
              <a:gd name="connsiteX2" fmla="*/ 2991552 w 6255990"/>
              <a:gd name="connsiteY2" fmla="*/ 5522578 h 14415671"/>
              <a:gd name="connsiteX3" fmla="*/ 4460254 w 6255990"/>
              <a:gd name="connsiteY3" fmla="*/ 0 h 14415671"/>
              <a:gd name="connsiteX4" fmla="*/ 6255990 w 6255990"/>
              <a:gd name="connsiteY4" fmla="*/ 14415671 h 14415671"/>
              <a:gd name="connsiteX0" fmla="*/ 0 w 5973962"/>
              <a:gd name="connsiteY0" fmla="*/ 1617116 h 7083048"/>
              <a:gd name="connsiteX1" fmla="*/ 1512127 w 5973962"/>
              <a:gd name="connsiteY1" fmla="*/ 1638014 h 7083048"/>
              <a:gd name="connsiteX2" fmla="*/ 2991552 w 5973962"/>
              <a:gd name="connsiteY2" fmla="*/ 5522578 h 7083048"/>
              <a:gd name="connsiteX3" fmla="*/ 4460254 w 5973962"/>
              <a:gd name="connsiteY3" fmla="*/ 0 h 7083048"/>
              <a:gd name="connsiteX4" fmla="*/ 5973962 w 5973962"/>
              <a:gd name="connsiteY4" fmla="*/ 7083048 h 7083048"/>
              <a:gd name="connsiteX0" fmla="*/ 0 w 5973962"/>
              <a:gd name="connsiteY0" fmla="*/ 1617116 h 7083048"/>
              <a:gd name="connsiteX1" fmla="*/ 1512127 w 5973962"/>
              <a:gd name="connsiteY1" fmla="*/ 1638014 h 7083048"/>
              <a:gd name="connsiteX2" fmla="*/ 2991552 w 5973962"/>
              <a:gd name="connsiteY2" fmla="*/ 5522578 h 7083048"/>
              <a:gd name="connsiteX3" fmla="*/ 4460254 w 5973962"/>
              <a:gd name="connsiteY3" fmla="*/ 0 h 7083048"/>
              <a:gd name="connsiteX4" fmla="*/ 5973962 w 5973962"/>
              <a:gd name="connsiteY4" fmla="*/ 7083048 h 7083048"/>
              <a:gd name="connsiteX0" fmla="*/ 0 w 5973962"/>
              <a:gd name="connsiteY0" fmla="*/ 1617116 h 7083048"/>
              <a:gd name="connsiteX1" fmla="*/ 1512127 w 5973962"/>
              <a:gd name="connsiteY1" fmla="*/ 1638014 h 7083048"/>
              <a:gd name="connsiteX2" fmla="*/ 2991552 w 5973962"/>
              <a:gd name="connsiteY2" fmla="*/ 5522578 h 7083048"/>
              <a:gd name="connsiteX3" fmla="*/ 4460254 w 5973962"/>
              <a:gd name="connsiteY3" fmla="*/ 0 h 7083048"/>
              <a:gd name="connsiteX4" fmla="*/ 5973962 w 5973962"/>
              <a:gd name="connsiteY4" fmla="*/ 7083048 h 7083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3962" h="7083048">
                <a:moveTo>
                  <a:pt x="0" y="1617116"/>
                </a:moveTo>
                <a:cubicBezTo>
                  <a:pt x="415012" y="1261524"/>
                  <a:pt x="1013535" y="987104"/>
                  <a:pt x="1512127" y="1638014"/>
                </a:cubicBezTo>
                <a:cubicBezTo>
                  <a:pt x="2010719" y="2288924"/>
                  <a:pt x="2482050" y="4079651"/>
                  <a:pt x="2991552" y="5522578"/>
                </a:cubicBezTo>
                <a:cubicBezTo>
                  <a:pt x="3371160" y="5647686"/>
                  <a:pt x="4233209" y="65579"/>
                  <a:pt x="4460254" y="0"/>
                </a:cubicBezTo>
                <a:cubicBezTo>
                  <a:pt x="4768021" y="35899"/>
                  <a:pt x="5657340" y="6010896"/>
                  <a:pt x="5973962" y="7083048"/>
                </a:cubicBezTo>
              </a:path>
            </a:pathLst>
          </a:custGeom>
          <a:noFill/>
          <a:ln w="136525" cap="rnd" cmpd="sng" algn="ctr">
            <a:solidFill>
              <a:srgbClr val="32E9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70" name="Straight Connector 2">
            <a:extLst>
              <a:ext uri="{FF2B5EF4-FFF2-40B4-BE49-F238E27FC236}">
                <a16:creationId xmlns:a16="http://schemas.microsoft.com/office/drawing/2014/main" id="{7CD0B8FF-FBC6-4D19-A605-5BCEDBAC9ED1}"/>
              </a:ext>
            </a:extLst>
          </p:cNvPr>
          <p:cNvCxnSpPr>
            <a:cxnSpLocks/>
          </p:cNvCxnSpPr>
          <p:nvPr/>
        </p:nvCxnSpPr>
        <p:spPr>
          <a:xfrm>
            <a:off x="1716648" y="2040509"/>
            <a:ext cx="287080" cy="1"/>
          </a:xfrm>
          <a:prstGeom prst="line">
            <a:avLst/>
          </a:prstGeom>
          <a:noFill/>
          <a:ln w="136525" cap="rnd" cmpd="sng" algn="ctr">
            <a:solidFill>
              <a:srgbClr val="43B02A">
                <a:alpha val="50000"/>
              </a:srgbClr>
            </a:solidFill>
            <a:prstDash val="solid"/>
            <a:round/>
            <a:headEnd type="none" w="med" len="med"/>
            <a:tailEnd type="none" w="med" len="med"/>
          </a:ln>
          <a:effectLst/>
        </p:spPr>
      </p:cxnSp>
      <p:cxnSp>
        <p:nvCxnSpPr>
          <p:cNvPr id="71" name="Straight Connector 65">
            <a:extLst>
              <a:ext uri="{FF2B5EF4-FFF2-40B4-BE49-F238E27FC236}">
                <a16:creationId xmlns:a16="http://schemas.microsoft.com/office/drawing/2014/main" id="{89F7D404-AFD9-494A-9770-779DF2B682CA}"/>
              </a:ext>
            </a:extLst>
          </p:cNvPr>
          <p:cNvCxnSpPr>
            <a:cxnSpLocks/>
          </p:cNvCxnSpPr>
          <p:nvPr/>
        </p:nvCxnSpPr>
        <p:spPr>
          <a:xfrm>
            <a:off x="7939978" y="2040509"/>
            <a:ext cx="287080" cy="1"/>
          </a:xfrm>
          <a:prstGeom prst="line">
            <a:avLst/>
          </a:prstGeom>
          <a:noFill/>
          <a:ln w="136525" cap="rnd" cmpd="sng" algn="ctr">
            <a:solidFill>
              <a:srgbClr val="43B02A">
                <a:alpha val="50000"/>
              </a:srgbClr>
            </a:solidFill>
            <a:prstDash val="solid"/>
            <a:round/>
            <a:headEnd type="none" w="med" len="med"/>
            <a:tailEnd type="none" w="med" len="med"/>
          </a:ln>
          <a:effectLst/>
        </p:spPr>
      </p:cxnSp>
    </p:spTree>
    <p:extLst>
      <p:ext uri="{BB962C8B-B14F-4D97-AF65-F5344CB8AC3E}">
        <p14:creationId xmlns:p14="http://schemas.microsoft.com/office/powerpoint/2010/main" val="13585648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Group 29"/>
          <p:cNvGraphicFramePr>
            <a:graphicFrameLocks noGrp="1"/>
          </p:cNvGraphicFramePr>
          <p:nvPr>
            <p:extLst>
              <p:ext uri="{D42A27DB-BD31-4B8C-83A1-F6EECF244321}">
                <p14:modId xmlns:p14="http://schemas.microsoft.com/office/powerpoint/2010/main" val="550339210"/>
              </p:ext>
            </p:extLst>
          </p:nvPr>
        </p:nvGraphicFramePr>
        <p:xfrm>
          <a:off x="373085" y="1129608"/>
          <a:ext cx="11445832" cy="4036968"/>
        </p:xfrm>
        <a:graphic>
          <a:graphicData uri="http://schemas.openxmlformats.org/drawingml/2006/table">
            <a:tbl>
              <a:tblPr/>
              <a:tblGrid>
                <a:gridCol w="1923228">
                  <a:extLst>
                    <a:ext uri="{9D8B030D-6E8A-4147-A177-3AD203B41FA5}">
                      <a16:colId xmlns:a16="http://schemas.microsoft.com/office/drawing/2014/main" val="20000"/>
                    </a:ext>
                  </a:extLst>
                </a:gridCol>
                <a:gridCol w="4761302">
                  <a:extLst>
                    <a:ext uri="{9D8B030D-6E8A-4147-A177-3AD203B41FA5}">
                      <a16:colId xmlns:a16="http://schemas.microsoft.com/office/drawing/2014/main" val="20001"/>
                    </a:ext>
                  </a:extLst>
                </a:gridCol>
                <a:gridCol w="4761302">
                  <a:extLst>
                    <a:ext uri="{9D8B030D-6E8A-4147-A177-3AD203B41FA5}">
                      <a16:colId xmlns:a16="http://schemas.microsoft.com/office/drawing/2014/main" val="20002"/>
                    </a:ext>
                  </a:extLst>
                </a:gridCol>
              </a:tblGrid>
              <a:tr h="43200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50" b="1" i="0" u="none" strike="noStrike" cap="none" normalizeH="0" baseline="0" dirty="0">
                        <a:ln>
                          <a:noFill/>
                        </a:ln>
                        <a:solidFill>
                          <a:srgbClr val="002776"/>
                        </a:solidFill>
                        <a:effectLst/>
                        <a:latin typeface="+mj-lt"/>
                        <a:cs typeface="Arial" pitchFamily="34" charset="0"/>
                      </a:endParaRPr>
                    </a:p>
                  </a:txBody>
                  <a:tcPr marL="54864" marR="54864" marT="36576" marB="3657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Key</a:t>
                      </a:r>
                      <a:r>
                        <a:rPr lang="en-US" altLang="en-US" sz="1050" b="1" kern="1200" baseline="0" dirty="0">
                          <a:solidFill>
                            <a:schemeClr val="bg1"/>
                          </a:solidFill>
                          <a:latin typeface="+mn-lt"/>
                          <a:ea typeface="+mn-ea"/>
                          <a:cs typeface="+mn-cs"/>
                        </a:rPr>
                        <a:t> Observations</a:t>
                      </a:r>
                      <a:endParaRPr lang="en-US" altLang="en-US" sz="1050" b="1" kern="1200" dirty="0">
                        <a:solidFill>
                          <a:schemeClr val="bg1"/>
                        </a:solidFill>
                        <a:latin typeface="+mn-lt"/>
                        <a:ea typeface="+mn-ea"/>
                        <a:cs typeface="+mn-cs"/>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Business Implica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432000">
                <a:tc>
                  <a:txBody>
                    <a:bodyPr/>
                    <a:lstStyle/>
                    <a:p>
                      <a:pPr algn="l"/>
                      <a:r>
                        <a:rPr kumimoji="0" lang="en-US" sz="1050" b="1" i="0" u="none" strike="noStrike" kern="1200" cap="none" spc="0" normalizeH="0" baseline="0" noProof="0" dirty="0">
                          <a:ln>
                            <a:noFill/>
                          </a:ln>
                          <a:solidFill>
                            <a:prstClr val="white"/>
                          </a:solidFill>
                          <a:effectLst/>
                          <a:uLnTx/>
                          <a:uFillTx/>
                          <a:latin typeface="+mn-lt"/>
                          <a:ea typeface="+mn-ea"/>
                          <a:cs typeface="Arial" pitchFamily="34" charset="0"/>
                        </a:rPr>
                        <a:t>Product Quality Managemen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Depend on the product, defect</a:t>
                      </a:r>
                      <a:r>
                        <a:rPr lang="ja-JP" altLang="en-US" sz="1050" dirty="0">
                          <a:solidFill>
                            <a:schemeClr val="tx1"/>
                          </a:solidFill>
                        </a:rPr>
                        <a:t> </a:t>
                      </a:r>
                      <a:r>
                        <a:rPr lang="en-US" altLang="ja-JP" sz="1050" dirty="0">
                          <a:solidFill>
                            <a:schemeClr val="tx1"/>
                          </a:solidFill>
                        </a:rPr>
                        <a:t>, sometime</a:t>
                      </a:r>
                      <a:r>
                        <a:rPr lang="en-US" altLang="ja-JP" sz="1050" baseline="0" dirty="0">
                          <a:solidFill>
                            <a:schemeClr val="tx1"/>
                          </a:solidFill>
                        </a:rPr>
                        <a:t> </a:t>
                      </a:r>
                      <a:r>
                        <a:rPr lang="en-US" altLang="ja-JP" sz="1050" dirty="0">
                          <a:solidFill>
                            <a:schemeClr val="tx1"/>
                          </a:solidFill>
                        </a:rPr>
                        <a:t>detected</a:t>
                      </a:r>
                      <a:r>
                        <a:rPr lang="ja-JP" altLang="en-US" sz="1050" dirty="0">
                          <a:solidFill>
                            <a:schemeClr val="tx1"/>
                          </a:solidFill>
                        </a:rPr>
                        <a:t> </a:t>
                      </a:r>
                      <a:r>
                        <a:rPr lang="en-US" altLang="ja-JP" sz="1050" dirty="0">
                          <a:solidFill>
                            <a:schemeClr val="tx1"/>
                          </a:solidFill>
                        </a:rPr>
                        <a:t>by customer. (MSBU)</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dirty="0">
                          <a:solidFill>
                            <a:schemeClr val="tx1"/>
                          </a:solidFill>
                        </a:rPr>
                        <a:t>Setting DR to prevent the defect,</a:t>
                      </a:r>
                      <a:r>
                        <a:rPr lang="en-US" altLang="ja-JP" sz="1050" baseline="0" dirty="0">
                          <a:solidFill>
                            <a:schemeClr val="tx1"/>
                          </a:solidFill>
                        </a:rPr>
                        <a:t> but depend on the people in charge. (</a:t>
                      </a:r>
                      <a:r>
                        <a:rPr lang="en-US" altLang="ja-JP" sz="1050" dirty="0">
                          <a:solidFill>
                            <a:schemeClr val="tx1"/>
                          </a:solidFill>
                        </a:rPr>
                        <a:t>P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Takes too much cost, target Middle</a:t>
                      </a:r>
                      <a:r>
                        <a:rPr lang="ja-JP" altLang="en-US" sz="1050" dirty="0">
                          <a:solidFill>
                            <a:schemeClr val="tx1"/>
                          </a:solidFill>
                        </a:rPr>
                        <a:t> </a:t>
                      </a:r>
                      <a:r>
                        <a:rPr lang="en-US" altLang="ja-JP" sz="1050" dirty="0">
                          <a:solidFill>
                            <a:schemeClr val="tx1"/>
                          </a:solidFill>
                        </a:rPr>
                        <a:t>Advanced.(MSBU)</a:t>
                      </a:r>
                    </a:p>
                    <a:p>
                      <a:pPr marL="171450" indent="-171450">
                        <a:lnSpc>
                          <a:spcPct val="100000"/>
                        </a:lnSpc>
                        <a:spcBef>
                          <a:spcPts val="0"/>
                        </a:spcBef>
                        <a:buFont typeface="Arial" panose="020B0604020202020204" pitchFamily="34" charset="0"/>
                        <a:buChar char="•"/>
                      </a:pPr>
                      <a:r>
                        <a:rPr lang="en-US" altLang="ja-JP" sz="1050" dirty="0">
                          <a:solidFill>
                            <a:schemeClr val="tx1"/>
                          </a:solidFill>
                        </a:rPr>
                        <a:t>Need to have highest quality.(PSBU)</a:t>
                      </a:r>
                      <a:endParaRPr lang="ja-JP" altLang="en-US"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432000">
                <a:tc>
                  <a:txBody>
                    <a:bodyPr/>
                    <a:lstStyle/>
                    <a:p>
                      <a:pPr algn="l"/>
                      <a:r>
                        <a:rPr lang="en-US" sz="1050" b="1" dirty="0">
                          <a:solidFill>
                            <a:schemeClr val="bg1"/>
                          </a:solidFill>
                        </a:rPr>
                        <a:t>Quality Knowledge &amp; Awareness </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Storage quality knowledge and have mind to analysis/feedback to product development, but not action yet.</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dirty="0">
                          <a:solidFill>
                            <a:schemeClr val="tx1"/>
                          </a:solidFill>
                        </a:rPr>
                        <a:t>Low</a:t>
                      </a:r>
                      <a:r>
                        <a:rPr lang="ja-JP" altLang="en-US" sz="1050" dirty="0">
                          <a:solidFill>
                            <a:schemeClr val="tx1"/>
                          </a:solidFill>
                        </a:rPr>
                        <a:t> </a:t>
                      </a:r>
                      <a:r>
                        <a:rPr lang="en-US" altLang="ja-JP" sz="1050" dirty="0">
                          <a:solidFill>
                            <a:schemeClr val="tx1"/>
                          </a:solidFill>
                        </a:rPr>
                        <a:t>Advance</a:t>
                      </a:r>
                      <a:r>
                        <a:rPr lang="en-US" altLang="ja-JP" sz="1050" baseline="0" dirty="0">
                          <a:solidFill>
                            <a:schemeClr val="tx1"/>
                          </a:solidFill>
                        </a:rPr>
                        <a:t> because b</a:t>
                      </a:r>
                      <a:r>
                        <a:rPr lang="en-US" altLang="ja-JP" sz="1050" dirty="0">
                          <a:solidFill>
                            <a:schemeClr val="tx1"/>
                          </a:solidFill>
                        </a:rPr>
                        <a:t>alance with lead-time.</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mn-lt"/>
                          <a:ea typeface="+mn-ea"/>
                          <a:cs typeface="Arial" pitchFamily="34" charset="0"/>
                        </a:rPr>
                        <a:t>Quality Control &amp; Governance </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Quality is controlled in some of the product but it takes time. (MSBU)</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Quality is controlled, but there is much manual work. Trekking mistakes have a major impact on business. (PSBU)</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Although it is important to emphasize, it does not have to be the best in the industry.</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0" normalizeH="0" baseline="0" noProof="0" dirty="0">
                          <a:ln>
                            <a:noFill/>
                          </a:ln>
                          <a:solidFill>
                            <a:prstClr val="white"/>
                          </a:solidFill>
                          <a:effectLst/>
                          <a:uLnTx/>
                          <a:uFillTx/>
                          <a:latin typeface="+mn-lt"/>
                          <a:ea typeface="+mn-ea"/>
                          <a:cs typeface="+mn-cs"/>
                        </a:rPr>
                        <a:t>Design for Quality </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t>The quality aspects of the design are considered enough, but cross-functional feedback loops may not work. (PSBU)</a:t>
                      </a:r>
                    </a:p>
                    <a:p>
                      <a:pPr marL="171450" indent="-171450">
                        <a:lnSpc>
                          <a:spcPct val="100000"/>
                        </a:lnSpc>
                        <a:spcBef>
                          <a:spcPts val="0"/>
                        </a:spcBef>
                        <a:buFont typeface="Arial" panose="020B0604020202020204" pitchFamily="34" charset="0"/>
                        <a:buChar char="•"/>
                      </a:pPr>
                      <a:r>
                        <a:rPr lang="en-US" altLang="ja-JP" sz="1050" dirty="0"/>
                        <a:t>Quality defects often occur and we have not taken measures to prevent them. (MSBU)</a:t>
                      </a:r>
                      <a:endParaRPr lang="en-US" sz="1050" dirty="0"/>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Need to be a leading company on the market</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96658287"/>
                  </a:ext>
                </a:extLst>
              </a:tr>
              <a:tr h="432000">
                <a:tc>
                  <a:txBody>
                    <a:bodyPr/>
                    <a:lstStyle/>
                    <a:p>
                      <a:pPr algn="l"/>
                      <a:r>
                        <a:rPr lang="en-US" sz="1050" b="1" dirty="0">
                          <a:solidFill>
                            <a:schemeClr val="bg1"/>
                          </a:solidFill>
                        </a:rPr>
                        <a:t>Product Quality Data &amp; Reporting </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Reports to customers are not formatted and is mail basis. However, there is no demand from customers and there are no major issues. May be troubled if the customer is asked to submit again later. (PSBU)</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Have data, but I manually create a report and it takes time. (MSBU)</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Need a dashboard and analysis process that visualizes the KPIs that contribute to decision making</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3551714"/>
                  </a:ext>
                </a:extLst>
              </a:tr>
            </a:tbl>
          </a:graphicData>
        </a:graphic>
      </p:graphicFrame>
      <p:sp>
        <p:nvSpPr>
          <p:cNvPr id="4" name="Title 3">
            <a:extLst>
              <a:ext uri="{FF2B5EF4-FFF2-40B4-BE49-F238E27FC236}">
                <a16:creationId xmlns:a16="http://schemas.microsoft.com/office/drawing/2014/main" id="{026705D2-9A1E-4A1F-80F4-6BC1AE8E4025}"/>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lvl="0" defTabSz="914400">
              <a:defRPr/>
            </a:pPr>
            <a:r>
              <a:rPr lang="en-US" sz="2400" b="1" dirty="0">
                <a:solidFill>
                  <a:prstClr val="black"/>
                </a:solidFill>
              </a:rPr>
              <a:t>Product Quality Management</a:t>
            </a:r>
          </a:p>
        </p:txBody>
      </p:sp>
    </p:spTree>
    <p:extLst>
      <p:ext uri="{BB962C8B-B14F-4D97-AF65-F5344CB8AC3E}">
        <p14:creationId xmlns:p14="http://schemas.microsoft.com/office/powerpoint/2010/main" val="7334037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a:xfrm>
            <a:off x="490349" y="363342"/>
            <a:ext cx="11252200" cy="334102"/>
          </a:xfrm>
        </p:spPr>
        <p:txBody>
          <a:bodyPr/>
          <a:lstStyle/>
          <a:p>
            <a:r>
              <a:rPr lang="en-US" dirty="0"/>
              <a:t>Current-State Capability Digital Product Development</a:t>
            </a:r>
          </a:p>
        </p:txBody>
      </p:sp>
      <p:sp>
        <p:nvSpPr>
          <p:cNvPr id="7" name="Rectangle 6">
            <a:extLst>
              <a:ext uri="{FF2B5EF4-FFF2-40B4-BE49-F238E27FC236}">
                <a16:creationId xmlns:a16="http://schemas.microsoft.com/office/drawing/2014/main" id="{1617907B-D8E2-4123-ACEC-F245D7D4077D}"/>
              </a:ext>
            </a:extLst>
          </p:cNvPr>
          <p:cNvSpPr>
            <a:spLocks noChangeArrowheads="1"/>
          </p:cNvSpPr>
          <p:nvPr/>
        </p:nvSpPr>
        <p:spPr bwMode="gray">
          <a:xfrm>
            <a:off x="586931" y="941484"/>
            <a:ext cx="2500018" cy="215444"/>
          </a:xfrm>
          <a:prstGeom prst="rect">
            <a:avLst/>
          </a:prstGeom>
          <a:solidFill>
            <a:schemeClr val="bg1"/>
          </a:solidFill>
          <a:ln w="12700" cap="rnd" algn="ctr">
            <a:noFill/>
            <a:miter lim="800000"/>
            <a:headEnd/>
            <a:tailEnd/>
          </a:ln>
        </p:spPr>
        <p:txBody>
          <a:bodyPr wrap="square" lIns="71966" tIns="0" rIns="71966" bIns="0" anchor="ctr" anchorCtr="1">
            <a:spAutoFit/>
          </a:bodyPr>
          <a:lstStyle/>
          <a:p>
            <a:pPr defTabSz="913961" fontAlgn="base">
              <a:spcBef>
                <a:spcPct val="20000"/>
              </a:spcBef>
              <a:spcAft>
                <a:spcPct val="0"/>
              </a:spcAft>
            </a:pPr>
            <a:r>
              <a:rPr lang="en-US" sz="1400" b="1" dirty="0">
                <a:solidFill>
                  <a:srgbClr val="92D400"/>
                </a:solidFill>
                <a:latin typeface="+mj-lt"/>
                <a:cs typeface="Arial" pitchFamily="34" charset="0"/>
              </a:rPr>
              <a:t>Current State Journey</a:t>
            </a:r>
          </a:p>
        </p:txBody>
      </p:sp>
      <p:pic>
        <p:nvPicPr>
          <p:cNvPr id="8" name="Picture 7">
            <a:extLst>
              <a:ext uri="{FF2B5EF4-FFF2-40B4-BE49-F238E27FC236}">
                <a16:creationId xmlns:a16="http://schemas.microsoft.com/office/drawing/2014/main" id="{F58A16F7-C5FE-4FA0-95B9-317D632AC5C9}"/>
              </a:ext>
            </a:extLst>
          </p:cNvPr>
          <p:cNvPicPr>
            <a:picLocks noChangeAspect="1" noChangeArrowheads="1"/>
          </p:cNvPicPr>
          <p:nvPr/>
        </p:nvPicPr>
        <p:blipFill>
          <a:blip r:embed="rId3">
            <a:lum contrast="22000"/>
            <a:extLst>
              <a:ext uri="{28A0092B-C50C-407E-A947-70E740481C1C}">
                <a14:useLocalDpi xmlns:a14="http://schemas.microsoft.com/office/drawing/2010/main" val="0"/>
              </a:ext>
            </a:extLst>
          </a:blip>
          <a:srcRect/>
          <a:stretch>
            <a:fillRect/>
          </a:stretch>
        </p:blipFill>
        <p:spPr bwMode="auto">
          <a:xfrm>
            <a:off x="586931" y="2604962"/>
            <a:ext cx="11016576" cy="3441729"/>
          </a:xfrm>
          <a:prstGeom prst="rect">
            <a:avLst/>
          </a:prstGeom>
          <a:solidFill>
            <a:schemeClr val="accent1">
              <a:lumMod val="20000"/>
              <a:lumOff val="80000"/>
            </a:schemeClr>
          </a:solidFill>
          <a:ln>
            <a:noFill/>
          </a:ln>
          <a:effectLst/>
        </p:spPr>
      </p:pic>
      <p:sp>
        <p:nvSpPr>
          <p:cNvPr id="10" name="Text Box 24">
            <a:extLst>
              <a:ext uri="{FF2B5EF4-FFF2-40B4-BE49-F238E27FC236}">
                <a16:creationId xmlns:a16="http://schemas.microsoft.com/office/drawing/2014/main" id="{EE00105A-566B-47B3-A87C-CAE93F806529}"/>
              </a:ext>
            </a:extLst>
          </p:cNvPr>
          <p:cNvSpPr txBox="1">
            <a:spLocks noChangeArrowheads="1"/>
          </p:cNvSpPr>
          <p:nvPr/>
        </p:nvSpPr>
        <p:spPr bwMode="auto">
          <a:xfrm>
            <a:off x="846508" y="3608828"/>
            <a:ext cx="3199567" cy="234069"/>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 Analysis with CAE tooling</a:t>
            </a:r>
          </a:p>
        </p:txBody>
      </p:sp>
      <p:sp>
        <p:nvSpPr>
          <p:cNvPr id="15" name="Line 28">
            <a:extLst>
              <a:ext uri="{FF2B5EF4-FFF2-40B4-BE49-F238E27FC236}">
                <a16:creationId xmlns:a16="http://schemas.microsoft.com/office/drawing/2014/main" id="{888E09D3-4434-4D5C-8407-D2929B50A26B}"/>
              </a:ext>
            </a:extLst>
          </p:cNvPr>
          <p:cNvSpPr>
            <a:spLocks noChangeShapeType="1"/>
          </p:cNvSpPr>
          <p:nvPr/>
        </p:nvSpPr>
        <p:spPr bwMode="auto">
          <a:xfrm flipV="1">
            <a:off x="2286715" y="4580901"/>
            <a:ext cx="0" cy="668147"/>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17" name="Rectangle 16">
            <a:extLst>
              <a:ext uri="{FF2B5EF4-FFF2-40B4-BE49-F238E27FC236}">
                <a16:creationId xmlns:a16="http://schemas.microsoft.com/office/drawing/2014/main" id="{9EB41562-1EC8-4C34-977A-A1ADF53BCBD8}"/>
              </a:ext>
            </a:extLst>
          </p:cNvPr>
          <p:cNvSpPr/>
          <p:nvPr/>
        </p:nvSpPr>
        <p:spPr bwMode="auto">
          <a:xfrm>
            <a:off x="586931" y="886119"/>
            <a:ext cx="11018138" cy="5160571"/>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defPPr>
              <a:defRPr lang="en-US"/>
            </a:defPPr>
            <a:lvl1pPr algn="ctr" rtl="0" fontAlgn="base">
              <a:spcBef>
                <a:spcPct val="20000"/>
              </a:spcBef>
              <a:spcAft>
                <a:spcPct val="0"/>
              </a:spcAft>
              <a:defRPr sz="1100" b="1" kern="1200">
                <a:solidFill>
                  <a:schemeClr val="lt1"/>
                </a:solidFill>
                <a:latin typeface="+mn-lt"/>
                <a:ea typeface="+mn-ea"/>
                <a:cs typeface="+mn-cs"/>
              </a:defRPr>
            </a:lvl1pPr>
            <a:lvl2pPr marL="457200" algn="ctr" rtl="0" fontAlgn="base">
              <a:spcBef>
                <a:spcPct val="20000"/>
              </a:spcBef>
              <a:spcAft>
                <a:spcPct val="0"/>
              </a:spcAft>
              <a:defRPr sz="1100" b="1" kern="1200">
                <a:solidFill>
                  <a:schemeClr val="lt1"/>
                </a:solidFill>
                <a:latin typeface="+mn-lt"/>
                <a:ea typeface="+mn-ea"/>
                <a:cs typeface="+mn-cs"/>
              </a:defRPr>
            </a:lvl2pPr>
            <a:lvl3pPr marL="914400" algn="ctr" rtl="0" fontAlgn="base">
              <a:spcBef>
                <a:spcPct val="20000"/>
              </a:spcBef>
              <a:spcAft>
                <a:spcPct val="0"/>
              </a:spcAft>
              <a:defRPr sz="1100" b="1" kern="1200">
                <a:solidFill>
                  <a:schemeClr val="lt1"/>
                </a:solidFill>
                <a:latin typeface="+mn-lt"/>
                <a:ea typeface="+mn-ea"/>
                <a:cs typeface="+mn-cs"/>
              </a:defRPr>
            </a:lvl3pPr>
            <a:lvl4pPr marL="1371600" algn="ctr" rtl="0" fontAlgn="base">
              <a:spcBef>
                <a:spcPct val="20000"/>
              </a:spcBef>
              <a:spcAft>
                <a:spcPct val="0"/>
              </a:spcAft>
              <a:defRPr sz="1100" b="1" kern="1200">
                <a:solidFill>
                  <a:schemeClr val="lt1"/>
                </a:solidFill>
                <a:latin typeface="+mn-lt"/>
                <a:ea typeface="+mn-ea"/>
                <a:cs typeface="+mn-cs"/>
              </a:defRPr>
            </a:lvl4pPr>
            <a:lvl5pPr marL="1828800" algn="ctr" rtl="0" fontAlgn="base">
              <a:spcBef>
                <a:spcPct val="20000"/>
              </a:spcBef>
              <a:spcAft>
                <a:spcPct val="0"/>
              </a:spcAft>
              <a:defRPr sz="1100" b="1" kern="1200">
                <a:solidFill>
                  <a:schemeClr val="lt1"/>
                </a:solidFill>
                <a:latin typeface="+mn-lt"/>
                <a:ea typeface="+mn-ea"/>
                <a:cs typeface="+mn-cs"/>
              </a:defRPr>
            </a:lvl5pPr>
            <a:lvl6pPr marL="2286000" algn="l" defTabSz="914400" rtl="0" eaLnBrk="1" latinLnBrk="0" hangingPunct="1">
              <a:defRPr sz="1100" b="1" kern="1200">
                <a:solidFill>
                  <a:schemeClr val="lt1"/>
                </a:solidFill>
                <a:latin typeface="+mn-lt"/>
                <a:ea typeface="+mn-ea"/>
                <a:cs typeface="+mn-cs"/>
              </a:defRPr>
            </a:lvl6pPr>
            <a:lvl7pPr marL="2743200" algn="l" defTabSz="914400" rtl="0" eaLnBrk="1" latinLnBrk="0" hangingPunct="1">
              <a:defRPr sz="1100" b="1" kern="1200">
                <a:solidFill>
                  <a:schemeClr val="lt1"/>
                </a:solidFill>
                <a:latin typeface="+mn-lt"/>
                <a:ea typeface="+mn-ea"/>
                <a:cs typeface="+mn-cs"/>
              </a:defRPr>
            </a:lvl7pPr>
            <a:lvl8pPr marL="3200400" algn="l" defTabSz="914400" rtl="0" eaLnBrk="1" latinLnBrk="0" hangingPunct="1">
              <a:defRPr sz="1100" b="1" kern="1200">
                <a:solidFill>
                  <a:schemeClr val="lt1"/>
                </a:solidFill>
                <a:latin typeface="+mn-lt"/>
                <a:ea typeface="+mn-ea"/>
                <a:cs typeface="+mn-cs"/>
              </a:defRPr>
            </a:lvl8pPr>
            <a:lvl9pPr marL="3657600" algn="l" defTabSz="914400" rtl="0" eaLnBrk="1" latinLnBrk="0" hangingPunct="1">
              <a:defRPr sz="1100" b="1" kern="1200">
                <a:solidFill>
                  <a:schemeClr val="lt1"/>
                </a:solidFill>
                <a:latin typeface="+mn-lt"/>
                <a:ea typeface="+mn-ea"/>
                <a:cs typeface="+mn-cs"/>
              </a:defRPr>
            </a:lvl9pPr>
          </a:lstStyle>
          <a:p>
            <a:pPr defTabSz="913961" fontAlgn="auto">
              <a:spcBef>
                <a:spcPts val="0"/>
              </a:spcBef>
              <a:spcAft>
                <a:spcPts val="0"/>
              </a:spcAft>
              <a:defRPr/>
            </a:pPr>
            <a:endParaRPr lang="en-US" sz="1050" dirty="0">
              <a:solidFill>
                <a:prstClr val="white"/>
              </a:solidFill>
              <a:latin typeface="+mj-lt"/>
            </a:endParaRPr>
          </a:p>
        </p:txBody>
      </p:sp>
      <p:sp>
        <p:nvSpPr>
          <p:cNvPr id="25" name="Oval 24">
            <a:extLst>
              <a:ext uri="{FF2B5EF4-FFF2-40B4-BE49-F238E27FC236}">
                <a16:creationId xmlns:a16="http://schemas.microsoft.com/office/drawing/2014/main" id="{562825D5-3D20-41DE-A3D7-832BE944793B}"/>
              </a:ext>
            </a:extLst>
          </p:cNvPr>
          <p:cNvSpPr>
            <a:spLocks noChangeArrowheads="1"/>
          </p:cNvSpPr>
          <p:nvPr/>
        </p:nvSpPr>
        <p:spPr bwMode="gray">
          <a:xfrm>
            <a:off x="2102699" y="5110761"/>
            <a:ext cx="373766" cy="356688"/>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2</a:t>
            </a:r>
          </a:p>
        </p:txBody>
      </p:sp>
      <p:sp>
        <p:nvSpPr>
          <p:cNvPr id="29" name="Line 28">
            <a:extLst>
              <a:ext uri="{FF2B5EF4-FFF2-40B4-BE49-F238E27FC236}">
                <a16:creationId xmlns:a16="http://schemas.microsoft.com/office/drawing/2014/main" id="{E47B6F27-9413-4D13-9C97-7C4233E36561}"/>
              </a:ext>
            </a:extLst>
          </p:cNvPr>
          <p:cNvSpPr>
            <a:spLocks noChangeShapeType="1"/>
          </p:cNvSpPr>
          <p:nvPr/>
        </p:nvSpPr>
        <p:spPr bwMode="auto">
          <a:xfrm>
            <a:off x="6507788" y="1597744"/>
            <a:ext cx="0" cy="230460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3" name="Line 28">
            <a:extLst>
              <a:ext uri="{FF2B5EF4-FFF2-40B4-BE49-F238E27FC236}">
                <a16:creationId xmlns:a16="http://schemas.microsoft.com/office/drawing/2014/main" id="{312CD55C-5FB0-4E6D-A463-1F16AF8532D2}"/>
              </a:ext>
            </a:extLst>
          </p:cNvPr>
          <p:cNvSpPr>
            <a:spLocks noChangeShapeType="1"/>
          </p:cNvSpPr>
          <p:nvPr/>
        </p:nvSpPr>
        <p:spPr bwMode="auto">
          <a:xfrm flipH="1">
            <a:off x="3588670" y="1904038"/>
            <a:ext cx="28823" cy="2251582"/>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4" name="Line 28">
            <a:extLst>
              <a:ext uri="{FF2B5EF4-FFF2-40B4-BE49-F238E27FC236}">
                <a16:creationId xmlns:a16="http://schemas.microsoft.com/office/drawing/2014/main" id="{3751E61F-80AC-4F1D-A479-3A6E82BAF3B1}"/>
              </a:ext>
            </a:extLst>
          </p:cNvPr>
          <p:cNvSpPr>
            <a:spLocks noChangeShapeType="1"/>
          </p:cNvSpPr>
          <p:nvPr/>
        </p:nvSpPr>
        <p:spPr bwMode="auto">
          <a:xfrm>
            <a:off x="780533" y="2172037"/>
            <a:ext cx="2024" cy="2377512"/>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5" name="Line 28">
            <a:extLst>
              <a:ext uri="{FF2B5EF4-FFF2-40B4-BE49-F238E27FC236}">
                <a16:creationId xmlns:a16="http://schemas.microsoft.com/office/drawing/2014/main" id="{68083D47-6964-4128-A1EE-ED0743EC6C88}"/>
              </a:ext>
            </a:extLst>
          </p:cNvPr>
          <p:cNvSpPr>
            <a:spLocks noChangeShapeType="1"/>
          </p:cNvSpPr>
          <p:nvPr/>
        </p:nvSpPr>
        <p:spPr bwMode="auto">
          <a:xfrm flipH="1" flipV="1">
            <a:off x="5195133" y="4252962"/>
            <a:ext cx="11622" cy="59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6" name="Line 28">
            <a:extLst>
              <a:ext uri="{FF2B5EF4-FFF2-40B4-BE49-F238E27FC236}">
                <a16:creationId xmlns:a16="http://schemas.microsoft.com/office/drawing/2014/main" id="{46D2E657-231D-4CAB-8C61-68DEC1453E60}"/>
              </a:ext>
            </a:extLst>
          </p:cNvPr>
          <p:cNvSpPr>
            <a:spLocks noChangeShapeType="1"/>
          </p:cNvSpPr>
          <p:nvPr/>
        </p:nvSpPr>
        <p:spPr bwMode="auto">
          <a:xfrm flipV="1">
            <a:off x="8412060" y="3953310"/>
            <a:ext cx="2177" cy="436802"/>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41" name="Text Box 24">
            <a:extLst>
              <a:ext uri="{FF2B5EF4-FFF2-40B4-BE49-F238E27FC236}">
                <a16:creationId xmlns:a16="http://schemas.microsoft.com/office/drawing/2014/main" id="{B9F9B340-91C4-42BD-9241-EF523F4E1149}"/>
              </a:ext>
            </a:extLst>
          </p:cNvPr>
          <p:cNvSpPr txBox="1">
            <a:spLocks noChangeArrowheads="1"/>
          </p:cNvSpPr>
          <p:nvPr/>
        </p:nvSpPr>
        <p:spPr bwMode="auto">
          <a:xfrm>
            <a:off x="848532" y="3029230"/>
            <a:ext cx="2758419" cy="552821"/>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kern="0" dirty="0">
                <a:solidFill>
                  <a:srgbClr val="002776"/>
                </a:solidFill>
                <a:latin typeface="+mj-lt"/>
              </a:rPr>
              <a:t>- 3D and 2D storing into the ECTR</a:t>
            </a:r>
          </a:p>
          <a:p>
            <a:pPr algn="l" defTabSz="913961" fontAlgn="auto">
              <a:spcBef>
                <a:spcPts val="0"/>
              </a:spcBef>
              <a:spcAft>
                <a:spcPts val="0"/>
              </a:spcAft>
              <a:defRPr/>
            </a:pPr>
            <a:r>
              <a:rPr lang="en-US" kern="0" dirty="0">
                <a:solidFill>
                  <a:srgbClr val="002776"/>
                </a:solidFill>
                <a:latin typeface="+mj-lt"/>
              </a:rPr>
              <a:t>  and informed to related </a:t>
            </a:r>
          </a:p>
          <a:p>
            <a:pPr algn="l" defTabSz="913961" fontAlgn="auto">
              <a:spcBef>
                <a:spcPts val="0"/>
              </a:spcBef>
              <a:spcAft>
                <a:spcPts val="0"/>
              </a:spcAft>
              <a:defRPr/>
            </a:pPr>
            <a:r>
              <a:rPr lang="en-US" kern="0" dirty="0">
                <a:solidFill>
                  <a:srgbClr val="002776"/>
                </a:solidFill>
                <a:latin typeface="+mj-lt"/>
              </a:rPr>
              <a:t>  department automatically</a:t>
            </a:r>
          </a:p>
        </p:txBody>
      </p:sp>
      <p:sp>
        <p:nvSpPr>
          <p:cNvPr id="32" name="テキスト ボックス 31">
            <a:extLst>
              <a:ext uri="{FF2B5EF4-FFF2-40B4-BE49-F238E27FC236}">
                <a16:creationId xmlns:a16="http://schemas.microsoft.com/office/drawing/2014/main" id="{441266B2-F7BC-4565-9F30-1614153B0ECC}"/>
              </a:ext>
            </a:extLst>
          </p:cNvPr>
          <p:cNvSpPr txBox="1"/>
          <p:nvPr/>
        </p:nvSpPr>
        <p:spPr bwMode="gray">
          <a:xfrm>
            <a:off x="2511402" y="5110761"/>
            <a:ext cx="1732865" cy="356688"/>
          </a:xfrm>
          <a:prstGeom prst="rect">
            <a:avLst/>
          </a:prstGeom>
        </p:spPr>
        <p:txBody>
          <a:bodyPr wrap="none" lIns="0" rIns="0" rtlCol="0" anchor="b" anchorCtr="0">
            <a:noAutofit/>
          </a:bodyPr>
          <a:lstStyle/>
          <a:p>
            <a:r>
              <a:rPr kumimoji="1" lang="en-US" altLang="ja-JP" sz="1300" b="1" i="1" u="sng" dirty="0"/>
              <a:t>Equipment design</a:t>
            </a:r>
            <a:endParaRPr kumimoji="1" lang="ja-JP" altLang="en-US" sz="1300" b="1" i="1" u="sng" dirty="0">
              <a:solidFill>
                <a:schemeClr val="tx1"/>
              </a:solidFill>
            </a:endParaRPr>
          </a:p>
        </p:txBody>
      </p:sp>
      <p:sp>
        <p:nvSpPr>
          <p:cNvPr id="42" name="テキスト ボックス 41">
            <a:extLst>
              <a:ext uri="{FF2B5EF4-FFF2-40B4-BE49-F238E27FC236}">
                <a16:creationId xmlns:a16="http://schemas.microsoft.com/office/drawing/2014/main" id="{F5A77555-1936-415E-9CEA-D9E752EEF4D2}"/>
              </a:ext>
            </a:extLst>
          </p:cNvPr>
          <p:cNvSpPr txBox="1"/>
          <p:nvPr/>
        </p:nvSpPr>
        <p:spPr bwMode="gray">
          <a:xfrm>
            <a:off x="1035551" y="2035818"/>
            <a:ext cx="1716410" cy="358174"/>
          </a:xfrm>
          <a:prstGeom prst="rect">
            <a:avLst/>
          </a:prstGeom>
        </p:spPr>
        <p:txBody>
          <a:bodyPr wrap="none" lIns="0" rIns="0" rtlCol="0" anchor="b" anchorCtr="0">
            <a:normAutofit/>
          </a:bodyPr>
          <a:lstStyle/>
          <a:p>
            <a:pPr>
              <a:lnSpc>
                <a:spcPts val="900"/>
              </a:lnSpc>
            </a:pPr>
            <a:r>
              <a:rPr kumimoji="1" lang="en-US" altLang="ja-JP" sz="1300" b="1" i="1" u="sng" dirty="0"/>
              <a:t>Product</a:t>
            </a:r>
            <a:r>
              <a:rPr kumimoji="1" lang="ja-JP" altLang="en-US" sz="1300" b="1" i="1" u="sng" dirty="0"/>
              <a:t> </a:t>
            </a:r>
            <a:r>
              <a:rPr kumimoji="1" lang="en-US" altLang="ja-JP" sz="1300" b="1" i="1" u="sng" dirty="0"/>
              <a:t>design </a:t>
            </a:r>
            <a:endParaRPr kumimoji="1" lang="ja-JP" altLang="en-US" sz="1300" b="1" i="1" u="sng" dirty="0">
              <a:solidFill>
                <a:schemeClr val="tx1"/>
              </a:solidFill>
            </a:endParaRPr>
          </a:p>
        </p:txBody>
      </p:sp>
      <p:sp>
        <p:nvSpPr>
          <p:cNvPr id="46" name="Text Box 24">
            <a:extLst>
              <a:ext uri="{FF2B5EF4-FFF2-40B4-BE49-F238E27FC236}">
                <a16:creationId xmlns:a16="http://schemas.microsoft.com/office/drawing/2014/main" id="{2447AB21-AC0F-4459-81FA-D4599392F2C6}"/>
              </a:ext>
            </a:extLst>
          </p:cNvPr>
          <p:cNvSpPr txBox="1">
            <a:spLocks noChangeArrowheads="1"/>
          </p:cNvSpPr>
          <p:nvPr/>
        </p:nvSpPr>
        <p:spPr bwMode="auto">
          <a:xfrm>
            <a:off x="2394188" y="5482663"/>
            <a:ext cx="2328390" cy="442835"/>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 - Mold Die/Stamping Die</a:t>
            </a:r>
          </a:p>
          <a:p>
            <a:pPr algn="l" defTabSz="913961" fontAlgn="auto">
              <a:spcBef>
                <a:spcPts val="0"/>
              </a:spcBef>
              <a:spcAft>
                <a:spcPts val="0"/>
              </a:spcAft>
              <a:defRPr/>
            </a:pPr>
            <a:r>
              <a:rPr lang="en-US" kern="0" dirty="0">
                <a:solidFill>
                  <a:srgbClr val="002776"/>
                </a:solidFill>
                <a:latin typeface="+mj-lt"/>
              </a:rPr>
              <a:t>   /Assembly machine design</a:t>
            </a:r>
          </a:p>
        </p:txBody>
      </p:sp>
      <p:sp>
        <p:nvSpPr>
          <p:cNvPr id="13" name="Oval 12">
            <a:extLst>
              <a:ext uri="{FF2B5EF4-FFF2-40B4-BE49-F238E27FC236}">
                <a16:creationId xmlns:a16="http://schemas.microsoft.com/office/drawing/2014/main" id="{032AF74C-4888-4BB8-A919-D966CF10B213}"/>
              </a:ext>
            </a:extLst>
          </p:cNvPr>
          <p:cNvSpPr>
            <a:spLocks noChangeArrowheads="1"/>
          </p:cNvSpPr>
          <p:nvPr/>
        </p:nvSpPr>
        <p:spPr bwMode="gray">
          <a:xfrm>
            <a:off x="601656" y="2064833"/>
            <a:ext cx="373766" cy="356688"/>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1</a:t>
            </a:r>
          </a:p>
        </p:txBody>
      </p:sp>
      <p:sp>
        <p:nvSpPr>
          <p:cNvPr id="27" name="Oval 26">
            <a:extLst>
              <a:ext uri="{FF2B5EF4-FFF2-40B4-BE49-F238E27FC236}">
                <a16:creationId xmlns:a16="http://schemas.microsoft.com/office/drawing/2014/main" id="{6EABAB19-C5C1-49C9-8BC5-5F7CA5E9D95E}"/>
              </a:ext>
            </a:extLst>
          </p:cNvPr>
          <p:cNvSpPr>
            <a:spLocks noChangeArrowheads="1"/>
          </p:cNvSpPr>
          <p:nvPr/>
        </p:nvSpPr>
        <p:spPr bwMode="gray">
          <a:xfrm>
            <a:off x="5008250" y="4573638"/>
            <a:ext cx="373766" cy="356688"/>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4</a:t>
            </a:r>
          </a:p>
        </p:txBody>
      </p:sp>
      <p:sp>
        <p:nvSpPr>
          <p:cNvPr id="51" name="テキスト ボックス 50">
            <a:extLst>
              <a:ext uri="{FF2B5EF4-FFF2-40B4-BE49-F238E27FC236}">
                <a16:creationId xmlns:a16="http://schemas.microsoft.com/office/drawing/2014/main" id="{8937AC0A-6EC5-4736-84D7-3B357592453A}"/>
              </a:ext>
            </a:extLst>
          </p:cNvPr>
          <p:cNvSpPr txBox="1"/>
          <p:nvPr/>
        </p:nvSpPr>
        <p:spPr bwMode="gray">
          <a:xfrm>
            <a:off x="6781341" y="1311232"/>
            <a:ext cx="2540324" cy="613614"/>
          </a:xfrm>
          <a:prstGeom prst="rect">
            <a:avLst/>
          </a:prstGeom>
        </p:spPr>
        <p:txBody>
          <a:bodyPr wrap="none" lIns="0" rIns="0" rtlCol="0" anchor="b" anchorCtr="0">
            <a:normAutofit/>
          </a:bodyPr>
          <a:lstStyle/>
          <a:p>
            <a:pPr>
              <a:lnSpc>
                <a:spcPts val="900"/>
              </a:lnSpc>
            </a:pPr>
            <a:r>
              <a:rPr kumimoji="1" lang="en-US" altLang="ja-JP" sz="1300" b="1" i="1" u="sng" dirty="0"/>
              <a:t>Production validation</a:t>
            </a:r>
          </a:p>
          <a:p>
            <a:pPr>
              <a:lnSpc>
                <a:spcPts val="900"/>
              </a:lnSpc>
            </a:pPr>
            <a:endParaRPr kumimoji="1" lang="en-US" altLang="ja-JP" sz="1300" b="1" i="1" u="sng" dirty="0"/>
          </a:p>
          <a:p>
            <a:endParaRPr kumimoji="1" lang="ja-JP" altLang="en-US" sz="1300" b="1" i="1" u="sng" dirty="0">
              <a:solidFill>
                <a:schemeClr val="tx1"/>
              </a:solidFill>
            </a:endParaRPr>
          </a:p>
        </p:txBody>
      </p:sp>
      <p:sp>
        <p:nvSpPr>
          <p:cNvPr id="28" name="Oval 27">
            <a:extLst>
              <a:ext uri="{FF2B5EF4-FFF2-40B4-BE49-F238E27FC236}">
                <a16:creationId xmlns:a16="http://schemas.microsoft.com/office/drawing/2014/main" id="{2E12D42A-ECC4-48E8-9A65-F5076BFE4749}"/>
              </a:ext>
            </a:extLst>
          </p:cNvPr>
          <p:cNvSpPr>
            <a:spLocks noChangeArrowheads="1"/>
          </p:cNvSpPr>
          <p:nvPr/>
        </p:nvSpPr>
        <p:spPr bwMode="gray">
          <a:xfrm>
            <a:off x="6335725" y="1347974"/>
            <a:ext cx="373766" cy="356688"/>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5</a:t>
            </a:r>
          </a:p>
        </p:txBody>
      </p:sp>
      <p:sp>
        <p:nvSpPr>
          <p:cNvPr id="30" name="Oval 29">
            <a:extLst>
              <a:ext uri="{FF2B5EF4-FFF2-40B4-BE49-F238E27FC236}">
                <a16:creationId xmlns:a16="http://schemas.microsoft.com/office/drawing/2014/main" id="{1F289621-C8DD-44CC-94E4-CCBBE5737121}"/>
              </a:ext>
            </a:extLst>
          </p:cNvPr>
          <p:cNvSpPr>
            <a:spLocks noChangeArrowheads="1"/>
          </p:cNvSpPr>
          <p:nvPr/>
        </p:nvSpPr>
        <p:spPr bwMode="gray">
          <a:xfrm>
            <a:off x="8227354" y="4348636"/>
            <a:ext cx="373766" cy="356688"/>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6</a:t>
            </a:r>
          </a:p>
        </p:txBody>
      </p:sp>
      <p:sp>
        <p:nvSpPr>
          <p:cNvPr id="53" name="Text Box 24">
            <a:extLst>
              <a:ext uri="{FF2B5EF4-FFF2-40B4-BE49-F238E27FC236}">
                <a16:creationId xmlns:a16="http://schemas.microsoft.com/office/drawing/2014/main" id="{EAC147EB-23EF-4EE2-B221-BE2F8A64AC01}"/>
              </a:ext>
            </a:extLst>
          </p:cNvPr>
          <p:cNvSpPr txBox="1">
            <a:spLocks noChangeArrowheads="1"/>
          </p:cNvSpPr>
          <p:nvPr/>
        </p:nvSpPr>
        <p:spPr bwMode="auto">
          <a:xfrm>
            <a:off x="846508" y="3827063"/>
            <a:ext cx="2478882" cy="207308"/>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 Storage of FMEA into Stature</a:t>
            </a:r>
          </a:p>
        </p:txBody>
      </p:sp>
      <p:sp>
        <p:nvSpPr>
          <p:cNvPr id="54" name="テキスト ボックス 53">
            <a:extLst>
              <a:ext uri="{FF2B5EF4-FFF2-40B4-BE49-F238E27FC236}">
                <a16:creationId xmlns:a16="http://schemas.microsoft.com/office/drawing/2014/main" id="{85C9C508-C7EE-4F77-AE43-F8947870A232}"/>
              </a:ext>
            </a:extLst>
          </p:cNvPr>
          <p:cNvSpPr txBox="1"/>
          <p:nvPr/>
        </p:nvSpPr>
        <p:spPr bwMode="gray">
          <a:xfrm>
            <a:off x="9539666" y="979683"/>
            <a:ext cx="2396970" cy="535971"/>
          </a:xfrm>
          <a:prstGeom prst="rect">
            <a:avLst/>
          </a:prstGeom>
        </p:spPr>
        <p:txBody>
          <a:bodyPr wrap="none" lIns="0" rIns="0" rtlCol="0" anchor="b" anchorCtr="0">
            <a:normAutofit lnSpcReduction="10000"/>
          </a:bodyPr>
          <a:lstStyle/>
          <a:p>
            <a:pPr>
              <a:lnSpc>
                <a:spcPct val="120000"/>
              </a:lnSpc>
            </a:pPr>
            <a:r>
              <a:rPr kumimoji="1" lang="en-US" altLang="ja-JP" sz="1300" b="1" i="1" u="sng" dirty="0">
                <a:solidFill>
                  <a:schemeClr val="tx1"/>
                </a:solidFill>
              </a:rPr>
              <a:t>Mass productivity</a:t>
            </a:r>
          </a:p>
          <a:p>
            <a:pPr>
              <a:lnSpc>
                <a:spcPct val="120000"/>
              </a:lnSpc>
            </a:pPr>
            <a:r>
              <a:rPr kumimoji="1" lang="en-US" altLang="ja-JP" sz="1300" b="1" i="1" u="sng" dirty="0">
                <a:solidFill>
                  <a:schemeClr val="tx1"/>
                </a:solidFill>
              </a:rPr>
              <a:t>confirmation</a:t>
            </a:r>
          </a:p>
        </p:txBody>
      </p:sp>
      <p:sp>
        <p:nvSpPr>
          <p:cNvPr id="26" name="Oval 25">
            <a:extLst>
              <a:ext uri="{FF2B5EF4-FFF2-40B4-BE49-F238E27FC236}">
                <a16:creationId xmlns:a16="http://schemas.microsoft.com/office/drawing/2014/main" id="{2955288C-C806-4891-9240-DFB031C3690C}"/>
              </a:ext>
            </a:extLst>
          </p:cNvPr>
          <p:cNvSpPr>
            <a:spLocks noChangeArrowheads="1"/>
          </p:cNvSpPr>
          <p:nvPr/>
        </p:nvSpPr>
        <p:spPr bwMode="gray">
          <a:xfrm>
            <a:off x="3433317" y="1798519"/>
            <a:ext cx="373766" cy="360000"/>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3</a:t>
            </a:r>
          </a:p>
        </p:txBody>
      </p:sp>
      <p:sp>
        <p:nvSpPr>
          <p:cNvPr id="39" name="テキスト ボックス 38">
            <a:extLst>
              <a:ext uri="{FF2B5EF4-FFF2-40B4-BE49-F238E27FC236}">
                <a16:creationId xmlns:a16="http://schemas.microsoft.com/office/drawing/2014/main" id="{C0C774DD-4FBA-4FCC-AC01-8E56DD951DBF}"/>
              </a:ext>
            </a:extLst>
          </p:cNvPr>
          <p:cNvSpPr txBox="1"/>
          <p:nvPr/>
        </p:nvSpPr>
        <p:spPr bwMode="gray">
          <a:xfrm>
            <a:off x="5416533" y="4549549"/>
            <a:ext cx="2540324" cy="318703"/>
          </a:xfrm>
          <a:prstGeom prst="rect">
            <a:avLst/>
          </a:prstGeom>
        </p:spPr>
        <p:txBody>
          <a:bodyPr wrap="none" lIns="0" rIns="0" rtlCol="0" anchor="b" anchorCtr="0">
            <a:noAutofit/>
          </a:bodyPr>
          <a:lstStyle/>
          <a:p>
            <a:r>
              <a:rPr kumimoji="1" lang="en-US" altLang="ja-JP" sz="1300" b="1" i="1" u="sng" dirty="0">
                <a:solidFill>
                  <a:schemeClr val="tx1"/>
                </a:solidFill>
              </a:rPr>
              <a:t>Design verification</a:t>
            </a:r>
            <a:endParaRPr kumimoji="1" lang="ja-JP" altLang="en-US" sz="1300" b="1" i="1" u="sng" dirty="0">
              <a:solidFill>
                <a:schemeClr val="tx1"/>
              </a:solidFill>
            </a:endParaRPr>
          </a:p>
        </p:txBody>
      </p:sp>
      <p:sp>
        <p:nvSpPr>
          <p:cNvPr id="43" name="Text Box 24">
            <a:extLst>
              <a:ext uri="{FF2B5EF4-FFF2-40B4-BE49-F238E27FC236}">
                <a16:creationId xmlns:a16="http://schemas.microsoft.com/office/drawing/2014/main" id="{68739742-B105-4730-9A57-8D100C8952E4}"/>
              </a:ext>
            </a:extLst>
          </p:cNvPr>
          <p:cNvSpPr txBox="1">
            <a:spLocks noChangeArrowheads="1"/>
          </p:cNvSpPr>
          <p:nvPr/>
        </p:nvSpPr>
        <p:spPr bwMode="auto">
          <a:xfrm>
            <a:off x="9517911" y="1549894"/>
            <a:ext cx="2008600" cy="487050"/>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kern="0" dirty="0">
                <a:solidFill>
                  <a:srgbClr val="002776"/>
                </a:solidFill>
                <a:latin typeface="+mj-lt"/>
              </a:rPr>
              <a:t>- Early stage (Start-up)</a:t>
            </a:r>
          </a:p>
          <a:p>
            <a:pPr algn="l" defTabSz="913961" fontAlgn="auto">
              <a:spcBef>
                <a:spcPts val="0"/>
              </a:spcBef>
              <a:spcAft>
                <a:spcPts val="0"/>
              </a:spcAft>
              <a:defRPr/>
            </a:pPr>
            <a:r>
              <a:rPr lang="en-US" altLang="ja-JP" kern="0" dirty="0">
                <a:solidFill>
                  <a:srgbClr val="002776"/>
                </a:solidFill>
                <a:latin typeface="+mj-lt"/>
              </a:rPr>
              <a:t>   instability control</a:t>
            </a:r>
          </a:p>
        </p:txBody>
      </p:sp>
      <p:sp>
        <p:nvSpPr>
          <p:cNvPr id="45" name="Text Box 24">
            <a:extLst>
              <a:ext uri="{FF2B5EF4-FFF2-40B4-BE49-F238E27FC236}">
                <a16:creationId xmlns:a16="http://schemas.microsoft.com/office/drawing/2014/main" id="{C803B860-D307-44D1-9226-08781056A336}"/>
              </a:ext>
            </a:extLst>
          </p:cNvPr>
          <p:cNvSpPr txBox="1">
            <a:spLocks noChangeArrowheads="1"/>
          </p:cNvSpPr>
          <p:nvPr/>
        </p:nvSpPr>
        <p:spPr bwMode="auto">
          <a:xfrm>
            <a:off x="5298895" y="5436641"/>
            <a:ext cx="2855291" cy="331731"/>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kern="0" dirty="0">
                <a:solidFill>
                  <a:srgbClr val="002776"/>
                </a:solidFill>
                <a:latin typeface="+mj-lt"/>
              </a:rPr>
              <a:t>- Product SPEC. test and storage of  </a:t>
            </a:r>
            <a:br>
              <a:rPr lang="en-US" altLang="ja-JP" kern="0" dirty="0">
                <a:solidFill>
                  <a:srgbClr val="002776"/>
                </a:solidFill>
                <a:latin typeface="+mj-lt"/>
              </a:rPr>
            </a:br>
            <a:r>
              <a:rPr lang="en-US" altLang="ja-JP" kern="0" dirty="0">
                <a:solidFill>
                  <a:srgbClr val="002776"/>
                </a:solidFill>
                <a:latin typeface="+mj-lt"/>
              </a:rPr>
              <a:t>  test report into *** </a:t>
            </a:r>
            <a:r>
              <a:rPr lang="ja-JP" altLang="en-US" kern="0" dirty="0">
                <a:solidFill>
                  <a:srgbClr val="002776"/>
                </a:solidFill>
                <a:latin typeface="+mj-lt"/>
              </a:rPr>
              <a:t> </a:t>
            </a:r>
            <a:r>
              <a:rPr lang="en-US" altLang="ja-JP" kern="0" dirty="0">
                <a:solidFill>
                  <a:srgbClr val="002776"/>
                </a:solidFill>
                <a:latin typeface="+mj-lt"/>
              </a:rPr>
              <a:t> </a:t>
            </a:r>
          </a:p>
        </p:txBody>
      </p:sp>
      <p:sp>
        <p:nvSpPr>
          <p:cNvPr id="47" name="Text Box 24">
            <a:extLst>
              <a:ext uri="{FF2B5EF4-FFF2-40B4-BE49-F238E27FC236}">
                <a16:creationId xmlns:a16="http://schemas.microsoft.com/office/drawing/2014/main" id="{EEFA5503-790C-4DA5-AD3F-70FB8B198CC1}"/>
              </a:ext>
            </a:extLst>
          </p:cNvPr>
          <p:cNvSpPr txBox="1">
            <a:spLocks noChangeArrowheads="1"/>
          </p:cNvSpPr>
          <p:nvPr/>
        </p:nvSpPr>
        <p:spPr bwMode="auto">
          <a:xfrm>
            <a:off x="5268873" y="4881831"/>
            <a:ext cx="3082226" cy="356688"/>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kern="0" dirty="0">
                <a:solidFill>
                  <a:srgbClr val="002776"/>
                </a:solidFill>
                <a:latin typeface="+mj-lt"/>
              </a:rPr>
              <a:t> - Environmental data approval</a:t>
            </a:r>
          </a:p>
          <a:p>
            <a:pPr algn="l" defTabSz="913961" fontAlgn="auto">
              <a:spcBef>
                <a:spcPts val="0"/>
              </a:spcBef>
              <a:spcAft>
                <a:spcPts val="0"/>
              </a:spcAft>
              <a:defRPr/>
            </a:pPr>
            <a:r>
              <a:rPr lang="en-US" altLang="ja-JP" kern="0" dirty="0">
                <a:solidFill>
                  <a:srgbClr val="002776"/>
                </a:solidFill>
                <a:latin typeface="+mj-lt"/>
              </a:rPr>
              <a:t>   with MAS System </a:t>
            </a:r>
          </a:p>
        </p:txBody>
      </p:sp>
      <p:sp>
        <p:nvSpPr>
          <p:cNvPr id="48" name="Text Box 24">
            <a:extLst>
              <a:ext uri="{FF2B5EF4-FFF2-40B4-BE49-F238E27FC236}">
                <a16:creationId xmlns:a16="http://schemas.microsoft.com/office/drawing/2014/main" id="{4ED45892-3740-4AF3-A58E-56E31EACF3BD}"/>
              </a:ext>
            </a:extLst>
          </p:cNvPr>
          <p:cNvSpPr txBox="1">
            <a:spLocks noChangeArrowheads="1"/>
          </p:cNvSpPr>
          <p:nvPr/>
        </p:nvSpPr>
        <p:spPr bwMode="auto">
          <a:xfrm>
            <a:off x="3689343" y="2850091"/>
            <a:ext cx="2167759" cy="221621"/>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kern="0" dirty="0">
                <a:solidFill>
                  <a:srgbClr val="002776"/>
                </a:solidFill>
                <a:latin typeface="+mj-lt"/>
              </a:rPr>
              <a:t>- Preproduction</a:t>
            </a:r>
          </a:p>
        </p:txBody>
      </p:sp>
      <p:sp>
        <p:nvSpPr>
          <p:cNvPr id="50" name="Text Box 24">
            <a:extLst>
              <a:ext uri="{FF2B5EF4-FFF2-40B4-BE49-F238E27FC236}">
                <a16:creationId xmlns:a16="http://schemas.microsoft.com/office/drawing/2014/main" id="{DD7EBB32-8A4F-4921-B24E-C5F88C9C0E4D}"/>
              </a:ext>
            </a:extLst>
          </p:cNvPr>
          <p:cNvSpPr txBox="1">
            <a:spLocks noChangeArrowheads="1"/>
          </p:cNvSpPr>
          <p:nvPr/>
        </p:nvSpPr>
        <p:spPr bwMode="auto">
          <a:xfrm>
            <a:off x="6631845" y="2234897"/>
            <a:ext cx="2558872" cy="249760"/>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kern="0" dirty="0">
                <a:solidFill>
                  <a:srgbClr val="002776"/>
                </a:solidFill>
                <a:latin typeface="+mj-lt"/>
              </a:rPr>
              <a:t>- FAI (quality evaluation report) </a:t>
            </a:r>
          </a:p>
        </p:txBody>
      </p:sp>
      <p:sp>
        <p:nvSpPr>
          <p:cNvPr id="52" name="Text Box 24">
            <a:extLst>
              <a:ext uri="{FF2B5EF4-FFF2-40B4-BE49-F238E27FC236}">
                <a16:creationId xmlns:a16="http://schemas.microsoft.com/office/drawing/2014/main" id="{3B81AD21-363D-4EE2-ADE9-1120787BC5EA}"/>
              </a:ext>
            </a:extLst>
          </p:cNvPr>
          <p:cNvSpPr txBox="1">
            <a:spLocks noChangeArrowheads="1"/>
          </p:cNvSpPr>
          <p:nvPr/>
        </p:nvSpPr>
        <p:spPr bwMode="auto">
          <a:xfrm>
            <a:off x="6631719" y="1662724"/>
            <a:ext cx="2558998" cy="483725"/>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kern="0" dirty="0">
                <a:solidFill>
                  <a:srgbClr val="002776"/>
                </a:solidFill>
                <a:latin typeface="+mj-lt"/>
              </a:rPr>
              <a:t>- Inspection Standard creation</a:t>
            </a:r>
          </a:p>
          <a:p>
            <a:pPr algn="l" defTabSz="913961" fontAlgn="auto">
              <a:spcBef>
                <a:spcPts val="0"/>
              </a:spcBef>
              <a:spcAft>
                <a:spcPts val="0"/>
              </a:spcAft>
              <a:defRPr/>
            </a:pPr>
            <a:r>
              <a:rPr lang="en-US" altLang="ja-JP" kern="0" dirty="0">
                <a:solidFill>
                  <a:srgbClr val="002776"/>
                </a:solidFill>
                <a:latin typeface="+mj-lt"/>
              </a:rPr>
              <a:t>  and inform to manufacturing  </a:t>
            </a:r>
          </a:p>
          <a:p>
            <a:pPr algn="l" defTabSz="913961" fontAlgn="auto">
              <a:spcBef>
                <a:spcPts val="0"/>
              </a:spcBef>
              <a:spcAft>
                <a:spcPts val="0"/>
              </a:spcAft>
              <a:defRPr/>
            </a:pPr>
            <a:r>
              <a:rPr lang="en-US" altLang="ja-JP" kern="0" dirty="0">
                <a:solidFill>
                  <a:srgbClr val="002776"/>
                </a:solidFill>
                <a:latin typeface="+mj-lt"/>
              </a:rPr>
              <a:t>  location by *** </a:t>
            </a:r>
          </a:p>
        </p:txBody>
      </p:sp>
      <p:sp>
        <p:nvSpPr>
          <p:cNvPr id="55" name="テキスト ボックス 54">
            <a:extLst>
              <a:ext uri="{FF2B5EF4-FFF2-40B4-BE49-F238E27FC236}">
                <a16:creationId xmlns:a16="http://schemas.microsoft.com/office/drawing/2014/main" id="{CBB765F1-1AA0-4D11-81B5-D4307F865D05}"/>
              </a:ext>
            </a:extLst>
          </p:cNvPr>
          <p:cNvSpPr txBox="1"/>
          <p:nvPr/>
        </p:nvSpPr>
        <p:spPr bwMode="gray">
          <a:xfrm>
            <a:off x="3835050" y="1823084"/>
            <a:ext cx="2398093" cy="476566"/>
          </a:xfrm>
          <a:prstGeom prst="rect">
            <a:avLst/>
          </a:prstGeom>
        </p:spPr>
        <p:txBody>
          <a:bodyPr wrap="none" lIns="0" rIns="0" rtlCol="0" anchor="b" anchorCtr="0">
            <a:noAutofit/>
          </a:bodyPr>
          <a:lstStyle/>
          <a:p>
            <a:r>
              <a:rPr kumimoji="1" lang="en-US" altLang="ja-JP" sz="1300" b="1" i="1" u="sng" dirty="0"/>
              <a:t>Equipment manufacture</a:t>
            </a:r>
          </a:p>
          <a:p>
            <a:r>
              <a:rPr kumimoji="1" lang="en-US" altLang="ja-JP" sz="1300" b="1" i="1" u="sng" dirty="0"/>
              <a:t>And Preproduction </a:t>
            </a:r>
            <a:endParaRPr kumimoji="1" lang="ja-JP" altLang="en-US" sz="1300" b="1" i="1" u="sng" dirty="0">
              <a:solidFill>
                <a:schemeClr val="tx1"/>
              </a:solidFill>
            </a:endParaRPr>
          </a:p>
        </p:txBody>
      </p:sp>
      <p:sp>
        <p:nvSpPr>
          <p:cNvPr id="18" name="Text Box 24">
            <a:extLst>
              <a:ext uri="{FF2B5EF4-FFF2-40B4-BE49-F238E27FC236}">
                <a16:creationId xmlns:a16="http://schemas.microsoft.com/office/drawing/2014/main" id="{FFC98F6A-C43A-4D2B-AF2D-DF855F9BFC67}"/>
              </a:ext>
            </a:extLst>
          </p:cNvPr>
          <p:cNvSpPr txBox="1">
            <a:spLocks noChangeArrowheads="1"/>
          </p:cNvSpPr>
          <p:nvPr/>
        </p:nvSpPr>
        <p:spPr bwMode="auto">
          <a:xfrm>
            <a:off x="879510" y="2482035"/>
            <a:ext cx="2696052" cy="552822"/>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kern="0" dirty="0">
                <a:solidFill>
                  <a:srgbClr val="002776"/>
                </a:solidFill>
                <a:latin typeface="+mj-lt"/>
              </a:rPr>
              <a:t>- 3D model design, </a:t>
            </a:r>
          </a:p>
          <a:p>
            <a:pPr algn="l" defTabSz="913961" fontAlgn="auto">
              <a:spcBef>
                <a:spcPts val="0"/>
              </a:spcBef>
              <a:spcAft>
                <a:spcPts val="0"/>
              </a:spcAft>
              <a:defRPr/>
            </a:pPr>
            <a:r>
              <a:rPr lang="en-US" altLang="ja-JP" kern="0" dirty="0">
                <a:solidFill>
                  <a:srgbClr val="002776"/>
                </a:solidFill>
                <a:latin typeface="+mj-lt"/>
              </a:rPr>
              <a:t>  3D-&gt;2D conversion,</a:t>
            </a:r>
          </a:p>
          <a:p>
            <a:pPr algn="l" defTabSz="913961" fontAlgn="auto">
              <a:spcBef>
                <a:spcPts val="0"/>
              </a:spcBef>
              <a:spcAft>
                <a:spcPts val="0"/>
              </a:spcAft>
              <a:defRPr/>
            </a:pPr>
            <a:r>
              <a:rPr lang="en-US" altLang="ja-JP" kern="0" dirty="0">
                <a:solidFill>
                  <a:srgbClr val="002776"/>
                </a:solidFill>
                <a:latin typeface="+mj-lt"/>
              </a:rPr>
              <a:t>  2D creation with</a:t>
            </a:r>
            <a:r>
              <a:rPr lang="ja-JP" altLang="en-US" kern="0" dirty="0">
                <a:solidFill>
                  <a:srgbClr val="002776"/>
                </a:solidFill>
                <a:latin typeface="+mj-lt"/>
              </a:rPr>
              <a:t> </a:t>
            </a:r>
            <a:r>
              <a:rPr lang="en-US" altLang="ja-JP" kern="0" dirty="0">
                <a:solidFill>
                  <a:srgbClr val="002776"/>
                </a:solidFill>
                <a:latin typeface="+mj-lt"/>
              </a:rPr>
              <a:t>NX</a:t>
            </a:r>
            <a:r>
              <a:rPr lang="ja-JP" altLang="en-US" kern="0" dirty="0">
                <a:solidFill>
                  <a:srgbClr val="002776"/>
                </a:solidFill>
                <a:latin typeface="+mj-lt"/>
              </a:rPr>
              <a:t> </a:t>
            </a:r>
            <a:r>
              <a:rPr lang="en-US" altLang="ja-JP" kern="0" dirty="0">
                <a:solidFill>
                  <a:srgbClr val="002776"/>
                </a:solidFill>
                <a:latin typeface="+mj-lt"/>
              </a:rPr>
              <a:t>CAD system</a:t>
            </a:r>
            <a:r>
              <a:rPr lang="ja-JP" altLang="en-US" kern="0" dirty="0">
                <a:solidFill>
                  <a:srgbClr val="002776"/>
                </a:solidFill>
                <a:latin typeface="+mj-lt"/>
              </a:rPr>
              <a:t>　</a:t>
            </a:r>
            <a:endParaRPr lang="en-US" altLang="ja-JP" kern="0" dirty="0">
              <a:solidFill>
                <a:srgbClr val="002776"/>
              </a:solidFill>
              <a:latin typeface="+mj-lt"/>
            </a:endParaRPr>
          </a:p>
        </p:txBody>
      </p:sp>
      <p:sp>
        <p:nvSpPr>
          <p:cNvPr id="56" name="テキスト ボックス 55">
            <a:extLst>
              <a:ext uri="{FF2B5EF4-FFF2-40B4-BE49-F238E27FC236}">
                <a16:creationId xmlns:a16="http://schemas.microsoft.com/office/drawing/2014/main" id="{D0227429-5C1E-4029-864E-D00E6F26A16D}"/>
              </a:ext>
            </a:extLst>
          </p:cNvPr>
          <p:cNvSpPr txBox="1"/>
          <p:nvPr/>
        </p:nvSpPr>
        <p:spPr bwMode="gray">
          <a:xfrm>
            <a:off x="8724243" y="4348636"/>
            <a:ext cx="1506055" cy="320401"/>
          </a:xfrm>
          <a:prstGeom prst="rect">
            <a:avLst/>
          </a:prstGeom>
        </p:spPr>
        <p:txBody>
          <a:bodyPr wrap="none" lIns="0" rIns="0" rtlCol="0" anchor="b" anchorCtr="0">
            <a:noAutofit/>
          </a:bodyPr>
          <a:lstStyle/>
          <a:p>
            <a:r>
              <a:rPr kumimoji="1" lang="en-US" altLang="ja-JP" sz="1300" b="1" i="1" u="sng" dirty="0"/>
              <a:t>Product Release</a:t>
            </a:r>
            <a:endParaRPr kumimoji="1" lang="ja-JP" altLang="en-US" sz="1300" b="1" i="1" u="sng" dirty="0">
              <a:solidFill>
                <a:schemeClr val="tx1"/>
              </a:solidFill>
            </a:endParaRPr>
          </a:p>
        </p:txBody>
      </p:sp>
      <p:sp>
        <p:nvSpPr>
          <p:cNvPr id="58" name="Line 28">
            <a:extLst>
              <a:ext uri="{FF2B5EF4-FFF2-40B4-BE49-F238E27FC236}">
                <a16:creationId xmlns:a16="http://schemas.microsoft.com/office/drawing/2014/main" id="{2D3CE1B5-08E6-4120-BDDB-D0E68C327A90}"/>
              </a:ext>
            </a:extLst>
          </p:cNvPr>
          <p:cNvSpPr>
            <a:spLocks noChangeShapeType="1"/>
          </p:cNvSpPr>
          <p:nvPr/>
        </p:nvSpPr>
        <p:spPr bwMode="auto">
          <a:xfrm flipH="1">
            <a:off x="9312345" y="1266386"/>
            <a:ext cx="1" cy="1708474"/>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57" name="Oval 27">
            <a:extLst>
              <a:ext uri="{FF2B5EF4-FFF2-40B4-BE49-F238E27FC236}">
                <a16:creationId xmlns:a16="http://schemas.microsoft.com/office/drawing/2014/main" id="{BB5CD7D5-222F-45BF-AA18-BA2F74B14990}"/>
              </a:ext>
            </a:extLst>
          </p:cNvPr>
          <p:cNvSpPr>
            <a:spLocks noChangeArrowheads="1"/>
          </p:cNvSpPr>
          <p:nvPr/>
        </p:nvSpPr>
        <p:spPr bwMode="gray">
          <a:xfrm>
            <a:off x="9144145" y="995009"/>
            <a:ext cx="373766" cy="356688"/>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7</a:t>
            </a:r>
          </a:p>
        </p:txBody>
      </p:sp>
      <p:sp>
        <p:nvSpPr>
          <p:cNvPr id="59" name="Text Box 24">
            <a:extLst>
              <a:ext uri="{FF2B5EF4-FFF2-40B4-BE49-F238E27FC236}">
                <a16:creationId xmlns:a16="http://schemas.microsoft.com/office/drawing/2014/main" id="{ECC8E5AA-783A-4E11-A310-E5FAD6C1D951}"/>
              </a:ext>
            </a:extLst>
          </p:cNvPr>
          <p:cNvSpPr txBox="1">
            <a:spLocks noChangeArrowheads="1"/>
          </p:cNvSpPr>
          <p:nvPr/>
        </p:nvSpPr>
        <p:spPr bwMode="auto">
          <a:xfrm>
            <a:off x="8500263" y="4711169"/>
            <a:ext cx="3082226" cy="347928"/>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kern="0" dirty="0">
                <a:solidFill>
                  <a:srgbClr val="002776"/>
                </a:solidFill>
                <a:latin typeface="+mj-lt"/>
              </a:rPr>
              <a:t> - Release information announcement</a:t>
            </a:r>
          </a:p>
          <a:p>
            <a:pPr algn="l" defTabSz="913961" fontAlgn="auto">
              <a:spcBef>
                <a:spcPts val="0"/>
              </a:spcBef>
              <a:spcAft>
                <a:spcPts val="0"/>
              </a:spcAft>
              <a:defRPr/>
            </a:pPr>
            <a:r>
              <a:rPr lang="en-US" altLang="ja-JP" kern="0" dirty="0">
                <a:solidFill>
                  <a:srgbClr val="002776"/>
                </a:solidFill>
                <a:latin typeface="+mj-lt"/>
              </a:rPr>
              <a:t>   to the related department by E-mail </a:t>
            </a:r>
          </a:p>
        </p:txBody>
      </p:sp>
      <p:sp>
        <p:nvSpPr>
          <p:cNvPr id="60" name="Text Box 24">
            <a:extLst>
              <a:ext uri="{FF2B5EF4-FFF2-40B4-BE49-F238E27FC236}">
                <a16:creationId xmlns:a16="http://schemas.microsoft.com/office/drawing/2014/main" id="{AF42098F-14FD-4EEE-A75B-ED0E826A2DBB}"/>
              </a:ext>
            </a:extLst>
          </p:cNvPr>
          <p:cNvSpPr txBox="1">
            <a:spLocks noChangeArrowheads="1"/>
          </p:cNvSpPr>
          <p:nvPr/>
        </p:nvSpPr>
        <p:spPr bwMode="auto">
          <a:xfrm>
            <a:off x="3653090" y="2431255"/>
            <a:ext cx="2758418" cy="442835"/>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 - Mold Die/Stamping Die/</a:t>
            </a:r>
          </a:p>
          <a:p>
            <a:pPr algn="l" defTabSz="913961" fontAlgn="auto">
              <a:spcBef>
                <a:spcPts val="0"/>
              </a:spcBef>
              <a:spcAft>
                <a:spcPts val="0"/>
              </a:spcAft>
              <a:defRPr/>
            </a:pPr>
            <a:r>
              <a:rPr lang="en-US" kern="0" dirty="0">
                <a:solidFill>
                  <a:srgbClr val="002776"/>
                </a:solidFill>
                <a:latin typeface="+mj-lt"/>
              </a:rPr>
              <a:t>   Assembly machine manufacture</a:t>
            </a:r>
          </a:p>
        </p:txBody>
      </p:sp>
      <p:sp>
        <p:nvSpPr>
          <p:cNvPr id="61" name="Text Box 24">
            <a:extLst>
              <a:ext uri="{FF2B5EF4-FFF2-40B4-BE49-F238E27FC236}">
                <a16:creationId xmlns:a16="http://schemas.microsoft.com/office/drawing/2014/main" id="{E5FE8E51-0B37-479C-AF2E-C4298667999C}"/>
              </a:ext>
            </a:extLst>
          </p:cNvPr>
          <p:cNvSpPr txBox="1">
            <a:spLocks noChangeArrowheads="1"/>
          </p:cNvSpPr>
          <p:nvPr/>
        </p:nvSpPr>
        <p:spPr bwMode="auto">
          <a:xfrm>
            <a:off x="5302191" y="5213933"/>
            <a:ext cx="2434391" cy="222337"/>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kern="0" dirty="0">
                <a:solidFill>
                  <a:srgbClr val="002776"/>
                </a:solidFill>
                <a:latin typeface="+mj-lt"/>
              </a:rPr>
              <a:t>- Engineering evaluation</a:t>
            </a:r>
          </a:p>
        </p:txBody>
      </p:sp>
      <p:sp>
        <p:nvSpPr>
          <p:cNvPr id="62" name="Text Box 24">
            <a:extLst>
              <a:ext uri="{FF2B5EF4-FFF2-40B4-BE49-F238E27FC236}">
                <a16:creationId xmlns:a16="http://schemas.microsoft.com/office/drawing/2014/main" id="{257A7901-3AF4-4F97-9F6C-ECCFB21F4DCA}"/>
              </a:ext>
            </a:extLst>
          </p:cNvPr>
          <p:cNvSpPr txBox="1">
            <a:spLocks noChangeArrowheads="1"/>
          </p:cNvSpPr>
          <p:nvPr/>
        </p:nvSpPr>
        <p:spPr bwMode="auto">
          <a:xfrm>
            <a:off x="5302191" y="5838857"/>
            <a:ext cx="2434391" cy="287147"/>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kern="0" dirty="0">
                <a:solidFill>
                  <a:srgbClr val="002776"/>
                </a:solidFill>
                <a:latin typeface="+mj-lt"/>
              </a:rPr>
              <a:t>- Packaging evaluation</a:t>
            </a:r>
          </a:p>
        </p:txBody>
      </p:sp>
      <p:sp>
        <p:nvSpPr>
          <p:cNvPr id="44" name="Text Box 24">
            <a:extLst>
              <a:ext uri="{FF2B5EF4-FFF2-40B4-BE49-F238E27FC236}">
                <a16:creationId xmlns:a16="http://schemas.microsoft.com/office/drawing/2014/main" id="{A935A408-6A9B-413D-8E99-7165E1573A02}"/>
              </a:ext>
            </a:extLst>
          </p:cNvPr>
          <p:cNvSpPr txBox="1">
            <a:spLocks noChangeArrowheads="1"/>
          </p:cNvSpPr>
          <p:nvPr/>
        </p:nvSpPr>
        <p:spPr bwMode="auto">
          <a:xfrm>
            <a:off x="8479245" y="5105975"/>
            <a:ext cx="3082226" cy="290313"/>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kern="0" dirty="0">
                <a:solidFill>
                  <a:srgbClr val="002776"/>
                </a:solidFill>
                <a:latin typeface="+mj-lt"/>
              </a:rPr>
              <a:t> - Update of SAP sales status</a:t>
            </a:r>
          </a:p>
        </p:txBody>
      </p:sp>
    </p:spTree>
    <p:extLst>
      <p:ext uri="{BB962C8B-B14F-4D97-AF65-F5344CB8AC3E}">
        <p14:creationId xmlns:p14="http://schemas.microsoft.com/office/powerpoint/2010/main" val="405008813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6705D2-9A1E-4A1F-80F4-6BC1AE8E4025}"/>
              </a:ext>
            </a:extLst>
          </p:cNvPr>
          <p:cNvSpPr>
            <a:spLocks noGrp="1"/>
          </p:cNvSpPr>
          <p:nvPr>
            <p:ph type="title"/>
          </p:nvPr>
        </p:nvSpPr>
        <p:spPr>
          <a:xfrm>
            <a:off x="469900" y="402587"/>
            <a:ext cx="11252200" cy="334102"/>
          </a:xfrm>
        </p:spPr>
        <p:txBody>
          <a:bodyPr/>
          <a:lstStyle/>
          <a:p>
            <a:r>
              <a:rPr lang="en-US" sz="2400" b="1" dirty="0"/>
              <a:t>Digital Product Development</a:t>
            </a:r>
          </a:p>
        </p:txBody>
      </p:sp>
      <p:sp>
        <p:nvSpPr>
          <p:cNvPr id="204" name="Text Box 28">
            <a:extLst>
              <a:ext uri="{FF2B5EF4-FFF2-40B4-BE49-F238E27FC236}">
                <a16:creationId xmlns:a16="http://schemas.microsoft.com/office/drawing/2014/main" id="{737C9507-91B5-4B49-B0BD-98965E1C42F0}"/>
              </a:ext>
            </a:extLst>
          </p:cNvPr>
          <p:cNvSpPr txBox="1">
            <a:spLocks noChangeArrowheads="1"/>
          </p:cNvSpPr>
          <p:nvPr/>
        </p:nvSpPr>
        <p:spPr bwMode="auto">
          <a:xfrm>
            <a:off x="232751" y="954777"/>
            <a:ext cx="850504" cy="236337"/>
          </a:xfrm>
          <a:prstGeom prst="rect">
            <a:avLst/>
          </a:prstGeom>
          <a:noFill/>
          <a:ln w="25400">
            <a:noFill/>
            <a:miter lim="800000"/>
            <a:headEnd/>
            <a:tailEnd type="none" w="med" len="lg"/>
          </a:ln>
        </p:spPr>
        <p:txBody>
          <a:bodyPr wrap="square" lIns="0" tIns="54859" rIns="109718" bIns="54859">
            <a:spAutoFit/>
          </a:bodyPr>
          <a:lstStyle/>
          <a:p>
            <a:pPr marL="274320" indent="-274320" algn="r" defTabSz="1082040" eaLnBrk="0" fontAlgn="base" hangingPunct="0">
              <a:lnSpc>
                <a:spcPct val="85000"/>
              </a:lnSpc>
              <a:spcBef>
                <a:spcPct val="0"/>
              </a:spcBef>
              <a:spcAft>
                <a:spcPct val="0"/>
              </a:spcAft>
              <a:buClr>
                <a:srgbClr val="8099CC"/>
              </a:buClr>
              <a:defRPr/>
            </a:pPr>
            <a:r>
              <a:rPr lang="en-US" altLang="en-US" sz="960" b="1" dirty="0">
                <a:solidFill>
                  <a:srgbClr val="000000"/>
                </a:solidFill>
                <a:latin typeface="Arial" charset="0"/>
                <a:cs typeface="Arial" charset="0"/>
              </a:rPr>
              <a:t>Maturity</a:t>
            </a:r>
          </a:p>
        </p:txBody>
      </p:sp>
      <p:sp>
        <p:nvSpPr>
          <p:cNvPr id="205" name="Text Box 11">
            <a:extLst>
              <a:ext uri="{FF2B5EF4-FFF2-40B4-BE49-F238E27FC236}">
                <a16:creationId xmlns:a16="http://schemas.microsoft.com/office/drawing/2014/main" id="{9EAF6433-35B6-409C-A898-DEB420091EB9}"/>
              </a:ext>
            </a:extLst>
          </p:cNvPr>
          <p:cNvSpPr txBox="1">
            <a:spLocks noChangeArrowheads="1"/>
          </p:cNvSpPr>
          <p:nvPr/>
        </p:nvSpPr>
        <p:spPr bwMode="auto">
          <a:xfrm rot="-5400000">
            <a:off x="91599" y="4460611"/>
            <a:ext cx="574558" cy="322882"/>
          </a:xfrm>
          <a:prstGeom prst="rect">
            <a:avLst/>
          </a:prstGeom>
          <a:noFill/>
          <a:ln w="12700" algn="ctr">
            <a:noFill/>
            <a:miter lim="800000"/>
            <a:headEnd/>
            <a:tailEnd/>
          </a:ln>
        </p:spPr>
        <p:txBody>
          <a:bodyPr lIns="0" tIns="0" rIns="0" bIns="0" anchor="b"/>
          <a:lstStyle/>
          <a:p>
            <a:pPr algn="ctr" defTabSz="1082040" eaLnBrk="0" fontAlgn="base" hangingPunct="0">
              <a:lnSpc>
                <a:spcPct val="90000"/>
              </a:lnSpc>
              <a:spcBef>
                <a:spcPct val="50000"/>
              </a:spcBef>
              <a:spcAft>
                <a:spcPct val="0"/>
              </a:spcAft>
              <a:buClr>
                <a:srgbClr val="8099CC"/>
              </a:buClr>
              <a:buSzPct val="100000"/>
              <a:defRPr/>
            </a:pPr>
            <a:r>
              <a:rPr lang="en-US" sz="960" b="1" dirty="0">
                <a:solidFill>
                  <a:srgbClr val="000000"/>
                </a:solidFill>
                <a:latin typeface="Arial" charset="0"/>
                <a:cs typeface="Arial" charset="0"/>
              </a:rPr>
              <a:t>Low</a:t>
            </a:r>
          </a:p>
        </p:txBody>
      </p:sp>
      <p:grpSp>
        <p:nvGrpSpPr>
          <p:cNvPr id="201" name="Group 200">
            <a:extLst>
              <a:ext uri="{FF2B5EF4-FFF2-40B4-BE49-F238E27FC236}">
                <a16:creationId xmlns:a16="http://schemas.microsoft.com/office/drawing/2014/main" id="{F72E6132-C9F5-49DF-99A4-B31CFBD4BEE0}"/>
              </a:ext>
            </a:extLst>
          </p:cNvPr>
          <p:cNvGrpSpPr/>
          <p:nvPr/>
        </p:nvGrpSpPr>
        <p:grpSpPr>
          <a:xfrm>
            <a:off x="602971" y="1211825"/>
            <a:ext cx="10750837" cy="4359416"/>
            <a:chOff x="1092839" y="1211825"/>
            <a:chExt cx="10290659" cy="4031777"/>
          </a:xfrm>
        </p:grpSpPr>
        <p:sp>
          <p:nvSpPr>
            <p:cNvPr id="202" name="Line 16">
              <a:extLst>
                <a:ext uri="{FF2B5EF4-FFF2-40B4-BE49-F238E27FC236}">
                  <a16:creationId xmlns:a16="http://schemas.microsoft.com/office/drawing/2014/main" id="{CFB4B60E-83C9-4759-8513-4A6D12910087}"/>
                </a:ext>
              </a:extLst>
            </p:cNvPr>
            <p:cNvSpPr>
              <a:spLocks noChangeShapeType="1"/>
            </p:cNvSpPr>
            <p:nvPr/>
          </p:nvSpPr>
          <p:spPr bwMode="auto">
            <a:xfrm flipV="1">
              <a:off x="1092839" y="5243602"/>
              <a:ext cx="10290659" cy="0"/>
            </a:xfrm>
            <a:prstGeom prst="line">
              <a:avLst/>
            </a:prstGeom>
            <a:noFill/>
            <a:ln w="38100">
              <a:solidFill>
                <a:schemeClr val="tx1"/>
              </a:solidFill>
              <a:round/>
              <a:headEnd/>
              <a:tailEnd/>
            </a:ln>
          </p:spPr>
          <p:txBody>
            <a:bodyPr/>
            <a:lstStyle/>
            <a:p>
              <a:pPr defTabSz="1097280" fontAlgn="base">
                <a:spcBef>
                  <a:spcPct val="0"/>
                </a:spcBef>
                <a:spcAft>
                  <a:spcPct val="0"/>
                </a:spcAft>
                <a:defRPr/>
              </a:pPr>
              <a:endParaRPr lang="en-US" sz="960" dirty="0">
                <a:solidFill>
                  <a:srgbClr val="000000"/>
                </a:solidFill>
                <a:latin typeface="Arial" charset="0"/>
                <a:cs typeface="Arial" charset="0"/>
              </a:endParaRPr>
            </a:p>
          </p:txBody>
        </p:sp>
        <p:sp>
          <p:nvSpPr>
            <p:cNvPr id="203" name="Line 15">
              <a:extLst>
                <a:ext uri="{FF2B5EF4-FFF2-40B4-BE49-F238E27FC236}">
                  <a16:creationId xmlns:a16="http://schemas.microsoft.com/office/drawing/2014/main" id="{98BFC8BF-2277-476B-AEBC-9EF18492826C}"/>
                </a:ext>
              </a:extLst>
            </p:cNvPr>
            <p:cNvSpPr>
              <a:spLocks noChangeShapeType="1"/>
            </p:cNvSpPr>
            <p:nvPr/>
          </p:nvSpPr>
          <p:spPr bwMode="auto">
            <a:xfrm flipV="1">
              <a:off x="1111657" y="1211825"/>
              <a:ext cx="0" cy="4031776"/>
            </a:xfrm>
            <a:prstGeom prst="line">
              <a:avLst/>
            </a:prstGeom>
            <a:noFill/>
            <a:ln w="38100">
              <a:solidFill>
                <a:srgbClr val="000066"/>
              </a:solidFill>
              <a:round/>
              <a:headEnd/>
              <a:tailEnd type="triangle" w="med" len="med"/>
            </a:ln>
          </p:spPr>
          <p:txBody>
            <a:bodyPr/>
            <a:lstStyle/>
            <a:p>
              <a:pPr defTabSz="1097280" eaLnBrk="0" hangingPunct="0">
                <a:lnSpc>
                  <a:spcPct val="106000"/>
                </a:lnSpc>
                <a:spcBef>
                  <a:spcPct val="50000"/>
                </a:spcBef>
                <a:buSzPct val="100000"/>
                <a:defRPr/>
              </a:pPr>
              <a:endParaRPr lang="en-US" sz="960" kern="0" dirty="0">
                <a:solidFill>
                  <a:srgbClr val="000000"/>
                </a:solidFill>
                <a:latin typeface="Arial"/>
                <a:cs typeface="Arial" charset="0"/>
              </a:endParaRPr>
            </a:p>
          </p:txBody>
        </p:sp>
      </p:grpSp>
      <p:sp>
        <p:nvSpPr>
          <p:cNvPr id="206" name="Text Box 12">
            <a:extLst>
              <a:ext uri="{FF2B5EF4-FFF2-40B4-BE49-F238E27FC236}">
                <a16:creationId xmlns:a16="http://schemas.microsoft.com/office/drawing/2014/main" id="{28BC69AA-1112-4FDB-909B-E7738EA7C9A1}"/>
              </a:ext>
            </a:extLst>
          </p:cNvPr>
          <p:cNvSpPr txBox="1">
            <a:spLocks noChangeArrowheads="1"/>
          </p:cNvSpPr>
          <p:nvPr/>
        </p:nvSpPr>
        <p:spPr bwMode="auto">
          <a:xfrm rot="-5400000">
            <a:off x="139476" y="1746306"/>
            <a:ext cx="649841" cy="248914"/>
          </a:xfrm>
          <a:prstGeom prst="rect">
            <a:avLst/>
          </a:prstGeom>
          <a:noFill/>
          <a:ln w="12700" algn="ctr">
            <a:noFill/>
            <a:miter lim="800000"/>
            <a:headEnd/>
            <a:tailEnd/>
          </a:ln>
        </p:spPr>
        <p:txBody>
          <a:bodyPr wrap="square" lIns="0" rIns="0" anchor="b">
            <a:spAutoFit/>
          </a:bodyPr>
          <a:lstStyle/>
          <a:p>
            <a:pPr algn="ctr" defTabSz="1097280" eaLnBrk="0" fontAlgn="base" hangingPunct="0">
              <a:lnSpc>
                <a:spcPct val="106000"/>
              </a:lnSpc>
              <a:spcBef>
                <a:spcPct val="50000"/>
              </a:spcBef>
              <a:spcAft>
                <a:spcPct val="0"/>
              </a:spcAft>
              <a:buSzPct val="100000"/>
              <a:defRPr/>
            </a:pPr>
            <a:r>
              <a:rPr lang="en-US" sz="960" b="1" dirty="0">
                <a:solidFill>
                  <a:srgbClr val="000000"/>
                </a:solidFill>
                <a:latin typeface="Arial" charset="0"/>
                <a:cs typeface="Arial" charset="0"/>
              </a:rPr>
              <a:t>Advanced</a:t>
            </a:r>
          </a:p>
        </p:txBody>
      </p:sp>
      <p:sp>
        <p:nvSpPr>
          <p:cNvPr id="207" name="Text Box 13">
            <a:extLst>
              <a:ext uri="{FF2B5EF4-FFF2-40B4-BE49-F238E27FC236}">
                <a16:creationId xmlns:a16="http://schemas.microsoft.com/office/drawing/2014/main" id="{4CB4F9C5-D63F-45F2-A775-C8D481D51B40}"/>
              </a:ext>
            </a:extLst>
          </p:cNvPr>
          <p:cNvSpPr txBox="1">
            <a:spLocks noChangeArrowheads="1"/>
          </p:cNvSpPr>
          <p:nvPr/>
        </p:nvSpPr>
        <p:spPr bwMode="auto">
          <a:xfrm rot="-5400000">
            <a:off x="196119" y="3218655"/>
            <a:ext cx="544176" cy="248914"/>
          </a:xfrm>
          <a:prstGeom prst="rect">
            <a:avLst/>
          </a:prstGeom>
          <a:noFill/>
          <a:ln w="12700" algn="ctr">
            <a:noFill/>
            <a:miter lim="800000"/>
            <a:headEnd/>
            <a:tailEnd/>
          </a:ln>
        </p:spPr>
        <p:txBody>
          <a:bodyPr wrap="square" lIns="0" rIns="0" anchor="b">
            <a:spAutoFit/>
          </a:bodyPr>
          <a:lstStyle/>
          <a:p>
            <a:pPr algn="ctr" defTabSz="1097280" eaLnBrk="0" fontAlgn="base" hangingPunct="0">
              <a:lnSpc>
                <a:spcPct val="106000"/>
              </a:lnSpc>
              <a:spcBef>
                <a:spcPct val="50000"/>
              </a:spcBef>
              <a:spcAft>
                <a:spcPct val="0"/>
              </a:spcAft>
              <a:buSzPct val="100000"/>
              <a:defRPr/>
            </a:pPr>
            <a:r>
              <a:rPr lang="en-US" sz="960" b="1" dirty="0">
                <a:solidFill>
                  <a:srgbClr val="000000"/>
                </a:solidFill>
                <a:latin typeface="Arial" charset="0"/>
                <a:cs typeface="Arial" charset="0"/>
              </a:rPr>
              <a:t>Basic</a:t>
            </a:r>
          </a:p>
        </p:txBody>
      </p:sp>
      <p:sp>
        <p:nvSpPr>
          <p:cNvPr id="199" name="Rectangle 7">
            <a:extLst>
              <a:ext uri="{FF2B5EF4-FFF2-40B4-BE49-F238E27FC236}">
                <a16:creationId xmlns:a16="http://schemas.microsoft.com/office/drawing/2014/main" id="{CD62AB54-F140-4D78-9671-AD71A678FE82}"/>
              </a:ext>
            </a:extLst>
          </p:cNvPr>
          <p:cNvSpPr>
            <a:spLocks noChangeArrowheads="1"/>
          </p:cNvSpPr>
          <p:nvPr/>
        </p:nvSpPr>
        <p:spPr bwMode="auto">
          <a:xfrm>
            <a:off x="7747846" y="5680375"/>
            <a:ext cx="1097963" cy="580368"/>
          </a:xfrm>
          <a:prstGeom prst="roundRect">
            <a:avLst/>
          </a:prstGeom>
          <a:solidFill>
            <a:srgbClr val="66CDCD"/>
          </a:solidFill>
          <a:ln w="9525" algn="ctr">
            <a:solidFill>
              <a:schemeClr val="tx1"/>
            </a:solidFill>
            <a:miter lim="800000"/>
            <a:headEnd/>
            <a:tailEnd/>
          </a:ln>
        </p:spPr>
        <p:txBody>
          <a:bodyPr lIns="0" tIns="0" rIns="0" bIns="0" anchor="ctr"/>
          <a:lstStyle/>
          <a:p>
            <a:pPr algn="ctr" eaLnBrk="0" hangingPunct="0">
              <a:lnSpc>
                <a:spcPct val="90000"/>
              </a:lnSpc>
              <a:buSzPct val="100000"/>
            </a:pPr>
            <a:r>
              <a:rPr lang="en-GB" sz="900" b="1" dirty="0">
                <a:solidFill>
                  <a:prstClr val="black"/>
                </a:solidFill>
              </a:rPr>
              <a:t>Virtual / Augmented Reality</a:t>
            </a:r>
          </a:p>
        </p:txBody>
      </p:sp>
      <p:sp>
        <p:nvSpPr>
          <p:cNvPr id="200" name="Rectangle 8">
            <a:extLst>
              <a:ext uri="{FF2B5EF4-FFF2-40B4-BE49-F238E27FC236}">
                <a16:creationId xmlns:a16="http://schemas.microsoft.com/office/drawing/2014/main" id="{85DF4799-86FB-42B3-92A9-C38931A06D7A}"/>
              </a:ext>
            </a:extLst>
          </p:cNvPr>
          <p:cNvSpPr>
            <a:spLocks noChangeArrowheads="1"/>
          </p:cNvSpPr>
          <p:nvPr/>
        </p:nvSpPr>
        <p:spPr bwMode="auto">
          <a:xfrm>
            <a:off x="3066499" y="5680375"/>
            <a:ext cx="1097214" cy="601788"/>
          </a:xfrm>
          <a:prstGeom prst="roundRect">
            <a:avLst/>
          </a:prstGeom>
          <a:solidFill>
            <a:srgbClr val="66CDCD"/>
          </a:solidFill>
          <a:ln w="9525" algn="ctr">
            <a:solidFill>
              <a:schemeClr val="tx1"/>
            </a:solidFill>
            <a:miter lim="800000"/>
            <a:headEnd/>
            <a:tailEnd/>
          </a:ln>
        </p:spPr>
        <p:txBody>
          <a:bodyPr lIns="0" tIns="0" rIns="0" bIns="0" anchor="ctr"/>
          <a:lstStyle/>
          <a:p>
            <a:pPr algn="ctr" eaLnBrk="0" hangingPunct="0">
              <a:lnSpc>
                <a:spcPct val="90000"/>
              </a:lnSpc>
              <a:buSzPct val="100000"/>
            </a:pPr>
            <a:r>
              <a:rPr lang="en-GB" sz="900" b="1" dirty="0">
                <a:solidFill>
                  <a:prstClr val="black"/>
                </a:solidFill>
              </a:rPr>
              <a:t>Rapid Design Optimization</a:t>
            </a:r>
          </a:p>
        </p:txBody>
      </p:sp>
      <p:sp>
        <p:nvSpPr>
          <p:cNvPr id="208" name="Rectangle 9">
            <a:extLst>
              <a:ext uri="{FF2B5EF4-FFF2-40B4-BE49-F238E27FC236}">
                <a16:creationId xmlns:a16="http://schemas.microsoft.com/office/drawing/2014/main" id="{E0D0E21E-4DF6-43DF-AADF-EF88058D9B36}"/>
              </a:ext>
            </a:extLst>
          </p:cNvPr>
          <p:cNvSpPr>
            <a:spLocks noChangeArrowheads="1"/>
          </p:cNvSpPr>
          <p:nvPr/>
        </p:nvSpPr>
        <p:spPr bwMode="auto">
          <a:xfrm>
            <a:off x="729564" y="5680375"/>
            <a:ext cx="1097963" cy="580364"/>
          </a:xfrm>
          <a:prstGeom prst="roundRect">
            <a:avLst/>
          </a:prstGeom>
          <a:solidFill>
            <a:srgbClr val="66CDCD"/>
          </a:solidFill>
          <a:ln w="9525" algn="ctr">
            <a:solidFill>
              <a:schemeClr val="tx1"/>
            </a:solidFill>
            <a:miter lim="800000"/>
            <a:headEnd/>
            <a:tailEnd/>
          </a:ln>
        </p:spPr>
        <p:txBody>
          <a:bodyPr lIns="0" tIns="0" rIns="0" bIns="0" anchor="ctr"/>
          <a:lstStyle/>
          <a:p>
            <a:pPr algn="ctr" eaLnBrk="0" hangingPunct="0">
              <a:lnSpc>
                <a:spcPct val="90000"/>
              </a:lnSpc>
              <a:buSzPct val="100000"/>
            </a:pPr>
            <a:r>
              <a:rPr lang="en-GB" sz="900" b="1" dirty="0">
                <a:solidFill>
                  <a:prstClr val="black"/>
                </a:solidFill>
              </a:rPr>
              <a:t>Model-Based Product Definition</a:t>
            </a:r>
          </a:p>
        </p:txBody>
      </p:sp>
      <p:sp>
        <p:nvSpPr>
          <p:cNvPr id="209" name="Rectangle 4">
            <a:extLst>
              <a:ext uri="{FF2B5EF4-FFF2-40B4-BE49-F238E27FC236}">
                <a16:creationId xmlns:a16="http://schemas.microsoft.com/office/drawing/2014/main" id="{9C8F4D1D-FCE5-47E9-B625-14ED4468AEA1}"/>
              </a:ext>
            </a:extLst>
          </p:cNvPr>
          <p:cNvSpPr>
            <a:spLocks noChangeArrowheads="1"/>
          </p:cNvSpPr>
          <p:nvPr/>
        </p:nvSpPr>
        <p:spPr bwMode="auto">
          <a:xfrm>
            <a:off x="1897264" y="5680375"/>
            <a:ext cx="1097963" cy="580364"/>
          </a:xfrm>
          <a:prstGeom prst="roundRect">
            <a:avLst/>
          </a:prstGeom>
          <a:solidFill>
            <a:srgbClr val="66CDCD"/>
          </a:solidFill>
          <a:ln w="9525" algn="ctr">
            <a:solidFill>
              <a:schemeClr val="tx1"/>
            </a:solidFill>
            <a:miter lim="800000"/>
            <a:headEnd/>
            <a:tailEnd/>
          </a:ln>
        </p:spPr>
        <p:txBody>
          <a:bodyPr lIns="0" tIns="0" rIns="0" bIns="0" anchor="ctr"/>
          <a:lstStyle/>
          <a:p>
            <a:pPr algn="ctr" eaLnBrk="0" hangingPunct="0">
              <a:lnSpc>
                <a:spcPct val="90000"/>
              </a:lnSpc>
              <a:buSzPct val="100000"/>
            </a:pPr>
            <a:r>
              <a:rPr lang="en-GB" sz="900" b="1" dirty="0">
                <a:solidFill>
                  <a:prstClr val="black"/>
                </a:solidFill>
              </a:rPr>
              <a:t>Real-Time Collaboration</a:t>
            </a:r>
          </a:p>
        </p:txBody>
      </p:sp>
      <p:sp>
        <p:nvSpPr>
          <p:cNvPr id="210" name="Rectangle 7">
            <a:extLst>
              <a:ext uri="{FF2B5EF4-FFF2-40B4-BE49-F238E27FC236}">
                <a16:creationId xmlns:a16="http://schemas.microsoft.com/office/drawing/2014/main" id="{FF475D3E-C74E-4355-9F61-EDA941F6669A}"/>
              </a:ext>
            </a:extLst>
          </p:cNvPr>
          <p:cNvSpPr>
            <a:spLocks noChangeArrowheads="1"/>
          </p:cNvSpPr>
          <p:nvPr/>
        </p:nvSpPr>
        <p:spPr bwMode="auto">
          <a:xfrm>
            <a:off x="6568764" y="5680377"/>
            <a:ext cx="1119767" cy="580366"/>
          </a:xfrm>
          <a:prstGeom prst="roundRect">
            <a:avLst/>
          </a:prstGeom>
          <a:solidFill>
            <a:srgbClr val="66CDCD"/>
          </a:solidFill>
          <a:ln w="9525" algn="ctr">
            <a:solidFill>
              <a:schemeClr val="tx1"/>
            </a:solidFill>
            <a:miter lim="800000"/>
            <a:headEnd/>
            <a:tailEnd/>
          </a:ln>
        </p:spPr>
        <p:txBody>
          <a:bodyPr lIns="0" tIns="0" rIns="0" bIns="0" anchor="ctr"/>
          <a:lstStyle/>
          <a:p>
            <a:pPr algn="ctr" eaLnBrk="0" hangingPunct="0">
              <a:lnSpc>
                <a:spcPct val="90000"/>
              </a:lnSpc>
              <a:buSzPct val="100000"/>
            </a:pPr>
            <a:r>
              <a:rPr lang="en-GB" sz="900" b="1" dirty="0">
                <a:solidFill>
                  <a:prstClr val="black"/>
                </a:solidFill>
              </a:rPr>
              <a:t>Real-Time Product Intelligence</a:t>
            </a:r>
          </a:p>
        </p:txBody>
      </p:sp>
      <p:sp>
        <p:nvSpPr>
          <p:cNvPr id="211" name="Rectangle 7">
            <a:extLst>
              <a:ext uri="{FF2B5EF4-FFF2-40B4-BE49-F238E27FC236}">
                <a16:creationId xmlns:a16="http://schemas.microsoft.com/office/drawing/2014/main" id="{9C556963-0369-48F3-B704-8BF6BABE5A63}"/>
              </a:ext>
            </a:extLst>
          </p:cNvPr>
          <p:cNvSpPr>
            <a:spLocks noChangeArrowheads="1"/>
          </p:cNvSpPr>
          <p:nvPr/>
        </p:nvSpPr>
        <p:spPr bwMode="auto">
          <a:xfrm>
            <a:off x="5401882" y="5680377"/>
            <a:ext cx="1097963" cy="598951"/>
          </a:xfrm>
          <a:prstGeom prst="roundRect">
            <a:avLst/>
          </a:prstGeom>
          <a:solidFill>
            <a:srgbClr val="66CDCD"/>
          </a:solidFill>
          <a:ln w="9525" algn="ctr">
            <a:solidFill>
              <a:schemeClr val="tx1"/>
            </a:solidFill>
            <a:miter lim="800000"/>
            <a:headEnd/>
            <a:tailEnd/>
          </a:ln>
        </p:spPr>
        <p:txBody>
          <a:bodyPr lIns="0" tIns="0" rIns="0" bIns="0" anchor="ctr"/>
          <a:lstStyle/>
          <a:p>
            <a:pPr algn="ctr" eaLnBrk="0" hangingPunct="0">
              <a:lnSpc>
                <a:spcPct val="90000"/>
              </a:lnSpc>
              <a:buSzPct val="100000"/>
            </a:pPr>
            <a:r>
              <a:rPr lang="en-GB" sz="900" b="1" dirty="0">
                <a:solidFill>
                  <a:prstClr val="black"/>
                </a:solidFill>
              </a:rPr>
              <a:t>Model-Based Manufacturing</a:t>
            </a:r>
          </a:p>
        </p:txBody>
      </p:sp>
      <p:sp>
        <p:nvSpPr>
          <p:cNvPr id="212" name="Rectangle 7">
            <a:extLst>
              <a:ext uri="{FF2B5EF4-FFF2-40B4-BE49-F238E27FC236}">
                <a16:creationId xmlns:a16="http://schemas.microsoft.com/office/drawing/2014/main" id="{65AE4523-541A-4787-8AE8-EA93D14C72E3}"/>
              </a:ext>
            </a:extLst>
          </p:cNvPr>
          <p:cNvSpPr>
            <a:spLocks noChangeArrowheads="1"/>
          </p:cNvSpPr>
          <p:nvPr/>
        </p:nvSpPr>
        <p:spPr bwMode="auto">
          <a:xfrm>
            <a:off x="4233384" y="5680377"/>
            <a:ext cx="1097963" cy="617646"/>
          </a:xfrm>
          <a:prstGeom prst="roundRect">
            <a:avLst/>
          </a:prstGeom>
          <a:solidFill>
            <a:srgbClr val="66CDCD"/>
          </a:solidFill>
          <a:ln w="9525" algn="ctr">
            <a:solidFill>
              <a:schemeClr val="tx1"/>
            </a:solidFill>
            <a:miter lim="800000"/>
            <a:headEnd/>
            <a:tailEnd/>
          </a:ln>
        </p:spPr>
        <p:txBody>
          <a:bodyPr lIns="0" tIns="0" rIns="0" bIns="0" anchor="ctr"/>
          <a:lstStyle/>
          <a:p>
            <a:pPr algn="ctr" eaLnBrk="0" hangingPunct="0">
              <a:lnSpc>
                <a:spcPct val="90000"/>
              </a:lnSpc>
              <a:buSzPct val="100000"/>
            </a:pPr>
            <a:r>
              <a:rPr lang="en-GB" sz="900" b="1" dirty="0">
                <a:solidFill>
                  <a:prstClr val="black"/>
                </a:solidFill>
              </a:rPr>
              <a:t>Robotic Process Automation</a:t>
            </a:r>
          </a:p>
        </p:txBody>
      </p:sp>
      <p:sp>
        <p:nvSpPr>
          <p:cNvPr id="213" name="Rectangle 7">
            <a:extLst>
              <a:ext uri="{FF2B5EF4-FFF2-40B4-BE49-F238E27FC236}">
                <a16:creationId xmlns:a16="http://schemas.microsoft.com/office/drawing/2014/main" id="{77E15892-560A-47F1-AAC2-AAAC54658B31}"/>
              </a:ext>
            </a:extLst>
          </p:cNvPr>
          <p:cNvSpPr>
            <a:spLocks noChangeArrowheads="1"/>
          </p:cNvSpPr>
          <p:nvPr/>
        </p:nvSpPr>
        <p:spPr bwMode="auto">
          <a:xfrm>
            <a:off x="8917081" y="5680377"/>
            <a:ext cx="1097963" cy="592784"/>
          </a:xfrm>
          <a:prstGeom prst="roundRect">
            <a:avLst/>
          </a:prstGeom>
          <a:solidFill>
            <a:srgbClr val="66CDCD"/>
          </a:solidFill>
          <a:ln w="9525" algn="ctr">
            <a:solidFill>
              <a:schemeClr val="tx1"/>
            </a:solidFill>
            <a:miter lim="800000"/>
            <a:headEnd/>
            <a:tailEnd/>
          </a:ln>
        </p:spPr>
        <p:txBody>
          <a:bodyPr lIns="0" tIns="0" rIns="0" bIns="0" anchor="ctr"/>
          <a:lstStyle/>
          <a:p>
            <a:pPr algn="ctr" eaLnBrk="0" hangingPunct="0">
              <a:lnSpc>
                <a:spcPct val="90000"/>
              </a:lnSpc>
              <a:buSzPct val="100000"/>
            </a:pPr>
            <a:r>
              <a:rPr lang="en-US" sz="900" b="1" dirty="0"/>
              <a:t>Digital Twin</a:t>
            </a:r>
          </a:p>
        </p:txBody>
      </p:sp>
      <p:sp>
        <p:nvSpPr>
          <p:cNvPr id="214" name="Rectangle 7">
            <a:extLst>
              <a:ext uri="{FF2B5EF4-FFF2-40B4-BE49-F238E27FC236}">
                <a16:creationId xmlns:a16="http://schemas.microsoft.com/office/drawing/2014/main" id="{3DB08F85-B195-4879-A2F9-2F095610353D}"/>
              </a:ext>
            </a:extLst>
          </p:cNvPr>
          <p:cNvSpPr>
            <a:spLocks noChangeArrowheads="1"/>
          </p:cNvSpPr>
          <p:nvPr/>
        </p:nvSpPr>
        <p:spPr bwMode="auto">
          <a:xfrm>
            <a:off x="10102491" y="5680377"/>
            <a:ext cx="1097963" cy="579251"/>
          </a:xfrm>
          <a:prstGeom prst="roundRect">
            <a:avLst/>
          </a:prstGeom>
          <a:solidFill>
            <a:srgbClr val="66CDCD"/>
          </a:solidFill>
          <a:ln w="9525" algn="ctr">
            <a:solidFill>
              <a:schemeClr val="tx1"/>
            </a:solidFill>
            <a:miter lim="800000"/>
            <a:headEnd/>
            <a:tailEnd/>
          </a:ln>
        </p:spPr>
        <p:txBody>
          <a:bodyPr lIns="0" tIns="0" rIns="0" bIns="0" anchor="ctr"/>
          <a:lstStyle/>
          <a:p>
            <a:pPr algn="ctr" eaLnBrk="0" hangingPunct="0">
              <a:lnSpc>
                <a:spcPct val="90000"/>
              </a:lnSpc>
              <a:buSzPct val="100000"/>
            </a:pPr>
            <a:r>
              <a:rPr lang="en-US" sz="900" b="1" dirty="0"/>
              <a:t>Connected Customer Experience</a:t>
            </a:r>
          </a:p>
        </p:txBody>
      </p:sp>
      <p:sp>
        <p:nvSpPr>
          <p:cNvPr id="93" name="Rectangle 21">
            <a:extLst>
              <a:ext uri="{FF2B5EF4-FFF2-40B4-BE49-F238E27FC236}">
                <a16:creationId xmlns:a16="http://schemas.microsoft.com/office/drawing/2014/main" id="{099AA632-E1D2-46A1-A15E-A8DA4EB8E1ED}"/>
              </a:ext>
            </a:extLst>
          </p:cNvPr>
          <p:cNvSpPr>
            <a:spLocks noChangeArrowheads="1"/>
          </p:cNvSpPr>
          <p:nvPr/>
        </p:nvSpPr>
        <p:spPr bwMode="auto">
          <a:xfrm>
            <a:off x="7747846" y="4466068"/>
            <a:ext cx="1097963" cy="995800"/>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buFont typeface="Monotype Sorts" pitchFamily="2" charset="2"/>
              <a:buNone/>
            </a:pPr>
            <a:r>
              <a:rPr lang="en-US" sz="800" dirty="0">
                <a:latin typeface="+mj-lt"/>
                <a:ea typeface="Tahoma" pitchFamily="34" charset="0"/>
                <a:cs typeface="Tahoma" pitchFamily="34" charset="0"/>
              </a:rPr>
              <a:t>Product visualization limited to local / static content</a:t>
            </a:r>
          </a:p>
          <a:p>
            <a:pPr algn="ctr" eaLnBrk="0" hangingPunct="0">
              <a:lnSpc>
                <a:spcPct val="80000"/>
              </a:lnSpc>
              <a:spcBef>
                <a:spcPct val="50000"/>
              </a:spcBef>
              <a:buClr>
                <a:srgbClr val="8099CC"/>
              </a:buClr>
              <a:buSzPct val="100000"/>
              <a:buFont typeface="Monotype Sorts" pitchFamily="2" charset="2"/>
              <a:buNone/>
            </a:pPr>
            <a:r>
              <a:rPr lang="en-US" sz="800" dirty="0">
                <a:latin typeface="+mj-lt"/>
                <a:ea typeface="Tahoma" pitchFamily="34" charset="0"/>
                <a:cs typeface="Tahoma" pitchFamily="34" charset="0"/>
              </a:rPr>
              <a:t>Visuals allow limited interaction</a:t>
            </a:r>
          </a:p>
          <a:p>
            <a:pPr algn="ctr" eaLnBrk="0" hangingPunct="0">
              <a:lnSpc>
                <a:spcPct val="80000"/>
              </a:lnSpc>
              <a:spcBef>
                <a:spcPct val="50000"/>
              </a:spcBef>
              <a:buClr>
                <a:srgbClr val="8099CC"/>
              </a:buClr>
              <a:buSzPct val="100000"/>
              <a:buFont typeface="Monotype Sorts" pitchFamily="2" charset="2"/>
              <a:buNone/>
            </a:pPr>
            <a:r>
              <a:rPr lang="en-US" sz="800" dirty="0">
                <a:latin typeface="+mj-lt"/>
                <a:ea typeface="Tahoma" pitchFamily="34" charset="0"/>
                <a:cs typeface="Tahoma" pitchFamily="34" charset="0"/>
              </a:rPr>
              <a:t>AR/VR being piloted</a:t>
            </a:r>
          </a:p>
        </p:txBody>
      </p:sp>
      <p:sp>
        <p:nvSpPr>
          <p:cNvPr id="94" name="Rectangle 29">
            <a:extLst>
              <a:ext uri="{FF2B5EF4-FFF2-40B4-BE49-F238E27FC236}">
                <a16:creationId xmlns:a16="http://schemas.microsoft.com/office/drawing/2014/main" id="{EE1CF52F-6F67-454D-91A0-8469B571FDE5}"/>
              </a:ext>
            </a:extLst>
          </p:cNvPr>
          <p:cNvSpPr>
            <a:spLocks noChangeArrowheads="1"/>
          </p:cNvSpPr>
          <p:nvPr/>
        </p:nvSpPr>
        <p:spPr bwMode="auto">
          <a:xfrm>
            <a:off x="7747846" y="1218105"/>
            <a:ext cx="1097963" cy="1447624"/>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buFont typeface="Monotype Sorts" pitchFamily="2" charset="2"/>
              <a:buNone/>
            </a:pPr>
            <a:r>
              <a:rPr lang="en-US" sz="800" dirty="0">
                <a:latin typeface="+mj-lt"/>
                <a:ea typeface="Tahoma" pitchFamily="34" charset="0"/>
                <a:cs typeface="Tahoma" pitchFamily="34" charset="0"/>
              </a:rPr>
              <a:t>Real-time optimization / sharing of 3D objects utilized to immerse the user in the experience while virtually designing. Automated cognition allows seamless transfer from ideation to creation</a:t>
            </a:r>
          </a:p>
        </p:txBody>
      </p:sp>
      <p:sp>
        <p:nvSpPr>
          <p:cNvPr id="95" name="Rectangle 37">
            <a:extLst>
              <a:ext uri="{FF2B5EF4-FFF2-40B4-BE49-F238E27FC236}">
                <a16:creationId xmlns:a16="http://schemas.microsoft.com/office/drawing/2014/main" id="{26DAB5F3-BFB2-46D9-B466-2AE593E5E4A7}"/>
              </a:ext>
            </a:extLst>
          </p:cNvPr>
          <p:cNvSpPr>
            <a:spLocks noChangeArrowheads="1"/>
          </p:cNvSpPr>
          <p:nvPr/>
        </p:nvSpPr>
        <p:spPr bwMode="auto">
          <a:xfrm>
            <a:off x="7747846" y="2874654"/>
            <a:ext cx="1097963" cy="1395220"/>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buFont typeface="Monotype Sorts" pitchFamily="2" charset="2"/>
              <a:buNone/>
            </a:pPr>
            <a:r>
              <a:rPr lang="en-US" sz="800" dirty="0">
                <a:ea typeface="Tahoma" pitchFamily="34" charset="0"/>
                <a:cs typeface="Tahoma" pitchFamily="34" charset="0"/>
              </a:rPr>
              <a:t>Product Visualization experience provides visual cues to aid in task performance</a:t>
            </a:r>
          </a:p>
          <a:p>
            <a:pPr algn="ctr" eaLnBrk="0" hangingPunct="0">
              <a:lnSpc>
                <a:spcPct val="80000"/>
              </a:lnSpc>
              <a:spcBef>
                <a:spcPct val="50000"/>
              </a:spcBef>
              <a:buClr>
                <a:srgbClr val="8099CC"/>
              </a:buClr>
              <a:buSzPct val="100000"/>
              <a:buFont typeface="Monotype Sorts" pitchFamily="2" charset="2"/>
              <a:buNone/>
            </a:pPr>
            <a:r>
              <a:rPr lang="en-US" sz="800" dirty="0">
                <a:ea typeface="Tahoma" pitchFamily="34" charset="0"/>
                <a:cs typeface="Tahoma" pitchFamily="34" charset="0"/>
              </a:rPr>
              <a:t>Visualizations are embedded in Design / Development processes used in Production </a:t>
            </a:r>
          </a:p>
        </p:txBody>
      </p:sp>
      <p:sp>
        <p:nvSpPr>
          <p:cNvPr id="96" name="Rectangle 22">
            <a:extLst>
              <a:ext uri="{FF2B5EF4-FFF2-40B4-BE49-F238E27FC236}">
                <a16:creationId xmlns:a16="http://schemas.microsoft.com/office/drawing/2014/main" id="{200494CA-14E5-49FC-923A-89EB7CD88720}"/>
              </a:ext>
            </a:extLst>
          </p:cNvPr>
          <p:cNvSpPr>
            <a:spLocks noChangeArrowheads="1"/>
          </p:cNvSpPr>
          <p:nvPr/>
        </p:nvSpPr>
        <p:spPr bwMode="auto">
          <a:xfrm>
            <a:off x="3066499" y="4470017"/>
            <a:ext cx="1097963" cy="978004"/>
          </a:xfrm>
          <a:prstGeom prst="roundRect">
            <a:avLst/>
          </a:prstGeom>
          <a:noFill/>
          <a:ln w="19050" algn="ctr">
            <a:solidFill>
              <a:schemeClr val="tx1"/>
            </a:solidFill>
            <a:miter lim="800000"/>
            <a:headEnd/>
            <a:tailEnd/>
          </a:ln>
        </p:spPr>
        <p:txBody>
          <a:bodyPr lIns="0" tIns="0" rIns="0" bIns="0" anchor="ctr"/>
          <a:lstStyle/>
          <a:p>
            <a:pPr lvl="0" algn="ctr" eaLnBrk="0" hangingPunct="0">
              <a:lnSpc>
                <a:spcPct val="80000"/>
              </a:lnSpc>
              <a:spcBef>
                <a:spcPct val="50000"/>
              </a:spcBef>
              <a:buClr>
                <a:srgbClr val="8099CC"/>
              </a:buClr>
              <a:buSzPct val="100000"/>
              <a:defRPr/>
            </a:pPr>
            <a:endParaRPr lang="en-US" sz="700" dirty="0">
              <a:solidFill>
                <a:prstClr val="black"/>
              </a:solidFill>
              <a:cs typeface="Arial" panose="020B0604020202020204" pitchFamily="34" charset="0"/>
            </a:endParaRPr>
          </a:p>
          <a:p>
            <a:pPr lvl="0" algn="ctr" eaLnBrk="0" hangingPunct="0">
              <a:lnSpc>
                <a:spcPct val="80000"/>
              </a:lnSpc>
              <a:spcBef>
                <a:spcPct val="50000"/>
              </a:spcBef>
              <a:buClr>
                <a:srgbClr val="8099CC"/>
              </a:buClr>
              <a:buSzPct val="100000"/>
              <a:defRPr/>
            </a:pPr>
            <a:r>
              <a:rPr lang="en-US" sz="700" dirty="0">
                <a:solidFill>
                  <a:prstClr val="black"/>
                </a:solidFill>
                <a:cs typeface="Arial" panose="020B0604020202020204" pitchFamily="34" charset="0"/>
              </a:rPr>
              <a:t>Design iterations follow contain multiple design-only reviews, 2D/3D visual evaluation, and simulation on proposed design before investing in physical prototyping and testing</a:t>
            </a:r>
          </a:p>
          <a:p>
            <a:pPr lvl="0" algn="ctr">
              <a:lnSpc>
                <a:spcPts val="900"/>
              </a:lnSpc>
              <a:defRPr/>
            </a:pPr>
            <a:endParaRPr lang="en-US" sz="500" b="1" dirty="0">
              <a:solidFill>
                <a:prstClr val="black"/>
              </a:solidFill>
            </a:endParaRPr>
          </a:p>
        </p:txBody>
      </p:sp>
      <p:sp>
        <p:nvSpPr>
          <p:cNvPr id="97" name="Rectangle 30">
            <a:extLst>
              <a:ext uri="{FF2B5EF4-FFF2-40B4-BE49-F238E27FC236}">
                <a16:creationId xmlns:a16="http://schemas.microsoft.com/office/drawing/2014/main" id="{E4DE3132-1570-4A67-9728-6C2EF2879F27}"/>
              </a:ext>
            </a:extLst>
          </p:cNvPr>
          <p:cNvSpPr>
            <a:spLocks noChangeArrowheads="1"/>
          </p:cNvSpPr>
          <p:nvPr/>
        </p:nvSpPr>
        <p:spPr bwMode="auto">
          <a:xfrm>
            <a:off x="3066499" y="1206833"/>
            <a:ext cx="1097963" cy="1449769"/>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US" sz="800" dirty="0">
                <a:solidFill>
                  <a:prstClr val="black"/>
                </a:solidFill>
              </a:rPr>
              <a:t>Design iterations approach continuous, fluid iterations through increased speed to create, evaluate, and simulate designs by leveraging additive manufacturing, virtual / augmented reality, and machine learning</a:t>
            </a:r>
          </a:p>
        </p:txBody>
      </p:sp>
      <p:sp>
        <p:nvSpPr>
          <p:cNvPr id="98" name="Rectangle 38">
            <a:extLst>
              <a:ext uri="{FF2B5EF4-FFF2-40B4-BE49-F238E27FC236}">
                <a16:creationId xmlns:a16="http://schemas.microsoft.com/office/drawing/2014/main" id="{4EFB8AF9-09AF-4062-BE76-13680B144550}"/>
              </a:ext>
            </a:extLst>
          </p:cNvPr>
          <p:cNvSpPr>
            <a:spLocks noChangeArrowheads="1"/>
          </p:cNvSpPr>
          <p:nvPr/>
        </p:nvSpPr>
        <p:spPr bwMode="auto">
          <a:xfrm>
            <a:off x="3067475" y="2872904"/>
            <a:ext cx="1095995" cy="1392987"/>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US" sz="800" dirty="0">
                <a:solidFill>
                  <a:prstClr val="black"/>
                </a:solidFill>
              </a:rPr>
              <a:t>Multiple design iterations are shortened or consolidated using part/design re-use optimization, additive manufacturing, virtual / augmented reality</a:t>
            </a:r>
          </a:p>
        </p:txBody>
      </p:sp>
      <p:sp>
        <p:nvSpPr>
          <p:cNvPr id="99" name="Rectangle 23">
            <a:extLst>
              <a:ext uri="{FF2B5EF4-FFF2-40B4-BE49-F238E27FC236}">
                <a16:creationId xmlns:a16="http://schemas.microsoft.com/office/drawing/2014/main" id="{F66F40FB-AC9F-40D1-BDD0-2795B516D3AC}"/>
              </a:ext>
            </a:extLst>
          </p:cNvPr>
          <p:cNvSpPr>
            <a:spLocks noChangeArrowheads="1"/>
          </p:cNvSpPr>
          <p:nvPr/>
        </p:nvSpPr>
        <p:spPr bwMode="auto">
          <a:xfrm>
            <a:off x="729564" y="4470017"/>
            <a:ext cx="1097963" cy="978004"/>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GB" sz="800" dirty="0">
                <a:solidFill>
                  <a:prstClr val="black"/>
                </a:solidFill>
                <a:cs typeface="Arial" panose="020B0604020202020204" pitchFamily="34" charset="0"/>
              </a:rPr>
              <a:t>Traditional 3D model used as reference for product definition with manual updates and pushed to the other functions</a:t>
            </a:r>
          </a:p>
        </p:txBody>
      </p:sp>
      <p:sp>
        <p:nvSpPr>
          <p:cNvPr id="100" name="Rectangle 31">
            <a:extLst>
              <a:ext uri="{FF2B5EF4-FFF2-40B4-BE49-F238E27FC236}">
                <a16:creationId xmlns:a16="http://schemas.microsoft.com/office/drawing/2014/main" id="{18B5F316-22BC-4AAD-B0C9-3CE3712EE14B}"/>
              </a:ext>
            </a:extLst>
          </p:cNvPr>
          <p:cNvSpPr>
            <a:spLocks noChangeArrowheads="1"/>
          </p:cNvSpPr>
          <p:nvPr/>
        </p:nvSpPr>
        <p:spPr bwMode="auto">
          <a:xfrm>
            <a:off x="729564" y="1218105"/>
            <a:ext cx="1097963" cy="1449769"/>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GB" sz="800" dirty="0">
                <a:solidFill>
                  <a:prstClr val="black"/>
                </a:solidFill>
                <a:cs typeface="Arial" panose="020B0604020202020204" pitchFamily="34" charset="0"/>
              </a:rPr>
              <a:t>Product definition model is created as “digital twin” to integrate form/fit with functions to create true virtual representation of product behaviour and is used as single source of truth, which is updated live from any change across  functions</a:t>
            </a:r>
          </a:p>
        </p:txBody>
      </p:sp>
      <p:sp>
        <p:nvSpPr>
          <p:cNvPr id="101" name="Rectangle 39">
            <a:extLst>
              <a:ext uri="{FF2B5EF4-FFF2-40B4-BE49-F238E27FC236}">
                <a16:creationId xmlns:a16="http://schemas.microsoft.com/office/drawing/2014/main" id="{2979CC99-3F5A-49F8-911B-7F5D26E3B907}"/>
              </a:ext>
            </a:extLst>
          </p:cNvPr>
          <p:cNvSpPr>
            <a:spLocks noChangeArrowheads="1"/>
          </p:cNvSpPr>
          <p:nvPr/>
        </p:nvSpPr>
        <p:spPr bwMode="auto">
          <a:xfrm>
            <a:off x="729564" y="2868492"/>
            <a:ext cx="1097963" cy="1400905"/>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US" sz="800" dirty="0">
                <a:solidFill>
                  <a:prstClr val="black"/>
                </a:solidFill>
                <a:cs typeface="Arial" panose="020B0604020202020204" pitchFamily="34" charset="0"/>
              </a:rPr>
              <a:t>Product definition model is able to be leveraged for modeling product functions/behavior or for definitions outside of Design function, but more than a single instance of the definition is used across the organization</a:t>
            </a:r>
            <a:endParaRPr lang="en-GB" sz="800" dirty="0">
              <a:solidFill>
                <a:prstClr val="black"/>
              </a:solidFill>
              <a:cs typeface="Arial" panose="020B0604020202020204" pitchFamily="34" charset="0"/>
            </a:endParaRPr>
          </a:p>
        </p:txBody>
      </p:sp>
      <p:sp>
        <p:nvSpPr>
          <p:cNvPr id="102" name="Rectangle 18">
            <a:extLst>
              <a:ext uri="{FF2B5EF4-FFF2-40B4-BE49-F238E27FC236}">
                <a16:creationId xmlns:a16="http://schemas.microsoft.com/office/drawing/2014/main" id="{F8B62B1D-B461-4DCB-AA6E-20A8F7258F0A}"/>
              </a:ext>
            </a:extLst>
          </p:cNvPr>
          <p:cNvSpPr>
            <a:spLocks noChangeArrowheads="1"/>
          </p:cNvSpPr>
          <p:nvPr/>
        </p:nvSpPr>
        <p:spPr bwMode="auto">
          <a:xfrm>
            <a:off x="1897264" y="4470017"/>
            <a:ext cx="1097963" cy="991851"/>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US" sz="800" dirty="0">
                <a:solidFill>
                  <a:prstClr val="black"/>
                </a:solidFill>
              </a:rPr>
              <a:t>Collaboration is electronically enabled across the organization, but remains instance-driven and transactional</a:t>
            </a:r>
          </a:p>
        </p:txBody>
      </p:sp>
      <p:sp>
        <p:nvSpPr>
          <p:cNvPr id="103" name="Rectangle 26">
            <a:extLst>
              <a:ext uri="{FF2B5EF4-FFF2-40B4-BE49-F238E27FC236}">
                <a16:creationId xmlns:a16="http://schemas.microsoft.com/office/drawing/2014/main" id="{A9BAD7D1-E94A-4D38-B2DE-6291811EE124}"/>
              </a:ext>
            </a:extLst>
          </p:cNvPr>
          <p:cNvSpPr>
            <a:spLocks noChangeArrowheads="1"/>
          </p:cNvSpPr>
          <p:nvPr/>
        </p:nvSpPr>
        <p:spPr bwMode="auto">
          <a:xfrm>
            <a:off x="1897264" y="1208978"/>
            <a:ext cx="1097963" cy="1449769"/>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US" sz="800" dirty="0">
                <a:solidFill>
                  <a:prstClr val="black"/>
                </a:solidFill>
              </a:rPr>
              <a:t>Collaboration is simultaneous and extends beyond the internal organization to integrate all product data via security to external partners, suppliers, customers, and sales partners with real-time conflict recognition</a:t>
            </a:r>
          </a:p>
        </p:txBody>
      </p:sp>
      <p:sp>
        <p:nvSpPr>
          <p:cNvPr id="104" name="Rectangle 21">
            <a:extLst>
              <a:ext uri="{FF2B5EF4-FFF2-40B4-BE49-F238E27FC236}">
                <a16:creationId xmlns:a16="http://schemas.microsoft.com/office/drawing/2014/main" id="{74079588-F9B1-4C33-A0A2-23A5078B964D}"/>
              </a:ext>
            </a:extLst>
          </p:cNvPr>
          <p:cNvSpPr>
            <a:spLocks noChangeArrowheads="1"/>
          </p:cNvSpPr>
          <p:nvPr/>
        </p:nvSpPr>
        <p:spPr bwMode="auto">
          <a:xfrm>
            <a:off x="6568764" y="4466068"/>
            <a:ext cx="1119767" cy="995800"/>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US" sz="750" dirty="0">
                <a:solidFill>
                  <a:prstClr val="black"/>
                </a:solidFill>
              </a:rPr>
              <a:t>Products contain sensors which record and can regularly communicate current performance or operating environment to the company or customer</a:t>
            </a:r>
            <a:endParaRPr lang="en-US" sz="750" dirty="0">
              <a:solidFill>
                <a:prstClr val="black"/>
              </a:solidFill>
              <a:ea typeface="Tahoma" pitchFamily="34" charset="0"/>
              <a:cs typeface="Tahoma" pitchFamily="34" charset="0"/>
            </a:endParaRPr>
          </a:p>
        </p:txBody>
      </p:sp>
      <p:sp>
        <p:nvSpPr>
          <p:cNvPr id="105" name="Rectangle 29">
            <a:extLst>
              <a:ext uri="{FF2B5EF4-FFF2-40B4-BE49-F238E27FC236}">
                <a16:creationId xmlns:a16="http://schemas.microsoft.com/office/drawing/2014/main" id="{42E7E3AD-9A2B-4F50-9D63-E231D3B9B303}"/>
              </a:ext>
            </a:extLst>
          </p:cNvPr>
          <p:cNvSpPr>
            <a:spLocks noChangeArrowheads="1"/>
          </p:cNvSpPr>
          <p:nvPr/>
        </p:nvSpPr>
        <p:spPr bwMode="auto">
          <a:xfrm>
            <a:off x="6568765" y="1208978"/>
            <a:ext cx="1119767" cy="1449769"/>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US" sz="700" dirty="0">
                <a:solidFill>
                  <a:prstClr val="black"/>
                </a:solidFill>
              </a:rPr>
              <a:t>Products are “designed for sensorization” to provide instantaneous communication with the home base, customer, and other products about current performance, operating environment, and interactions with others</a:t>
            </a:r>
          </a:p>
          <a:p>
            <a:pPr algn="ctr" eaLnBrk="0" hangingPunct="0">
              <a:lnSpc>
                <a:spcPct val="80000"/>
              </a:lnSpc>
              <a:spcBef>
                <a:spcPct val="50000"/>
              </a:spcBef>
              <a:buClr>
                <a:srgbClr val="8099CC"/>
              </a:buClr>
              <a:buSzPct val="100000"/>
              <a:buFont typeface="Monotype Sorts" pitchFamily="2" charset="2"/>
              <a:buNone/>
            </a:pPr>
            <a:endParaRPr lang="en-US" sz="700" dirty="0">
              <a:latin typeface="+mj-lt"/>
              <a:ea typeface="Tahoma" pitchFamily="34" charset="0"/>
              <a:cs typeface="Tahoma" pitchFamily="34" charset="0"/>
            </a:endParaRPr>
          </a:p>
        </p:txBody>
      </p:sp>
      <p:sp>
        <p:nvSpPr>
          <p:cNvPr id="106" name="Rectangle 37">
            <a:extLst>
              <a:ext uri="{FF2B5EF4-FFF2-40B4-BE49-F238E27FC236}">
                <a16:creationId xmlns:a16="http://schemas.microsoft.com/office/drawing/2014/main" id="{AF29D480-F00B-4D78-8E54-A3403CF2DCDC}"/>
              </a:ext>
            </a:extLst>
          </p:cNvPr>
          <p:cNvSpPr>
            <a:spLocks noChangeArrowheads="1"/>
          </p:cNvSpPr>
          <p:nvPr/>
        </p:nvSpPr>
        <p:spPr bwMode="auto">
          <a:xfrm>
            <a:off x="6568764" y="2872904"/>
            <a:ext cx="1119767" cy="1397364"/>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US" sz="800" dirty="0">
                <a:solidFill>
                  <a:prstClr val="black"/>
                </a:solidFill>
              </a:rPr>
              <a:t>Products are designed &amp; launched with sensors that provide instantaneous data to analytics / infra-structure which translate data to useful insights for the company and customer </a:t>
            </a:r>
          </a:p>
        </p:txBody>
      </p:sp>
      <p:sp>
        <p:nvSpPr>
          <p:cNvPr id="107" name="Rectangle 21">
            <a:extLst>
              <a:ext uri="{FF2B5EF4-FFF2-40B4-BE49-F238E27FC236}">
                <a16:creationId xmlns:a16="http://schemas.microsoft.com/office/drawing/2014/main" id="{8D2B9C21-512C-439C-8B12-E425A091713F}"/>
              </a:ext>
            </a:extLst>
          </p:cNvPr>
          <p:cNvSpPr>
            <a:spLocks noChangeArrowheads="1"/>
          </p:cNvSpPr>
          <p:nvPr/>
        </p:nvSpPr>
        <p:spPr bwMode="auto">
          <a:xfrm>
            <a:off x="5401882" y="4466067"/>
            <a:ext cx="1097963" cy="989641"/>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US" sz="700" dirty="0">
                <a:solidFill>
                  <a:prstClr val="black"/>
                </a:solidFill>
                <a:cs typeface="Arial" panose="020B0604020202020204" pitchFamily="34" charset="0"/>
              </a:rPr>
              <a:t>Virtual manufacturing models are created to understand behaviors of costly or unique manufacturing processes and discrete event simulations built to balance the manufacturing line</a:t>
            </a:r>
            <a:endParaRPr lang="en-US" sz="700" dirty="0">
              <a:solidFill>
                <a:prstClr val="black"/>
              </a:solidFill>
            </a:endParaRPr>
          </a:p>
        </p:txBody>
      </p:sp>
      <p:sp>
        <p:nvSpPr>
          <p:cNvPr id="108" name="Rectangle 29">
            <a:extLst>
              <a:ext uri="{FF2B5EF4-FFF2-40B4-BE49-F238E27FC236}">
                <a16:creationId xmlns:a16="http://schemas.microsoft.com/office/drawing/2014/main" id="{3F273F0C-A10E-4626-BDDF-2BF8E332DAB5}"/>
              </a:ext>
            </a:extLst>
          </p:cNvPr>
          <p:cNvSpPr>
            <a:spLocks noChangeArrowheads="1"/>
          </p:cNvSpPr>
          <p:nvPr/>
        </p:nvSpPr>
        <p:spPr bwMode="auto">
          <a:xfrm>
            <a:off x="5401881" y="1208977"/>
            <a:ext cx="1097963" cy="1449769"/>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US" sz="700" dirty="0">
                <a:solidFill>
                  <a:prstClr val="black"/>
                </a:solidFill>
                <a:cs typeface="Arial" panose="020B0604020202020204" pitchFamily="34" charset="0"/>
              </a:rPr>
              <a:t>Manufacturing processes are completely modeled and simulated before initial setup and test. Virtual parameters and measures match directly with physical data provided by sensors on shop floor to form IoT feedback loop for further optimization</a:t>
            </a:r>
            <a:endParaRPr lang="en-US" sz="700" dirty="0">
              <a:solidFill>
                <a:prstClr val="black"/>
              </a:solidFill>
              <a:ea typeface="Tahoma" pitchFamily="34" charset="0"/>
              <a:cs typeface="Tahoma" pitchFamily="34" charset="0"/>
            </a:endParaRPr>
          </a:p>
        </p:txBody>
      </p:sp>
      <p:sp>
        <p:nvSpPr>
          <p:cNvPr id="109" name="Rectangle: Rounded Corners 108">
            <a:extLst>
              <a:ext uri="{FF2B5EF4-FFF2-40B4-BE49-F238E27FC236}">
                <a16:creationId xmlns:a16="http://schemas.microsoft.com/office/drawing/2014/main" id="{24A090EC-2AFC-43A0-A1A8-DC9E938E8F68}"/>
              </a:ext>
            </a:extLst>
          </p:cNvPr>
          <p:cNvSpPr>
            <a:spLocks noChangeArrowheads="1"/>
          </p:cNvSpPr>
          <p:nvPr/>
        </p:nvSpPr>
        <p:spPr bwMode="auto">
          <a:xfrm>
            <a:off x="5401882" y="2872033"/>
            <a:ext cx="1097963" cy="1398235"/>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US" sz="800" dirty="0">
                <a:solidFill>
                  <a:prstClr val="black"/>
                </a:solidFill>
                <a:cs typeface="Arial" panose="020B0604020202020204" pitchFamily="34" charset="0"/>
              </a:rPr>
              <a:t>Manufacturing processes are modeled and simulated before initial setup and test. Manufacturing engineers and process planners provide early design feedback based on model behavior</a:t>
            </a:r>
            <a:endParaRPr lang="en-US" sz="800" dirty="0">
              <a:solidFill>
                <a:prstClr val="black"/>
              </a:solidFill>
            </a:endParaRPr>
          </a:p>
        </p:txBody>
      </p:sp>
      <p:sp>
        <p:nvSpPr>
          <p:cNvPr id="110" name="Rectangle 21">
            <a:extLst>
              <a:ext uri="{FF2B5EF4-FFF2-40B4-BE49-F238E27FC236}">
                <a16:creationId xmlns:a16="http://schemas.microsoft.com/office/drawing/2014/main" id="{BCFDD6B7-41FF-4DED-94B6-9363A1E30D27}"/>
              </a:ext>
            </a:extLst>
          </p:cNvPr>
          <p:cNvSpPr>
            <a:spLocks noChangeArrowheads="1"/>
          </p:cNvSpPr>
          <p:nvPr/>
        </p:nvSpPr>
        <p:spPr bwMode="auto">
          <a:xfrm>
            <a:off x="4233384" y="4470017"/>
            <a:ext cx="1097963" cy="985691"/>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buFont typeface="Monotype Sorts" pitchFamily="2" charset="2"/>
              <a:buNone/>
            </a:pPr>
            <a:r>
              <a:rPr lang="en-US" sz="800" dirty="0">
                <a:latin typeface="+mj-lt"/>
                <a:ea typeface="Tahoma" pitchFamily="34" charset="0"/>
                <a:cs typeface="Tahoma" pitchFamily="34" charset="0"/>
              </a:rPr>
              <a:t>Automations being piloted but little/none in production</a:t>
            </a:r>
          </a:p>
          <a:p>
            <a:pPr algn="ctr" eaLnBrk="0" hangingPunct="0">
              <a:lnSpc>
                <a:spcPct val="80000"/>
              </a:lnSpc>
              <a:spcBef>
                <a:spcPct val="50000"/>
              </a:spcBef>
              <a:buClr>
                <a:srgbClr val="8099CC"/>
              </a:buClr>
              <a:buSzPct val="100000"/>
              <a:buFont typeface="Monotype Sorts" pitchFamily="2" charset="2"/>
              <a:buNone/>
            </a:pPr>
            <a:r>
              <a:rPr lang="en-US" sz="800" dirty="0">
                <a:latin typeface="+mj-lt"/>
                <a:ea typeface="Tahoma" pitchFamily="34" charset="0"/>
                <a:cs typeface="Tahoma" pitchFamily="34" charset="0"/>
              </a:rPr>
              <a:t>Unclear roadmap for automations</a:t>
            </a:r>
          </a:p>
        </p:txBody>
      </p:sp>
      <p:sp>
        <p:nvSpPr>
          <p:cNvPr id="111" name="Rectangle 29">
            <a:extLst>
              <a:ext uri="{FF2B5EF4-FFF2-40B4-BE49-F238E27FC236}">
                <a16:creationId xmlns:a16="http://schemas.microsoft.com/office/drawing/2014/main" id="{3FF69DAD-86BB-4F33-B6A6-DD4E41112280}"/>
              </a:ext>
            </a:extLst>
          </p:cNvPr>
          <p:cNvSpPr>
            <a:spLocks noChangeArrowheads="1"/>
          </p:cNvSpPr>
          <p:nvPr/>
        </p:nvSpPr>
        <p:spPr bwMode="auto">
          <a:xfrm>
            <a:off x="4233383" y="1208978"/>
            <a:ext cx="1097963" cy="1447624"/>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buFont typeface="Monotype Sorts" pitchFamily="2" charset="2"/>
              <a:buNone/>
            </a:pPr>
            <a:r>
              <a:rPr lang="en-US" sz="800" dirty="0">
                <a:latin typeface="+mj-lt"/>
                <a:ea typeface="Tahoma" pitchFamily="34" charset="0"/>
                <a:cs typeface="Tahoma" pitchFamily="34" charset="0"/>
              </a:rPr>
              <a:t>Use of robotics and Cognitive automation across the enterprise</a:t>
            </a:r>
          </a:p>
          <a:p>
            <a:pPr algn="ctr" eaLnBrk="0" hangingPunct="0">
              <a:lnSpc>
                <a:spcPct val="80000"/>
              </a:lnSpc>
              <a:spcBef>
                <a:spcPct val="50000"/>
              </a:spcBef>
              <a:buClr>
                <a:srgbClr val="8099CC"/>
              </a:buClr>
              <a:buSzPct val="100000"/>
              <a:buFont typeface="Monotype Sorts" pitchFamily="2" charset="2"/>
              <a:buNone/>
            </a:pPr>
            <a:r>
              <a:rPr lang="en-US" sz="800" dirty="0">
                <a:latin typeface="+mj-lt"/>
                <a:ea typeface="Tahoma" pitchFamily="34" charset="0"/>
                <a:cs typeface="Tahoma" pitchFamily="34" charset="0"/>
              </a:rPr>
              <a:t>Robust methodology and governance for automation management and executing the automation roadmap </a:t>
            </a:r>
          </a:p>
        </p:txBody>
      </p:sp>
      <p:sp>
        <p:nvSpPr>
          <p:cNvPr id="112" name="Rectangle 37">
            <a:extLst>
              <a:ext uri="{FF2B5EF4-FFF2-40B4-BE49-F238E27FC236}">
                <a16:creationId xmlns:a16="http://schemas.microsoft.com/office/drawing/2014/main" id="{3EBCB5B0-8E59-4C67-9B91-5618E4516403}"/>
              </a:ext>
            </a:extLst>
          </p:cNvPr>
          <p:cNvSpPr>
            <a:spLocks noChangeArrowheads="1"/>
          </p:cNvSpPr>
          <p:nvPr/>
        </p:nvSpPr>
        <p:spPr bwMode="auto">
          <a:xfrm>
            <a:off x="4233384" y="2883849"/>
            <a:ext cx="1097963" cy="1382043"/>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buFont typeface="Monotype Sorts" pitchFamily="2" charset="2"/>
              <a:buNone/>
            </a:pPr>
            <a:r>
              <a:rPr lang="en-US" sz="800" dirty="0">
                <a:latin typeface="+mj-lt"/>
                <a:ea typeface="Tahoma" pitchFamily="34" charset="0"/>
                <a:cs typeface="Tahoma" pitchFamily="34" charset="0"/>
              </a:rPr>
              <a:t>Robotic automations being used </a:t>
            </a:r>
            <a:r>
              <a:rPr lang="en-US" sz="800" b="1" i="1" dirty="0">
                <a:latin typeface="+mj-lt"/>
                <a:ea typeface="Tahoma" pitchFamily="34" charset="0"/>
                <a:cs typeface="Tahoma" pitchFamily="34" charset="0"/>
              </a:rPr>
              <a:t>within</a:t>
            </a:r>
            <a:r>
              <a:rPr lang="en-US" sz="800" dirty="0">
                <a:latin typeface="+mj-lt"/>
                <a:ea typeface="Tahoma" pitchFamily="34" charset="0"/>
                <a:cs typeface="Tahoma" pitchFamily="34" charset="0"/>
              </a:rPr>
              <a:t> functions.</a:t>
            </a:r>
          </a:p>
          <a:p>
            <a:pPr algn="ctr" eaLnBrk="0" hangingPunct="0">
              <a:lnSpc>
                <a:spcPct val="80000"/>
              </a:lnSpc>
              <a:spcBef>
                <a:spcPct val="50000"/>
              </a:spcBef>
              <a:buClr>
                <a:srgbClr val="8099CC"/>
              </a:buClr>
              <a:buSzPct val="100000"/>
              <a:buFont typeface="Monotype Sorts" pitchFamily="2" charset="2"/>
              <a:buNone/>
            </a:pPr>
            <a:r>
              <a:rPr lang="en-US" sz="800" dirty="0">
                <a:latin typeface="+mj-lt"/>
                <a:ea typeface="Tahoma" pitchFamily="34" charset="0"/>
                <a:cs typeface="Tahoma" pitchFamily="34" charset="0"/>
              </a:rPr>
              <a:t>Pilot or limited use of Cognitive automation to automate more complex activities</a:t>
            </a:r>
          </a:p>
        </p:txBody>
      </p:sp>
      <p:cxnSp>
        <p:nvCxnSpPr>
          <p:cNvPr id="113" name="AutoShape 54">
            <a:extLst>
              <a:ext uri="{FF2B5EF4-FFF2-40B4-BE49-F238E27FC236}">
                <a16:creationId xmlns:a16="http://schemas.microsoft.com/office/drawing/2014/main" id="{81491E69-05D2-4EE7-AA30-4D6AA52DBB04}"/>
              </a:ext>
            </a:extLst>
          </p:cNvPr>
          <p:cNvCxnSpPr>
            <a:cxnSpLocks noChangeShapeType="1"/>
          </p:cNvCxnSpPr>
          <p:nvPr/>
        </p:nvCxnSpPr>
        <p:spPr bwMode="auto">
          <a:xfrm flipV="1">
            <a:off x="1269872" y="2667874"/>
            <a:ext cx="8673" cy="200619"/>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14" name="AutoShape 55">
            <a:extLst>
              <a:ext uri="{FF2B5EF4-FFF2-40B4-BE49-F238E27FC236}">
                <a16:creationId xmlns:a16="http://schemas.microsoft.com/office/drawing/2014/main" id="{29D37785-8790-4D67-A68C-29F2E6174EF3}"/>
              </a:ext>
            </a:extLst>
          </p:cNvPr>
          <p:cNvCxnSpPr>
            <a:cxnSpLocks noChangeShapeType="1"/>
          </p:cNvCxnSpPr>
          <p:nvPr/>
        </p:nvCxnSpPr>
        <p:spPr bwMode="auto">
          <a:xfrm flipH="1" flipV="1">
            <a:off x="2446244" y="2658746"/>
            <a:ext cx="353" cy="209747"/>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70" name="AutoShape 56">
            <a:extLst>
              <a:ext uri="{FF2B5EF4-FFF2-40B4-BE49-F238E27FC236}">
                <a16:creationId xmlns:a16="http://schemas.microsoft.com/office/drawing/2014/main" id="{AACDB0E5-81EF-4312-860C-BA4515C79C8F}"/>
              </a:ext>
            </a:extLst>
          </p:cNvPr>
          <p:cNvCxnSpPr>
            <a:cxnSpLocks noChangeShapeType="1"/>
          </p:cNvCxnSpPr>
          <p:nvPr/>
        </p:nvCxnSpPr>
        <p:spPr bwMode="auto">
          <a:xfrm flipV="1">
            <a:off x="3615474" y="2656602"/>
            <a:ext cx="7" cy="216303"/>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71" name="AutoShape 57">
            <a:extLst>
              <a:ext uri="{FF2B5EF4-FFF2-40B4-BE49-F238E27FC236}">
                <a16:creationId xmlns:a16="http://schemas.microsoft.com/office/drawing/2014/main" id="{2A6EA438-B8B1-41C9-918B-5D7967BC0495}"/>
              </a:ext>
            </a:extLst>
          </p:cNvPr>
          <p:cNvCxnSpPr>
            <a:cxnSpLocks noChangeShapeType="1"/>
          </p:cNvCxnSpPr>
          <p:nvPr/>
        </p:nvCxnSpPr>
        <p:spPr bwMode="auto">
          <a:xfrm flipV="1">
            <a:off x="4772826" y="2656602"/>
            <a:ext cx="9538" cy="227248"/>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72" name="AutoShape 54">
            <a:extLst>
              <a:ext uri="{FF2B5EF4-FFF2-40B4-BE49-F238E27FC236}">
                <a16:creationId xmlns:a16="http://schemas.microsoft.com/office/drawing/2014/main" id="{45E245F1-C033-4AC0-A87B-0F16514BC518}"/>
              </a:ext>
            </a:extLst>
          </p:cNvPr>
          <p:cNvCxnSpPr>
            <a:cxnSpLocks noChangeShapeType="1"/>
          </p:cNvCxnSpPr>
          <p:nvPr/>
        </p:nvCxnSpPr>
        <p:spPr bwMode="auto">
          <a:xfrm flipV="1">
            <a:off x="5950709" y="2658744"/>
            <a:ext cx="156" cy="213289"/>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73" name="AutoShape 56">
            <a:extLst>
              <a:ext uri="{FF2B5EF4-FFF2-40B4-BE49-F238E27FC236}">
                <a16:creationId xmlns:a16="http://schemas.microsoft.com/office/drawing/2014/main" id="{4907310B-712C-4D51-A3E8-ACBD94ECDE94}"/>
              </a:ext>
            </a:extLst>
          </p:cNvPr>
          <p:cNvCxnSpPr>
            <a:cxnSpLocks noChangeShapeType="1"/>
          </p:cNvCxnSpPr>
          <p:nvPr/>
        </p:nvCxnSpPr>
        <p:spPr bwMode="auto">
          <a:xfrm flipV="1">
            <a:off x="7128555" y="2658746"/>
            <a:ext cx="95" cy="214159"/>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74" name="AutoShape 57">
            <a:extLst>
              <a:ext uri="{FF2B5EF4-FFF2-40B4-BE49-F238E27FC236}">
                <a16:creationId xmlns:a16="http://schemas.microsoft.com/office/drawing/2014/main" id="{01FA5058-D0BC-49B9-A7B4-17A8E572BF92}"/>
              </a:ext>
            </a:extLst>
          </p:cNvPr>
          <p:cNvCxnSpPr>
            <a:cxnSpLocks noChangeShapeType="1"/>
          </p:cNvCxnSpPr>
          <p:nvPr/>
        </p:nvCxnSpPr>
        <p:spPr bwMode="auto">
          <a:xfrm flipV="1">
            <a:off x="8296827" y="2665729"/>
            <a:ext cx="0" cy="208925"/>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75" name="AutoShape 55">
            <a:extLst>
              <a:ext uri="{FF2B5EF4-FFF2-40B4-BE49-F238E27FC236}">
                <a16:creationId xmlns:a16="http://schemas.microsoft.com/office/drawing/2014/main" id="{4253AB41-E1B2-4084-ABDB-326F440F74E5}"/>
              </a:ext>
            </a:extLst>
          </p:cNvPr>
          <p:cNvCxnSpPr>
            <a:cxnSpLocks noChangeShapeType="1"/>
          </p:cNvCxnSpPr>
          <p:nvPr/>
        </p:nvCxnSpPr>
        <p:spPr bwMode="auto">
          <a:xfrm flipH="1" flipV="1">
            <a:off x="2446598" y="4269398"/>
            <a:ext cx="8529" cy="200619"/>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76" name="AutoShape 56">
            <a:extLst>
              <a:ext uri="{FF2B5EF4-FFF2-40B4-BE49-F238E27FC236}">
                <a16:creationId xmlns:a16="http://schemas.microsoft.com/office/drawing/2014/main" id="{DCF57579-A231-42F6-A520-F2C47D114BFC}"/>
              </a:ext>
            </a:extLst>
          </p:cNvPr>
          <p:cNvCxnSpPr>
            <a:cxnSpLocks noChangeShapeType="1"/>
          </p:cNvCxnSpPr>
          <p:nvPr/>
        </p:nvCxnSpPr>
        <p:spPr bwMode="auto">
          <a:xfrm flipH="1" flipV="1">
            <a:off x="3615474" y="4265892"/>
            <a:ext cx="639" cy="204124"/>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77" name="AutoShape 57">
            <a:extLst>
              <a:ext uri="{FF2B5EF4-FFF2-40B4-BE49-F238E27FC236}">
                <a16:creationId xmlns:a16="http://schemas.microsoft.com/office/drawing/2014/main" id="{F17F65F7-FEBF-4274-932C-B7FBA827532E}"/>
              </a:ext>
            </a:extLst>
          </p:cNvPr>
          <p:cNvCxnSpPr>
            <a:cxnSpLocks noChangeShapeType="1"/>
            <a:endCxn id="112" idx="2"/>
          </p:cNvCxnSpPr>
          <p:nvPr/>
        </p:nvCxnSpPr>
        <p:spPr bwMode="auto">
          <a:xfrm flipV="1">
            <a:off x="4782364" y="4265892"/>
            <a:ext cx="2" cy="204124"/>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78" name="AutoShape 54">
            <a:extLst>
              <a:ext uri="{FF2B5EF4-FFF2-40B4-BE49-F238E27FC236}">
                <a16:creationId xmlns:a16="http://schemas.microsoft.com/office/drawing/2014/main" id="{1D93BAC2-1E9B-4D98-94FE-84D3825AB61F}"/>
              </a:ext>
            </a:extLst>
          </p:cNvPr>
          <p:cNvCxnSpPr>
            <a:cxnSpLocks noChangeShapeType="1"/>
          </p:cNvCxnSpPr>
          <p:nvPr/>
        </p:nvCxnSpPr>
        <p:spPr bwMode="auto">
          <a:xfrm flipV="1">
            <a:off x="5950708" y="4270269"/>
            <a:ext cx="0" cy="195799"/>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79" name="AutoShape 56">
            <a:extLst>
              <a:ext uri="{FF2B5EF4-FFF2-40B4-BE49-F238E27FC236}">
                <a16:creationId xmlns:a16="http://schemas.microsoft.com/office/drawing/2014/main" id="{80231B84-F3AA-40F3-BB95-E055D29B86D9}"/>
              </a:ext>
            </a:extLst>
          </p:cNvPr>
          <p:cNvCxnSpPr>
            <a:cxnSpLocks noChangeShapeType="1"/>
          </p:cNvCxnSpPr>
          <p:nvPr/>
        </p:nvCxnSpPr>
        <p:spPr bwMode="auto">
          <a:xfrm flipV="1">
            <a:off x="7128554" y="4270269"/>
            <a:ext cx="1" cy="195799"/>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80" name="AutoShape 57">
            <a:extLst>
              <a:ext uri="{FF2B5EF4-FFF2-40B4-BE49-F238E27FC236}">
                <a16:creationId xmlns:a16="http://schemas.microsoft.com/office/drawing/2014/main" id="{88129A5F-B205-4D0B-B6D5-80F6D1A9B786}"/>
              </a:ext>
            </a:extLst>
          </p:cNvPr>
          <p:cNvCxnSpPr>
            <a:cxnSpLocks noChangeShapeType="1"/>
          </p:cNvCxnSpPr>
          <p:nvPr/>
        </p:nvCxnSpPr>
        <p:spPr bwMode="auto">
          <a:xfrm flipH="1" flipV="1">
            <a:off x="8296827" y="4269874"/>
            <a:ext cx="523" cy="196194"/>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sp>
        <p:nvSpPr>
          <p:cNvPr id="181" name="Rectangle 34">
            <a:extLst>
              <a:ext uri="{FF2B5EF4-FFF2-40B4-BE49-F238E27FC236}">
                <a16:creationId xmlns:a16="http://schemas.microsoft.com/office/drawing/2014/main" id="{45400340-A528-456F-8C9A-7AEC1A8E4CEB}"/>
              </a:ext>
            </a:extLst>
          </p:cNvPr>
          <p:cNvSpPr>
            <a:spLocks noChangeArrowheads="1"/>
          </p:cNvSpPr>
          <p:nvPr/>
        </p:nvSpPr>
        <p:spPr bwMode="auto">
          <a:xfrm>
            <a:off x="1897264" y="2868492"/>
            <a:ext cx="1097963" cy="1400905"/>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US" sz="800" dirty="0">
                <a:solidFill>
                  <a:prstClr val="black"/>
                </a:solidFill>
              </a:rPr>
              <a:t>Collaboration is enabled across the organization enabling functions to work simultaneously on concepts, design changes, and verification activities with active conflict recognition</a:t>
            </a:r>
          </a:p>
        </p:txBody>
      </p:sp>
      <p:sp>
        <p:nvSpPr>
          <p:cNvPr id="182" name="Rectangle 29">
            <a:extLst>
              <a:ext uri="{FF2B5EF4-FFF2-40B4-BE49-F238E27FC236}">
                <a16:creationId xmlns:a16="http://schemas.microsoft.com/office/drawing/2014/main" id="{AB37D842-8D18-4613-B9F2-C4C0D6CF42B7}"/>
              </a:ext>
            </a:extLst>
          </p:cNvPr>
          <p:cNvSpPr>
            <a:spLocks noChangeArrowheads="1"/>
          </p:cNvSpPr>
          <p:nvPr/>
        </p:nvSpPr>
        <p:spPr bwMode="auto">
          <a:xfrm>
            <a:off x="8917081" y="1220744"/>
            <a:ext cx="1097963" cy="1447624"/>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buFont typeface="Monotype Sorts" pitchFamily="2" charset="2"/>
              <a:buNone/>
            </a:pPr>
            <a:r>
              <a:rPr lang="en-US" sz="800" dirty="0">
                <a:latin typeface="+mj-lt"/>
                <a:ea typeface="Tahoma" pitchFamily="34" charset="0"/>
                <a:cs typeface="Tahoma" pitchFamily="34" charset="0"/>
              </a:rPr>
              <a:t>Augmented digital twin enhances the data from the connected asset with derivative data from other sources coupled with intelligent data analytics and algorithms</a:t>
            </a:r>
          </a:p>
        </p:txBody>
      </p:sp>
      <p:sp>
        <p:nvSpPr>
          <p:cNvPr id="183" name="Rectangle 37">
            <a:extLst>
              <a:ext uri="{FF2B5EF4-FFF2-40B4-BE49-F238E27FC236}">
                <a16:creationId xmlns:a16="http://schemas.microsoft.com/office/drawing/2014/main" id="{0A93F6F5-2964-4EC5-B578-363A9038E2A6}"/>
              </a:ext>
            </a:extLst>
          </p:cNvPr>
          <p:cNvSpPr>
            <a:spLocks noChangeArrowheads="1"/>
          </p:cNvSpPr>
          <p:nvPr/>
        </p:nvSpPr>
        <p:spPr bwMode="auto">
          <a:xfrm>
            <a:off x="8917081" y="2875049"/>
            <a:ext cx="1097963" cy="1395220"/>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buFont typeface="Monotype Sorts" pitchFamily="2" charset="2"/>
              <a:buNone/>
            </a:pPr>
            <a:r>
              <a:rPr lang="en-US" sz="800" dirty="0">
                <a:latin typeface="+mj-lt"/>
                <a:ea typeface="Tahoma" pitchFamily="34" charset="0"/>
                <a:cs typeface="Tahoma" pitchFamily="34" charset="0"/>
              </a:rPr>
              <a:t>Digital twin has all meaningful and measurable data sources from an assets. Detailed prototyping and derivative analysis enabled </a:t>
            </a:r>
          </a:p>
        </p:txBody>
      </p:sp>
      <p:sp>
        <p:nvSpPr>
          <p:cNvPr id="184" name="Rectangle 21">
            <a:extLst>
              <a:ext uri="{FF2B5EF4-FFF2-40B4-BE49-F238E27FC236}">
                <a16:creationId xmlns:a16="http://schemas.microsoft.com/office/drawing/2014/main" id="{D1ED9F3B-EB7E-4B36-9A1F-B13754998D1A}"/>
              </a:ext>
            </a:extLst>
          </p:cNvPr>
          <p:cNvSpPr>
            <a:spLocks noChangeArrowheads="1"/>
          </p:cNvSpPr>
          <p:nvPr/>
        </p:nvSpPr>
        <p:spPr bwMode="auto">
          <a:xfrm>
            <a:off x="8917081" y="4466067"/>
            <a:ext cx="1097963" cy="988414"/>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buFont typeface="Monotype Sorts" pitchFamily="2" charset="2"/>
              <a:buNone/>
            </a:pPr>
            <a:r>
              <a:rPr lang="en-US" sz="800" dirty="0">
                <a:latin typeface="+mj-lt"/>
                <a:ea typeface="Tahoma" pitchFamily="34" charset="0"/>
                <a:cs typeface="Tahoma" pitchFamily="34" charset="0"/>
              </a:rPr>
              <a:t>Contains a small number of data sources while being used to monitor key metrics. Twin allows for certain derivative data to be generated</a:t>
            </a:r>
          </a:p>
        </p:txBody>
      </p:sp>
      <p:cxnSp>
        <p:nvCxnSpPr>
          <p:cNvPr id="185" name="AutoShape 57">
            <a:extLst>
              <a:ext uri="{FF2B5EF4-FFF2-40B4-BE49-F238E27FC236}">
                <a16:creationId xmlns:a16="http://schemas.microsoft.com/office/drawing/2014/main" id="{3E7B023C-C33C-4ACC-B1CD-FE6AEA717C01}"/>
              </a:ext>
            </a:extLst>
          </p:cNvPr>
          <p:cNvCxnSpPr>
            <a:cxnSpLocks noChangeShapeType="1"/>
          </p:cNvCxnSpPr>
          <p:nvPr/>
        </p:nvCxnSpPr>
        <p:spPr bwMode="auto">
          <a:xfrm flipV="1">
            <a:off x="9466063" y="2668368"/>
            <a:ext cx="0" cy="206681"/>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86" name="AutoShape 57">
            <a:extLst>
              <a:ext uri="{FF2B5EF4-FFF2-40B4-BE49-F238E27FC236}">
                <a16:creationId xmlns:a16="http://schemas.microsoft.com/office/drawing/2014/main" id="{F5EE29D8-6A05-4CD4-8C5A-9126C8D3EFD1}"/>
              </a:ext>
            </a:extLst>
          </p:cNvPr>
          <p:cNvCxnSpPr>
            <a:cxnSpLocks noChangeShapeType="1"/>
          </p:cNvCxnSpPr>
          <p:nvPr/>
        </p:nvCxnSpPr>
        <p:spPr bwMode="auto">
          <a:xfrm flipV="1">
            <a:off x="9466063" y="4270269"/>
            <a:ext cx="0" cy="195799"/>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sp>
        <p:nvSpPr>
          <p:cNvPr id="187" name="Rectangle 37">
            <a:extLst>
              <a:ext uri="{FF2B5EF4-FFF2-40B4-BE49-F238E27FC236}">
                <a16:creationId xmlns:a16="http://schemas.microsoft.com/office/drawing/2014/main" id="{CD0B8993-27A5-4F4E-85D7-6845C3E67436}"/>
              </a:ext>
            </a:extLst>
          </p:cNvPr>
          <p:cNvSpPr>
            <a:spLocks noChangeArrowheads="1"/>
          </p:cNvSpPr>
          <p:nvPr/>
        </p:nvSpPr>
        <p:spPr bwMode="auto">
          <a:xfrm>
            <a:off x="10102490" y="2875049"/>
            <a:ext cx="1097963" cy="1394849"/>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US" sz="800" dirty="0">
                <a:solidFill>
                  <a:prstClr val="black"/>
                </a:solidFill>
                <a:cs typeface="Arial" panose="020B0604020202020204" pitchFamily="34" charset="0"/>
              </a:rPr>
              <a:t>Organization monitors and proactively mitigates product issues and assists customers based on live data inputs collected through sensors, mobile, and social media</a:t>
            </a:r>
          </a:p>
        </p:txBody>
      </p:sp>
      <p:sp>
        <p:nvSpPr>
          <p:cNvPr id="188" name="Rectangle 21">
            <a:extLst>
              <a:ext uri="{FF2B5EF4-FFF2-40B4-BE49-F238E27FC236}">
                <a16:creationId xmlns:a16="http://schemas.microsoft.com/office/drawing/2014/main" id="{C3E0A9D7-0C4A-4672-91F8-BE4CBA611FEF}"/>
              </a:ext>
            </a:extLst>
          </p:cNvPr>
          <p:cNvSpPr>
            <a:spLocks noChangeArrowheads="1"/>
          </p:cNvSpPr>
          <p:nvPr/>
        </p:nvSpPr>
        <p:spPr bwMode="auto">
          <a:xfrm>
            <a:off x="10102491" y="4466068"/>
            <a:ext cx="1097963" cy="989641"/>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pPr>
            <a:r>
              <a:rPr lang="en-US" sz="800" dirty="0">
                <a:solidFill>
                  <a:prstClr val="black"/>
                </a:solidFill>
                <a:cs typeface="Arial" panose="020B0604020202020204" pitchFamily="34" charset="0"/>
              </a:rPr>
              <a:t>Organization leverages sensor data, mobile, and social media aggregated data to understand the customer and prevent recurring issues</a:t>
            </a:r>
          </a:p>
        </p:txBody>
      </p:sp>
      <p:cxnSp>
        <p:nvCxnSpPr>
          <p:cNvPr id="189" name="AutoShape 57">
            <a:extLst>
              <a:ext uri="{FF2B5EF4-FFF2-40B4-BE49-F238E27FC236}">
                <a16:creationId xmlns:a16="http://schemas.microsoft.com/office/drawing/2014/main" id="{5B6E66DD-F864-41E0-977F-B02210709624}"/>
              </a:ext>
            </a:extLst>
          </p:cNvPr>
          <p:cNvCxnSpPr>
            <a:cxnSpLocks noChangeShapeType="1"/>
          </p:cNvCxnSpPr>
          <p:nvPr/>
        </p:nvCxnSpPr>
        <p:spPr bwMode="auto">
          <a:xfrm flipV="1">
            <a:off x="10651471" y="2667873"/>
            <a:ext cx="0" cy="207175"/>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90" name="AutoShape 57">
            <a:extLst>
              <a:ext uri="{FF2B5EF4-FFF2-40B4-BE49-F238E27FC236}">
                <a16:creationId xmlns:a16="http://schemas.microsoft.com/office/drawing/2014/main" id="{62FE8683-0CE8-4B69-B030-9C79E17E3D47}"/>
              </a:ext>
            </a:extLst>
          </p:cNvPr>
          <p:cNvCxnSpPr>
            <a:cxnSpLocks noChangeShapeType="1"/>
          </p:cNvCxnSpPr>
          <p:nvPr/>
        </p:nvCxnSpPr>
        <p:spPr bwMode="auto">
          <a:xfrm flipV="1">
            <a:off x="10651471" y="4269897"/>
            <a:ext cx="0" cy="196171"/>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sp>
        <p:nvSpPr>
          <p:cNvPr id="191" name="Rectangle 29">
            <a:extLst>
              <a:ext uri="{FF2B5EF4-FFF2-40B4-BE49-F238E27FC236}">
                <a16:creationId xmlns:a16="http://schemas.microsoft.com/office/drawing/2014/main" id="{62661B30-6D6D-4D34-BBEE-E23C9BA24ED1}"/>
              </a:ext>
            </a:extLst>
          </p:cNvPr>
          <p:cNvSpPr>
            <a:spLocks noChangeArrowheads="1"/>
          </p:cNvSpPr>
          <p:nvPr/>
        </p:nvSpPr>
        <p:spPr bwMode="auto">
          <a:xfrm>
            <a:off x="10102490" y="1218105"/>
            <a:ext cx="1097963" cy="1449769"/>
          </a:xfrm>
          <a:prstGeom prst="roundRect">
            <a:avLst/>
          </a:prstGeom>
          <a:noFill/>
          <a:ln w="19050" algn="ctr">
            <a:solidFill>
              <a:schemeClr val="tx1"/>
            </a:solidFill>
            <a:miter lim="800000"/>
            <a:headEnd/>
            <a:tailEnd/>
          </a:ln>
        </p:spPr>
        <p:txBody>
          <a:bodyPr lIns="0" tIns="0" rIns="0" bIns="0" anchor="ctr"/>
          <a:lstStyle/>
          <a:p>
            <a:pPr lvl="0" algn="ctr" eaLnBrk="0" hangingPunct="0">
              <a:lnSpc>
                <a:spcPct val="80000"/>
              </a:lnSpc>
              <a:spcBef>
                <a:spcPct val="50000"/>
              </a:spcBef>
              <a:buClr>
                <a:srgbClr val="8099CC"/>
              </a:buClr>
              <a:buSzPct val="100000"/>
              <a:defRPr/>
            </a:pPr>
            <a:endParaRPr lang="en-US" sz="800" dirty="0">
              <a:solidFill>
                <a:prstClr val="black"/>
              </a:solidFill>
              <a:cs typeface="Arial" panose="020B0604020202020204" pitchFamily="34" charset="0"/>
            </a:endParaRPr>
          </a:p>
          <a:p>
            <a:pPr lvl="0" algn="ctr" eaLnBrk="0" hangingPunct="0">
              <a:lnSpc>
                <a:spcPct val="80000"/>
              </a:lnSpc>
              <a:spcBef>
                <a:spcPct val="50000"/>
              </a:spcBef>
              <a:buClr>
                <a:srgbClr val="8099CC"/>
              </a:buClr>
              <a:buSzPct val="100000"/>
              <a:defRPr/>
            </a:pPr>
            <a:r>
              <a:rPr lang="en-US" sz="800" dirty="0">
                <a:solidFill>
                  <a:prstClr val="black"/>
                </a:solidFill>
                <a:cs typeface="Arial" panose="020B0604020202020204" pitchFamily="34" charset="0"/>
              </a:rPr>
              <a:t>Organization maintains a “digital twin” of individual customer products which uses live data through sensors, mobile, and social media to model future behavior, failures, and customer needs based on the actual customer usage</a:t>
            </a:r>
          </a:p>
          <a:p>
            <a:pPr lvl="0" algn="ctr" eaLnBrk="0" hangingPunct="0">
              <a:lnSpc>
                <a:spcPct val="80000"/>
              </a:lnSpc>
              <a:spcBef>
                <a:spcPct val="50000"/>
              </a:spcBef>
              <a:buClr>
                <a:srgbClr val="8099CC"/>
              </a:buClr>
              <a:buSzPct val="100000"/>
              <a:defRPr/>
            </a:pPr>
            <a:endParaRPr lang="en-US" altLang="en-US" sz="800" dirty="0">
              <a:solidFill>
                <a:prstClr val="black"/>
              </a:solidFill>
              <a:ea typeface="Tahoma" pitchFamily="34" charset="0"/>
              <a:cs typeface="Tahoma" pitchFamily="34" charset="0"/>
            </a:endParaRPr>
          </a:p>
        </p:txBody>
      </p:sp>
      <p:cxnSp>
        <p:nvCxnSpPr>
          <p:cNvPr id="192" name="AutoShape 55">
            <a:extLst>
              <a:ext uri="{FF2B5EF4-FFF2-40B4-BE49-F238E27FC236}">
                <a16:creationId xmlns:a16="http://schemas.microsoft.com/office/drawing/2014/main" id="{09CDEB9C-FE88-4AAA-AE82-433ED0A15143}"/>
              </a:ext>
            </a:extLst>
          </p:cNvPr>
          <p:cNvCxnSpPr>
            <a:cxnSpLocks noChangeShapeType="1"/>
          </p:cNvCxnSpPr>
          <p:nvPr/>
        </p:nvCxnSpPr>
        <p:spPr bwMode="auto">
          <a:xfrm flipH="1" flipV="1">
            <a:off x="1269872" y="4269398"/>
            <a:ext cx="2127" cy="200619"/>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grpSp>
        <p:nvGrpSpPr>
          <p:cNvPr id="77" name="Group 90"/>
          <p:cNvGrpSpPr/>
          <p:nvPr/>
        </p:nvGrpSpPr>
        <p:grpSpPr>
          <a:xfrm>
            <a:off x="8960144" y="237259"/>
            <a:ext cx="2430508" cy="289004"/>
            <a:chOff x="9447824" y="732559"/>
            <a:chExt cx="2430508" cy="289004"/>
          </a:xfrm>
        </p:grpSpPr>
        <p:grpSp>
          <p:nvGrpSpPr>
            <p:cNvPr id="78"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85"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86"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79"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83"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84"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80"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81"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82"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sp>
        <p:nvSpPr>
          <p:cNvPr id="87" name="Freeform 42">
            <a:extLst>
              <a:ext uri="{FF2B5EF4-FFF2-40B4-BE49-F238E27FC236}">
                <a16:creationId xmlns:a16="http://schemas.microsoft.com/office/drawing/2014/main" id="{35001E7B-10B3-4CC3-BA8A-9B738667C0FB}"/>
              </a:ext>
            </a:extLst>
          </p:cNvPr>
          <p:cNvSpPr/>
          <p:nvPr/>
        </p:nvSpPr>
        <p:spPr bwMode="auto">
          <a:xfrm flipV="1">
            <a:off x="1198548" y="1738723"/>
            <a:ext cx="9500155" cy="2444087"/>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1637156 w 7136640"/>
              <a:gd name="connsiteY2" fmla="*/ 231150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1637156 w 7136640"/>
              <a:gd name="connsiteY2" fmla="*/ 23115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743605 w 7136640"/>
              <a:gd name="connsiteY2" fmla="*/ 245831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743605 w 7136640"/>
              <a:gd name="connsiteY2" fmla="*/ 245831 h 281116"/>
              <a:gd name="connsiteX3" fmla="*/ 2644393 w 7136640"/>
              <a:gd name="connsiteY3" fmla="*/ 214226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743605 w 7136640"/>
              <a:gd name="connsiteY2" fmla="*/ 245831 h 281116"/>
              <a:gd name="connsiteX3" fmla="*/ 2644393 w 7136640"/>
              <a:gd name="connsiteY3" fmla="*/ 214226 h 281116"/>
              <a:gd name="connsiteX4" fmla="*/ 3483886 w 7136640"/>
              <a:gd name="connsiteY4" fmla="*/ 182745 h 281116"/>
              <a:gd name="connsiteX5" fmla="*/ 4318333 w 7136640"/>
              <a:gd name="connsiteY5" fmla="*/ 132687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743605 w 7136640"/>
              <a:gd name="connsiteY2" fmla="*/ 245831 h 281116"/>
              <a:gd name="connsiteX3" fmla="*/ 2644393 w 7136640"/>
              <a:gd name="connsiteY3" fmla="*/ 214226 h 281116"/>
              <a:gd name="connsiteX4" fmla="*/ 3483886 w 7136640"/>
              <a:gd name="connsiteY4" fmla="*/ 182745 h 281116"/>
              <a:gd name="connsiteX5" fmla="*/ 4318333 w 7136640"/>
              <a:gd name="connsiteY5" fmla="*/ 132687 h 281116"/>
              <a:gd name="connsiteX6" fmla="*/ 5636849 w 7136640"/>
              <a:gd name="connsiteY6" fmla="*/ 172302 h 281116"/>
              <a:gd name="connsiteX7" fmla="*/ 6344970 w 7136640"/>
              <a:gd name="connsiteY7" fmla="*/ 119271 h 281116"/>
              <a:gd name="connsiteX8" fmla="*/ 6500954 w 7136640"/>
              <a:gd name="connsiteY8" fmla="*/ 660 h 281116"/>
              <a:gd name="connsiteX9" fmla="*/ 7136640 w 7136640"/>
              <a:gd name="connsiteY9" fmla="*/ 281116 h 281116"/>
              <a:gd name="connsiteX0" fmla="*/ 0 w 7136640"/>
              <a:gd name="connsiteY0" fmla="*/ 190752 h 281133"/>
              <a:gd name="connsiteX1" fmla="*/ 700803 w 7136640"/>
              <a:gd name="connsiteY1" fmla="*/ 113658 h 281133"/>
              <a:gd name="connsiteX2" fmla="*/ 1743605 w 7136640"/>
              <a:gd name="connsiteY2" fmla="*/ 245848 h 281133"/>
              <a:gd name="connsiteX3" fmla="*/ 2644393 w 7136640"/>
              <a:gd name="connsiteY3" fmla="*/ 214243 h 281133"/>
              <a:gd name="connsiteX4" fmla="*/ 3483886 w 7136640"/>
              <a:gd name="connsiteY4" fmla="*/ 182762 h 281133"/>
              <a:gd name="connsiteX5" fmla="*/ 4318333 w 7136640"/>
              <a:gd name="connsiteY5" fmla="*/ 132704 h 281133"/>
              <a:gd name="connsiteX6" fmla="*/ 5292453 w 7136640"/>
              <a:gd name="connsiteY6" fmla="*/ 188835 h 281133"/>
              <a:gd name="connsiteX7" fmla="*/ 6344970 w 7136640"/>
              <a:gd name="connsiteY7" fmla="*/ 119288 h 281133"/>
              <a:gd name="connsiteX8" fmla="*/ 6500954 w 7136640"/>
              <a:gd name="connsiteY8" fmla="*/ 677 h 281133"/>
              <a:gd name="connsiteX9" fmla="*/ 7136640 w 7136640"/>
              <a:gd name="connsiteY9" fmla="*/ 281133 h 281133"/>
              <a:gd name="connsiteX0" fmla="*/ 0 w 7136640"/>
              <a:gd name="connsiteY0" fmla="*/ 77830 h 168211"/>
              <a:gd name="connsiteX1" fmla="*/ 700803 w 7136640"/>
              <a:gd name="connsiteY1" fmla="*/ 736 h 168211"/>
              <a:gd name="connsiteX2" fmla="*/ 1743605 w 7136640"/>
              <a:gd name="connsiteY2" fmla="*/ 132926 h 168211"/>
              <a:gd name="connsiteX3" fmla="*/ 2644393 w 7136640"/>
              <a:gd name="connsiteY3" fmla="*/ 101321 h 168211"/>
              <a:gd name="connsiteX4" fmla="*/ 3483886 w 7136640"/>
              <a:gd name="connsiteY4" fmla="*/ 69840 h 168211"/>
              <a:gd name="connsiteX5" fmla="*/ 4318333 w 7136640"/>
              <a:gd name="connsiteY5" fmla="*/ 19782 h 168211"/>
              <a:gd name="connsiteX6" fmla="*/ 5292453 w 7136640"/>
              <a:gd name="connsiteY6" fmla="*/ 75913 h 168211"/>
              <a:gd name="connsiteX7" fmla="*/ 6344970 w 7136640"/>
              <a:gd name="connsiteY7" fmla="*/ 6366 h 168211"/>
              <a:gd name="connsiteX8" fmla="*/ 7136640 w 7136640"/>
              <a:gd name="connsiteY8" fmla="*/ 168211 h 168211"/>
              <a:gd name="connsiteX0" fmla="*/ 0 w 7136640"/>
              <a:gd name="connsiteY0" fmla="*/ 77830 h 168211"/>
              <a:gd name="connsiteX1" fmla="*/ 977970 w 7136640"/>
              <a:gd name="connsiteY1" fmla="*/ 736 h 168211"/>
              <a:gd name="connsiteX2" fmla="*/ 1743605 w 7136640"/>
              <a:gd name="connsiteY2" fmla="*/ 132926 h 168211"/>
              <a:gd name="connsiteX3" fmla="*/ 2644393 w 7136640"/>
              <a:gd name="connsiteY3" fmla="*/ 101321 h 168211"/>
              <a:gd name="connsiteX4" fmla="*/ 3483886 w 7136640"/>
              <a:gd name="connsiteY4" fmla="*/ 69840 h 168211"/>
              <a:gd name="connsiteX5" fmla="*/ 4318333 w 7136640"/>
              <a:gd name="connsiteY5" fmla="*/ 19782 h 168211"/>
              <a:gd name="connsiteX6" fmla="*/ 5292453 w 7136640"/>
              <a:gd name="connsiteY6" fmla="*/ 75913 h 168211"/>
              <a:gd name="connsiteX7" fmla="*/ 6344970 w 7136640"/>
              <a:gd name="connsiteY7" fmla="*/ 6366 h 168211"/>
              <a:gd name="connsiteX8" fmla="*/ 7136640 w 7136640"/>
              <a:gd name="connsiteY8" fmla="*/ 168211 h 168211"/>
              <a:gd name="connsiteX0" fmla="*/ 0 w 7136640"/>
              <a:gd name="connsiteY0" fmla="*/ 92613 h 182994"/>
              <a:gd name="connsiteX1" fmla="*/ 977970 w 7136640"/>
              <a:gd name="connsiteY1" fmla="*/ 15519 h 182994"/>
              <a:gd name="connsiteX2" fmla="*/ 1757063 w 7136640"/>
              <a:gd name="connsiteY2" fmla="*/ 8973 h 182994"/>
              <a:gd name="connsiteX3" fmla="*/ 2644393 w 7136640"/>
              <a:gd name="connsiteY3" fmla="*/ 116104 h 182994"/>
              <a:gd name="connsiteX4" fmla="*/ 3483886 w 7136640"/>
              <a:gd name="connsiteY4" fmla="*/ 84623 h 182994"/>
              <a:gd name="connsiteX5" fmla="*/ 4318333 w 7136640"/>
              <a:gd name="connsiteY5" fmla="*/ 34565 h 182994"/>
              <a:gd name="connsiteX6" fmla="*/ 5292453 w 7136640"/>
              <a:gd name="connsiteY6" fmla="*/ 90696 h 182994"/>
              <a:gd name="connsiteX7" fmla="*/ 6344970 w 7136640"/>
              <a:gd name="connsiteY7" fmla="*/ 21149 h 182994"/>
              <a:gd name="connsiteX8" fmla="*/ 7136640 w 7136640"/>
              <a:gd name="connsiteY8" fmla="*/ 182994 h 182994"/>
              <a:gd name="connsiteX0" fmla="*/ 0 w 7136640"/>
              <a:gd name="connsiteY0" fmla="*/ 92613 h 182994"/>
              <a:gd name="connsiteX1" fmla="*/ 977970 w 7136640"/>
              <a:gd name="connsiteY1" fmla="*/ 15519 h 182994"/>
              <a:gd name="connsiteX2" fmla="*/ 1757063 w 7136640"/>
              <a:gd name="connsiteY2" fmla="*/ 8974 h 182994"/>
              <a:gd name="connsiteX3" fmla="*/ 2644393 w 7136640"/>
              <a:gd name="connsiteY3" fmla="*/ 116104 h 182994"/>
              <a:gd name="connsiteX4" fmla="*/ 3483886 w 7136640"/>
              <a:gd name="connsiteY4" fmla="*/ 84623 h 182994"/>
              <a:gd name="connsiteX5" fmla="*/ 4318333 w 7136640"/>
              <a:gd name="connsiteY5" fmla="*/ 34565 h 182994"/>
              <a:gd name="connsiteX6" fmla="*/ 5292453 w 7136640"/>
              <a:gd name="connsiteY6" fmla="*/ 90696 h 182994"/>
              <a:gd name="connsiteX7" fmla="*/ 6344970 w 7136640"/>
              <a:gd name="connsiteY7" fmla="*/ 21149 h 182994"/>
              <a:gd name="connsiteX8" fmla="*/ 7136640 w 7136640"/>
              <a:gd name="connsiteY8" fmla="*/ 182994 h 182994"/>
              <a:gd name="connsiteX0" fmla="*/ 0 w 7136640"/>
              <a:gd name="connsiteY0" fmla="*/ 149924 h 240305"/>
              <a:gd name="connsiteX1" fmla="*/ 977970 w 7136640"/>
              <a:gd name="connsiteY1" fmla="*/ 72830 h 240305"/>
              <a:gd name="connsiteX2" fmla="*/ 1757063 w 7136640"/>
              <a:gd name="connsiteY2" fmla="*/ 66285 h 240305"/>
              <a:gd name="connsiteX3" fmla="*/ 2644393 w 7136640"/>
              <a:gd name="connsiteY3" fmla="*/ 0 h 240305"/>
              <a:gd name="connsiteX4" fmla="*/ 3483886 w 7136640"/>
              <a:gd name="connsiteY4" fmla="*/ 141934 h 240305"/>
              <a:gd name="connsiteX5" fmla="*/ 4318333 w 7136640"/>
              <a:gd name="connsiteY5" fmla="*/ 91876 h 240305"/>
              <a:gd name="connsiteX6" fmla="*/ 5292453 w 7136640"/>
              <a:gd name="connsiteY6" fmla="*/ 148007 h 240305"/>
              <a:gd name="connsiteX7" fmla="*/ 6344970 w 7136640"/>
              <a:gd name="connsiteY7" fmla="*/ 78460 h 240305"/>
              <a:gd name="connsiteX8" fmla="*/ 7136640 w 7136640"/>
              <a:gd name="connsiteY8" fmla="*/ 240305 h 240305"/>
              <a:gd name="connsiteX0" fmla="*/ 0 w 7123183"/>
              <a:gd name="connsiteY0" fmla="*/ 149924 h 149925"/>
              <a:gd name="connsiteX1" fmla="*/ 977970 w 7123183"/>
              <a:gd name="connsiteY1" fmla="*/ 72830 h 149925"/>
              <a:gd name="connsiteX2" fmla="*/ 1757063 w 7123183"/>
              <a:gd name="connsiteY2" fmla="*/ 66285 h 149925"/>
              <a:gd name="connsiteX3" fmla="*/ 2644393 w 7123183"/>
              <a:gd name="connsiteY3" fmla="*/ 0 h 149925"/>
              <a:gd name="connsiteX4" fmla="*/ 3483886 w 7123183"/>
              <a:gd name="connsiteY4" fmla="*/ 141934 h 149925"/>
              <a:gd name="connsiteX5" fmla="*/ 4318333 w 7123183"/>
              <a:gd name="connsiteY5" fmla="*/ 91876 h 149925"/>
              <a:gd name="connsiteX6" fmla="*/ 5292453 w 7123183"/>
              <a:gd name="connsiteY6" fmla="*/ 148007 h 149925"/>
              <a:gd name="connsiteX7" fmla="*/ 6344970 w 7123183"/>
              <a:gd name="connsiteY7" fmla="*/ 78460 h 149925"/>
              <a:gd name="connsiteX8" fmla="*/ 7123183 w 7123183"/>
              <a:gd name="connsiteY8" fmla="*/ 32204 h 149925"/>
              <a:gd name="connsiteX0" fmla="*/ 0 w 7123183"/>
              <a:gd name="connsiteY0" fmla="*/ 149924 h 149925"/>
              <a:gd name="connsiteX1" fmla="*/ 977970 w 7123183"/>
              <a:gd name="connsiteY1" fmla="*/ 72830 h 149925"/>
              <a:gd name="connsiteX2" fmla="*/ 1757063 w 7123183"/>
              <a:gd name="connsiteY2" fmla="*/ 66285 h 149925"/>
              <a:gd name="connsiteX3" fmla="*/ 2644393 w 7123183"/>
              <a:gd name="connsiteY3" fmla="*/ 0 h 149925"/>
              <a:gd name="connsiteX4" fmla="*/ 3483886 w 7123183"/>
              <a:gd name="connsiteY4" fmla="*/ 141934 h 149925"/>
              <a:gd name="connsiteX5" fmla="*/ 4318333 w 7123183"/>
              <a:gd name="connsiteY5" fmla="*/ 91876 h 149925"/>
              <a:gd name="connsiteX6" fmla="*/ 5292453 w 7123183"/>
              <a:gd name="connsiteY6" fmla="*/ 148007 h 149925"/>
              <a:gd name="connsiteX7" fmla="*/ 6344970 w 7123183"/>
              <a:gd name="connsiteY7" fmla="*/ 78460 h 149925"/>
              <a:gd name="connsiteX8" fmla="*/ 7123183 w 7123183"/>
              <a:gd name="connsiteY8" fmla="*/ 32204 h 149925"/>
              <a:gd name="connsiteX0" fmla="*/ 0 w 7123183"/>
              <a:gd name="connsiteY0" fmla="*/ 149924 h 149925"/>
              <a:gd name="connsiteX1" fmla="*/ 977970 w 7123183"/>
              <a:gd name="connsiteY1" fmla="*/ 72830 h 149925"/>
              <a:gd name="connsiteX2" fmla="*/ 1757063 w 7123183"/>
              <a:gd name="connsiteY2" fmla="*/ 66285 h 149925"/>
              <a:gd name="connsiteX3" fmla="*/ 2644393 w 7123183"/>
              <a:gd name="connsiteY3" fmla="*/ 0 h 149925"/>
              <a:gd name="connsiteX4" fmla="*/ 3483886 w 7123183"/>
              <a:gd name="connsiteY4" fmla="*/ 141934 h 149925"/>
              <a:gd name="connsiteX5" fmla="*/ 4318333 w 7123183"/>
              <a:gd name="connsiteY5" fmla="*/ 91876 h 149925"/>
              <a:gd name="connsiteX6" fmla="*/ 5292453 w 7123183"/>
              <a:gd name="connsiteY6" fmla="*/ 78640 h 149925"/>
              <a:gd name="connsiteX7" fmla="*/ 6344970 w 7123183"/>
              <a:gd name="connsiteY7" fmla="*/ 78460 h 149925"/>
              <a:gd name="connsiteX8" fmla="*/ 7123183 w 7123183"/>
              <a:gd name="connsiteY8" fmla="*/ 32204 h 149925"/>
              <a:gd name="connsiteX0" fmla="*/ 0 w 6994006"/>
              <a:gd name="connsiteY0" fmla="*/ 14009306 h 14009306"/>
              <a:gd name="connsiteX1" fmla="*/ 848793 w 6994006"/>
              <a:gd name="connsiteY1" fmla="*/ 965680 h 14009306"/>
              <a:gd name="connsiteX2" fmla="*/ 1627886 w 6994006"/>
              <a:gd name="connsiteY2" fmla="*/ 959135 h 14009306"/>
              <a:gd name="connsiteX3" fmla="*/ 2515216 w 6994006"/>
              <a:gd name="connsiteY3" fmla="*/ 892850 h 14009306"/>
              <a:gd name="connsiteX4" fmla="*/ 3354709 w 6994006"/>
              <a:gd name="connsiteY4" fmla="*/ 1034784 h 14009306"/>
              <a:gd name="connsiteX5" fmla="*/ 4189156 w 6994006"/>
              <a:gd name="connsiteY5" fmla="*/ 984726 h 14009306"/>
              <a:gd name="connsiteX6" fmla="*/ 5163276 w 6994006"/>
              <a:gd name="connsiteY6" fmla="*/ 971490 h 14009306"/>
              <a:gd name="connsiteX7" fmla="*/ 6215793 w 6994006"/>
              <a:gd name="connsiteY7" fmla="*/ 971310 h 14009306"/>
              <a:gd name="connsiteX8" fmla="*/ 6994006 w 6994006"/>
              <a:gd name="connsiteY8" fmla="*/ 925054 h 14009306"/>
              <a:gd name="connsiteX0" fmla="*/ 0 w 6994006"/>
              <a:gd name="connsiteY0" fmla="*/ 15251444 h 15251444"/>
              <a:gd name="connsiteX1" fmla="*/ 848793 w 6994006"/>
              <a:gd name="connsiteY1" fmla="*/ 1051344 h 15251444"/>
              <a:gd name="connsiteX2" fmla="*/ 1627886 w 6994006"/>
              <a:gd name="connsiteY2" fmla="*/ 1044799 h 15251444"/>
              <a:gd name="connsiteX3" fmla="*/ 2515216 w 6994006"/>
              <a:gd name="connsiteY3" fmla="*/ 978514 h 15251444"/>
              <a:gd name="connsiteX4" fmla="*/ 3354709 w 6994006"/>
              <a:gd name="connsiteY4" fmla="*/ 1120448 h 15251444"/>
              <a:gd name="connsiteX5" fmla="*/ 4189156 w 6994006"/>
              <a:gd name="connsiteY5" fmla="*/ 1070390 h 15251444"/>
              <a:gd name="connsiteX6" fmla="*/ 5163276 w 6994006"/>
              <a:gd name="connsiteY6" fmla="*/ 1057154 h 15251444"/>
              <a:gd name="connsiteX7" fmla="*/ 6215793 w 6994006"/>
              <a:gd name="connsiteY7" fmla="*/ 1056974 h 15251444"/>
              <a:gd name="connsiteX8" fmla="*/ 6994006 w 6994006"/>
              <a:gd name="connsiteY8" fmla="*/ 1010718 h 15251444"/>
              <a:gd name="connsiteX0" fmla="*/ 0 w 6994006"/>
              <a:gd name="connsiteY0" fmla="*/ 14858053 h 14858053"/>
              <a:gd name="connsiteX1" fmla="*/ 930379 w 6994006"/>
              <a:gd name="connsiteY1" fmla="*/ 9173810 h 14858053"/>
              <a:gd name="connsiteX2" fmla="*/ 1627886 w 6994006"/>
              <a:gd name="connsiteY2" fmla="*/ 651408 h 14858053"/>
              <a:gd name="connsiteX3" fmla="*/ 2515216 w 6994006"/>
              <a:gd name="connsiteY3" fmla="*/ 585123 h 14858053"/>
              <a:gd name="connsiteX4" fmla="*/ 3354709 w 6994006"/>
              <a:gd name="connsiteY4" fmla="*/ 727057 h 14858053"/>
              <a:gd name="connsiteX5" fmla="*/ 4189156 w 6994006"/>
              <a:gd name="connsiteY5" fmla="*/ 676999 h 14858053"/>
              <a:gd name="connsiteX6" fmla="*/ 5163276 w 6994006"/>
              <a:gd name="connsiteY6" fmla="*/ 663763 h 14858053"/>
              <a:gd name="connsiteX7" fmla="*/ 6215793 w 6994006"/>
              <a:gd name="connsiteY7" fmla="*/ 663583 h 14858053"/>
              <a:gd name="connsiteX8" fmla="*/ 6994006 w 6994006"/>
              <a:gd name="connsiteY8" fmla="*/ 617327 h 14858053"/>
              <a:gd name="connsiteX0" fmla="*/ 0 w 6994006"/>
              <a:gd name="connsiteY0" fmla="*/ 14858053 h 14858053"/>
              <a:gd name="connsiteX1" fmla="*/ 930379 w 6994006"/>
              <a:gd name="connsiteY1" fmla="*/ 9173810 h 14858053"/>
              <a:gd name="connsiteX2" fmla="*/ 1627886 w 6994006"/>
              <a:gd name="connsiteY2" fmla="*/ 651408 h 14858053"/>
              <a:gd name="connsiteX3" fmla="*/ 2515216 w 6994006"/>
              <a:gd name="connsiteY3" fmla="*/ 585123 h 14858053"/>
              <a:gd name="connsiteX4" fmla="*/ 3354709 w 6994006"/>
              <a:gd name="connsiteY4" fmla="*/ 727057 h 14858053"/>
              <a:gd name="connsiteX5" fmla="*/ 4189156 w 6994006"/>
              <a:gd name="connsiteY5" fmla="*/ 676999 h 14858053"/>
              <a:gd name="connsiteX6" fmla="*/ 5163276 w 6994006"/>
              <a:gd name="connsiteY6" fmla="*/ 663763 h 14858053"/>
              <a:gd name="connsiteX7" fmla="*/ 6215793 w 6994006"/>
              <a:gd name="connsiteY7" fmla="*/ 663583 h 14858053"/>
              <a:gd name="connsiteX8" fmla="*/ 6994006 w 6994006"/>
              <a:gd name="connsiteY8" fmla="*/ 617327 h 14858053"/>
              <a:gd name="connsiteX0" fmla="*/ 0 w 6994006"/>
              <a:gd name="connsiteY0" fmla="*/ 14980001 h 14980001"/>
              <a:gd name="connsiteX1" fmla="*/ 909983 w 6994006"/>
              <a:gd name="connsiteY1" fmla="*/ 10942858 h 14980001"/>
              <a:gd name="connsiteX2" fmla="*/ 1627886 w 6994006"/>
              <a:gd name="connsiteY2" fmla="*/ 773356 h 14980001"/>
              <a:gd name="connsiteX3" fmla="*/ 2515216 w 6994006"/>
              <a:gd name="connsiteY3" fmla="*/ 707071 h 14980001"/>
              <a:gd name="connsiteX4" fmla="*/ 3354709 w 6994006"/>
              <a:gd name="connsiteY4" fmla="*/ 849005 h 14980001"/>
              <a:gd name="connsiteX5" fmla="*/ 4189156 w 6994006"/>
              <a:gd name="connsiteY5" fmla="*/ 798947 h 14980001"/>
              <a:gd name="connsiteX6" fmla="*/ 5163276 w 6994006"/>
              <a:gd name="connsiteY6" fmla="*/ 785711 h 14980001"/>
              <a:gd name="connsiteX7" fmla="*/ 6215793 w 6994006"/>
              <a:gd name="connsiteY7" fmla="*/ 785531 h 14980001"/>
              <a:gd name="connsiteX8" fmla="*/ 6994006 w 6994006"/>
              <a:gd name="connsiteY8" fmla="*/ 739275 h 14980001"/>
              <a:gd name="connsiteX0" fmla="*/ 0 w 6994006"/>
              <a:gd name="connsiteY0" fmla="*/ 14272930 h 14272930"/>
              <a:gd name="connsiteX1" fmla="*/ 909983 w 6994006"/>
              <a:gd name="connsiteY1" fmla="*/ 10235787 h 14272930"/>
              <a:gd name="connsiteX2" fmla="*/ 1845447 w 6994006"/>
              <a:gd name="connsiteY2" fmla="*/ 13278128 h 14272930"/>
              <a:gd name="connsiteX3" fmla="*/ 2515216 w 6994006"/>
              <a:gd name="connsiteY3" fmla="*/ 0 h 14272930"/>
              <a:gd name="connsiteX4" fmla="*/ 3354709 w 6994006"/>
              <a:gd name="connsiteY4" fmla="*/ 141934 h 14272930"/>
              <a:gd name="connsiteX5" fmla="*/ 4189156 w 6994006"/>
              <a:gd name="connsiteY5" fmla="*/ 91876 h 14272930"/>
              <a:gd name="connsiteX6" fmla="*/ 5163276 w 6994006"/>
              <a:gd name="connsiteY6" fmla="*/ 78640 h 14272930"/>
              <a:gd name="connsiteX7" fmla="*/ 6215793 w 6994006"/>
              <a:gd name="connsiteY7" fmla="*/ 78460 h 14272930"/>
              <a:gd name="connsiteX8" fmla="*/ 6994006 w 6994006"/>
              <a:gd name="connsiteY8" fmla="*/ 32204 h 14272930"/>
              <a:gd name="connsiteX0" fmla="*/ 0 w 6994006"/>
              <a:gd name="connsiteY0" fmla="*/ 14248000 h 14248000"/>
              <a:gd name="connsiteX1" fmla="*/ 909983 w 6994006"/>
              <a:gd name="connsiteY1" fmla="*/ 10210857 h 14248000"/>
              <a:gd name="connsiteX2" fmla="*/ 1845447 w 6994006"/>
              <a:gd name="connsiteY2" fmla="*/ 13253198 h 14248000"/>
              <a:gd name="connsiteX3" fmla="*/ 2590003 w 6994006"/>
              <a:gd name="connsiteY3" fmla="*/ 6948961 h 14248000"/>
              <a:gd name="connsiteX4" fmla="*/ 3354709 w 6994006"/>
              <a:gd name="connsiteY4" fmla="*/ 117004 h 14248000"/>
              <a:gd name="connsiteX5" fmla="*/ 4189156 w 6994006"/>
              <a:gd name="connsiteY5" fmla="*/ 66946 h 14248000"/>
              <a:gd name="connsiteX6" fmla="*/ 5163276 w 6994006"/>
              <a:gd name="connsiteY6" fmla="*/ 53710 h 14248000"/>
              <a:gd name="connsiteX7" fmla="*/ 6215793 w 6994006"/>
              <a:gd name="connsiteY7" fmla="*/ 53530 h 14248000"/>
              <a:gd name="connsiteX8" fmla="*/ 6994006 w 6994006"/>
              <a:gd name="connsiteY8" fmla="*/ 7274 h 14248000"/>
              <a:gd name="connsiteX0" fmla="*/ 0 w 6994006"/>
              <a:gd name="connsiteY0" fmla="*/ 14247996 h 14247996"/>
              <a:gd name="connsiteX1" fmla="*/ 909983 w 6994006"/>
              <a:gd name="connsiteY1" fmla="*/ 10210853 h 14247996"/>
              <a:gd name="connsiteX2" fmla="*/ 1845447 w 6994006"/>
              <a:gd name="connsiteY2" fmla="*/ 13253194 h 14247996"/>
              <a:gd name="connsiteX3" fmla="*/ 2590003 w 6994006"/>
              <a:gd name="connsiteY3" fmla="*/ 8525967 h 14247996"/>
              <a:gd name="connsiteX4" fmla="*/ 3354709 w 6994006"/>
              <a:gd name="connsiteY4" fmla="*/ 117000 h 14247996"/>
              <a:gd name="connsiteX5" fmla="*/ 4189156 w 6994006"/>
              <a:gd name="connsiteY5" fmla="*/ 66942 h 14247996"/>
              <a:gd name="connsiteX6" fmla="*/ 5163276 w 6994006"/>
              <a:gd name="connsiteY6" fmla="*/ 53706 h 14247996"/>
              <a:gd name="connsiteX7" fmla="*/ 6215793 w 6994006"/>
              <a:gd name="connsiteY7" fmla="*/ 53526 h 14247996"/>
              <a:gd name="connsiteX8" fmla="*/ 6994006 w 6994006"/>
              <a:gd name="connsiteY8" fmla="*/ 7270 h 14247996"/>
              <a:gd name="connsiteX0" fmla="*/ 0 w 6994006"/>
              <a:gd name="connsiteY0" fmla="*/ 14884393 h 14884393"/>
              <a:gd name="connsiteX1" fmla="*/ 909983 w 6994006"/>
              <a:gd name="connsiteY1" fmla="*/ 10847250 h 14884393"/>
              <a:gd name="connsiteX2" fmla="*/ 1845447 w 6994006"/>
              <a:gd name="connsiteY2" fmla="*/ 13889591 h 14884393"/>
              <a:gd name="connsiteX3" fmla="*/ 2590003 w 6994006"/>
              <a:gd name="connsiteY3" fmla="*/ 9162364 h 14884393"/>
              <a:gd name="connsiteX4" fmla="*/ 3395502 w 6994006"/>
              <a:gd name="connsiteY4" fmla="*/ 10145370 h 14884393"/>
              <a:gd name="connsiteX5" fmla="*/ 4189156 w 6994006"/>
              <a:gd name="connsiteY5" fmla="*/ 703339 h 14884393"/>
              <a:gd name="connsiteX6" fmla="*/ 5163276 w 6994006"/>
              <a:gd name="connsiteY6" fmla="*/ 690103 h 14884393"/>
              <a:gd name="connsiteX7" fmla="*/ 6215793 w 6994006"/>
              <a:gd name="connsiteY7" fmla="*/ 689923 h 14884393"/>
              <a:gd name="connsiteX8" fmla="*/ 6994006 w 6994006"/>
              <a:gd name="connsiteY8" fmla="*/ 643667 h 14884393"/>
              <a:gd name="connsiteX0" fmla="*/ 0 w 6994006"/>
              <a:gd name="connsiteY0" fmla="*/ 14287114 h 14287114"/>
              <a:gd name="connsiteX1" fmla="*/ 909983 w 6994006"/>
              <a:gd name="connsiteY1" fmla="*/ 10249971 h 14287114"/>
              <a:gd name="connsiteX2" fmla="*/ 1845447 w 6994006"/>
              <a:gd name="connsiteY2" fmla="*/ 13292312 h 14287114"/>
              <a:gd name="connsiteX3" fmla="*/ 2590003 w 6994006"/>
              <a:gd name="connsiteY3" fmla="*/ 8565085 h 14287114"/>
              <a:gd name="connsiteX4" fmla="*/ 3395502 w 6994006"/>
              <a:gd name="connsiteY4" fmla="*/ 9548091 h 14287114"/>
              <a:gd name="connsiteX5" fmla="*/ 4189156 w 6994006"/>
              <a:gd name="connsiteY5" fmla="*/ 1297580 h 14287114"/>
              <a:gd name="connsiteX6" fmla="*/ 5163276 w 6994006"/>
              <a:gd name="connsiteY6" fmla="*/ 92824 h 14287114"/>
              <a:gd name="connsiteX7" fmla="*/ 6215793 w 6994006"/>
              <a:gd name="connsiteY7" fmla="*/ 92644 h 14287114"/>
              <a:gd name="connsiteX8" fmla="*/ 6994006 w 6994006"/>
              <a:gd name="connsiteY8" fmla="*/ 46388 h 14287114"/>
              <a:gd name="connsiteX0" fmla="*/ 0 w 6994006"/>
              <a:gd name="connsiteY0" fmla="*/ 14349370 h 14349370"/>
              <a:gd name="connsiteX1" fmla="*/ 909983 w 6994006"/>
              <a:gd name="connsiteY1" fmla="*/ 10312227 h 14349370"/>
              <a:gd name="connsiteX2" fmla="*/ 1845447 w 6994006"/>
              <a:gd name="connsiteY2" fmla="*/ 13354568 h 14349370"/>
              <a:gd name="connsiteX3" fmla="*/ 2590003 w 6994006"/>
              <a:gd name="connsiteY3" fmla="*/ 8627341 h 14349370"/>
              <a:gd name="connsiteX4" fmla="*/ 3395502 w 6994006"/>
              <a:gd name="connsiteY4" fmla="*/ 9610347 h 14349370"/>
              <a:gd name="connsiteX5" fmla="*/ 4263943 w 6994006"/>
              <a:gd name="connsiteY5" fmla="*/ 2200909 h 14349370"/>
              <a:gd name="connsiteX6" fmla="*/ 5163276 w 6994006"/>
              <a:gd name="connsiteY6" fmla="*/ 155080 h 14349370"/>
              <a:gd name="connsiteX7" fmla="*/ 6215793 w 6994006"/>
              <a:gd name="connsiteY7" fmla="*/ 154900 h 14349370"/>
              <a:gd name="connsiteX8" fmla="*/ 6994006 w 6994006"/>
              <a:gd name="connsiteY8" fmla="*/ 108644 h 14349370"/>
              <a:gd name="connsiteX0" fmla="*/ 0 w 6994006"/>
              <a:gd name="connsiteY0" fmla="*/ 14569988 h 14569988"/>
              <a:gd name="connsiteX1" fmla="*/ 909983 w 6994006"/>
              <a:gd name="connsiteY1" fmla="*/ 10532845 h 14569988"/>
              <a:gd name="connsiteX2" fmla="*/ 1845447 w 6994006"/>
              <a:gd name="connsiteY2" fmla="*/ 13575186 h 14569988"/>
              <a:gd name="connsiteX3" fmla="*/ 2590003 w 6994006"/>
              <a:gd name="connsiteY3" fmla="*/ 8847959 h 14569988"/>
              <a:gd name="connsiteX4" fmla="*/ 3395502 w 6994006"/>
              <a:gd name="connsiteY4" fmla="*/ 9830965 h 14569988"/>
              <a:gd name="connsiteX5" fmla="*/ 4209553 w 6994006"/>
              <a:gd name="connsiteY5" fmla="*/ 5400324 h 14569988"/>
              <a:gd name="connsiteX6" fmla="*/ 5163276 w 6994006"/>
              <a:gd name="connsiteY6" fmla="*/ 375698 h 14569988"/>
              <a:gd name="connsiteX7" fmla="*/ 6215793 w 6994006"/>
              <a:gd name="connsiteY7" fmla="*/ 375518 h 14569988"/>
              <a:gd name="connsiteX8" fmla="*/ 6994006 w 6994006"/>
              <a:gd name="connsiteY8" fmla="*/ 329262 h 14569988"/>
              <a:gd name="connsiteX0" fmla="*/ 0 w 6994006"/>
              <a:gd name="connsiteY0" fmla="*/ 14725734 h 14725734"/>
              <a:gd name="connsiteX1" fmla="*/ 909983 w 6994006"/>
              <a:gd name="connsiteY1" fmla="*/ 10688591 h 14725734"/>
              <a:gd name="connsiteX2" fmla="*/ 1845447 w 6994006"/>
              <a:gd name="connsiteY2" fmla="*/ 13730932 h 14725734"/>
              <a:gd name="connsiteX3" fmla="*/ 2590003 w 6994006"/>
              <a:gd name="connsiteY3" fmla="*/ 9003705 h 14725734"/>
              <a:gd name="connsiteX4" fmla="*/ 3395502 w 6994006"/>
              <a:gd name="connsiteY4" fmla="*/ 9986711 h 14725734"/>
              <a:gd name="connsiteX5" fmla="*/ 4277541 w 6994006"/>
              <a:gd name="connsiteY5" fmla="*/ 7658751 h 14725734"/>
              <a:gd name="connsiteX6" fmla="*/ 5163276 w 6994006"/>
              <a:gd name="connsiteY6" fmla="*/ 531444 h 14725734"/>
              <a:gd name="connsiteX7" fmla="*/ 6215793 w 6994006"/>
              <a:gd name="connsiteY7" fmla="*/ 531264 h 14725734"/>
              <a:gd name="connsiteX8" fmla="*/ 6994006 w 6994006"/>
              <a:gd name="connsiteY8" fmla="*/ 485008 h 14725734"/>
              <a:gd name="connsiteX0" fmla="*/ 0 w 6994006"/>
              <a:gd name="connsiteY0" fmla="*/ 14247997 h 14247997"/>
              <a:gd name="connsiteX1" fmla="*/ 909983 w 6994006"/>
              <a:gd name="connsiteY1" fmla="*/ 10210854 h 14247997"/>
              <a:gd name="connsiteX2" fmla="*/ 1845447 w 6994006"/>
              <a:gd name="connsiteY2" fmla="*/ 13253195 h 14247997"/>
              <a:gd name="connsiteX3" fmla="*/ 2590003 w 6994006"/>
              <a:gd name="connsiteY3" fmla="*/ 8525968 h 14247997"/>
              <a:gd name="connsiteX4" fmla="*/ 3395502 w 6994006"/>
              <a:gd name="connsiteY4" fmla="*/ 9508974 h 14247997"/>
              <a:gd name="connsiteX5" fmla="*/ 4277541 w 6994006"/>
              <a:gd name="connsiteY5" fmla="*/ 7181014 h 14247997"/>
              <a:gd name="connsiteX6" fmla="*/ 5115685 w 6994006"/>
              <a:gd name="connsiteY6" fmla="*/ 2962414 h 14247997"/>
              <a:gd name="connsiteX7" fmla="*/ 6215793 w 6994006"/>
              <a:gd name="connsiteY7" fmla="*/ 53527 h 14247997"/>
              <a:gd name="connsiteX8" fmla="*/ 6994006 w 6994006"/>
              <a:gd name="connsiteY8" fmla="*/ 7271 h 14247997"/>
              <a:gd name="connsiteX0" fmla="*/ 0 w 6994006"/>
              <a:gd name="connsiteY0" fmla="*/ 14240822 h 14240822"/>
              <a:gd name="connsiteX1" fmla="*/ 909983 w 6994006"/>
              <a:gd name="connsiteY1" fmla="*/ 10203679 h 14240822"/>
              <a:gd name="connsiteX2" fmla="*/ 1845447 w 6994006"/>
              <a:gd name="connsiteY2" fmla="*/ 13246020 h 14240822"/>
              <a:gd name="connsiteX3" fmla="*/ 2590003 w 6994006"/>
              <a:gd name="connsiteY3" fmla="*/ 8518793 h 14240822"/>
              <a:gd name="connsiteX4" fmla="*/ 3395502 w 6994006"/>
              <a:gd name="connsiteY4" fmla="*/ 9501799 h 14240822"/>
              <a:gd name="connsiteX5" fmla="*/ 4277541 w 6994006"/>
              <a:gd name="connsiteY5" fmla="*/ 7173839 h 14240822"/>
              <a:gd name="connsiteX6" fmla="*/ 5115685 w 6994006"/>
              <a:gd name="connsiteY6" fmla="*/ 2955239 h 14240822"/>
              <a:gd name="connsiteX7" fmla="*/ 5984634 w 6994006"/>
              <a:gd name="connsiteY7" fmla="*/ 8737431 h 14240822"/>
              <a:gd name="connsiteX8" fmla="*/ 6994006 w 6994006"/>
              <a:gd name="connsiteY8" fmla="*/ 96 h 14240822"/>
              <a:gd name="connsiteX0" fmla="*/ 0 w 6994006"/>
              <a:gd name="connsiteY0" fmla="*/ 14240807 h 14240807"/>
              <a:gd name="connsiteX1" fmla="*/ 909983 w 6994006"/>
              <a:gd name="connsiteY1" fmla="*/ 10203664 h 14240807"/>
              <a:gd name="connsiteX2" fmla="*/ 1845447 w 6994006"/>
              <a:gd name="connsiteY2" fmla="*/ 13246005 h 14240807"/>
              <a:gd name="connsiteX3" fmla="*/ 2590003 w 6994006"/>
              <a:gd name="connsiteY3" fmla="*/ 8518778 h 14240807"/>
              <a:gd name="connsiteX4" fmla="*/ 3395502 w 6994006"/>
              <a:gd name="connsiteY4" fmla="*/ 9501784 h 14240807"/>
              <a:gd name="connsiteX5" fmla="*/ 4277541 w 6994006"/>
              <a:gd name="connsiteY5" fmla="*/ 7173824 h 14240807"/>
              <a:gd name="connsiteX6" fmla="*/ 5115685 w 6994006"/>
              <a:gd name="connsiteY6" fmla="*/ 2955224 h 14240807"/>
              <a:gd name="connsiteX7" fmla="*/ 5971037 w 6994006"/>
              <a:gd name="connsiteY7" fmla="*/ 10419561 h 14240807"/>
              <a:gd name="connsiteX8" fmla="*/ 6994006 w 6994006"/>
              <a:gd name="connsiteY8" fmla="*/ 81 h 14240807"/>
              <a:gd name="connsiteX0" fmla="*/ 0 w 6694859"/>
              <a:gd name="connsiteY0" fmla="*/ 11339678 h 11339678"/>
              <a:gd name="connsiteX1" fmla="*/ 909983 w 6694859"/>
              <a:gd name="connsiteY1" fmla="*/ 7302535 h 11339678"/>
              <a:gd name="connsiteX2" fmla="*/ 1845447 w 6694859"/>
              <a:gd name="connsiteY2" fmla="*/ 10344876 h 11339678"/>
              <a:gd name="connsiteX3" fmla="*/ 2590003 w 6694859"/>
              <a:gd name="connsiteY3" fmla="*/ 5617649 h 11339678"/>
              <a:gd name="connsiteX4" fmla="*/ 3395502 w 6694859"/>
              <a:gd name="connsiteY4" fmla="*/ 6600655 h 11339678"/>
              <a:gd name="connsiteX5" fmla="*/ 4277541 w 6694859"/>
              <a:gd name="connsiteY5" fmla="*/ 4272695 h 11339678"/>
              <a:gd name="connsiteX6" fmla="*/ 5115685 w 6694859"/>
              <a:gd name="connsiteY6" fmla="*/ 54095 h 11339678"/>
              <a:gd name="connsiteX7" fmla="*/ 5971037 w 6694859"/>
              <a:gd name="connsiteY7" fmla="*/ 7518432 h 11339678"/>
              <a:gd name="connsiteX8" fmla="*/ 6694859 w 6694859"/>
              <a:gd name="connsiteY8" fmla="*/ 3617262 h 11339678"/>
              <a:gd name="connsiteX0" fmla="*/ 0 w 6694859"/>
              <a:gd name="connsiteY0" fmla="*/ 11339678 h 11339678"/>
              <a:gd name="connsiteX1" fmla="*/ 869190 w 6694859"/>
              <a:gd name="connsiteY1" fmla="*/ 11087360 h 11339678"/>
              <a:gd name="connsiteX2" fmla="*/ 1845447 w 6694859"/>
              <a:gd name="connsiteY2" fmla="*/ 10344876 h 11339678"/>
              <a:gd name="connsiteX3" fmla="*/ 2590003 w 6694859"/>
              <a:gd name="connsiteY3" fmla="*/ 5617649 h 11339678"/>
              <a:gd name="connsiteX4" fmla="*/ 3395502 w 6694859"/>
              <a:gd name="connsiteY4" fmla="*/ 6600655 h 11339678"/>
              <a:gd name="connsiteX5" fmla="*/ 4277541 w 6694859"/>
              <a:gd name="connsiteY5" fmla="*/ 4272695 h 11339678"/>
              <a:gd name="connsiteX6" fmla="*/ 5115685 w 6694859"/>
              <a:gd name="connsiteY6" fmla="*/ 54095 h 11339678"/>
              <a:gd name="connsiteX7" fmla="*/ 5971037 w 6694859"/>
              <a:gd name="connsiteY7" fmla="*/ 7518432 h 11339678"/>
              <a:gd name="connsiteX8" fmla="*/ 6694859 w 6694859"/>
              <a:gd name="connsiteY8" fmla="*/ 3617262 h 11339678"/>
              <a:gd name="connsiteX0" fmla="*/ 0 w 6694859"/>
              <a:gd name="connsiteY0" fmla="*/ 11339678 h 11339678"/>
              <a:gd name="connsiteX1" fmla="*/ 869190 w 6694859"/>
              <a:gd name="connsiteY1" fmla="*/ 11087360 h 11339678"/>
              <a:gd name="connsiteX2" fmla="*/ 1812813 w 6694859"/>
              <a:gd name="connsiteY2" fmla="*/ 10807466 h 11339678"/>
              <a:gd name="connsiteX3" fmla="*/ 2590003 w 6694859"/>
              <a:gd name="connsiteY3" fmla="*/ 5617649 h 11339678"/>
              <a:gd name="connsiteX4" fmla="*/ 3395502 w 6694859"/>
              <a:gd name="connsiteY4" fmla="*/ 6600655 h 11339678"/>
              <a:gd name="connsiteX5" fmla="*/ 4277541 w 6694859"/>
              <a:gd name="connsiteY5" fmla="*/ 4272695 h 11339678"/>
              <a:gd name="connsiteX6" fmla="*/ 5115685 w 6694859"/>
              <a:gd name="connsiteY6" fmla="*/ 54095 h 11339678"/>
              <a:gd name="connsiteX7" fmla="*/ 5971037 w 6694859"/>
              <a:gd name="connsiteY7" fmla="*/ 7518432 h 11339678"/>
              <a:gd name="connsiteX8" fmla="*/ 6694859 w 6694859"/>
              <a:gd name="connsiteY8" fmla="*/ 3617262 h 11339678"/>
              <a:gd name="connsiteX0" fmla="*/ 0 w 6694859"/>
              <a:gd name="connsiteY0" fmla="*/ 11339678 h 11339678"/>
              <a:gd name="connsiteX1" fmla="*/ 869190 w 6694859"/>
              <a:gd name="connsiteY1" fmla="*/ 11087360 h 11339678"/>
              <a:gd name="connsiteX2" fmla="*/ 1812813 w 6694859"/>
              <a:gd name="connsiteY2" fmla="*/ 10807466 h 11339678"/>
              <a:gd name="connsiteX3" fmla="*/ 2590003 w 6694859"/>
              <a:gd name="connsiteY3" fmla="*/ 11336941 h 11339678"/>
              <a:gd name="connsiteX4" fmla="*/ 3395502 w 6694859"/>
              <a:gd name="connsiteY4" fmla="*/ 6600655 h 11339678"/>
              <a:gd name="connsiteX5" fmla="*/ 4277541 w 6694859"/>
              <a:gd name="connsiteY5" fmla="*/ 4272695 h 11339678"/>
              <a:gd name="connsiteX6" fmla="*/ 5115685 w 6694859"/>
              <a:gd name="connsiteY6" fmla="*/ 54095 h 11339678"/>
              <a:gd name="connsiteX7" fmla="*/ 5971037 w 6694859"/>
              <a:gd name="connsiteY7" fmla="*/ 7518432 h 11339678"/>
              <a:gd name="connsiteX8" fmla="*/ 6694859 w 6694859"/>
              <a:gd name="connsiteY8" fmla="*/ 3617262 h 11339678"/>
              <a:gd name="connsiteX0" fmla="*/ 0 w 6694859"/>
              <a:gd name="connsiteY0" fmla="*/ 11351117 h 11351117"/>
              <a:gd name="connsiteX1" fmla="*/ 869190 w 6694859"/>
              <a:gd name="connsiteY1" fmla="*/ 11098799 h 11351117"/>
              <a:gd name="connsiteX2" fmla="*/ 1812813 w 6694859"/>
              <a:gd name="connsiteY2" fmla="*/ 10818905 h 11351117"/>
              <a:gd name="connsiteX3" fmla="*/ 2590003 w 6694859"/>
              <a:gd name="connsiteY3" fmla="*/ 11348380 h 11351117"/>
              <a:gd name="connsiteX4" fmla="*/ 3436295 w 6694859"/>
              <a:gd name="connsiteY4" fmla="*/ 11027724 h 11351117"/>
              <a:gd name="connsiteX5" fmla="*/ 4277541 w 6694859"/>
              <a:gd name="connsiteY5" fmla="*/ 4284134 h 11351117"/>
              <a:gd name="connsiteX6" fmla="*/ 5115685 w 6694859"/>
              <a:gd name="connsiteY6" fmla="*/ 65534 h 11351117"/>
              <a:gd name="connsiteX7" fmla="*/ 5971037 w 6694859"/>
              <a:gd name="connsiteY7" fmla="*/ 7529871 h 11351117"/>
              <a:gd name="connsiteX8" fmla="*/ 6694859 w 6694859"/>
              <a:gd name="connsiteY8" fmla="*/ 3628701 h 11351117"/>
              <a:gd name="connsiteX0" fmla="*/ 0 w 6694859"/>
              <a:gd name="connsiteY0" fmla="*/ 11302812 h 11302812"/>
              <a:gd name="connsiteX1" fmla="*/ 869190 w 6694859"/>
              <a:gd name="connsiteY1" fmla="*/ 11050494 h 11302812"/>
              <a:gd name="connsiteX2" fmla="*/ 1812813 w 6694859"/>
              <a:gd name="connsiteY2" fmla="*/ 10770600 h 11302812"/>
              <a:gd name="connsiteX3" fmla="*/ 2590003 w 6694859"/>
              <a:gd name="connsiteY3" fmla="*/ 11300075 h 11302812"/>
              <a:gd name="connsiteX4" fmla="*/ 3436295 w 6694859"/>
              <a:gd name="connsiteY4" fmla="*/ 10979419 h 11302812"/>
              <a:gd name="connsiteX5" fmla="*/ 4310176 w 6694859"/>
              <a:gd name="connsiteY5" fmla="*/ 10081281 h 11302812"/>
              <a:gd name="connsiteX6" fmla="*/ 5115685 w 6694859"/>
              <a:gd name="connsiteY6" fmla="*/ 17229 h 11302812"/>
              <a:gd name="connsiteX7" fmla="*/ 5971037 w 6694859"/>
              <a:gd name="connsiteY7" fmla="*/ 7481566 h 11302812"/>
              <a:gd name="connsiteX8" fmla="*/ 6694859 w 6694859"/>
              <a:gd name="connsiteY8" fmla="*/ 3580396 h 11302812"/>
              <a:gd name="connsiteX0" fmla="*/ 0 w 6694859"/>
              <a:gd name="connsiteY0" fmla="*/ 11302812 h 11302812"/>
              <a:gd name="connsiteX1" fmla="*/ 869190 w 6694859"/>
              <a:gd name="connsiteY1" fmla="*/ 11050494 h 11302812"/>
              <a:gd name="connsiteX2" fmla="*/ 1812813 w 6694859"/>
              <a:gd name="connsiteY2" fmla="*/ 10770600 h 11302812"/>
              <a:gd name="connsiteX3" fmla="*/ 2590003 w 6694859"/>
              <a:gd name="connsiteY3" fmla="*/ 11300075 h 11302812"/>
              <a:gd name="connsiteX4" fmla="*/ 3436295 w 6694859"/>
              <a:gd name="connsiteY4" fmla="*/ 10979419 h 11302812"/>
              <a:gd name="connsiteX5" fmla="*/ 4310176 w 6694859"/>
              <a:gd name="connsiteY5" fmla="*/ 10081281 h 11302812"/>
              <a:gd name="connsiteX6" fmla="*/ 5115685 w 6694859"/>
              <a:gd name="connsiteY6" fmla="*/ 17229 h 11302812"/>
              <a:gd name="connsiteX7" fmla="*/ 5971037 w 6694859"/>
              <a:gd name="connsiteY7" fmla="*/ 7481566 h 11302812"/>
              <a:gd name="connsiteX8" fmla="*/ 6694859 w 6694859"/>
              <a:gd name="connsiteY8" fmla="*/ 3580396 h 11302812"/>
              <a:gd name="connsiteX0" fmla="*/ 0 w 6694859"/>
              <a:gd name="connsiteY0" fmla="*/ 11312275 h 11312275"/>
              <a:gd name="connsiteX1" fmla="*/ 869190 w 6694859"/>
              <a:gd name="connsiteY1" fmla="*/ 11059957 h 11312275"/>
              <a:gd name="connsiteX2" fmla="*/ 1812813 w 6694859"/>
              <a:gd name="connsiteY2" fmla="*/ 10780063 h 11312275"/>
              <a:gd name="connsiteX3" fmla="*/ 2590003 w 6694859"/>
              <a:gd name="connsiteY3" fmla="*/ 11309538 h 11312275"/>
              <a:gd name="connsiteX4" fmla="*/ 3436295 w 6694859"/>
              <a:gd name="connsiteY4" fmla="*/ 10988882 h 11312275"/>
              <a:gd name="connsiteX5" fmla="*/ 4310176 w 6694859"/>
              <a:gd name="connsiteY5" fmla="*/ 10763602 h 11312275"/>
              <a:gd name="connsiteX6" fmla="*/ 5115685 w 6694859"/>
              <a:gd name="connsiteY6" fmla="*/ 26692 h 11312275"/>
              <a:gd name="connsiteX7" fmla="*/ 5971037 w 6694859"/>
              <a:gd name="connsiteY7" fmla="*/ 7491029 h 11312275"/>
              <a:gd name="connsiteX8" fmla="*/ 6694859 w 6694859"/>
              <a:gd name="connsiteY8" fmla="*/ 3589859 h 11312275"/>
              <a:gd name="connsiteX0" fmla="*/ 0 w 6694859"/>
              <a:gd name="connsiteY0" fmla="*/ 11312275 h 11312275"/>
              <a:gd name="connsiteX1" fmla="*/ 869190 w 6694859"/>
              <a:gd name="connsiteY1" fmla="*/ 11059957 h 11312275"/>
              <a:gd name="connsiteX2" fmla="*/ 1812813 w 6694859"/>
              <a:gd name="connsiteY2" fmla="*/ 10780063 h 11312275"/>
              <a:gd name="connsiteX3" fmla="*/ 2590003 w 6694859"/>
              <a:gd name="connsiteY3" fmla="*/ 11309538 h 11312275"/>
              <a:gd name="connsiteX4" fmla="*/ 3436295 w 6694859"/>
              <a:gd name="connsiteY4" fmla="*/ 10988882 h 11312275"/>
              <a:gd name="connsiteX5" fmla="*/ 4310176 w 6694859"/>
              <a:gd name="connsiteY5" fmla="*/ 10763602 h 11312275"/>
              <a:gd name="connsiteX6" fmla="*/ 5115685 w 6694859"/>
              <a:gd name="connsiteY6" fmla="*/ 26692 h 11312275"/>
              <a:gd name="connsiteX7" fmla="*/ 5971037 w 6694859"/>
              <a:gd name="connsiteY7" fmla="*/ 7491029 h 11312275"/>
              <a:gd name="connsiteX8" fmla="*/ 6694859 w 6694859"/>
              <a:gd name="connsiteY8" fmla="*/ 3589859 h 11312275"/>
              <a:gd name="connsiteX0" fmla="*/ 0 w 6694859"/>
              <a:gd name="connsiteY0" fmla="*/ 7722629 h 7722629"/>
              <a:gd name="connsiteX1" fmla="*/ 869190 w 6694859"/>
              <a:gd name="connsiteY1" fmla="*/ 7470311 h 7722629"/>
              <a:gd name="connsiteX2" fmla="*/ 1812813 w 6694859"/>
              <a:gd name="connsiteY2" fmla="*/ 7190417 h 7722629"/>
              <a:gd name="connsiteX3" fmla="*/ 2590003 w 6694859"/>
              <a:gd name="connsiteY3" fmla="*/ 7719892 h 7722629"/>
              <a:gd name="connsiteX4" fmla="*/ 3436295 w 6694859"/>
              <a:gd name="connsiteY4" fmla="*/ 7399236 h 7722629"/>
              <a:gd name="connsiteX5" fmla="*/ 4310176 w 6694859"/>
              <a:gd name="connsiteY5" fmla="*/ 7173956 h 7722629"/>
              <a:gd name="connsiteX6" fmla="*/ 5123844 w 6694859"/>
              <a:gd name="connsiteY6" fmla="*/ 7118665 h 7722629"/>
              <a:gd name="connsiteX7" fmla="*/ 5971037 w 6694859"/>
              <a:gd name="connsiteY7" fmla="*/ 3901383 h 7722629"/>
              <a:gd name="connsiteX8" fmla="*/ 6694859 w 6694859"/>
              <a:gd name="connsiteY8" fmla="*/ 213 h 7722629"/>
              <a:gd name="connsiteX0" fmla="*/ 0 w 6694859"/>
              <a:gd name="connsiteY0" fmla="*/ 7722533 h 7722533"/>
              <a:gd name="connsiteX1" fmla="*/ 869190 w 6694859"/>
              <a:gd name="connsiteY1" fmla="*/ 7470215 h 7722533"/>
              <a:gd name="connsiteX2" fmla="*/ 1812813 w 6694859"/>
              <a:gd name="connsiteY2" fmla="*/ 7190321 h 7722533"/>
              <a:gd name="connsiteX3" fmla="*/ 2590003 w 6694859"/>
              <a:gd name="connsiteY3" fmla="*/ 7719796 h 7722533"/>
              <a:gd name="connsiteX4" fmla="*/ 3436295 w 6694859"/>
              <a:gd name="connsiteY4" fmla="*/ 7399140 h 7722533"/>
              <a:gd name="connsiteX5" fmla="*/ 4310176 w 6694859"/>
              <a:gd name="connsiteY5" fmla="*/ 7173860 h 7722533"/>
              <a:gd name="connsiteX6" fmla="*/ 5123844 w 6694859"/>
              <a:gd name="connsiteY6" fmla="*/ 7118569 h 7722533"/>
              <a:gd name="connsiteX7" fmla="*/ 5971037 w 6694859"/>
              <a:gd name="connsiteY7" fmla="*/ 7265576 h 7722533"/>
              <a:gd name="connsiteX8" fmla="*/ 6694859 w 6694859"/>
              <a:gd name="connsiteY8" fmla="*/ 117 h 7722533"/>
              <a:gd name="connsiteX0" fmla="*/ 0 w 6866188"/>
              <a:gd name="connsiteY0" fmla="*/ 785715 h 785715"/>
              <a:gd name="connsiteX1" fmla="*/ 869190 w 6866188"/>
              <a:gd name="connsiteY1" fmla="*/ 533397 h 785715"/>
              <a:gd name="connsiteX2" fmla="*/ 1812813 w 6866188"/>
              <a:gd name="connsiteY2" fmla="*/ 253503 h 785715"/>
              <a:gd name="connsiteX3" fmla="*/ 2590003 w 6866188"/>
              <a:gd name="connsiteY3" fmla="*/ 782978 h 785715"/>
              <a:gd name="connsiteX4" fmla="*/ 3436295 w 6866188"/>
              <a:gd name="connsiteY4" fmla="*/ 462322 h 785715"/>
              <a:gd name="connsiteX5" fmla="*/ 4310176 w 6866188"/>
              <a:gd name="connsiteY5" fmla="*/ 237042 h 785715"/>
              <a:gd name="connsiteX6" fmla="*/ 5123844 w 6866188"/>
              <a:gd name="connsiteY6" fmla="*/ 181751 h 785715"/>
              <a:gd name="connsiteX7" fmla="*/ 5971037 w 6866188"/>
              <a:gd name="connsiteY7" fmla="*/ 328758 h 785715"/>
              <a:gd name="connsiteX8" fmla="*/ 6866188 w 6866188"/>
              <a:gd name="connsiteY8" fmla="*/ 2145 h 785715"/>
              <a:gd name="connsiteX0" fmla="*/ 0 w 6707274"/>
              <a:gd name="connsiteY0" fmla="*/ 22 h 2016021"/>
              <a:gd name="connsiteX1" fmla="*/ 710276 w 6707274"/>
              <a:gd name="connsiteY1" fmla="*/ 1766279 h 2016021"/>
              <a:gd name="connsiteX2" fmla="*/ 1653899 w 6707274"/>
              <a:gd name="connsiteY2" fmla="*/ 1486385 h 2016021"/>
              <a:gd name="connsiteX3" fmla="*/ 2431089 w 6707274"/>
              <a:gd name="connsiteY3" fmla="*/ 2015860 h 2016021"/>
              <a:gd name="connsiteX4" fmla="*/ 3277381 w 6707274"/>
              <a:gd name="connsiteY4" fmla="*/ 1695204 h 2016021"/>
              <a:gd name="connsiteX5" fmla="*/ 4151262 w 6707274"/>
              <a:gd name="connsiteY5" fmla="*/ 1469924 h 2016021"/>
              <a:gd name="connsiteX6" fmla="*/ 4964930 w 6707274"/>
              <a:gd name="connsiteY6" fmla="*/ 1414633 h 2016021"/>
              <a:gd name="connsiteX7" fmla="*/ 5812123 w 6707274"/>
              <a:gd name="connsiteY7" fmla="*/ 1561640 h 2016021"/>
              <a:gd name="connsiteX8" fmla="*/ 6707274 w 6707274"/>
              <a:gd name="connsiteY8" fmla="*/ 1235027 h 2016021"/>
              <a:gd name="connsiteX0" fmla="*/ 0 w 6707274"/>
              <a:gd name="connsiteY0" fmla="*/ 11 h 3595766"/>
              <a:gd name="connsiteX1" fmla="*/ 710276 w 6707274"/>
              <a:gd name="connsiteY1" fmla="*/ 3346020 h 3595766"/>
              <a:gd name="connsiteX2" fmla="*/ 1653899 w 6707274"/>
              <a:gd name="connsiteY2" fmla="*/ 3066126 h 3595766"/>
              <a:gd name="connsiteX3" fmla="*/ 2431089 w 6707274"/>
              <a:gd name="connsiteY3" fmla="*/ 3595601 h 3595766"/>
              <a:gd name="connsiteX4" fmla="*/ 3277381 w 6707274"/>
              <a:gd name="connsiteY4" fmla="*/ 3274945 h 3595766"/>
              <a:gd name="connsiteX5" fmla="*/ 4151262 w 6707274"/>
              <a:gd name="connsiteY5" fmla="*/ 3049665 h 3595766"/>
              <a:gd name="connsiteX6" fmla="*/ 4964930 w 6707274"/>
              <a:gd name="connsiteY6" fmla="*/ 2994374 h 3595766"/>
              <a:gd name="connsiteX7" fmla="*/ 5812123 w 6707274"/>
              <a:gd name="connsiteY7" fmla="*/ 3141381 h 3595766"/>
              <a:gd name="connsiteX8" fmla="*/ 6707274 w 6707274"/>
              <a:gd name="connsiteY8" fmla="*/ 2814768 h 3595766"/>
              <a:gd name="connsiteX0" fmla="*/ 0 w 6701599"/>
              <a:gd name="connsiteY0" fmla="*/ 11 h 3478741"/>
              <a:gd name="connsiteX1" fmla="*/ 704601 w 6701599"/>
              <a:gd name="connsiteY1" fmla="*/ 3228998 h 3478741"/>
              <a:gd name="connsiteX2" fmla="*/ 1648224 w 6701599"/>
              <a:gd name="connsiteY2" fmla="*/ 2949104 h 3478741"/>
              <a:gd name="connsiteX3" fmla="*/ 2425414 w 6701599"/>
              <a:gd name="connsiteY3" fmla="*/ 3478579 h 3478741"/>
              <a:gd name="connsiteX4" fmla="*/ 3271706 w 6701599"/>
              <a:gd name="connsiteY4" fmla="*/ 3157923 h 3478741"/>
              <a:gd name="connsiteX5" fmla="*/ 4145587 w 6701599"/>
              <a:gd name="connsiteY5" fmla="*/ 2932643 h 3478741"/>
              <a:gd name="connsiteX6" fmla="*/ 4959255 w 6701599"/>
              <a:gd name="connsiteY6" fmla="*/ 2877352 h 3478741"/>
              <a:gd name="connsiteX7" fmla="*/ 5806448 w 6701599"/>
              <a:gd name="connsiteY7" fmla="*/ 3024359 h 3478741"/>
              <a:gd name="connsiteX8" fmla="*/ 6701599 w 6701599"/>
              <a:gd name="connsiteY8" fmla="*/ 2697746 h 3478741"/>
              <a:gd name="connsiteX0" fmla="*/ 0 w 6701599"/>
              <a:gd name="connsiteY0" fmla="*/ 1758236 h 5303854"/>
              <a:gd name="connsiteX1" fmla="*/ 891893 w 6701599"/>
              <a:gd name="connsiteY1" fmla="*/ 72433 h 5303854"/>
              <a:gd name="connsiteX2" fmla="*/ 1648224 w 6701599"/>
              <a:gd name="connsiteY2" fmla="*/ 4707329 h 5303854"/>
              <a:gd name="connsiteX3" fmla="*/ 2425414 w 6701599"/>
              <a:gd name="connsiteY3" fmla="*/ 5236804 h 5303854"/>
              <a:gd name="connsiteX4" fmla="*/ 3271706 w 6701599"/>
              <a:gd name="connsiteY4" fmla="*/ 4916148 h 5303854"/>
              <a:gd name="connsiteX5" fmla="*/ 4145587 w 6701599"/>
              <a:gd name="connsiteY5" fmla="*/ 4690868 h 5303854"/>
              <a:gd name="connsiteX6" fmla="*/ 4959255 w 6701599"/>
              <a:gd name="connsiteY6" fmla="*/ 4635577 h 5303854"/>
              <a:gd name="connsiteX7" fmla="*/ 5806448 w 6701599"/>
              <a:gd name="connsiteY7" fmla="*/ 4782584 h 5303854"/>
              <a:gd name="connsiteX8" fmla="*/ 6701599 w 6701599"/>
              <a:gd name="connsiteY8" fmla="*/ 4455971 h 5303854"/>
              <a:gd name="connsiteX0" fmla="*/ 0 w 6701599"/>
              <a:gd name="connsiteY0" fmla="*/ 1686046 h 5231664"/>
              <a:gd name="connsiteX1" fmla="*/ 891893 w 6701599"/>
              <a:gd name="connsiteY1" fmla="*/ 243 h 5231664"/>
              <a:gd name="connsiteX2" fmla="*/ 1648224 w 6701599"/>
              <a:gd name="connsiteY2" fmla="*/ 4635139 h 5231664"/>
              <a:gd name="connsiteX3" fmla="*/ 2425414 w 6701599"/>
              <a:gd name="connsiteY3" fmla="*/ 5164614 h 5231664"/>
              <a:gd name="connsiteX4" fmla="*/ 3271706 w 6701599"/>
              <a:gd name="connsiteY4" fmla="*/ 4843958 h 5231664"/>
              <a:gd name="connsiteX5" fmla="*/ 4145587 w 6701599"/>
              <a:gd name="connsiteY5" fmla="*/ 4618678 h 5231664"/>
              <a:gd name="connsiteX6" fmla="*/ 4959255 w 6701599"/>
              <a:gd name="connsiteY6" fmla="*/ 4563387 h 5231664"/>
              <a:gd name="connsiteX7" fmla="*/ 5806448 w 6701599"/>
              <a:gd name="connsiteY7" fmla="*/ 4710394 h 5231664"/>
              <a:gd name="connsiteX8" fmla="*/ 6701599 w 6701599"/>
              <a:gd name="connsiteY8" fmla="*/ 4383781 h 5231664"/>
              <a:gd name="connsiteX0" fmla="*/ 0 w 6701599"/>
              <a:gd name="connsiteY0" fmla="*/ 2686728 h 6165310"/>
              <a:gd name="connsiteX1" fmla="*/ 891893 w 6701599"/>
              <a:gd name="connsiteY1" fmla="*/ 1000925 h 6165310"/>
              <a:gd name="connsiteX2" fmla="*/ 1727681 w 6701599"/>
              <a:gd name="connsiteY2" fmla="*/ 311466 h 6165310"/>
              <a:gd name="connsiteX3" fmla="*/ 2425414 w 6701599"/>
              <a:gd name="connsiteY3" fmla="*/ 6165296 h 6165310"/>
              <a:gd name="connsiteX4" fmla="*/ 3271706 w 6701599"/>
              <a:gd name="connsiteY4" fmla="*/ 5844640 h 6165310"/>
              <a:gd name="connsiteX5" fmla="*/ 4145587 w 6701599"/>
              <a:gd name="connsiteY5" fmla="*/ 5619360 h 6165310"/>
              <a:gd name="connsiteX6" fmla="*/ 4959255 w 6701599"/>
              <a:gd name="connsiteY6" fmla="*/ 5564069 h 6165310"/>
              <a:gd name="connsiteX7" fmla="*/ 5806448 w 6701599"/>
              <a:gd name="connsiteY7" fmla="*/ 5711076 h 6165310"/>
              <a:gd name="connsiteX8" fmla="*/ 6701599 w 6701599"/>
              <a:gd name="connsiteY8" fmla="*/ 5384463 h 6165310"/>
              <a:gd name="connsiteX0" fmla="*/ 0 w 6701599"/>
              <a:gd name="connsiteY0" fmla="*/ 2375299 h 5853881"/>
              <a:gd name="connsiteX1" fmla="*/ 891893 w 6701599"/>
              <a:gd name="connsiteY1" fmla="*/ 689496 h 5853881"/>
              <a:gd name="connsiteX2" fmla="*/ 1727681 w 6701599"/>
              <a:gd name="connsiteY2" fmla="*/ 37 h 5853881"/>
              <a:gd name="connsiteX3" fmla="*/ 2425414 w 6701599"/>
              <a:gd name="connsiteY3" fmla="*/ 5853867 h 5853881"/>
              <a:gd name="connsiteX4" fmla="*/ 3271706 w 6701599"/>
              <a:gd name="connsiteY4" fmla="*/ 5533211 h 5853881"/>
              <a:gd name="connsiteX5" fmla="*/ 4145587 w 6701599"/>
              <a:gd name="connsiteY5" fmla="*/ 5307931 h 5853881"/>
              <a:gd name="connsiteX6" fmla="*/ 4959255 w 6701599"/>
              <a:gd name="connsiteY6" fmla="*/ 5252640 h 5853881"/>
              <a:gd name="connsiteX7" fmla="*/ 5806448 w 6701599"/>
              <a:gd name="connsiteY7" fmla="*/ 5399647 h 5853881"/>
              <a:gd name="connsiteX8" fmla="*/ 6701599 w 6701599"/>
              <a:gd name="connsiteY8" fmla="*/ 5073034 h 5853881"/>
              <a:gd name="connsiteX0" fmla="*/ 0 w 6701599"/>
              <a:gd name="connsiteY0" fmla="*/ 4654242 h 7812672"/>
              <a:gd name="connsiteX1" fmla="*/ 891893 w 6701599"/>
              <a:gd name="connsiteY1" fmla="*/ 2968439 h 7812672"/>
              <a:gd name="connsiteX2" fmla="*/ 1727681 w 6701599"/>
              <a:gd name="connsiteY2" fmla="*/ 2278980 h 7812672"/>
              <a:gd name="connsiteX3" fmla="*/ 2544600 w 6701599"/>
              <a:gd name="connsiteY3" fmla="*/ 0 h 7812672"/>
              <a:gd name="connsiteX4" fmla="*/ 3271706 w 6701599"/>
              <a:gd name="connsiteY4" fmla="*/ 7812154 h 7812672"/>
              <a:gd name="connsiteX5" fmla="*/ 4145587 w 6701599"/>
              <a:gd name="connsiteY5" fmla="*/ 7586874 h 7812672"/>
              <a:gd name="connsiteX6" fmla="*/ 4959255 w 6701599"/>
              <a:gd name="connsiteY6" fmla="*/ 7531583 h 7812672"/>
              <a:gd name="connsiteX7" fmla="*/ 5806448 w 6701599"/>
              <a:gd name="connsiteY7" fmla="*/ 7678590 h 7812672"/>
              <a:gd name="connsiteX8" fmla="*/ 6701599 w 6701599"/>
              <a:gd name="connsiteY8" fmla="*/ 7351977 h 7812672"/>
              <a:gd name="connsiteX0" fmla="*/ 0 w 6701599"/>
              <a:gd name="connsiteY0" fmla="*/ 4654242 h 7812668"/>
              <a:gd name="connsiteX1" fmla="*/ 891893 w 6701599"/>
              <a:gd name="connsiteY1" fmla="*/ 2968439 h 7812668"/>
              <a:gd name="connsiteX2" fmla="*/ 1727681 w 6701599"/>
              <a:gd name="connsiteY2" fmla="*/ 2278980 h 7812668"/>
              <a:gd name="connsiteX3" fmla="*/ 2544600 w 6701599"/>
              <a:gd name="connsiteY3" fmla="*/ 0 h 7812668"/>
              <a:gd name="connsiteX4" fmla="*/ 3271706 w 6701599"/>
              <a:gd name="connsiteY4" fmla="*/ 7812154 h 7812668"/>
              <a:gd name="connsiteX5" fmla="*/ 4145587 w 6701599"/>
              <a:gd name="connsiteY5" fmla="*/ 7586874 h 7812668"/>
              <a:gd name="connsiteX6" fmla="*/ 4959255 w 6701599"/>
              <a:gd name="connsiteY6" fmla="*/ 7531583 h 7812668"/>
              <a:gd name="connsiteX7" fmla="*/ 5806448 w 6701599"/>
              <a:gd name="connsiteY7" fmla="*/ 7678590 h 7812668"/>
              <a:gd name="connsiteX8" fmla="*/ 6701599 w 6701599"/>
              <a:gd name="connsiteY8" fmla="*/ 7351977 h 7812668"/>
              <a:gd name="connsiteX0" fmla="*/ 0 w 6701599"/>
              <a:gd name="connsiteY0" fmla="*/ 4654242 h 7812672"/>
              <a:gd name="connsiteX1" fmla="*/ 891893 w 6701599"/>
              <a:gd name="connsiteY1" fmla="*/ 2968439 h 7812672"/>
              <a:gd name="connsiteX2" fmla="*/ 1727681 w 6701599"/>
              <a:gd name="connsiteY2" fmla="*/ 2278980 h 7812672"/>
              <a:gd name="connsiteX3" fmla="*/ 2544600 w 6701599"/>
              <a:gd name="connsiteY3" fmla="*/ 0 h 7812672"/>
              <a:gd name="connsiteX4" fmla="*/ 3271706 w 6701599"/>
              <a:gd name="connsiteY4" fmla="*/ 7812154 h 7812672"/>
              <a:gd name="connsiteX5" fmla="*/ 4145587 w 6701599"/>
              <a:gd name="connsiteY5" fmla="*/ 7586874 h 7812672"/>
              <a:gd name="connsiteX6" fmla="*/ 4959255 w 6701599"/>
              <a:gd name="connsiteY6" fmla="*/ 7531583 h 7812672"/>
              <a:gd name="connsiteX7" fmla="*/ 5806448 w 6701599"/>
              <a:gd name="connsiteY7" fmla="*/ 7678590 h 7812672"/>
              <a:gd name="connsiteX8" fmla="*/ 6701599 w 6701599"/>
              <a:gd name="connsiteY8" fmla="*/ 7351977 h 7812672"/>
              <a:gd name="connsiteX0" fmla="*/ 0 w 6701599"/>
              <a:gd name="connsiteY0" fmla="*/ 3688837 h 6847263"/>
              <a:gd name="connsiteX1" fmla="*/ 891893 w 6701599"/>
              <a:gd name="connsiteY1" fmla="*/ 2003034 h 6847263"/>
              <a:gd name="connsiteX2" fmla="*/ 1727681 w 6701599"/>
              <a:gd name="connsiteY2" fmla="*/ 1313575 h 6847263"/>
              <a:gd name="connsiteX3" fmla="*/ 2572978 w 6701599"/>
              <a:gd name="connsiteY3" fmla="*/ 0 h 6847263"/>
              <a:gd name="connsiteX4" fmla="*/ 3271706 w 6701599"/>
              <a:gd name="connsiteY4" fmla="*/ 6846749 h 6847263"/>
              <a:gd name="connsiteX5" fmla="*/ 4145587 w 6701599"/>
              <a:gd name="connsiteY5" fmla="*/ 6621469 h 6847263"/>
              <a:gd name="connsiteX6" fmla="*/ 4959255 w 6701599"/>
              <a:gd name="connsiteY6" fmla="*/ 6566178 h 6847263"/>
              <a:gd name="connsiteX7" fmla="*/ 5806448 w 6701599"/>
              <a:gd name="connsiteY7" fmla="*/ 6713185 h 6847263"/>
              <a:gd name="connsiteX8" fmla="*/ 6701599 w 6701599"/>
              <a:gd name="connsiteY8" fmla="*/ 6386572 h 6847263"/>
              <a:gd name="connsiteX0" fmla="*/ 0 w 6701599"/>
              <a:gd name="connsiteY0" fmla="*/ 3689418 h 6847848"/>
              <a:gd name="connsiteX1" fmla="*/ 891893 w 6701599"/>
              <a:gd name="connsiteY1" fmla="*/ 2003615 h 6847848"/>
              <a:gd name="connsiteX2" fmla="*/ 1727681 w 6701599"/>
              <a:gd name="connsiteY2" fmla="*/ 1314156 h 6847848"/>
              <a:gd name="connsiteX3" fmla="*/ 2572978 w 6701599"/>
              <a:gd name="connsiteY3" fmla="*/ 581 h 6847848"/>
              <a:gd name="connsiteX4" fmla="*/ 3271706 w 6701599"/>
              <a:gd name="connsiteY4" fmla="*/ 6847330 h 6847848"/>
              <a:gd name="connsiteX5" fmla="*/ 4145587 w 6701599"/>
              <a:gd name="connsiteY5" fmla="*/ 6622050 h 6847848"/>
              <a:gd name="connsiteX6" fmla="*/ 4959255 w 6701599"/>
              <a:gd name="connsiteY6" fmla="*/ 6566759 h 6847848"/>
              <a:gd name="connsiteX7" fmla="*/ 5806448 w 6701599"/>
              <a:gd name="connsiteY7" fmla="*/ 6713766 h 6847848"/>
              <a:gd name="connsiteX8" fmla="*/ 6701599 w 6701599"/>
              <a:gd name="connsiteY8" fmla="*/ 6387153 h 6847848"/>
              <a:gd name="connsiteX0" fmla="*/ 0 w 6701599"/>
              <a:gd name="connsiteY0" fmla="*/ 3690386 h 6787534"/>
              <a:gd name="connsiteX1" fmla="*/ 891893 w 6701599"/>
              <a:gd name="connsiteY1" fmla="*/ 2004583 h 6787534"/>
              <a:gd name="connsiteX2" fmla="*/ 1727681 w 6701599"/>
              <a:gd name="connsiteY2" fmla="*/ 1315124 h 6787534"/>
              <a:gd name="connsiteX3" fmla="*/ 2572978 w 6701599"/>
              <a:gd name="connsiteY3" fmla="*/ 1549 h 6787534"/>
              <a:gd name="connsiteX4" fmla="*/ 3317110 w 6701599"/>
              <a:gd name="connsiteY4" fmla="*/ 4127611 h 6787534"/>
              <a:gd name="connsiteX5" fmla="*/ 4145587 w 6701599"/>
              <a:gd name="connsiteY5" fmla="*/ 6623018 h 6787534"/>
              <a:gd name="connsiteX6" fmla="*/ 4959255 w 6701599"/>
              <a:gd name="connsiteY6" fmla="*/ 6567727 h 6787534"/>
              <a:gd name="connsiteX7" fmla="*/ 5806448 w 6701599"/>
              <a:gd name="connsiteY7" fmla="*/ 6714734 h 6787534"/>
              <a:gd name="connsiteX8" fmla="*/ 6701599 w 6701599"/>
              <a:gd name="connsiteY8" fmla="*/ 6388121 h 6787534"/>
              <a:gd name="connsiteX0" fmla="*/ 0 w 6701599"/>
              <a:gd name="connsiteY0" fmla="*/ 3689981 h 6787129"/>
              <a:gd name="connsiteX1" fmla="*/ 891893 w 6701599"/>
              <a:gd name="connsiteY1" fmla="*/ 2004178 h 6787129"/>
              <a:gd name="connsiteX2" fmla="*/ 1727681 w 6701599"/>
              <a:gd name="connsiteY2" fmla="*/ 1314719 h 6787129"/>
              <a:gd name="connsiteX3" fmla="*/ 2572978 w 6701599"/>
              <a:gd name="connsiteY3" fmla="*/ 1144 h 6787129"/>
              <a:gd name="connsiteX4" fmla="*/ 3317110 w 6701599"/>
              <a:gd name="connsiteY4" fmla="*/ 4127206 h 6787129"/>
              <a:gd name="connsiteX5" fmla="*/ 4145587 w 6701599"/>
              <a:gd name="connsiteY5" fmla="*/ 6622613 h 6787129"/>
              <a:gd name="connsiteX6" fmla="*/ 4959255 w 6701599"/>
              <a:gd name="connsiteY6" fmla="*/ 6567322 h 6787129"/>
              <a:gd name="connsiteX7" fmla="*/ 5806448 w 6701599"/>
              <a:gd name="connsiteY7" fmla="*/ 6714329 h 6787129"/>
              <a:gd name="connsiteX8" fmla="*/ 6701599 w 6701599"/>
              <a:gd name="connsiteY8" fmla="*/ 6387716 h 6787129"/>
              <a:gd name="connsiteX0" fmla="*/ 0 w 6701599"/>
              <a:gd name="connsiteY0" fmla="*/ 3689981 h 6787129"/>
              <a:gd name="connsiteX1" fmla="*/ 891893 w 6701599"/>
              <a:gd name="connsiteY1" fmla="*/ 2004178 h 6787129"/>
              <a:gd name="connsiteX2" fmla="*/ 1727681 w 6701599"/>
              <a:gd name="connsiteY2" fmla="*/ 1314719 h 6787129"/>
              <a:gd name="connsiteX3" fmla="*/ 2572978 w 6701599"/>
              <a:gd name="connsiteY3" fmla="*/ 1144 h 6787129"/>
              <a:gd name="connsiteX4" fmla="*/ 3317110 w 6701599"/>
              <a:gd name="connsiteY4" fmla="*/ 4127206 h 6787129"/>
              <a:gd name="connsiteX5" fmla="*/ 4145587 w 6701599"/>
              <a:gd name="connsiteY5" fmla="*/ 6622613 h 6787129"/>
              <a:gd name="connsiteX6" fmla="*/ 4959255 w 6701599"/>
              <a:gd name="connsiteY6" fmla="*/ 6567322 h 6787129"/>
              <a:gd name="connsiteX7" fmla="*/ 5806448 w 6701599"/>
              <a:gd name="connsiteY7" fmla="*/ 6714329 h 6787129"/>
              <a:gd name="connsiteX8" fmla="*/ 6701599 w 6701599"/>
              <a:gd name="connsiteY8" fmla="*/ 6387716 h 6787129"/>
              <a:gd name="connsiteX0" fmla="*/ 0 w 6701599"/>
              <a:gd name="connsiteY0" fmla="*/ 3690640 h 6787788"/>
              <a:gd name="connsiteX1" fmla="*/ 891893 w 6701599"/>
              <a:gd name="connsiteY1" fmla="*/ 2004837 h 6787788"/>
              <a:gd name="connsiteX2" fmla="*/ 1727681 w 6701599"/>
              <a:gd name="connsiteY2" fmla="*/ 1315378 h 6787788"/>
              <a:gd name="connsiteX3" fmla="*/ 2572978 w 6701599"/>
              <a:gd name="connsiteY3" fmla="*/ 1803 h 6787788"/>
              <a:gd name="connsiteX4" fmla="*/ 3317110 w 6701599"/>
              <a:gd name="connsiteY4" fmla="*/ 4127865 h 6787788"/>
              <a:gd name="connsiteX5" fmla="*/ 4145587 w 6701599"/>
              <a:gd name="connsiteY5" fmla="*/ 6623272 h 6787788"/>
              <a:gd name="connsiteX6" fmla="*/ 4959255 w 6701599"/>
              <a:gd name="connsiteY6" fmla="*/ 6567981 h 6787788"/>
              <a:gd name="connsiteX7" fmla="*/ 5806448 w 6701599"/>
              <a:gd name="connsiteY7" fmla="*/ 6714988 h 6787788"/>
              <a:gd name="connsiteX8" fmla="*/ 6701599 w 6701599"/>
              <a:gd name="connsiteY8" fmla="*/ 6388375 h 6787788"/>
              <a:gd name="connsiteX0" fmla="*/ 0 w 6701599"/>
              <a:gd name="connsiteY0" fmla="*/ 3690640 h 6787788"/>
              <a:gd name="connsiteX1" fmla="*/ 891893 w 6701599"/>
              <a:gd name="connsiteY1" fmla="*/ 2004837 h 6787788"/>
              <a:gd name="connsiteX2" fmla="*/ 1727681 w 6701599"/>
              <a:gd name="connsiteY2" fmla="*/ 1315378 h 6787788"/>
              <a:gd name="connsiteX3" fmla="*/ 2572978 w 6701599"/>
              <a:gd name="connsiteY3" fmla="*/ 1803 h 6787788"/>
              <a:gd name="connsiteX4" fmla="*/ 3317110 w 6701599"/>
              <a:gd name="connsiteY4" fmla="*/ 4127865 h 6787788"/>
              <a:gd name="connsiteX5" fmla="*/ 4145587 w 6701599"/>
              <a:gd name="connsiteY5" fmla="*/ 6623272 h 6787788"/>
              <a:gd name="connsiteX6" fmla="*/ 4959255 w 6701599"/>
              <a:gd name="connsiteY6" fmla="*/ 6567981 h 6787788"/>
              <a:gd name="connsiteX7" fmla="*/ 5806448 w 6701599"/>
              <a:gd name="connsiteY7" fmla="*/ 6714988 h 6787788"/>
              <a:gd name="connsiteX8" fmla="*/ 6701599 w 6701599"/>
              <a:gd name="connsiteY8" fmla="*/ 6388375 h 6787788"/>
              <a:gd name="connsiteX0" fmla="*/ 0 w 6701599"/>
              <a:gd name="connsiteY0" fmla="*/ 15036810 h 19287115"/>
              <a:gd name="connsiteX1" fmla="*/ 891893 w 6701599"/>
              <a:gd name="connsiteY1" fmla="*/ 13351007 h 19287115"/>
              <a:gd name="connsiteX2" fmla="*/ 1727681 w 6701599"/>
              <a:gd name="connsiteY2" fmla="*/ 12661548 h 19287115"/>
              <a:gd name="connsiteX3" fmla="*/ 2572978 w 6701599"/>
              <a:gd name="connsiteY3" fmla="*/ 11347973 h 19287115"/>
              <a:gd name="connsiteX4" fmla="*/ 3317110 w 6701599"/>
              <a:gd name="connsiteY4" fmla="*/ 15474035 h 19287115"/>
              <a:gd name="connsiteX5" fmla="*/ 4236396 w 6701599"/>
              <a:gd name="connsiteY5" fmla="*/ 7053 h 19287115"/>
              <a:gd name="connsiteX6" fmla="*/ 4959255 w 6701599"/>
              <a:gd name="connsiteY6" fmla="*/ 17914151 h 19287115"/>
              <a:gd name="connsiteX7" fmla="*/ 5806448 w 6701599"/>
              <a:gd name="connsiteY7" fmla="*/ 18061158 h 19287115"/>
              <a:gd name="connsiteX8" fmla="*/ 6701599 w 6701599"/>
              <a:gd name="connsiteY8" fmla="*/ 17734545 h 19287115"/>
              <a:gd name="connsiteX0" fmla="*/ 0 w 6701599"/>
              <a:gd name="connsiteY0" fmla="*/ 14393474 h 18596140"/>
              <a:gd name="connsiteX1" fmla="*/ 891893 w 6701599"/>
              <a:gd name="connsiteY1" fmla="*/ 12707671 h 18596140"/>
              <a:gd name="connsiteX2" fmla="*/ 1727681 w 6701599"/>
              <a:gd name="connsiteY2" fmla="*/ 12018212 h 18596140"/>
              <a:gd name="connsiteX3" fmla="*/ 2572978 w 6701599"/>
              <a:gd name="connsiteY3" fmla="*/ 10704637 h 18596140"/>
              <a:gd name="connsiteX4" fmla="*/ 3317110 w 6701599"/>
              <a:gd name="connsiteY4" fmla="*/ 14830699 h 18596140"/>
              <a:gd name="connsiteX5" fmla="*/ 4236396 w 6701599"/>
              <a:gd name="connsiteY5" fmla="*/ 7322 h 18596140"/>
              <a:gd name="connsiteX6" fmla="*/ 4959255 w 6701599"/>
              <a:gd name="connsiteY6" fmla="*/ 17270815 h 18596140"/>
              <a:gd name="connsiteX7" fmla="*/ 5806448 w 6701599"/>
              <a:gd name="connsiteY7" fmla="*/ 17417822 h 18596140"/>
              <a:gd name="connsiteX8" fmla="*/ 6701599 w 6701599"/>
              <a:gd name="connsiteY8" fmla="*/ 17091209 h 18596140"/>
              <a:gd name="connsiteX0" fmla="*/ 0 w 6701599"/>
              <a:gd name="connsiteY0" fmla="*/ 8663300 h 12441725"/>
              <a:gd name="connsiteX1" fmla="*/ 891893 w 6701599"/>
              <a:gd name="connsiteY1" fmla="*/ 6977497 h 12441725"/>
              <a:gd name="connsiteX2" fmla="*/ 1727681 w 6701599"/>
              <a:gd name="connsiteY2" fmla="*/ 6288038 h 12441725"/>
              <a:gd name="connsiteX3" fmla="*/ 2572978 w 6701599"/>
              <a:gd name="connsiteY3" fmla="*/ 4974463 h 12441725"/>
              <a:gd name="connsiteX4" fmla="*/ 3317110 w 6701599"/>
              <a:gd name="connsiteY4" fmla="*/ 9100525 h 12441725"/>
              <a:gd name="connsiteX5" fmla="*/ 4230720 w 6701599"/>
              <a:gd name="connsiteY5" fmla="*/ 11071 h 12441725"/>
              <a:gd name="connsiteX6" fmla="*/ 4959255 w 6701599"/>
              <a:gd name="connsiteY6" fmla="*/ 11540641 h 12441725"/>
              <a:gd name="connsiteX7" fmla="*/ 5806448 w 6701599"/>
              <a:gd name="connsiteY7" fmla="*/ 11687648 h 12441725"/>
              <a:gd name="connsiteX8" fmla="*/ 6701599 w 6701599"/>
              <a:gd name="connsiteY8" fmla="*/ 11361035 h 12441725"/>
              <a:gd name="connsiteX0" fmla="*/ 0 w 6701599"/>
              <a:gd name="connsiteY0" fmla="*/ 8663300 h 12441721"/>
              <a:gd name="connsiteX1" fmla="*/ 891893 w 6701599"/>
              <a:gd name="connsiteY1" fmla="*/ 6977497 h 12441721"/>
              <a:gd name="connsiteX2" fmla="*/ 1727681 w 6701599"/>
              <a:gd name="connsiteY2" fmla="*/ 6288038 h 12441721"/>
              <a:gd name="connsiteX3" fmla="*/ 2572978 w 6701599"/>
              <a:gd name="connsiteY3" fmla="*/ 4974463 h 12441721"/>
              <a:gd name="connsiteX4" fmla="*/ 3317110 w 6701599"/>
              <a:gd name="connsiteY4" fmla="*/ 9100525 h 12441721"/>
              <a:gd name="connsiteX5" fmla="*/ 4230720 w 6701599"/>
              <a:gd name="connsiteY5" fmla="*/ 11071 h 12441721"/>
              <a:gd name="connsiteX6" fmla="*/ 4959255 w 6701599"/>
              <a:gd name="connsiteY6" fmla="*/ 11540641 h 12441721"/>
              <a:gd name="connsiteX7" fmla="*/ 5806448 w 6701599"/>
              <a:gd name="connsiteY7" fmla="*/ 11687648 h 12441721"/>
              <a:gd name="connsiteX8" fmla="*/ 6701599 w 6701599"/>
              <a:gd name="connsiteY8" fmla="*/ 11361035 h 12441721"/>
              <a:gd name="connsiteX0" fmla="*/ 0 w 6701599"/>
              <a:gd name="connsiteY0" fmla="*/ 8665412 h 12443837"/>
              <a:gd name="connsiteX1" fmla="*/ 891893 w 6701599"/>
              <a:gd name="connsiteY1" fmla="*/ 6979609 h 12443837"/>
              <a:gd name="connsiteX2" fmla="*/ 1727681 w 6701599"/>
              <a:gd name="connsiteY2" fmla="*/ 6290150 h 12443837"/>
              <a:gd name="connsiteX3" fmla="*/ 2572978 w 6701599"/>
              <a:gd name="connsiteY3" fmla="*/ 4976575 h 12443837"/>
              <a:gd name="connsiteX4" fmla="*/ 3362514 w 6701599"/>
              <a:gd name="connsiteY4" fmla="*/ 8897854 h 12443837"/>
              <a:gd name="connsiteX5" fmla="*/ 4230720 w 6701599"/>
              <a:gd name="connsiteY5" fmla="*/ 13183 h 12443837"/>
              <a:gd name="connsiteX6" fmla="*/ 4959255 w 6701599"/>
              <a:gd name="connsiteY6" fmla="*/ 11542753 h 12443837"/>
              <a:gd name="connsiteX7" fmla="*/ 5806448 w 6701599"/>
              <a:gd name="connsiteY7" fmla="*/ 11689760 h 12443837"/>
              <a:gd name="connsiteX8" fmla="*/ 6701599 w 6701599"/>
              <a:gd name="connsiteY8" fmla="*/ 11363147 h 12443837"/>
              <a:gd name="connsiteX0" fmla="*/ 0 w 6701599"/>
              <a:gd name="connsiteY0" fmla="*/ 8665412 h 12443833"/>
              <a:gd name="connsiteX1" fmla="*/ 891893 w 6701599"/>
              <a:gd name="connsiteY1" fmla="*/ 6979609 h 12443833"/>
              <a:gd name="connsiteX2" fmla="*/ 1727681 w 6701599"/>
              <a:gd name="connsiteY2" fmla="*/ 6290150 h 12443833"/>
              <a:gd name="connsiteX3" fmla="*/ 2572978 w 6701599"/>
              <a:gd name="connsiteY3" fmla="*/ 4976575 h 12443833"/>
              <a:gd name="connsiteX4" fmla="*/ 3362514 w 6701599"/>
              <a:gd name="connsiteY4" fmla="*/ 8897854 h 12443833"/>
              <a:gd name="connsiteX5" fmla="*/ 4230720 w 6701599"/>
              <a:gd name="connsiteY5" fmla="*/ 13183 h 12443833"/>
              <a:gd name="connsiteX6" fmla="*/ 4959255 w 6701599"/>
              <a:gd name="connsiteY6" fmla="*/ 11542753 h 12443833"/>
              <a:gd name="connsiteX7" fmla="*/ 5806448 w 6701599"/>
              <a:gd name="connsiteY7" fmla="*/ 11689760 h 12443833"/>
              <a:gd name="connsiteX8" fmla="*/ 6701599 w 6701599"/>
              <a:gd name="connsiteY8" fmla="*/ 11363147 h 12443833"/>
              <a:gd name="connsiteX0" fmla="*/ 0 w 6701599"/>
              <a:gd name="connsiteY0" fmla="*/ 8667134 h 12445559"/>
              <a:gd name="connsiteX1" fmla="*/ 891893 w 6701599"/>
              <a:gd name="connsiteY1" fmla="*/ 6981331 h 12445559"/>
              <a:gd name="connsiteX2" fmla="*/ 1727681 w 6701599"/>
              <a:gd name="connsiteY2" fmla="*/ 6291872 h 12445559"/>
              <a:gd name="connsiteX3" fmla="*/ 2572978 w 6701599"/>
              <a:gd name="connsiteY3" fmla="*/ 4978297 h 12445559"/>
              <a:gd name="connsiteX4" fmla="*/ 3362514 w 6701599"/>
              <a:gd name="connsiteY4" fmla="*/ 8899576 h 12445559"/>
              <a:gd name="connsiteX5" fmla="*/ 4230720 w 6701599"/>
              <a:gd name="connsiteY5" fmla="*/ 14905 h 12445559"/>
              <a:gd name="connsiteX6" fmla="*/ 4959255 w 6701599"/>
              <a:gd name="connsiteY6" fmla="*/ 11544475 h 12445559"/>
              <a:gd name="connsiteX7" fmla="*/ 5806448 w 6701599"/>
              <a:gd name="connsiteY7" fmla="*/ 11691482 h 12445559"/>
              <a:gd name="connsiteX8" fmla="*/ 6701599 w 6701599"/>
              <a:gd name="connsiteY8" fmla="*/ 11364869 h 12445559"/>
              <a:gd name="connsiteX0" fmla="*/ 0 w 6701599"/>
              <a:gd name="connsiteY0" fmla="*/ 8667134 h 12445555"/>
              <a:gd name="connsiteX1" fmla="*/ 891893 w 6701599"/>
              <a:gd name="connsiteY1" fmla="*/ 6981331 h 12445555"/>
              <a:gd name="connsiteX2" fmla="*/ 1727681 w 6701599"/>
              <a:gd name="connsiteY2" fmla="*/ 6291872 h 12445555"/>
              <a:gd name="connsiteX3" fmla="*/ 2572978 w 6701599"/>
              <a:gd name="connsiteY3" fmla="*/ 4978297 h 12445555"/>
              <a:gd name="connsiteX4" fmla="*/ 3362514 w 6701599"/>
              <a:gd name="connsiteY4" fmla="*/ 8899576 h 12445555"/>
              <a:gd name="connsiteX5" fmla="*/ 4230720 w 6701599"/>
              <a:gd name="connsiteY5" fmla="*/ 14905 h 12445555"/>
              <a:gd name="connsiteX6" fmla="*/ 4959255 w 6701599"/>
              <a:gd name="connsiteY6" fmla="*/ 11544475 h 12445555"/>
              <a:gd name="connsiteX7" fmla="*/ 5806448 w 6701599"/>
              <a:gd name="connsiteY7" fmla="*/ 11691482 h 12445555"/>
              <a:gd name="connsiteX8" fmla="*/ 6701599 w 6701599"/>
              <a:gd name="connsiteY8" fmla="*/ 11364869 h 12445555"/>
              <a:gd name="connsiteX0" fmla="*/ 0 w 6701599"/>
              <a:gd name="connsiteY0" fmla="*/ 8767982 h 11792789"/>
              <a:gd name="connsiteX1" fmla="*/ 891893 w 6701599"/>
              <a:gd name="connsiteY1" fmla="*/ 7082179 h 11792789"/>
              <a:gd name="connsiteX2" fmla="*/ 1727681 w 6701599"/>
              <a:gd name="connsiteY2" fmla="*/ 6392720 h 11792789"/>
              <a:gd name="connsiteX3" fmla="*/ 2572978 w 6701599"/>
              <a:gd name="connsiteY3" fmla="*/ 5079145 h 11792789"/>
              <a:gd name="connsiteX4" fmla="*/ 3362514 w 6701599"/>
              <a:gd name="connsiteY4" fmla="*/ 9000424 h 11792789"/>
              <a:gd name="connsiteX5" fmla="*/ 4230720 w 6701599"/>
              <a:gd name="connsiteY5" fmla="*/ 115753 h 11792789"/>
              <a:gd name="connsiteX6" fmla="*/ 5050063 w 6701599"/>
              <a:gd name="connsiteY6" fmla="*/ 4448664 h 11792789"/>
              <a:gd name="connsiteX7" fmla="*/ 5806448 w 6701599"/>
              <a:gd name="connsiteY7" fmla="*/ 11792330 h 11792789"/>
              <a:gd name="connsiteX8" fmla="*/ 6701599 w 6701599"/>
              <a:gd name="connsiteY8" fmla="*/ 11465717 h 11792789"/>
              <a:gd name="connsiteX0" fmla="*/ 0 w 6701599"/>
              <a:gd name="connsiteY0" fmla="*/ 8756374 h 11781181"/>
              <a:gd name="connsiteX1" fmla="*/ 891893 w 6701599"/>
              <a:gd name="connsiteY1" fmla="*/ 7070571 h 11781181"/>
              <a:gd name="connsiteX2" fmla="*/ 1727681 w 6701599"/>
              <a:gd name="connsiteY2" fmla="*/ 6381112 h 11781181"/>
              <a:gd name="connsiteX3" fmla="*/ 2572978 w 6701599"/>
              <a:gd name="connsiteY3" fmla="*/ 5067537 h 11781181"/>
              <a:gd name="connsiteX4" fmla="*/ 3362514 w 6701599"/>
              <a:gd name="connsiteY4" fmla="*/ 8988816 h 11781181"/>
              <a:gd name="connsiteX5" fmla="*/ 4230720 w 6701599"/>
              <a:gd name="connsiteY5" fmla="*/ 104145 h 11781181"/>
              <a:gd name="connsiteX6" fmla="*/ 5050063 w 6701599"/>
              <a:gd name="connsiteY6" fmla="*/ 4437056 h 11781181"/>
              <a:gd name="connsiteX7" fmla="*/ 5806448 w 6701599"/>
              <a:gd name="connsiteY7" fmla="*/ 11780722 h 11781181"/>
              <a:gd name="connsiteX8" fmla="*/ 6701599 w 6701599"/>
              <a:gd name="connsiteY8" fmla="*/ 11454109 h 11781181"/>
              <a:gd name="connsiteX0" fmla="*/ 0 w 6701599"/>
              <a:gd name="connsiteY0" fmla="*/ 8734692 h 11432426"/>
              <a:gd name="connsiteX1" fmla="*/ 891893 w 6701599"/>
              <a:gd name="connsiteY1" fmla="*/ 7048889 h 11432426"/>
              <a:gd name="connsiteX2" fmla="*/ 1727681 w 6701599"/>
              <a:gd name="connsiteY2" fmla="*/ 6359430 h 11432426"/>
              <a:gd name="connsiteX3" fmla="*/ 2572978 w 6701599"/>
              <a:gd name="connsiteY3" fmla="*/ 5045855 h 11432426"/>
              <a:gd name="connsiteX4" fmla="*/ 3362514 w 6701599"/>
              <a:gd name="connsiteY4" fmla="*/ 8967134 h 11432426"/>
              <a:gd name="connsiteX5" fmla="*/ 4230720 w 6701599"/>
              <a:gd name="connsiteY5" fmla="*/ 82463 h 11432426"/>
              <a:gd name="connsiteX6" fmla="*/ 5050063 w 6701599"/>
              <a:gd name="connsiteY6" fmla="*/ 4415374 h 11432426"/>
              <a:gd name="connsiteX7" fmla="*/ 5914283 w 6701599"/>
              <a:gd name="connsiteY7" fmla="*/ 2339024 h 11432426"/>
              <a:gd name="connsiteX8" fmla="*/ 6701599 w 6701599"/>
              <a:gd name="connsiteY8" fmla="*/ 11432427 h 11432426"/>
              <a:gd name="connsiteX0" fmla="*/ 0 w 6701599"/>
              <a:gd name="connsiteY0" fmla="*/ 8754538 h 11452272"/>
              <a:gd name="connsiteX1" fmla="*/ 891893 w 6701599"/>
              <a:gd name="connsiteY1" fmla="*/ 7068735 h 11452272"/>
              <a:gd name="connsiteX2" fmla="*/ 1727681 w 6701599"/>
              <a:gd name="connsiteY2" fmla="*/ 6379276 h 11452272"/>
              <a:gd name="connsiteX3" fmla="*/ 2572978 w 6701599"/>
              <a:gd name="connsiteY3" fmla="*/ 5065701 h 11452272"/>
              <a:gd name="connsiteX4" fmla="*/ 3362514 w 6701599"/>
              <a:gd name="connsiteY4" fmla="*/ 8986980 h 11452272"/>
              <a:gd name="connsiteX5" fmla="*/ 4230720 w 6701599"/>
              <a:gd name="connsiteY5" fmla="*/ 102309 h 11452272"/>
              <a:gd name="connsiteX6" fmla="*/ 5050063 w 6701599"/>
              <a:gd name="connsiteY6" fmla="*/ 4435220 h 11452272"/>
              <a:gd name="connsiteX7" fmla="*/ 5891582 w 6701599"/>
              <a:gd name="connsiteY7" fmla="*/ 8677887 h 11452272"/>
              <a:gd name="connsiteX8" fmla="*/ 6701599 w 6701599"/>
              <a:gd name="connsiteY8" fmla="*/ 11452273 h 11452272"/>
              <a:gd name="connsiteX0" fmla="*/ 0 w 6837811"/>
              <a:gd name="connsiteY0" fmla="*/ 8754538 h 8992366"/>
              <a:gd name="connsiteX1" fmla="*/ 891893 w 6837811"/>
              <a:gd name="connsiteY1" fmla="*/ 7068735 h 8992366"/>
              <a:gd name="connsiteX2" fmla="*/ 1727681 w 6837811"/>
              <a:gd name="connsiteY2" fmla="*/ 6379276 h 8992366"/>
              <a:gd name="connsiteX3" fmla="*/ 2572978 w 6837811"/>
              <a:gd name="connsiteY3" fmla="*/ 5065701 h 8992366"/>
              <a:gd name="connsiteX4" fmla="*/ 3362514 w 6837811"/>
              <a:gd name="connsiteY4" fmla="*/ 8986980 h 8992366"/>
              <a:gd name="connsiteX5" fmla="*/ 4230720 w 6837811"/>
              <a:gd name="connsiteY5" fmla="*/ 102309 h 8992366"/>
              <a:gd name="connsiteX6" fmla="*/ 5050063 w 6837811"/>
              <a:gd name="connsiteY6" fmla="*/ 4435220 h 8992366"/>
              <a:gd name="connsiteX7" fmla="*/ 5891582 w 6837811"/>
              <a:gd name="connsiteY7" fmla="*/ 8677887 h 8992366"/>
              <a:gd name="connsiteX8" fmla="*/ 6837811 w 6837811"/>
              <a:gd name="connsiteY8" fmla="*/ 2061515 h 8992366"/>
              <a:gd name="connsiteX0" fmla="*/ 0 w 6781056"/>
              <a:gd name="connsiteY0" fmla="*/ 8754538 h 8992366"/>
              <a:gd name="connsiteX1" fmla="*/ 891893 w 6781056"/>
              <a:gd name="connsiteY1" fmla="*/ 7068735 h 8992366"/>
              <a:gd name="connsiteX2" fmla="*/ 1727681 w 6781056"/>
              <a:gd name="connsiteY2" fmla="*/ 6379276 h 8992366"/>
              <a:gd name="connsiteX3" fmla="*/ 2572978 w 6781056"/>
              <a:gd name="connsiteY3" fmla="*/ 5065701 h 8992366"/>
              <a:gd name="connsiteX4" fmla="*/ 3362514 w 6781056"/>
              <a:gd name="connsiteY4" fmla="*/ 8986980 h 8992366"/>
              <a:gd name="connsiteX5" fmla="*/ 4230720 w 6781056"/>
              <a:gd name="connsiteY5" fmla="*/ 102309 h 8992366"/>
              <a:gd name="connsiteX6" fmla="*/ 5050063 w 6781056"/>
              <a:gd name="connsiteY6" fmla="*/ 4435220 h 8992366"/>
              <a:gd name="connsiteX7" fmla="*/ 5891582 w 6781056"/>
              <a:gd name="connsiteY7" fmla="*/ 8677887 h 8992366"/>
              <a:gd name="connsiteX8" fmla="*/ 6781056 w 6781056"/>
              <a:gd name="connsiteY8" fmla="*/ 2061515 h 8992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1056" h="8992366">
                <a:moveTo>
                  <a:pt x="0" y="8754538"/>
                </a:moveTo>
                <a:cubicBezTo>
                  <a:pt x="541990" y="8747959"/>
                  <a:pt x="603946" y="7464612"/>
                  <a:pt x="891893" y="7068735"/>
                </a:cubicBezTo>
                <a:cubicBezTo>
                  <a:pt x="1179840" y="6672858"/>
                  <a:pt x="1447500" y="6713115"/>
                  <a:pt x="1727681" y="6379276"/>
                </a:cubicBezTo>
                <a:cubicBezTo>
                  <a:pt x="2007862" y="6045437"/>
                  <a:pt x="2282931" y="5076215"/>
                  <a:pt x="2572978" y="5065701"/>
                </a:cubicBezTo>
                <a:cubicBezTo>
                  <a:pt x="3127500" y="5007573"/>
                  <a:pt x="2915826" y="9162123"/>
                  <a:pt x="3362514" y="8986980"/>
                </a:cubicBezTo>
                <a:cubicBezTo>
                  <a:pt x="3910538" y="9144944"/>
                  <a:pt x="3949462" y="860936"/>
                  <a:pt x="4230720" y="102309"/>
                </a:cubicBezTo>
                <a:cubicBezTo>
                  <a:pt x="4511978" y="-656318"/>
                  <a:pt x="4773253" y="3005957"/>
                  <a:pt x="5050063" y="4435220"/>
                </a:cubicBezTo>
                <a:cubicBezTo>
                  <a:pt x="5326873" y="5864483"/>
                  <a:pt x="5584217" y="8662504"/>
                  <a:pt x="5891582" y="8677887"/>
                </a:cubicBezTo>
                <a:cubicBezTo>
                  <a:pt x="6198947" y="8693270"/>
                  <a:pt x="6616125" y="2027797"/>
                  <a:pt x="6781056" y="2061515"/>
                </a:cubicBezTo>
              </a:path>
            </a:pathLst>
          </a:custGeom>
          <a:noFill/>
          <a:ln w="136525" cap="rnd" cmpd="sng" algn="ctr">
            <a:solidFill>
              <a:srgbClr val="43B02A">
                <a:alpha val="50000"/>
              </a:srgb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88" name="Freeform 42">
            <a:extLst>
              <a:ext uri="{FF2B5EF4-FFF2-40B4-BE49-F238E27FC236}">
                <a16:creationId xmlns:a16="http://schemas.microsoft.com/office/drawing/2014/main" id="{3F6970A1-B4FB-4DCD-B181-8F5976FE86CA}"/>
              </a:ext>
            </a:extLst>
          </p:cNvPr>
          <p:cNvSpPr/>
          <p:nvPr/>
        </p:nvSpPr>
        <p:spPr bwMode="auto">
          <a:xfrm flipV="1">
            <a:off x="1222676" y="4042034"/>
            <a:ext cx="9452446" cy="1711652"/>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1637156 w 7136640"/>
              <a:gd name="connsiteY2" fmla="*/ 231150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1637156 w 7136640"/>
              <a:gd name="connsiteY2" fmla="*/ 23115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743605 w 7136640"/>
              <a:gd name="connsiteY2" fmla="*/ 245831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743605 w 7136640"/>
              <a:gd name="connsiteY2" fmla="*/ 245831 h 281116"/>
              <a:gd name="connsiteX3" fmla="*/ 2644393 w 7136640"/>
              <a:gd name="connsiteY3" fmla="*/ 214226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743605 w 7136640"/>
              <a:gd name="connsiteY2" fmla="*/ 245831 h 281116"/>
              <a:gd name="connsiteX3" fmla="*/ 2644393 w 7136640"/>
              <a:gd name="connsiteY3" fmla="*/ 214226 h 281116"/>
              <a:gd name="connsiteX4" fmla="*/ 3483886 w 7136640"/>
              <a:gd name="connsiteY4" fmla="*/ 182745 h 281116"/>
              <a:gd name="connsiteX5" fmla="*/ 4318333 w 7136640"/>
              <a:gd name="connsiteY5" fmla="*/ 132687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743605 w 7136640"/>
              <a:gd name="connsiteY2" fmla="*/ 245831 h 281116"/>
              <a:gd name="connsiteX3" fmla="*/ 2644393 w 7136640"/>
              <a:gd name="connsiteY3" fmla="*/ 214226 h 281116"/>
              <a:gd name="connsiteX4" fmla="*/ 3483886 w 7136640"/>
              <a:gd name="connsiteY4" fmla="*/ 182745 h 281116"/>
              <a:gd name="connsiteX5" fmla="*/ 4318333 w 7136640"/>
              <a:gd name="connsiteY5" fmla="*/ 132687 h 281116"/>
              <a:gd name="connsiteX6" fmla="*/ 5636849 w 7136640"/>
              <a:gd name="connsiteY6" fmla="*/ 172302 h 281116"/>
              <a:gd name="connsiteX7" fmla="*/ 6344970 w 7136640"/>
              <a:gd name="connsiteY7" fmla="*/ 119271 h 281116"/>
              <a:gd name="connsiteX8" fmla="*/ 6500954 w 7136640"/>
              <a:gd name="connsiteY8" fmla="*/ 660 h 281116"/>
              <a:gd name="connsiteX9" fmla="*/ 7136640 w 7136640"/>
              <a:gd name="connsiteY9" fmla="*/ 281116 h 281116"/>
              <a:gd name="connsiteX0" fmla="*/ 0 w 7136640"/>
              <a:gd name="connsiteY0" fmla="*/ 190752 h 281133"/>
              <a:gd name="connsiteX1" fmla="*/ 700803 w 7136640"/>
              <a:gd name="connsiteY1" fmla="*/ 113658 h 281133"/>
              <a:gd name="connsiteX2" fmla="*/ 1743605 w 7136640"/>
              <a:gd name="connsiteY2" fmla="*/ 245848 h 281133"/>
              <a:gd name="connsiteX3" fmla="*/ 2644393 w 7136640"/>
              <a:gd name="connsiteY3" fmla="*/ 214243 h 281133"/>
              <a:gd name="connsiteX4" fmla="*/ 3483886 w 7136640"/>
              <a:gd name="connsiteY4" fmla="*/ 182762 h 281133"/>
              <a:gd name="connsiteX5" fmla="*/ 4318333 w 7136640"/>
              <a:gd name="connsiteY5" fmla="*/ 132704 h 281133"/>
              <a:gd name="connsiteX6" fmla="*/ 5292453 w 7136640"/>
              <a:gd name="connsiteY6" fmla="*/ 188835 h 281133"/>
              <a:gd name="connsiteX7" fmla="*/ 6344970 w 7136640"/>
              <a:gd name="connsiteY7" fmla="*/ 119288 h 281133"/>
              <a:gd name="connsiteX8" fmla="*/ 6500954 w 7136640"/>
              <a:gd name="connsiteY8" fmla="*/ 677 h 281133"/>
              <a:gd name="connsiteX9" fmla="*/ 7136640 w 7136640"/>
              <a:gd name="connsiteY9" fmla="*/ 281133 h 281133"/>
              <a:gd name="connsiteX0" fmla="*/ 0 w 7136640"/>
              <a:gd name="connsiteY0" fmla="*/ 77830 h 168211"/>
              <a:gd name="connsiteX1" fmla="*/ 700803 w 7136640"/>
              <a:gd name="connsiteY1" fmla="*/ 736 h 168211"/>
              <a:gd name="connsiteX2" fmla="*/ 1743605 w 7136640"/>
              <a:gd name="connsiteY2" fmla="*/ 132926 h 168211"/>
              <a:gd name="connsiteX3" fmla="*/ 2644393 w 7136640"/>
              <a:gd name="connsiteY3" fmla="*/ 101321 h 168211"/>
              <a:gd name="connsiteX4" fmla="*/ 3483886 w 7136640"/>
              <a:gd name="connsiteY4" fmla="*/ 69840 h 168211"/>
              <a:gd name="connsiteX5" fmla="*/ 4318333 w 7136640"/>
              <a:gd name="connsiteY5" fmla="*/ 19782 h 168211"/>
              <a:gd name="connsiteX6" fmla="*/ 5292453 w 7136640"/>
              <a:gd name="connsiteY6" fmla="*/ 75913 h 168211"/>
              <a:gd name="connsiteX7" fmla="*/ 6344970 w 7136640"/>
              <a:gd name="connsiteY7" fmla="*/ 6366 h 168211"/>
              <a:gd name="connsiteX8" fmla="*/ 7136640 w 7136640"/>
              <a:gd name="connsiteY8" fmla="*/ 168211 h 168211"/>
              <a:gd name="connsiteX0" fmla="*/ 0 w 7136640"/>
              <a:gd name="connsiteY0" fmla="*/ 77830 h 168211"/>
              <a:gd name="connsiteX1" fmla="*/ 977970 w 7136640"/>
              <a:gd name="connsiteY1" fmla="*/ 736 h 168211"/>
              <a:gd name="connsiteX2" fmla="*/ 1743605 w 7136640"/>
              <a:gd name="connsiteY2" fmla="*/ 132926 h 168211"/>
              <a:gd name="connsiteX3" fmla="*/ 2644393 w 7136640"/>
              <a:gd name="connsiteY3" fmla="*/ 101321 h 168211"/>
              <a:gd name="connsiteX4" fmla="*/ 3483886 w 7136640"/>
              <a:gd name="connsiteY4" fmla="*/ 69840 h 168211"/>
              <a:gd name="connsiteX5" fmla="*/ 4318333 w 7136640"/>
              <a:gd name="connsiteY5" fmla="*/ 19782 h 168211"/>
              <a:gd name="connsiteX6" fmla="*/ 5292453 w 7136640"/>
              <a:gd name="connsiteY6" fmla="*/ 75913 h 168211"/>
              <a:gd name="connsiteX7" fmla="*/ 6344970 w 7136640"/>
              <a:gd name="connsiteY7" fmla="*/ 6366 h 168211"/>
              <a:gd name="connsiteX8" fmla="*/ 7136640 w 7136640"/>
              <a:gd name="connsiteY8" fmla="*/ 168211 h 168211"/>
              <a:gd name="connsiteX0" fmla="*/ 0 w 7136640"/>
              <a:gd name="connsiteY0" fmla="*/ 92613 h 182994"/>
              <a:gd name="connsiteX1" fmla="*/ 977970 w 7136640"/>
              <a:gd name="connsiteY1" fmla="*/ 15519 h 182994"/>
              <a:gd name="connsiteX2" fmla="*/ 1757063 w 7136640"/>
              <a:gd name="connsiteY2" fmla="*/ 8973 h 182994"/>
              <a:gd name="connsiteX3" fmla="*/ 2644393 w 7136640"/>
              <a:gd name="connsiteY3" fmla="*/ 116104 h 182994"/>
              <a:gd name="connsiteX4" fmla="*/ 3483886 w 7136640"/>
              <a:gd name="connsiteY4" fmla="*/ 84623 h 182994"/>
              <a:gd name="connsiteX5" fmla="*/ 4318333 w 7136640"/>
              <a:gd name="connsiteY5" fmla="*/ 34565 h 182994"/>
              <a:gd name="connsiteX6" fmla="*/ 5292453 w 7136640"/>
              <a:gd name="connsiteY6" fmla="*/ 90696 h 182994"/>
              <a:gd name="connsiteX7" fmla="*/ 6344970 w 7136640"/>
              <a:gd name="connsiteY7" fmla="*/ 21149 h 182994"/>
              <a:gd name="connsiteX8" fmla="*/ 7136640 w 7136640"/>
              <a:gd name="connsiteY8" fmla="*/ 182994 h 182994"/>
              <a:gd name="connsiteX0" fmla="*/ 0 w 7136640"/>
              <a:gd name="connsiteY0" fmla="*/ 92613 h 182994"/>
              <a:gd name="connsiteX1" fmla="*/ 977970 w 7136640"/>
              <a:gd name="connsiteY1" fmla="*/ 15519 h 182994"/>
              <a:gd name="connsiteX2" fmla="*/ 1757063 w 7136640"/>
              <a:gd name="connsiteY2" fmla="*/ 8974 h 182994"/>
              <a:gd name="connsiteX3" fmla="*/ 2644393 w 7136640"/>
              <a:gd name="connsiteY3" fmla="*/ 116104 h 182994"/>
              <a:gd name="connsiteX4" fmla="*/ 3483886 w 7136640"/>
              <a:gd name="connsiteY4" fmla="*/ 84623 h 182994"/>
              <a:gd name="connsiteX5" fmla="*/ 4318333 w 7136640"/>
              <a:gd name="connsiteY5" fmla="*/ 34565 h 182994"/>
              <a:gd name="connsiteX6" fmla="*/ 5292453 w 7136640"/>
              <a:gd name="connsiteY6" fmla="*/ 90696 h 182994"/>
              <a:gd name="connsiteX7" fmla="*/ 6344970 w 7136640"/>
              <a:gd name="connsiteY7" fmla="*/ 21149 h 182994"/>
              <a:gd name="connsiteX8" fmla="*/ 7136640 w 7136640"/>
              <a:gd name="connsiteY8" fmla="*/ 182994 h 182994"/>
              <a:gd name="connsiteX0" fmla="*/ 0 w 7136640"/>
              <a:gd name="connsiteY0" fmla="*/ 149924 h 240305"/>
              <a:gd name="connsiteX1" fmla="*/ 977970 w 7136640"/>
              <a:gd name="connsiteY1" fmla="*/ 72830 h 240305"/>
              <a:gd name="connsiteX2" fmla="*/ 1757063 w 7136640"/>
              <a:gd name="connsiteY2" fmla="*/ 66285 h 240305"/>
              <a:gd name="connsiteX3" fmla="*/ 2644393 w 7136640"/>
              <a:gd name="connsiteY3" fmla="*/ 0 h 240305"/>
              <a:gd name="connsiteX4" fmla="*/ 3483886 w 7136640"/>
              <a:gd name="connsiteY4" fmla="*/ 141934 h 240305"/>
              <a:gd name="connsiteX5" fmla="*/ 4318333 w 7136640"/>
              <a:gd name="connsiteY5" fmla="*/ 91876 h 240305"/>
              <a:gd name="connsiteX6" fmla="*/ 5292453 w 7136640"/>
              <a:gd name="connsiteY6" fmla="*/ 148007 h 240305"/>
              <a:gd name="connsiteX7" fmla="*/ 6344970 w 7136640"/>
              <a:gd name="connsiteY7" fmla="*/ 78460 h 240305"/>
              <a:gd name="connsiteX8" fmla="*/ 7136640 w 7136640"/>
              <a:gd name="connsiteY8" fmla="*/ 240305 h 240305"/>
              <a:gd name="connsiteX0" fmla="*/ 0 w 7123183"/>
              <a:gd name="connsiteY0" fmla="*/ 149924 h 149925"/>
              <a:gd name="connsiteX1" fmla="*/ 977970 w 7123183"/>
              <a:gd name="connsiteY1" fmla="*/ 72830 h 149925"/>
              <a:gd name="connsiteX2" fmla="*/ 1757063 w 7123183"/>
              <a:gd name="connsiteY2" fmla="*/ 66285 h 149925"/>
              <a:gd name="connsiteX3" fmla="*/ 2644393 w 7123183"/>
              <a:gd name="connsiteY3" fmla="*/ 0 h 149925"/>
              <a:gd name="connsiteX4" fmla="*/ 3483886 w 7123183"/>
              <a:gd name="connsiteY4" fmla="*/ 141934 h 149925"/>
              <a:gd name="connsiteX5" fmla="*/ 4318333 w 7123183"/>
              <a:gd name="connsiteY5" fmla="*/ 91876 h 149925"/>
              <a:gd name="connsiteX6" fmla="*/ 5292453 w 7123183"/>
              <a:gd name="connsiteY6" fmla="*/ 148007 h 149925"/>
              <a:gd name="connsiteX7" fmla="*/ 6344970 w 7123183"/>
              <a:gd name="connsiteY7" fmla="*/ 78460 h 149925"/>
              <a:gd name="connsiteX8" fmla="*/ 7123183 w 7123183"/>
              <a:gd name="connsiteY8" fmla="*/ 32204 h 149925"/>
              <a:gd name="connsiteX0" fmla="*/ 0 w 7123183"/>
              <a:gd name="connsiteY0" fmla="*/ 149924 h 149925"/>
              <a:gd name="connsiteX1" fmla="*/ 977970 w 7123183"/>
              <a:gd name="connsiteY1" fmla="*/ 72830 h 149925"/>
              <a:gd name="connsiteX2" fmla="*/ 1757063 w 7123183"/>
              <a:gd name="connsiteY2" fmla="*/ 66285 h 149925"/>
              <a:gd name="connsiteX3" fmla="*/ 2644393 w 7123183"/>
              <a:gd name="connsiteY3" fmla="*/ 0 h 149925"/>
              <a:gd name="connsiteX4" fmla="*/ 3483886 w 7123183"/>
              <a:gd name="connsiteY4" fmla="*/ 141934 h 149925"/>
              <a:gd name="connsiteX5" fmla="*/ 4318333 w 7123183"/>
              <a:gd name="connsiteY5" fmla="*/ 91876 h 149925"/>
              <a:gd name="connsiteX6" fmla="*/ 5292453 w 7123183"/>
              <a:gd name="connsiteY6" fmla="*/ 148007 h 149925"/>
              <a:gd name="connsiteX7" fmla="*/ 6344970 w 7123183"/>
              <a:gd name="connsiteY7" fmla="*/ 78460 h 149925"/>
              <a:gd name="connsiteX8" fmla="*/ 7123183 w 7123183"/>
              <a:gd name="connsiteY8" fmla="*/ 32204 h 149925"/>
              <a:gd name="connsiteX0" fmla="*/ 0 w 7123183"/>
              <a:gd name="connsiteY0" fmla="*/ 149924 h 149925"/>
              <a:gd name="connsiteX1" fmla="*/ 977970 w 7123183"/>
              <a:gd name="connsiteY1" fmla="*/ 72830 h 149925"/>
              <a:gd name="connsiteX2" fmla="*/ 1757063 w 7123183"/>
              <a:gd name="connsiteY2" fmla="*/ 66285 h 149925"/>
              <a:gd name="connsiteX3" fmla="*/ 2644393 w 7123183"/>
              <a:gd name="connsiteY3" fmla="*/ 0 h 149925"/>
              <a:gd name="connsiteX4" fmla="*/ 3483886 w 7123183"/>
              <a:gd name="connsiteY4" fmla="*/ 141934 h 149925"/>
              <a:gd name="connsiteX5" fmla="*/ 4318333 w 7123183"/>
              <a:gd name="connsiteY5" fmla="*/ 91876 h 149925"/>
              <a:gd name="connsiteX6" fmla="*/ 5292453 w 7123183"/>
              <a:gd name="connsiteY6" fmla="*/ 78640 h 149925"/>
              <a:gd name="connsiteX7" fmla="*/ 6344970 w 7123183"/>
              <a:gd name="connsiteY7" fmla="*/ 78460 h 149925"/>
              <a:gd name="connsiteX8" fmla="*/ 7123183 w 7123183"/>
              <a:gd name="connsiteY8" fmla="*/ 32204 h 149925"/>
              <a:gd name="connsiteX0" fmla="*/ 0 w 6994006"/>
              <a:gd name="connsiteY0" fmla="*/ 14009306 h 14009306"/>
              <a:gd name="connsiteX1" fmla="*/ 848793 w 6994006"/>
              <a:gd name="connsiteY1" fmla="*/ 965680 h 14009306"/>
              <a:gd name="connsiteX2" fmla="*/ 1627886 w 6994006"/>
              <a:gd name="connsiteY2" fmla="*/ 959135 h 14009306"/>
              <a:gd name="connsiteX3" fmla="*/ 2515216 w 6994006"/>
              <a:gd name="connsiteY3" fmla="*/ 892850 h 14009306"/>
              <a:gd name="connsiteX4" fmla="*/ 3354709 w 6994006"/>
              <a:gd name="connsiteY4" fmla="*/ 1034784 h 14009306"/>
              <a:gd name="connsiteX5" fmla="*/ 4189156 w 6994006"/>
              <a:gd name="connsiteY5" fmla="*/ 984726 h 14009306"/>
              <a:gd name="connsiteX6" fmla="*/ 5163276 w 6994006"/>
              <a:gd name="connsiteY6" fmla="*/ 971490 h 14009306"/>
              <a:gd name="connsiteX7" fmla="*/ 6215793 w 6994006"/>
              <a:gd name="connsiteY7" fmla="*/ 971310 h 14009306"/>
              <a:gd name="connsiteX8" fmla="*/ 6994006 w 6994006"/>
              <a:gd name="connsiteY8" fmla="*/ 925054 h 14009306"/>
              <a:gd name="connsiteX0" fmla="*/ 0 w 6994006"/>
              <a:gd name="connsiteY0" fmla="*/ 15251444 h 15251444"/>
              <a:gd name="connsiteX1" fmla="*/ 848793 w 6994006"/>
              <a:gd name="connsiteY1" fmla="*/ 1051344 h 15251444"/>
              <a:gd name="connsiteX2" fmla="*/ 1627886 w 6994006"/>
              <a:gd name="connsiteY2" fmla="*/ 1044799 h 15251444"/>
              <a:gd name="connsiteX3" fmla="*/ 2515216 w 6994006"/>
              <a:gd name="connsiteY3" fmla="*/ 978514 h 15251444"/>
              <a:gd name="connsiteX4" fmla="*/ 3354709 w 6994006"/>
              <a:gd name="connsiteY4" fmla="*/ 1120448 h 15251444"/>
              <a:gd name="connsiteX5" fmla="*/ 4189156 w 6994006"/>
              <a:gd name="connsiteY5" fmla="*/ 1070390 h 15251444"/>
              <a:gd name="connsiteX6" fmla="*/ 5163276 w 6994006"/>
              <a:gd name="connsiteY6" fmla="*/ 1057154 h 15251444"/>
              <a:gd name="connsiteX7" fmla="*/ 6215793 w 6994006"/>
              <a:gd name="connsiteY7" fmla="*/ 1056974 h 15251444"/>
              <a:gd name="connsiteX8" fmla="*/ 6994006 w 6994006"/>
              <a:gd name="connsiteY8" fmla="*/ 1010718 h 15251444"/>
              <a:gd name="connsiteX0" fmla="*/ 0 w 6994006"/>
              <a:gd name="connsiteY0" fmla="*/ 14858053 h 14858053"/>
              <a:gd name="connsiteX1" fmla="*/ 930379 w 6994006"/>
              <a:gd name="connsiteY1" fmla="*/ 9173810 h 14858053"/>
              <a:gd name="connsiteX2" fmla="*/ 1627886 w 6994006"/>
              <a:gd name="connsiteY2" fmla="*/ 651408 h 14858053"/>
              <a:gd name="connsiteX3" fmla="*/ 2515216 w 6994006"/>
              <a:gd name="connsiteY3" fmla="*/ 585123 h 14858053"/>
              <a:gd name="connsiteX4" fmla="*/ 3354709 w 6994006"/>
              <a:gd name="connsiteY4" fmla="*/ 727057 h 14858053"/>
              <a:gd name="connsiteX5" fmla="*/ 4189156 w 6994006"/>
              <a:gd name="connsiteY5" fmla="*/ 676999 h 14858053"/>
              <a:gd name="connsiteX6" fmla="*/ 5163276 w 6994006"/>
              <a:gd name="connsiteY6" fmla="*/ 663763 h 14858053"/>
              <a:gd name="connsiteX7" fmla="*/ 6215793 w 6994006"/>
              <a:gd name="connsiteY7" fmla="*/ 663583 h 14858053"/>
              <a:gd name="connsiteX8" fmla="*/ 6994006 w 6994006"/>
              <a:gd name="connsiteY8" fmla="*/ 617327 h 14858053"/>
              <a:gd name="connsiteX0" fmla="*/ 0 w 6994006"/>
              <a:gd name="connsiteY0" fmla="*/ 14858053 h 14858053"/>
              <a:gd name="connsiteX1" fmla="*/ 930379 w 6994006"/>
              <a:gd name="connsiteY1" fmla="*/ 9173810 h 14858053"/>
              <a:gd name="connsiteX2" fmla="*/ 1627886 w 6994006"/>
              <a:gd name="connsiteY2" fmla="*/ 651408 h 14858053"/>
              <a:gd name="connsiteX3" fmla="*/ 2515216 w 6994006"/>
              <a:gd name="connsiteY3" fmla="*/ 585123 h 14858053"/>
              <a:gd name="connsiteX4" fmla="*/ 3354709 w 6994006"/>
              <a:gd name="connsiteY4" fmla="*/ 727057 h 14858053"/>
              <a:gd name="connsiteX5" fmla="*/ 4189156 w 6994006"/>
              <a:gd name="connsiteY5" fmla="*/ 676999 h 14858053"/>
              <a:gd name="connsiteX6" fmla="*/ 5163276 w 6994006"/>
              <a:gd name="connsiteY6" fmla="*/ 663763 h 14858053"/>
              <a:gd name="connsiteX7" fmla="*/ 6215793 w 6994006"/>
              <a:gd name="connsiteY7" fmla="*/ 663583 h 14858053"/>
              <a:gd name="connsiteX8" fmla="*/ 6994006 w 6994006"/>
              <a:gd name="connsiteY8" fmla="*/ 617327 h 14858053"/>
              <a:gd name="connsiteX0" fmla="*/ 0 w 6994006"/>
              <a:gd name="connsiteY0" fmla="*/ 14980001 h 14980001"/>
              <a:gd name="connsiteX1" fmla="*/ 909983 w 6994006"/>
              <a:gd name="connsiteY1" fmla="*/ 10942858 h 14980001"/>
              <a:gd name="connsiteX2" fmla="*/ 1627886 w 6994006"/>
              <a:gd name="connsiteY2" fmla="*/ 773356 h 14980001"/>
              <a:gd name="connsiteX3" fmla="*/ 2515216 w 6994006"/>
              <a:gd name="connsiteY3" fmla="*/ 707071 h 14980001"/>
              <a:gd name="connsiteX4" fmla="*/ 3354709 w 6994006"/>
              <a:gd name="connsiteY4" fmla="*/ 849005 h 14980001"/>
              <a:gd name="connsiteX5" fmla="*/ 4189156 w 6994006"/>
              <a:gd name="connsiteY5" fmla="*/ 798947 h 14980001"/>
              <a:gd name="connsiteX6" fmla="*/ 5163276 w 6994006"/>
              <a:gd name="connsiteY6" fmla="*/ 785711 h 14980001"/>
              <a:gd name="connsiteX7" fmla="*/ 6215793 w 6994006"/>
              <a:gd name="connsiteY7" fmla="*/ 785531 h 14980001"/>
              <a:gd name="connsiteX8" fmla="*/ 6994006 w 6994006"/>
              <a:gd name="connsiteY8" fmla="*/ 739275 h 14980001"/>
              <a:gd name="connsiteX0" fmla="*/ 0 w 6994006"/>
              <a:gd name="connsiteY0" fmla="*/ 14272930 h 14272930"/>
              <a:gd name="connsiteX1" fmla="*/ 909983 w 6994006"/>
              <a:gd name="connsiteY1" fmla="*/ 10235787 h 14272930"/>
              <a:gd name="connsiteX2" fmla="*/ 1845447 w 6994006"/>
              <a:gd name="connsiteY2" fmla="*/ 13278128 h 14272930"/>
              <a:gd name="connsiteX3" fmla="*/ 2515216 w 6994006"/>
              <a:gd name="connsiteY3" fmla="*/ 0 h 14272930"/>
              <a:gd name="connsiteX4" fmla="*/ 3354709 w 6994006"/>
              <a:gd name="connsiteY4" fmla="*/ 141934 h 14272930"/>
              <a:gd name="connsiteX5" fmla="*/ 4189156 w 6994006"/>
              <a:gd name="connsiteY5" fmla="*/ 91876 h 14272930"/>
              <a:gd name="connsiteX6" fmla="*/ 5163276 w 6994006"/>
              <a:gd name="connsiteY6" fmla="*/ 78640 h 14272930"/>
              <a:gd name="connsiteX7" fmla="*/ 6215793 w 6994006"/>
              <a:gd name="connsiteY7" fmla="*/ 78460 h 14272930"/>
              <a:gd name="connsiteX8" fmla="*/ 6994006 w 6994006"/>
              <a:gd name="connsiteY8" fmla="*/ 32204 h 14272930"/>
              <a:gd name="connsiteX0" fmla="*/ 0 w 6994006"/>
              <a:gd name="connsiteY0" fmla="*/ 14248000 h 14248000"/>
              <a:gd name="connsiteX1" fmla="*/ 909983 w 6994006"/>
              <a:gd name="connsiteY1" fmla="*/ 10210857 h 14248000"/>
              <a:gd name="connsiteX2" fmla="*/ 1845447 w 6994006"/>
              <a:gd name="connsiteY2" fmla="*/ 13253198 h 14248000"/>
              <a:gd name="connsiteX3" fmla="*/ 2590003 w 6994006"/>
              <a:gd name="connsiteY3" fmla="*/ 6948961 h 14248000"/>
              <a:gd name="connsiteX4" fmla="*/ 3354709 w 6994006"/>
              <a:gd name="connsiteY4" fmla="*/ 117004 h 14248000"/>
              <a:gd name="connsiteX5" fmla="*/ 4189156 w 6994006"/>
              <a:gd name="connsiteY5" fmla="*/ 66946 h 14248000"/>
              <a:gd name="connsiteX6" fmla="*/ 5163276 w 6994006"/>
              <a:gd name="connsiteY6" fmla="*/ 53710 h 14248000"/>
              <a:gd name="connsiteX7" fmla="*/ 6215793 w 6994006"/>
              <a:gd name="connsiteY7" fmla="*/ 53530 h 14248000"/>
              <a:gd name="connsiteX8" fmla="*/ 6994006 w 6994006"/>
              <a:gd name="connsiteY8" fmla="*/ 7274 h 14248000"/>
              <a:gd name="connsiteX0" fmla="*/ 0 w 6994006"/>
              <a:gd name="connsiteY0" fmla="*/ 14247996 h 14247996"/>
              <a:gd name="connsiteX1" fmla="*/ 909983 w 6994006"/>
              <a:gd name="connsiteY1" fmla="*/ 10210853 h 14247996"/>
              <a:gd name="connsiteX2" fmla="*/ 1845447 w 6994006"/>
              <a:gd name="connsiteY2" fmla="*/ 13253194 h 14247996"/>
              <a:gd name="connsiteX3" fmla="*/ 2590003 w 6994006"/>
              <a:gd name="connsiteY3" fmla="*/ 8525967 h 14247996"/>
              <a:gd name="connsiteX4" fmla="*/ 3354709 w 6994006"/>
              <a:gd name="connsiteY4" fmla="*/ 117000 h 14247996"/>
              <a:gd name="connsiteX5" fmla="*/ 4189156 w 6994006"/>
              <a:gd name="connsiteY5" fmla="*/ 66942 h 14247996"/>
              <a:gd name="connsiteX6" fmla="*/ 5163276 w 6994006"/>
              <a:gd name="connsiteY6" fmla="*/ 53706 h 14247996"/>
              <a:gd name="connsiteX7" fmla="*/ 6215793 w 6994006"/>
              <a:gd name="connsiteY7" fmla="*/ 53526 h 14247996"/>
              <a:gd name="connsiteX8" fmla="*/ 6994006 w 6994006"/>
              <a:gd name="connsiteY8" fmla="*/ 7270 h 14247996"/>
              <a:gd name="connsiteX0" fmla="*/ 0 w 6994006"/>
              <a:gd name="connsiteY0" fmla="*/ 14884393 h 14884393"/>
              <a:gd name="connsiteX1" fmla="*/ 909983 w 6994006"/>
              <a:gd name="connsiteY1" fmla="*/ 10847250 h 14884393"/>
              <a:gd name="connsiteX2" fmla="*/ 1845447 w 6994006"/>
              <a:gd name="connsiteY2" fmla="*/ 13889591 h 14884393"/>
              <a:gd name="connsiteX3" fmla="*/ 2590003 w 6994006"/>
              <a:gd name="connsiteY3" fmla="*/ 9162364 h 14884393"/>
              <a:gd name="connsiteX4" fmla="*/ 3395502 w 6994006"/>
              <a:gd name="connsiteY4" fmla="*/ 10145370 h 14884393"/>
              <a:gd name="connsiteX5" fmla="*/ 4189156 w 6994006"/>
              <a:gd name="connsiteY5" fmla="*/ 703339 h 14884393"/>
              <a:gd name="connsiteX6" fmla="*/ 5163276 w 6994006"/>
              <a:gd name="connsiteY6" fmla="*/ 690103 h 14884393"/>
              <a:gd name="connsiteX7" fmla="*/ 6215793 w 6994006"/>
              <a:gd name="connsiteY7" fmla="*/ 689923 h 14884393"/>
              <a:gd name="connsiteX8" fmla="*/ 6994006 w 6994006"/>
              <a:gd name="connsiteY8" fmla="*/ 643667 h 14884393"/>
              <a:gd name="connsiteX0" fmla="*/ 0 w 6994006"/>
              <a:gd name="connsiteY0" fmla="*/ 14287114 h 14287114"/>
              <a:gd name="connsiteX1" fmla="*/ 909983 w 6994006"/>
              <a:gd name="connsiteY1" fmla="*/ 10249971 h 14287114"/>
              <a:gd name="connsiteX2" fmla="*/ 1845447 w 6994006"/>
              <a:gd name="connsiteY2" fmla="*/ 13292312 h 14287114"/>
              <a:gd name="connsiteX3" fmla="*/ 2590003 w 6994006"/>
              <a:gd name="connsiteY3" fmla="*/ 8565085 h 14287114"/>
              <a:gd name="connsiteX4" fmla="*/ 3395502 w 6994006"/>
              <a:gd name="connsiteY4" fmla="*/ 9548091 h 14287114"/>
              <a:gd name="connsiteX5" fmla="*/ 4189156 w 6994006"/>
              <a:gd name="connsiteY5" fmla="*/ 1297580 h 14287114"/>
              <a:gd name="connsiteX6" fmla="*/ 5163276 w 6994006"/>
              <a:gd name="connsiteY6" fmla="*/ 92824 h 14287114"/>
              <a:gd name="connsiteX7" fmla="*/ 6215793 w 6994006"/>
              <a:gd name="connsiteY7" fmla="*/ 92644 h 14287114"/>
              <a:gd name="connsiteX8" fmla="*/ 6994006 w 6994006"/>
              <a:gd name="connsiteY8" fmla="*/ 46388 h 14287114"/>
              <a:gd name="connsiteX0" fmla="*/ 0 w 6994006"/>
              <a:gd name="connsiteY0" fmla="*/ 14349370 h 14349370"/>
              <a:gd name="connsiteX1" fmla="*/ 909983 w 6994006"/>
              <a:gd name="connsiteY1" fmla="*/ 10312227 h 14349370"/>
              <a:gd name="connsiteX2" fmla="*/ 1845447 w 6994006"/>
              <a:gd name="connsiteY2" fmla="*/ 13354568 h 14349370"/>
              <a:gd name="connsiteX3" fmla="*/ 2590003 w 6994006"/>
              <a:gd name="connsiteY3" fmla="*/ 8627341 h 14349370"/>
              <a:gd name="connsiteX4" fmla="*/ 3395502 w 6994006"/>
              <a:gd name="connsiteY4" fmla="*/ 9610347 h 14349370"/>
              <a:gd name="connsiteX5" fmla="*/ 4263943 w 6994006"/>
              <a:gd name="connsiteY5" fmla="*/ 2200909 h 14349370"/>
              <a:gd name="connsiteX6" fmla="*/ 5163276 w 6994006"/>
              <a:gd name="connsiteY6" fmla="*/ 155080 h 14349370"/>
              <a:gd name="connsiteX7" fmla="*/ 6215793 w 6994006"/>
              <a:gd name="connsiteY7" fmla="*/ 154900 h 14349370"/>
              <a:gd name="connsiteX8" fmla="*/ 6994006 w 6994006"/>
              <a:gd name="connsiteY8" fmla="*/ 108644 h 14349370"/>
              <a:gd name="connsiteX0" fmla="*/ 0 w 6994006"/>
              <a:gd name="connsiteY0" fmla="*/ 14569988 h 14569988"/>
              <a:gd name="connsiteX1" fmla="*/ 909983 w 6994006"/>
              <a:gd name="connsiteY1" fmla="*/ 10532845 h 14569988"/>
              <a:gd name="connsiteX2" fmla="*/ 1845447 w 6994006"/>
              <a:gd name="connsiteY2" fmla="*/ 13575186 h 14569988"/>
              <a:gd name="connsiteX3" fmla="*/ 2590003 w 6994006"/>
              <a:gd name="connsiteY3" fmla="*/ 8847959 h 14569988"/>
              <a:gd name="connsiteX4" fmla="*/ 3395502 w 6994006"/>
              <a:gd name="connsiteY4" fmla="*/ 9830965 h 14569988"/>
              <a:gd name="connsiteX5" fmla="*/ 4209553 w 6994006"/>
              <a:gd name="connsiteY5" fmla="*/ 5400324 h 14569988"/>
              <a:gd name="connsiteX6" fmla="*/ 5163276 w 6994006"/>
              <a:gd name="connsiteY6" fmla="*/ 375698 h 14569988"/>
              <a:gd name="connsiteX7" fmla="*/ 6215793 w 6994006"/>
              <a:gd name="connsiteY7" fmla="*/ 375518 h 14569988"/>
              <a:gd name="connsiteX8" fmla="*/ 6994006 w 6994006"/>
              <a:gd name="connsiteY8" fmla="*/ 329262 h 14569988"/>
              <a:gd name="connsiteX0" fmla="*/ 0 w 6994006"/>
              <a:gd name="connsiteY0" fmla="*/ 14725734 h 14725734"/>
              <a:gd name="connsiteX1" fmla="*/ 909983 w 6994006"/>
              <a:gd name="connsiteY1" fmla="*/ 10688591 h 14725734"/>
              <a:gd name="connsiteX2" fmla="*/ 1845447 w 6994006"/>
              <a:gd name="connsiteY2" fmla="*/ 13730932 h 14725734"/>
              <a:gd name="connsiteX3" fmla="*/ 2590003 w 6994006"/>
              <a:gd name="connsiteY3" fmla="*/ 9003705 h 14725734"/>
              <a:gd name="connsiteX4" fmla="*/ 3395502 w 6994006"/>
              <a:gd name="connsiteY4" fmla="*/ 9986711 h 14725734"/>
              <a:gd name="connsiteX5" fmla="*/ 4277541 w 6994006"/>
              <a:gd name="connsiteY5" fmla="*/ 7658751 h 14725734"/>
              <a:gd name="connsiteX6" fmla="*/ 5163276 w 6994006"/>
              <a:gd name="connsiteY6" fmla="*/ 531444 h 14725734"/>
              <a:gd name="connsiteX7" fmla="*/ 6215793 w 6994006"/>
              <a:gd name="connsiteY7" fmla="*/ 531264 h 14725734"/>
              <a:gd name="connsiteX8" fmla="*/ 6994006 w 6994006"/>
              <a:gd name="connsiteY8" fmla="*/ 485008 h 14725734"/>
              <a:gd name="connsiteX0" fmla="*/ 0 w 6994006"/>
              <a:gd name="connsiteY0" fmla="*/ 14247997 h 14247997"/>
              <a:gd name="connsiteX1" fmla="*/ 909983 w 6994006"/>
              <a:gd name="connsiteY1" fmla="*/ 10210854 h 14247997"/>
              <a:gd name="connsiteX2" fmla="*/ 1845447 w 6994006"/>
              <a:gd name="connsiteY2" fmla="*/ 13253195 h 14247997"/>
              <a:gd name="connsiteX3" fmla="*/ 2590003 w 6994006"/>
              <a:gd name="connsiteY3" fmla="*/ 8525968 h 14247997"/>
              <a:gd name="connsiteX4" fmla="*/ 3395502 w 6994006"/>
              <a:gd name="connsiteY4" fmla="*/ 9508974 h 14247997"/>
              <a:gd name="connsiteX5" fmla="*/ 4277541 w 6994006"/>
              <a:gd name="connsiteY5" fmla="*/ 7181014 h 14247997"/>
              <a:gd name="connsiteX6" fmla="*/ 5115685 w 6994006"/>
              <a:gd name="connsiteY6" fmla="*/ 2962414 h 14247997"/>
              <a:gd name="connsiteX7" fmla="*/ 6215793 w 6994006"/>
              <a:gd name="connsiteY7" fmla="*/ 53527 h 14247997"/>
              <a:gd name="connsiteX8" fmla="*/ 6994006 w 6994006"/>
              <a:gd name="connsiteY8" fmla="*/ 7271 h 14247997"/>
              <a:gd name="connsiteX0" fmla="*/ 0 w 6994006"/>
              <a:gd name="connsiteY0" fmla="*/ 14240822 h 14240822"/>
              <a:gd name="connsiteX1" fmla="*/ 909983 w 6994006"/>
              <a:gd name="connsiteY1" fmla="*/ 10203679 h 14240822"/>
              <a:gd name="connsiteX2" fmla="*/ 1845447 w 6994006"/>
              <a:gd name="connsiteY2" fmla="*/ 13246020 h 14240822"/>
              <a:gd name="connsiteX3" fmla="*/ 2590003 w 6994006"/>
              <a:gd name="connsiteY3" fmla="*/ 8518793 h 14240822"/>
              <a:gd name="connsiteX4" fmla="*/ 3395502 w 6994006"/>
              <a:gd name="connsiteY4" fmla="*/ 9501799 h 14240822"/>
              <a:gd name="connsiteX5" fmla="*/ 4277541 w 6994006"/>
              <a:gd name="connsiteY5" fmla="*/ 7173839 h 14240822"/>
              <a:gd name="connsiteX6" fmla="*/ 5115685 w 6994006"/>
              <a:gd name="connsiteY6" fmla="*/ 2955239 h 14240822"/>
              <a:gd name="connsiteX7" fmla="*/ 5984634 w 6994006"/>
              <a:gd name="connsiteY7" fmla="*/ 8737431 h 14240822"/>
              <a:gd name="connsiteX8" fmla="*/ 6994006 w 6994006"/>
              <a:gd name="connsiteY8" fmla="*/ 96 h 14240822"/>
              <a:gd name="connsiteX0" fmla="*/ 0 w 6994006"/>
              <a:gd name="connsiteY0" fmla="*/ 14240807 h 14240807"/>
              <a:gd name="connsiteX1" fmla="*/ 909983 w 6994006"/>
              <a:gd name="connsiteY1" fmla="*/ 10203664 h 14240807"/>
              <a:gd name="connsiteX2" fmla="*/ 1845447 w 6994006"/>
              <a:gd name="connsiteY2" fmla="*/ 13246005 h 14240807"/>
              <a:gd name="connsiteX3" fmla="*/ 2590003 w 6994006"/>
              <a:gd name="connsiteY3" fmla="*/ 8518778 h 14240807"/>
              <a:gd name="connsiteX4" fmla="*/ 3395502 w 6994006"/>
              <a:gd name="connsiteY4" fmla="*/ 9501784 h 14240807"/>
              <a:gd name="connsiteX5" fmla="*/ 4277541 w 6994006"/>
              <a:gd name="connsiteY5" fmla="*/ 7173824 h 14240807"/>
              <a:gd name="connsiteX6" fmla="*/ 5115685 w 6994006"/>
              <a:gd name="connsiteY6" fmla="*/ 2955224 h 14240807"/>
              <a:gd name="connsiteX7" fmla="*/ 5971037 w 6994006"/>
              <a:gd name="connsiteY7" fmla="*/ 10419561 h 14240807"/>
              <a:gd name="connsiteX8" fmla="*/ 6994006 w 6994006"/>
              <a:gd name="connsiteY8" fmla="*/ 81 h 14240807"/>
              <a:gd name="connsiteX0" fmla="*/ 0 w 6694859"/>
              <a:gd name="connsiteY0" fmla="*/ 11339678 h 11339678"/>
              <a:gd name="connsiteX1" fmla="*/ 909983 w 6694859"/>
              <a:gd name="connsiteY1" fmla="*/ 7302535 h 11339678"/>
              <a:gd name="connsiteX2" fmla="*/ 1845447 w 6694859"/>
              <a:gd name="connsiteY2" fmla="*/ 10344876 h 11339678"/>
              <a:gd name="connsiteX3" fmla="*/ 2590003 w 6694859"/>
              <a:gd name="connsiteY3" fmla="*/ 5617649 h 11339678"/>
              <a:gd name="connsiteX4" fmla="*/ 3395502 w 6694859"/>
              <a:gd name="connsiteY4" fmla="*/ 6600655 h 11339678"/>
              <a:gd name="connsiteX5" fmla="*/ 4277541 w 6694859"/>
              <a:gd name="connsiteY5" fmla="*/ 4272695 h 11339678"/>
              <a:gd name="connsiteX6" fmla="*/ 5115685 w 6694859"/>
              <a:gd name="connsiteY6" fmla="*/ 54095 h 11339678"/>
              <a:gd name="connsiteX7" fmla="*/ 5971037 w 6694859"/>
              <a:gd name="connsiteY7" fmla="*/ 7518432 h 11339678"/>
              <a:gd name="connsiteX8" fmla="*/ 6694859 w 6694859"/>
              <a:gd name="connsiteY8" fmla="*/ 3617262 h 11339678"/>
              <a:gd name="connsiteX0" fmla="*/ 0 w 6694859"/>
              <a:gd name="connsiteY0" fmla="*/ 11339678 h 11339678"/>
              <a:gd name="connsiteX1" fmla="*/ 869190 w 6694859"/>
              <a:gd name="connsiteY1" fmla="*/ 11087360 h 11339678"/>
              <a:gd name="connsiteX2" fmla="*/ 1845447 w 6694859"/>
              <a:gd name="connsiteY2" fmla="*/ 10344876 h 11339678"/>
              <a:gd name="connsiteX3" fmla="*/ 2590003 w 6694859"/>
              <a:gd name="connsiteY3" fmla="*/ 5617649 h 11339678"/>
              <a:gd name="connsiteX4" fmla="*/ 3395502 w 6694859"/>
              <a:gd name="connsiteY4" fmla="*/ 6600655 h 11339678"/>
              <a:gd name="connsiteX5" fmla="*/ 4277541 w 6694859"/>
              <a:gd name="connsiteY5" fmla="*/ 4272695 h 11339678"/>
              <a:gd name="connsiteX6" fmla="*/ 5115685 w 6694859"/>
              <a:gd name="connsiteY6" fmla="*/ 54095 h 11339678"/>
              <a:gd name="connsiteX7" fmla="*/ 5971037 w 6694859"/>
              <a:gd name="connsiteY7" fmla="*/ 7518432 h 11339678"/>
              <a:gd name="connsiteX8" fmla="*/ 6694859 w 6694859"/>
              <a:gd name="connsiteY8" fmla="*/ 3617262 h 11339678"/>
              <a:gd name="connsiteX0" fmla="*/ 0 w 6694859"/>
              <a:gd name="connsiteY0" fmla="*/ 11339678 h 11339678"/>
              <a:gd name="connsiteX1" fmla="*/ 869190 w 6694859"/>
              <a:gd name="connsiteY1" fmla="*/ 11087360 h 11339678"/>
              <a:gd name="connsiteX2" fmla="*/ 1812813 w 6694859"/>
              <a:gd name="connsiteY2" fmla="*/ 10807466 h 11339678"/>
              <a:gd name="connsiteX3" fmla="*/ 2590003 w 6694859"/>
              <a:gd name="connsiteY3" fmla="*/ 5617649 h 11339678"/>
              <a:gd name="connsiteX4" fmla="*/ 3395502 w 6694859"/>
              <a:gd name="connsiteY4" fmla="*/ 6600655 h 11339678"/>
              <a:gd name="connsiteX5" fmla="*/ 4277541 w 6694859"/>
              <a:gd name="connsiteY5" fmla="*/ 4272695 h 11339678"/>
              <a:gd name="connsiteX6" fmla="*/ 5115685 w 6694859"/>
              <a:gd name="connsiteY6" fmla="*/ 54095 h 11339678"/>
              <a:gd name="connsiteX7" fmla="*/ 5971037 w 6694859"/>
              <a:gd name="connsiteY7" fmla="*/ 7518432 h 11339678"/>
              <a:gd name="connsiteX8" fmla="*/ 6694859 w 6694859"/>
              <a:gd name="connsiteY8" fmla="*/ 3617262 h 11339678"/>
              <a:gd name="connsiteX0" fmla="*/ 0 w 6694859"/>
              <a:gd name="connsiteY0" fmla="*/ 11339678 h 11339678"/>
              <a:gd name="connsiteX1" fmla="*/ 869190 w 6694859"/>
              <a:gd name="connsiteY1" fmla="*/ 11087360 h 11339678"/>
              <a:gd name="connsiteX2" fmla="*/ 1812813 w 6694859"/>
              <a:gd name="connsiteY2" fmla="*/ 10807466 h 11339678"/>
              <a:gd name="connsiteX3" fmla="*/ 2590003 w 6694859"/>
              <a:gd name="connsiteY3" fmla="*/ 11336941 h 11339678"/>
              <a:gd name="connsiteX4" fmla="*/ 3395502 w 6694859"/>
              <a:gd name="connsiteY4" fmla="*/ 6600655 h 11339678"/>
              <a:gd name="connsiteX5" fmla="*/ 4277541 w 6694859"/>
              <a:gd name="connsiteY5" fmla="*/ 4272695 h 11339678"/>
              <a:gd name="connsiteX6" fmla="*/ 5115685 w 6694859"/>
              <a:gd name="connsiteY6" fmla="*/ 54095 h 11339678"/>
              <a:gd name="connsiteX7" fmla="*/ 5971037 w 6694859"/>
              <a:gd name="connsiteY7" fmla="*/ 7518432 h 11339678"/>
              <a:gd name="connsiteX8" fmla="*/ 6694859 w 6694859"/>
              <a:gd name="connsiteY8" fmla="*/ 3617262 h 11339678"/>
              <a:gd name="connsiteX0" fmla="*/ 0 w 6694859"/>
              <a:gd name="connsiteY0" fmla="*/ 11351117 h 11351117"/>
              <a:gd name="connsiteX1" fmla="*/ 869190 w 6694859"/>
              <a:gd name="connsiteY1" fmla="*/ 11098799 h 11351117"/>
              <a:gd name="connsiteX2" fmla="*/ 1812813 w 6694859"/>
              <a:gd name="connsiteY2" fmla="*/ 10818905 h 11351117"/>
              <a:gd name="connsiteX3" fmla="*/ 2590003 w 6694859"/>
              <a:gd name="connsiteY3" fmla="*/ 11348380 h 11351117"/>
              <a:gd name="connsiteX4" fmla="*/ 3436295 w 6694859"/>
              <a:gd name="connsiteY4" fmla="*/ 11027724 h 11351117"/>
              <a:gd name="connsiteX5" fmla="*/ 4277541 w 6694859"/>
              <a:gd name="connsiteY5" fmla="*/ 4284134 h 11351117"/>
              <a:gd name="connsiteX6" fmla="*/ 5115685 w 6694859"/>
              <a:gd name="connsiteY6" fmla="*/ 65534 h 11351117"/>
              <a:gd name="connsiteX7" fmla="*/ 5971037 w 6694859"/>
              <a:gd name="connsiteY7" fmla="*/ 7529871 h 11351117"/>
              <a:gd name="connsiteX8" fmla="*/ 6694859 w 6694859"/>
              <a:gd name="connsiteY8" fmla="*/ 3628701 h 11351117"/>
              <a:gd name="connsiteX0" fmla="*/ 0 w 6694859"/>
              <a:gd name="connsiteY0" fmla="*/ 11302812 h 11302812"/>
              <a:gd name="connsiteX1" fmla="*/ 869190 w 6694859"/>
              <a:gd name="connsiteY1" fmla="*/ 11050494 h 11302812"/>
              <a:gd name="connsiteX2" fmla="*/ 1812813 w 6694859"/>
              <a:gd name="connsiteY2" fmla="*/ 10770600 h 11302812"/>
              <a:gd name="connsiteX3" fmla="*/ 2590003 w 6694859"/>
              <a:gd name="connsiteY3" fmla="*/ 11300075 h 11302812"/>
              <a:gd name="connsiteX4" fmla="*/ 3436295 w 6694859"/>
              <a:gd name="connsiteY4" fmla="*/ 10979419 h 11302812"/>
              <a:gd name="connsiteX5" fmla="*/ 4310176 w 6694859"/>
              <a:gd name="connsiteY5" fmla="*/ 10081281 h 11302812"/>
              <a:gd name="connsiteX6" fmla="*/ 5115685 w 6694859"/>
              <a:gd name="connsiteY6" fmla="*/ 17229 h 11302812"/>
              <a:gd name="connsiteX7" fmla="*/ 5971037 w 6694859"/>
              <a:gd name="connsiteY7" fmla="*/ 7481566 h 11302812"/>
              <a:gd name="connsiteX8" fmla="*/ 6694859 w 6694859"/>
              <a:gd name="connsiteY8" fmla="*/ 3580396 h 11302812"/>
              <a:gd name="connsiteX0" fmla="*/ 0 w 6694859"/>
              <a:gd name="connsiteY0" fmla="*/ 11302812 h 11302812"/>
              <a:gd name="connsiteX1" fmla="*/ 869190 w 6694859"/>
              <a:gd name="connsiteY1" fmla="*/ 11050494 h 11302812"/>
              <a:gd name="connsiteX2" fmla="*/ 1812813 w 6694859"/>
              <a:gd name="connsiteY2" fmla="*/ 10770600 h 11302812"/>
              <a:gd name="connsiteX3" fmla="*/ 2590003 w 6694859"/>
              <a:gd name="connsiteY3" fmla="*/ 11300075 h 11302812"/>
              <a:gd name="connsiteX4" fmla="*/ 3436295 w 6694859"/>
              <a:gd name="connsiteY4" fmla="*/ 10979419 h 11302812"/>
              <a:gd name="connsiteX5" fmla="*/ 4310176 w 6694859"/>
              <a:gd name="connsiteY5" fmla="*/ 10081281 h 11302812"/>
              <a:gd name="connsiteX6" fmla="*/ 5115685 w 6694859"/>
              <a:gd name="connsiteY6" fmla="*/ 17229 h 11302812"/>
              <a:gd name="connsiteX7" fmla="*/ 5971037 w 6694859"/>
              <a:gd name="connsiteY7" fmla="*/ 7481566 h 11302812"/>
              <a:gd name="connsiteX8" fmla="*/ 6694859 w 6694859"/>
              <a:gd name="connsiteY8" fmla="*/ 3580396 h 11302812"/>
              <a:gd name="connsiteX0" fmla="*/ 0 w 6694859"/>
              <a:gd name="connsiteY0" fmla="*/ 11312275 h 11312275"/>
              <a:gd name="connsiteX1" fmla="*/ 869190 w 6694859"/>
              <a:gd name="connsiteY1" fmla="*/ 11059957 h 11312275"/>
              <a:gd name="connsiteX2" fmla="*/ 1812813 w 6694859"/>
              <a:gd name="connsiteY2" fmla="*/ 10780063 h 11312275"/>
              <a:gd name="connsiteX3" fmla="*/ 2590003 w 6694859"/>
              <a:gd name="connsiteY3" fmla="*/ 11309538 h 11312275"/>
              <a:gd name="connsiteX4" fmla="*/ 3436295 w 6694859"/>
              <a:gd name="connsiteY4" fmla="*/ 10988882 h 11312275"/>
              <a:gd name="connsiteX5" fmla="*/ 4310176 w 6694859"/>
              <a:gd name="connsiteY5" fmla="*/ 10763602 h 11312275"/>
              <a:gd name="connsiteX6" fmla="*/ 5115685 w 6694859"/>
              <a:gd name="connsiteY6" fmla="*/ 26692 h 11312275"/>
              <a:gd name="connsiteX7" fmla="*/ 5971037 w 6694859"/>
              <a:gd name="connsiteY7" fmla="*/ 7491029 h 11312275"/>
              <a:gd name="connsiteX8" fmla="*/ 6694859 w 6694859"/>
              <a:gd name="connsiteY8" fmla="*/ 3589859 h 11312275"/>
              <a:gd name="connsiteX0" fmla="*/ 0 w 6694859"/>
              <a:gd name="connsiteY0" fmla="*/ 11312275 h 11312275"/>
              <a:gd name="connsiteX1" fmla="*/ 869190 w 6694859"/>
              <a:gd name="connsiteY1" fmla="*/ 11059957 h 11312275"/>
              <a:gd name="connsiteX2" fmla="*/ 1812813 w 6694859"/>
              <a:gd name="connsiteY2" fmla="*/ 10780063 h 11312275"/>
              <a:gd name="connsiteX3" fmla="*/ 2590003 w 6694859"/>
              <a:gd name="connsiteY3" fmla="*/ 11309538 h 11312275"/>
              <a:gd name="connsiteX4" fmla="*/ 3436295 w 6694859"/>
              <a:gd name="connsiteY4" fmla="*/ 10988882 h 11312275"/>
              <a:gd name="connsiteX5" fmla="*/ 4310176 w 6694859"/>
              <a:gd name="connsiteY5" fmla="*/ 10763602 h 11312275"/>
              <a:gd name="connsiteX6" fmla="*/ 5115685 w 6694859"/>
              <a:gd name="connsiteY6" fmla="*/ 26692 h 11312275"/>
              <a:gd name="connsiteX7" fmla="*/ 5971037 w 6694859"/>
              <a:gd name="connsiteY7" fmla="*/ 7491029 h 11312275"/>
              <a:gd name="connsiteX8" fmla="*/ 6694859 w 6694859"/>
              <a:gd name="connsiteY8" fmla="*/ 3589859 h 11312275"/>
              <a:gd name="connsiteX0" fmla="*/ 0 w 6694859"/>
              <a:gd name="connsiteY0" fmla="*/ 7722629 h 7722629"/>
              <a:gd name="connsiteX1" fmla="*/ 869190 w 6694859"/>
              <a:gd name="connsiteY1" fmla="*/ 7470311 h 7722629"/>
              <a:gd name="connsiteX2" fmla="*/ 1812813 w 6694859"/>
              <a:gd name="connsiteY2" fmla="*/ 7190417 h 7722629"/>
              <a:gd name="connsiteX3" fmla="*/ 2590003 w 6694859"/>
              <a:gd name="connsiteY3" fmla="*/ 7719892 h 7722629"/>
              <a:gd name="connsiteX4" fmla="*/ 3436295 w 6694859"/>
              <a:gd name="connsiteY4" fmla="*/ 7399236 h 7722629"/>
              <a:gd name="connsiteX5" fmla="*/ 4310176 w 6694859"/>
              <a:gd name="connsiteY5" fmla="*/ 7173956 h 7722629"/>
              <a:gd name="connsiteX6" fmla="*/ 5123844 w 6694859"/>
              <a:gd name="connsiteY6" fmla="*/ 7118665 h 7722629"/>
              <a:gd name="connsiteX7" fmla="*/ 5971037 w 6694859"/>
              <a:gd name="connsiteY7" fmla="*/ 3901383 h 7722629"/>
              <a:gd name="connsiteX8" fmla="*/ 6694859 w 6694859"/>
              <a:gd name="connsiteY8" fmla="*/ 213 h 7722629"/>
              <a:gd name="connsiteX0" fmla="*/ 0 w 6694859"/>
              <a:gd name="connsiteY0" fmla="*/ 7722533 h 7722533"/>
              <a:gd name="connsiteX1" fmla="*/ 869190 w 6694859"/>
              <a:gd name="connsiteY1" fmla="*/ 7470215 h 7722533"/>
              <a:gd name="connsiteX2" fmla="*/ 1812813 w 6694859"/>
              <a:gd name="connsiteY2" fmla="*/ 7190321 h 7722533"/>
              <a:gd name="connsiteX3" fmla="*/ 2590003 w 6694859"/>
              <a:gd name="connsiteY3" fmla="*/ 7719796 h 7722533"/>
              <a:gd name="connsiteX4" fmla="*/ 3436295 w 6694859"/>
              <a:gd name="connsiteY4" fmla="*/ 7399140 h 7722533"/>
              <a:gd name="connsiteX5" fmla="*/ 4310176 w 6694859"/>
              <a:gd name="connsiteY5" fmla="*/ 7173860 h 7722533"/>
              <a:gd name="connsiteX6" fmla="*/ 5123844 w 6694859"/>
              <a:gd name="connsiteY6" fmla="*/ 7118569 h 7722533"/>
              <a:gd name="connsiteX7" fmla="*/ 5971037 w 6694859"/>
              <a:gd name="connsiteY7" fmla="*/ 7265576 h 7722533"/>
              <a:gd name="connsiteX8" fmla="*/ 6694859 w 6694859"/>
              <a:gd name="connsiteY8" fmla="*/ 117 h 7722533"/>
              <a:gd name="connsiteX0" fmla="*/ 0 w 6866188"/>
              <a:gd name="connsiteY0" fmla="*/ 785715 h 785715"/>
              <a:gd name="connsiteX1" fmla="*/ 869190 w 6866188"/>
              <a:gd name="connsiteY1" fmla="*/ 533397 h 785715"/>
              <a:gd name="connsiteX2" fmla="*/ 1812813 w 6866188"/>
              <a:gd name="connsiteY2" fmla="*/ 253503 h 785715"/>
              <a:gd name="connsiteX3" fmla="*/ 2590003 w 6866188"/>
              <a:gd name="connsiteY3" fmla="*/ 782978 h 785715"/>
              <a:gd name="connsiteX4" fmla="*/ 3436295 w 6866188"/>
              <a:gd name="connsiteY4" fmla="*/ 462322 h 785715"/>
              <a:gd name="connsiteX5" fmla="*/ 4310176 w 6866188"/>
              <a:gd name="connsiteY5" fmla="*/ 237042 h 785715"/>
              <a:gd name="connsiteX6" fmla="*/ 5123844 w 6866188"/>
              <a:gd name="connsiteY6" fmla="*/ 181751 h 785715"/>
              <a:gd name="connsiteX7" fmla="*/ 5971037 w 6866188"/>
              <a:gd name="connsiteY7" fmla="*/ 328758 h 785715"/>
              <a:gd name="connsiteX8" fmla="*/ 6866188 w 6866188"/>
              <a:gd name="connsiteY8" fmla="*/ 2145 h 785715"/>
              <a:gd name="connsiteX0" fmla="*/ 0 w 6905917"/>
              <a:gd name="connsiteY0" fmla="*/ 7269274 h 7269275"/>
              <a:gd name="connsiteX1" fmla="*/ 908919 w 6905917"/>
              <a:gd name="connsiteY1" fmla="*/ 610175 h 7269275"/>
              <a:gd name="connsiteX2" fmla="*/ 1852542 w 6905917"/>
              <a:gd name="connsiteY2" fmla="*/ 330281 h 7269275"/>
              <a:gd name="connsiteX3" fmla="*/ 2629732 w 6905917"/>
              <a:gd name="connsiteY3" fmla="*/ 859756 h 7269275"/>
              <a:gd name="connsiteX4" fmla="*/ 3476024 w 6905917"/>
              <a:gd name="connsiteY4" fmla="*/ 539100 h 7269275"/>
              <a:gd name="connsiteX5" fmla="*/ 4349905 w 6905917"/>
              <a:gd name="connsiteY5" fmla="*/ 313820 h 7269275"/>
              <a:gd name="connsiteX6" fmla="*/ 5163573 w 6905917"/>
              <a:gd name="connsiteY6" fmla="*/ 258529 h 7269275"/>
              <a:gd name="connsiteX7" fmla="*/ 6010766 w 6905917"/>
              <a:gd name="connsiteY7" fmla="*/ 405536 h 7269275"/>
              <a:gd name="connsiteX8" fmla="*/ 6905917 w 6905917"/>
              <a:gd name="connsiteY8" fmla="*/ 78923 h 7269275"/>
              <a:gd name="connsiteX0" fmla="*/ 0 w 6911592"/>
              <a:gd name="connsiteY0" fmla="*/ 9151328 h 9151328"/>
              <a:gd name="connsiteX1" fmla="*/ 914594 w 6911592"/>
              <a:gd name="connsiteY1" fmla="*/ 736947 h 9151328"/>
              <a:gd name="connsiteX2" fmla="*/ 1858217 w 6911592"/>
              <a:gd name="connsiteY2" fmla="*/ 457053 h 9151328"/>
              <a:gd name="connsiteX3" fmla="*/ 2635407 w 6911592"/>
              <a:gd name="connsiteY3" fmla="*/ 986528 h 9151328"/>
              <a:gd name="connsiteX4" fmla="*/ 3481699 w 6911592"/>
              <a:gd name="connsiteY4" fmla="*/ 665872 h 9151328"/>
              <a:gd name="connsiteX5" fmla="*/ 4355580 w 6911592"/>
              <a:gd name="connsiteY5" fmla="*/ 440592 h 9151328"/>
              <a:gd name="connsiteX6" fmla="*/ 5169248 w 6911592"/>
              <a:gd name="connsiteY6" fmla="*/ 385301 h 9151328"/>
              <a:gd name="connsiteX7" fmla="*/ 6016441 w 6911592"/>
              <a:gd name="connsiteY7" fmla="*/ 532308 h 9151328"/>
              <a:gd name="connsiteX8" fmla="*/ 6911592 w 6911592"/>
              <a:gd name="connsiteY8" fmla="*/ 205695 h 9151328"/>
              <a:gd name="connsiteX0" fmla="*/ 0 w 6911592"/>
              <a:gd name="connsiteY0" fmla="*/ 8959909 h 8959909"/>
              <a:gd name="connsiteX1" fmla="*/ 914594 w 6911592"/>
              <a:gd name="connsiteY1" fmla="*/ 5752865 h 8959909"/>
              <a:gd name="connsiteX2" fmla="*/ 1858217 w 6911592"/>
              <a:gd name="connsiteY2" fmla="*/ 265634 h 8959909"/>
              <a:gd name="connsiteX3" fmla="*/ 2635407 w 6911592"/>
              <a:gd name="connsiteY3" fmla="*/ 795109 h 8959909"/>
              <a:gd name="connsiteX4" fmla="*/ 3481699 w 6911592"/>
              <a:gd name="connsiteY4" fmla="*/ 474453 h 8959909"/>
              <a:gd name="connsiteX5" fmla="*/ 4355580 w 6911592"/>
              <a:gd name="connsiteY5" fmla="*/ 249173 h 8959909"/>
              <a:gd name="connsiteX6" fmla="*/ 5169248 w 6911592"/>
              <a:gd name="connsiteY6" fmla="*/ 193882 h 8959909"/>
              <a:gd name="connsiteX7" fmla="*/ 6016441 w 6911592"/>
              <a:gd name="connsiteY7" fmla="*/ 340889 h 8959909"/>
              <a:gd name="connsiteX8" fmla="*/ 6911592 w 6911592"/>
              <a:gd name="connsiteY8" fmla="*/ 14276 h 8959909"/>
              <a:gd name="connsiteX0" fmla="*/ 0 w 6911592"/>
              <a:gd name="connsiteY0" fmla="*/ 8959909 h 8959909"/>
              <a:gd name="connsiteX1" fmla="*/ 914594 w 6911592"/>
              <a:gd name="connsiteY1" fmla="*/ 5752865 h 8959909"/>
              <a:gd name="connsiteX2" fmla="*/ 1858217 w 6911592"/>
              <a:gd name="connsiteY2" fmla="*/ 265634 h 8959909"/>
              <a:gd name="connsiteX3" fmla="*/ 2635407 w 6911592"/>
              <a:gd name="connsiteY3" fmla="*/ 795109 h 8959909"/>
              <a:gd name="connsiteX4" fmla="*/ 3481699 w 6911592"/>
              <a:gd name="connsiteY4" fmla="*/ 474453 h 8959909"/>
              <a:gd name="connsiteX5" fmla="*/ 4355580 w 6911592"/>
              <a:gd name="connsiteY5" fmla="*/ 249173 h 8959909"/>
              <a:gd name="connsiteX6" fmla="*/ 5169248 w 6911592"/>
              <a:gd name="connsiteY6" fmla="*/ 193882 h 8959909"/>
              <a:gd name="connsiteX7" fmla="*/ 6016441 w 6911592"/>
              <a:gd name="connsiteY7" fmla="*/ 340889 h 8959909"/>
              <a:gd name="connsiteX8" fmla="*/ 6911592 w 6911592"/>
              <a:gd name="connsiteY8" fmla="*/ 14276 h 8959909"/>
              <a:gd name="connsiteX0" fmla="*/ 0 w 6911592"/>
              <a:gd name="connsiteY0" fmla="*/ 8959909 h 8959909"/>
              <a:gd name="connsiteX1" fmla="*/ 852163 w 6911592"/>
              <a:gd name="connsiteY1" fmla="*/ 5752864 h 8959909"/>
              <a:gd name="connsiteX2" fmla="*/ 1858217 w 6911592"/>
              <a:gd name="connsiteY2" fmla="*/ 265634 h 8959909"/>
              <a:gd name="connsiteX3" fmla="*/ 2635407 w 6911592"/>
              <a:gd name="connsiteY3" fmla="*/ 795109 h 8959909"/>
              <a:gd name="connsiteX4" fmla="*/ 3481699 w 6911592"/>
              <a:gd name="connsiteY4" fmla="*/ 474453 h 8959909"/>
              <a:gd name="connsiteX5" fmla="*/ 4355580 w 6911592"/>
              <a:gd name="connsiteY5" fmla="*/ 249173 h 8959909"/>
              <a:gd name="connsiteX6" fmla="*/ 5169248 w 6911592"/>
              <a:gd name="connsiteY6" fmla="*/ 193882 h 8959909"/>
              <a:gd name="connsiteX7" fmla="*/ 6016441 w 6911592"/>
              <a:gd name="connsiteY7" fmla="*/ 340889 h 8959909"/>
              <a:gd name="connsiteX8" fmla="*/ 6911592 w 6911592"/>
              <a:gd name="connsiteY8" fmla="*/ 14276 h 8959909"/>
              <a:gd name="connsiteX0" fmla="*/ 0 w 6911592"/>
              <a:gd name="connsiteY0" fmla="*/ 8947775 h 9225914"/>
              <a:gd name="connsiteX1" fmla="*/ 852163 w 6911592"/>
              <a:gd name="connsiteY1" fmla="*/ 5740730 h 9225914"/>
              <a:gd name="connsiteX2" fmla="*/ 1704979 w 6911592"/>
              <a:gd name="connsiteY2" fmla="*/ 9117675 h 9225914"/>
              <a:gd name="connsiteX3" fmla="*/ 2635407 w 6911592"/>
              <a:gd name="connsiteY3" fmla="*/ 782975 h 9225914"/>
              <a:gd name="connsiteX4" fmla="*/ 3481699 w 6911592"/>
              <a:gd name="connsiteY4" fmla="*/ 462319 h 9225914"/>
              <a:gd name="connsiteX5" fmla="*/ 4355580 w 6911592"/>
              <a:gd name="connsiteY5" fmla="*/ 237039 h 9225914"/>
              <a:gd name="connsiteX6" fmla="*/ 5169248 w 6911592"/>
              <a:gd name="connsiteY6" fmla="*/ 181748 h 9225914"/>
              <a:gd name="connsiteX7" fmla="*/ 6016441 w 6911592"/>
              <a:gd name="connsiteY7" fmla="*/ 328755 h 9225914"/>
              <a:gd name="connsiteX8" fmla="*/ 6911592 w 6911592"/>
              <a:gd name="connsiteY8" fmla="*/ 2142 h 9225914"/>
              <a:gd name="connsiteX0" fmla="*/ 0 w 6911592"/>
              <a:gd name="connsiteY0" fmla="*/ 8947775 h 9117910"/>
              <a:gd name="connsiteX1" fmla="*/ 852163 w 6911592"/>
              <a:gd name="connsiteY1" fmla="*/ 5740730 h 9117910"/>
              <a:gd name="connsiteX2" fmla="*/ 1704979 w 6911592"/>
              <a:gd name="connsiteY2" fmla="*/ 9117675 h 9117910"/>
              <a:gd name="connsiteX3" fmla="*/ 2635407 w 6911592"/>
              <a:gd name="connsiteY3" fmla="*/ 782975 h 9117910"/>
              <a:gd name="connsiteX4" fmla="*/ 3481699 w 6911592"/>
              <a:gd name="connsiteY4" fmla="*/ 462319 h 9117910"/>
              <a:gd name="connsiteX5" fmla="*/ 4355580 w 6911592"/>
              <a:gd name="connsiteY5" fmla="*/ 237039 h 9117910"/>
              <a:gd name="connsiteX6" fmla="*/ 5169248 w 6911592"/>
              <a:gd name="connsiteY6" fmla="*/ 181748 h 9117910"/>
              <a:gd name="connsiteX7" fmla="*/ 6016441 w 6911592"/>
              <a:gd name="connsiteY7" fmla="*/ 328755 h 9117910"/>
              <a:gd name="connsiteX8" fmla="*/ 6911592 w 6911592"/>
              <a:gd name="connsiteY8" fmla="*/ 2142 h 9117910"/>
              <a:gd name="connsiteX0" fmla="*/ 0 w 6911592"/>
              <a:gd name="connsiteY0" fmla="*/ 8947775 h 9139470"/>
              <a:gd name="connsiteX1" fmla="*/ 852163 w 6911592"/>
              <a:gd name="connsiteY1" fmla="*/ 5740730 h 9139470"/>
              <a:gd name="connsiteX2" fmla="*/ 1704979 w 6911592"/>
              <a:gd name="connsiteY2" fmla="*/ 9117675 h 9139470"/>
              <a:gd name="connsiteX3" fmla="*/ 2567301 w 6911592"/>
              <a:gd name="connsiteY3" fmla="*/ 7277521 h 9139470"/>
              <a:gd name="connsiteX4" fmla="*/ 3481699 w 6911592"/>
              <a:gd name="connsiteY4" fmla="*/ 462319 h 9139470"/>
              <a:gd name="connsiteX5" fmla="*/ 4355580 w 6911592"/>
              <a:gd name="connsiteY5" fmla="*/ 237039 h 9139470"/>
              <a:gd name="connsiteX6" fmla="*/ 5169248 w 6911592"/>
              <a:gd name="connsiteY6" fmla="*/ 181748 h 9139470"/>
              <a:gd name="connsiteX7" fmla="*/ 6016441 w 6911592"/>
              <a:gd name="connsiteY7" fmla="*/ 328755 h 9139470"/>
              <a:gd name="connsiteX8" fmla="*/ 6911592 w 6911592"/>
              <a:gd name="connsiteY8" fmla="*/ 2142 h 9139470"/>
              <a:gd name="connsiteX0" fmla="*/ 0 w 6911592"/>
              <a:gd name="connsiteY0" fmla="*/ 8947775 h 9139470"/>
              <a:gd name="connsiteX1" fmla="*/ 852163 w 6911592"/>
              <a:gd name="connsiteY1" fmla="*/ 5740730 h 9139470"/>
              <a:gd name="connsiteX2" fmla="*/ 1704979 w 6911592"/>
              <a:gd name="connsiteY2" fmla="*/ 9117675 h 9139470"/>
              <a:gd name="connsiteX3" fmla="*/ 2567301 w 6911592"/>
              <a:gd name="connsiteY3" fmla="*/ 7277521 h 9139470"/>
              <a:gd name="connsiteX4" fmla="*/ 3481699 w 6911592"/>
              <a:gd name="connsiteY4" fmla="*/ 462319 h 9139470"/>
              <a:gd name="connsiteX5" fmla="*/ 4355580 w 6911592"/>
              <a:gd name="connsiteY5" fmla="*/ 237039 h 9139470"/>
              <a:gd name="connsiteX6" fmla="*/ 5169248 w 6911592"/>
              <a:gd name="connsiteY6" fmla="*/ 181748 h 9139470"/>
              <a:gd name="connsiteX7" fmla="*/ 6016441 w 6911592"/>
              <a:gd name="connsiteY7" fmla="*/ 328755 h 9139470"/>
              <a:gd name="connsiteX8" fmla="*/ 6911592 w 6911592"/>
              <a:gd name="connsiteY8" fmla="*/ 2142 h 9139470"/>
              <a:gd name="connsiteX0" fmla="*/ 0 w 6911592"/>
              <a:gd name="connsiteY0" fmla="*/ 8947775 h 9148341"/>
              <a:gd name="connsiteX1" fmla="*/ 852163 w 6911592"/>
              <a:gd name="connsiteY1" fmla="*/ 5740730 h 9148341"/>
              <a:gd name="connsiteX2" fmla="*/ 1704979 w 6911592"/>
              <a:gd name="connsiteY2" fmla="*/ 9117675 h 9148341"/>
              <a:gd name="connsiteX3" fmla="*/ 2567301 w 6911592"/>
              <a:gd name="connsiteY3" fmla="*/ 7277521 h 9148341"/>
              <a:gd name="connsiteX4" fmla="*/ 3481699 w 6911592"/>
              <a:gd name="connsiteY4" fmla="*/ 462319 h 9148341"/>
              <a:gd name="connsiteX5" fmla="*/ 4355580 w 6911592"/>
              <a:gd name="connsiteY5" fmla="*/ 237039 h 9148341"/>
              <a:gd name="connsiteX6" fmla="*/ 5169248 w 6911592"/>
              <a:gd name="connsiteY6" fmla="*/ 181748 h 9148341"/>
              <a:gd name="connsiteX7" fmla="*/ 6016441 w 6911592"/>
              <a:gd name="connsiteY7" fmla="*/ 328755 h 9148341"/>
              <a:gd name="connsiteX8" fmla="*/ 6911592 w 6911592"/>
              <a:gd name="connsiteY8" fmla="*/ 2142 h 9148341"/>
              <a:gd name="connsiteX0" fmla="*/ 0 w 6911592"/>
              <a:gd name="connsiteY0" fmla="*/ 8947775 h 9148337"/>
              <a:gd name="connsiteX1" fmla="*/ 852163 w 6911592"/>
              <a:gd name="connsiteY1" fmla="*/ 5740730 h 9148337"/>
              <a:gd name="connsiteX2" fmla="*/ 1704979 w 6911592"/>
              <a:gd name="connsiteY2" fmla="*/ 9117675 h 9148337"/>
              <a:gd name="connsiteX3" fmla="*/ 2567301 w 6911592"/>
              <a:gd name="connsiteY3" fmla="*/ 7277521 h 9148337"/>
              <a:gd name="connsiteX4" fmla="*/ 3481699 w 6911592"/>
              <a:gd name="connsiteY4" fmla="*/ 462319 h 9148337"/>
              <a:gd name="connsiteX5" fmla="*/ 4355580 w 6911592"/>
              <a:gd name="connsiteY5" fmla="*/ 237039 h 9148337"/>
              <a:gd name="connsiteX6" fmla="*/ 5169248 w 6911592"/>
              <a:gd name="connsiteY6" fmla="*/ 181748 h 9148337"/>
              <a:gd name="connsiteX7" fmla="*/ 6016441 w 6911592"/>
              <a:gd name="connsiteY7" fmla="*/ 328755 h 9148337"/>
              <a:gd name="connsiteX8" fmla="*/ 6911592 w 6911592"/>
              <a:gd name="connsiteY8" fmla="*/ 2142 h 9148337"/>
              <a:gd name="connsiteX0" fmla="*/ 0 w 6911592"/>
              <a:gd name="connsiteY0" fmla="*/ 8947775 h 9117718"/>
              <a:gd name="connsiteX1" fmla="*/ 852163 w 6911592"/>
              <a:gd name="connsiteY1" fmla="*/ 5740730 h 9117718"/>
              <a:gd name="connsiteX2" fmla="*/ 1704979 w 6911592"/>
              <a:gd name="connsiteY2" fmla="*/ 9117675 h 9117718"/>
              <a:gd name="connsiteX3" fmla="*/ 2550275 w 6911592"/>
              <a:gd name="connsiteY3" fmla="*/ 5814786 h 9117718"/>
              <a:gd name="connsiteX4" fmla="*/ 3481699 w 6911592"/>
              <a:gd name="connsiteY4" fmla="*/ 462319 h 9117718"/>
              <a:gd name="connsiteX5" fmla="*/ 4355580 w 6911592"/>
              <a:gd name="connsiteY5" fmla="*/ 237039 h 9117718"/>
              <a:gd name="connsiteX6" fmla="*/ 5169248 w 6911592"/>
              <a:gd name="connsiteY6" fmla="*/ 181748 h 9117718"/>
              <a:gd name="connsiteX7" fmla="*/ 6016441 w 6911592"/>
              <a:gd name="connsiteY7" fmla="*/ 328755 h 9117718"/>
              <a:gd name="connsiteX8" fmla="*/ 6911592 w 6911592"/>
              <a:gd name="connsiteY8" fmla="*/ 2142 h 9117718"/>
              <a:gd name="connsiteX0" fmla="*/ 0 w 6911592"/>
              <a:gd name="connsiteY0" fmla="*/ 8947775 h 9117733"/>
              <a:gd name="connsiteX1" fmla="*/ 852163 w 6911592"/>
              <a:gd name="connsiteY1" fmla="*/ 5740730 h 9117733"/>
              <a:gd name="connsiteX2" fmla="*/ 1704979 w 6911592"/>
              <a:gd name="connsiteY2" fmla="*/ 9117675 h 9117733"/>
              <a:gd name="connsiteX3" fmla="*/ 2550275 w 6911592"/>
              <a:gd name="connsiteY3" fmla="*/ 5814786 h 9117733"/>
              <a:gd name="connsiteX4" fmla="*/ 3481699 w 6911592"/>
              <a:gd name="connsiteY4" fmla="*/ 462319 h 9117733"/>
              <a:gd name="connsiteX5" fmla="*/ 4355580 w 6911592"/>
              <a:gd name="connsiteY5" fmla="*/ 237039 h 9117733"/>
              <a:gd name="connsiteX6" fmla="*/ 5169248 w 6911592"/>
              <a:gd name="connsiteY6" fmla="*/ 181748 h 9117733"/>
              <a:gd name="connsiteX7" fmla="*/ 6016441 w 6911592"/>
              <a:gd name="connsiteY7" fmla="*/ 328755 h 9117733"/>
              <a:gd name="connsiteX8" fmla="*/ 6911592 w 6911592"/>
              <a:gd name="connsiteY8" fmla="*/ 2142 h 9117733"/>
              <a:gd name="connsiteX0" fmla="*/ 0 w 6911592"/>
              <a:gd name="connsiteY0" fmla="*/ 8947775 h 9117733"/>
              <a:gd name="connsiteX1" fmla="*/ 852163 w 6911592"/>
              <a:gd name="connsiteY1" fmla="*/ 5740730 h 9117733"/>
              <a:gd name="connsiteX2" fmla="*/ 1704979 w 6911592"/>
              <a:gd name="connsiteY2" fmla="*/ 9117675 h 9117733"/>
              <a:gd name="connsiteX3" fmla="*/ 2550275 w 6911592"/>
              <a:gd name="connsiteY3" fmla="*/ 5814786 h 9117733"/>
              <a:gd name="connsiteX4" fmla="*/ 3481699 w 6911592"/>
              <a:gd name="connsiteY4" fmla="*/ 462319 h 9117733"/>
              <a:gd name="connsiteX5" fmla="*/ 4355580 w 6911592"/>
              <a:gd name="connsiteY5" fmla="*/ 237039 h 9117733"/>
              <a:gd name="connsiteX6" fmla="*/ 5169248 w 6911592"/>
              <a:gd name="connsiteY6" fmla="*/ 181748 h 9117733"/>
              <a:gd name="connsiteX7" fmla="*/ 6016441 w 6911592"/>
              <a:gd name="connsiteY7" fmla="*/ 328755 h 9117733"/>
              <a:gd name="connsiteX8" fmla="*/ 6911592 w 6911592"/>
              <a:gd name="connsiteY8" fmla="*/ 2142 h 9117733"/>
              <a:gd name="connsiteX0" fmla="*/ 0 w 6911592"/>
              <a:gd name="connsiteY0" fmla="*/ 9038461 h 9208419"/>
              <a:gd name="connsiteX1" fmla="*/ 852163 w 6911592"/>
              <a:gd name="connsiteY1" fmla="*/ 5831416 h 9208419"/>
              <a:gd name="connsiteX2" fmla="*/ 1704979 w 6911592"/>
              <a:gd name="connsiteY2" fmla="*/ 9208361 h 9208419"/>
              <a:gd name="connsiteX3" fmla="*/ 2550275 w 6911592"/>
              <a:gd name="connsiteY3" fmla="*/ 5905472 h 9208419"/>
              <a:gd name="connsiteX4" fmla="*/ 3396566 w 6911592"/>
              <a:gd name="connsiteY4" fmla="*/ 4443882 h 9208419"/>
              <a:gd name="connsiteX5" fmla="*/ 4355580 w 6911592"/>
              <a:gd name="connsiteY5" fmla="*/ 327725 h 9208419"/>
              <a:gd name="connsiteX6" fmla="*/ 5169248 w 6911592"/>
              <a:gd name="connsiteY6" fmla="*/ 272434 h 9208419"/>
              <a:gd name="connsiteX7" fmla="*/ 6016441 w 6911592"/>
              <a:gd name="connsiteY7" fmla="*/ 419441 h 9208419"/>
              <a:gd name="connsiteX8" fmla="*/ 6911592 w 6911592"/>
              <a:gd name="connsiteY8" fmla="*/ 92828 h 9208419"/>
              <a:gd name="connsiteX0" fmla="*/ 0 w 6911592"/>
              <a:gd name="connsiteY0" fmla="*/ 9038461 h 9208419"/>
              <a:gd name="connsiteX1" fmla="*/ 852163 w 6911592"/>
              <a:gd name="connsiteY1" fmla="*/ 5831416 h 9208419"/>
              <a:gd name="connsiteX2" fmla="*/ 1704979 w 6911592"/>
              <a:gd name="connsiteY2" fmla="*/ 9208361 h 9208419"/>
              <a:gd name="connsiteX3" fmla="*/ 2550275 w 6911592"/>
              <a:gd name="connsiteY3" fmla="*/ 5905472 h 9208419"/>
              <a:gd name="connsiteX4" fmla="*/ 3396566 w 6911592"/>
              <a:gd name="connsiteY4" fmla="*/ 4443882 h 9208419"/>
              <a:gd name="connsiteX5" fmla="*/ 4355580 w 6911592"/>
              <a:gd name="connsiteY5" fmla="*/ 327725 h 9208419"/>
              <a:gd name="connsiteX6" fmla="*/ 5169248 w 6911592"/>
              <a:gd name="connsiteY6" fmla="*/ 272434 h 9208419"/>
              <a:gd name="connsiteX7" fmla="*/ 6016441 w 6911592"/>
              <a:gd name="connsiteY7" fmla="*/ 419441 h 9208419"/>
              <a:gd name="connsiteX8" fmla="*/ 6911592 w 6911592"/>
              <a:gd name="connsiteY8" fmla="*/ 92828 h 9208419"/>
              <a:gd name="connsiteX0" fmla="*/ 0 w 6911592"/>
              <a:gd name="connsiteY0" fmla="*/ 9038461 h 9208419"/>
              <a:gd name="connsiteX1" fmla="*/ 852163 w 6911592"/>
              <a:gd name="connsiteY1" fmla="*/ 5831416 h 9208419"/>
              <a:gd name="connsiteX2" fmla="*/ 1704979 w 6911592"/>
              <a:gd name="connsiteY2" fmla="*/ 9208361 h 9208419"/>
              <a:gd name="connsiteX3" fmla="*/ 2550275 w 6911592"/>
              <a:gd name="connsiteY3" fmla="*/ 5905472 h 9208419"/>
              <a:gd name="connsiteX4" fmla="*/ 3396566 w 6911592"/>
              <a:gd name="connsiteY4" fmla="*/ 4443882 h 9208419"/>
              <a:gd name="connsiteX5" fmla="*/ 4355580 w 6911592"/>
              <a:gd name="connsiteY5" fmla="*/ 327725 h 9208419"/>
              <a:gd name="connsiteX6" fmla="*/ 5169248 w 6911592"/>
              <a:gd name="connsiteY6" fmla="*/ 272434 h 9208419"/>
              <a:gd name="connsiteX7" fmla="*/ 6016441 w 6911592"/>
              <a:gd name="connsiteY7" fmla="*/ 419441 h 9208419"/>
              <a:gd name="connsiteX8" fmla="*/ 6911592 w 6911592"/>
              <a:gd name="connsiteY8" fmla="*/ 92828 h 9208419"/>
              <a:gd name="connsiteX0" fmla="*/ 0 w 6911592"/>
              <a:gd name="connsiteY0" fmla="*/ 9038461 h 9208419"/>
              <a:gd name="connsiteX1" fmla="*/ 852163 w 6911592"/>
              <a:gd name="connsiteY1" fmla="*/ 5831416 h 9208419"/>
              <a:gd name="connsiteX2" fmla="*/ 1704979 w 6911592"/>
              <a:gd name="connsiteY2" fmla="*/ 9208361 h 9208419"/>
              <a:gd name="connsiteX3" fmla="*/ 2550275 w 6911592"/>
              <a:gd name="connsiteY3" fmla="*/ 5905472 h 9208419"/>
              <a:gd name="connsiteX4" fmla="*/ 3396566 w 6911592"/>
              <a:gd name="connsiteY4" fmla="*/ 4443882 h 9208419"/>
              <a:gd name="connsiteX5" fmla="*/ 4355580 w 6911592"/>
              <a:gd name="connsiteY5" fmla="*/ 327725 h 9208419"/>
              <a:gd name="connsiteX6" fmla="*/ 5169248 w 6911592"/>
              <a:gd name="connsiteY6" fmla="*/ 272434 h 9208419"/>
              <a:gd name="connsiteX7" fmla="*/ 6016441 w 6911592"/>
              <a:gd name="connsiteY7" fmla="*/ 419441 h 9208419"/>
              <a:gd name="connsiteX8" fmla="*/ 6911592 w 6911592"/>
              <a:gd name="connsiteY8" fmla="*/ 92828 h 9208419"/>
              <a:gd name="connsiteX0" fmla="*/ 0 w 6911592"/>
              <a:gd name="connsiteY0" fmla="*/ 9016871 h 9186829"/>
              <a:gd name="connsiteX1" fmla="*/ 852163 w 6911592"/>
              <a:gd name="connsiteY1" fmla="*/ 5809826 h 9186829"/>
              <a:gd name="connsiteX2" fmla="*/ 1704979 w 6911592"/>
              <a:gd name="connsiteY2" fmla="*/ 9186771 h 9186829"/>
              <a:gd name="connsiteX3" fmla="*/ 2550275 w 6911592"/>
              <a:gd name="connsiteY3" fmla="*/ 5883882 h 9186829"/>
              <a:gd name="connsiteX4" fmla="*/ 3396566 w 6911592"/>
              <a:gd name="connsiteY4" fmla="*/ 4129744 h 9186829"/>
              <a:gd name="connsiteX5" fmla="*/ 4355580 w 6911592"/>
              <a:gd name="connsiteY5" fmla="*/ 306135 h 9186829"/>
              <a:gd name="connsiteX6" fmla="*/ 5169248 w 6911592"/>
              <a:gd name="connsiteY6" fmla="*/ 250844 h 9186829"/>
              <a:gd name="connsiteX7" fmla="*/ 6016441 w 6911592"/>
              <a:gd name="connsiteY7" fmla="*/ 397851 h 9186829"/>
              <a:gd name="connsiteX8" fmla="*/ 6911592 w 6911592"/>
              <a:gd name="connsiteY8" fmla="*/ 71238 h 9186829"/>
              <a:gd name="connsiteX0" fmla="*/ 0 w 6911592"/>
              <a:gd name="connsiteY0" fmla="*/ 9025502 h 9195460"/>
              <a:gd name="connsiteX1" fmla="*/ 852163 w 6911592"/>
              <a:gd name="connsiteY1" fmla="*/ 5818457 h 9195460"/>
              <a:gd name="connsiteX2" fmla="*/ 1704979 w 6911592"/>
              <a:gd name="connsiteY2" fmla="*/ 9195402 h 9195460"/>
              <a:gd name="connsiteX3" fmla="*/ 2550275 w 6911592"/>
              <a:gd name="connsiteY3" fmla="*/ 5892513 h 9195460"/>
              <a:gd name="connsiteX4" fmla="*/ 3396566 w 6911592"/>
              <a:gd name="connsiteY4" fmla="*/ 4255394 h 9195460"/>
              <a:gd name="connsiteX5" fmla="*/ 4355580 w 6911592"/>
              <a:gd name="connsiteY5" fmla="*/ 314766 h 9195460"/>
              <a:gd name="connsiteX6" fmla="*/ 5169248 w 6911592"/>
              <a:gd name="connsiteY6" fmla="*/ 259475 h 9195460"/>
              <a:gd name="connsiteX7" fmla="*/ 6016441 w 6911592"/>
              <a:gd name="connsiteY7" fmla="*/ 406482 h 9195460"/>
              <a:gd name="connsiteX8" fmla="*/ 6911592 w 6911592"/>
              <a:gd name="connsiteY8" fmla="*/ 79869 h 9195460"/>
              <a:gd name="connsiteX0" fmla="*/ 0 w 6911592"/>
              <a:gd name="connsiteY0" fmla="*/ 9367321 h 9537279"/>
              <a:gd name="connsiteX1" fmla="*/ 852163 w 6911592"/>
              <a:gd name="connsiteY1" fmla="*/ 6160276 h 9537279"/>
              <a:gd name="connsiteX2" fmla="*/ 1704979 w 6911592"/>
              <a:gd name="connsiteY2" fmla="*/ 9537221 h 9537279"/>
              <a:gd name="connsiteX3" fmla="*/ 2550275 w 6911592"/>
              <a:gd name="connsiteY3" fmla="*/ 6234332 h 9537279"/>
              <a:gd name="connsiteX4" fmla="*/ 3385215 w 6911592"/>
              <a:gd name="connsiteY4" fmla="*/ 9219456 h 9537279"/>
              <a:gd name="connsiteX5" fmla="*/ 4355580 w 6911592"/>
              <a:gd name="connsiteY5" fmla="*/ 656585 h 9537279"/>
              <a:gd name="connsiteX6" fmla="*/ 5169248 w 6911592"/>
              <a:gd name="connsiteY6" fmla="*/ 601294 h 9537279"/>
              <a:gd name="connsiteX7" fmla="*/ 6016441 w 6911592"/>
              <a:gd name="connsiteY7" fmla="*/ 748301 h 9537279"/>
              <a:gd name="connsiteX8" fmla="*/ 6911592 w 6911592"/>
              <a:gd name="connsiteY8" fmla="*/ 421688 h 9537279"/>
              <a:gd name="connsiteX0" fmla="*/ 0 w 6911592"/>
              <a:gd name="connsiteY0" fmla="*/ 9367321 h 9537279"/>
              <a:gd name="connsiteX1" fmla="*/ 852163 w 6911592"/>
              <a:gd name="connsiteY1" fmla="*/ 6160276 h 9537279"/>
              <a:gd name="connsiteX2" fmla="*/ 1704979 w 6911592"/>
              <a:gd name="connsiteY2" fmla="*/ 9537221 h 9537279"/>
              <a:gd name="connsiteX3" fmla="*/ 2550275 w 6911592"/>
              <a:gd name="connsiteY3" fmla="*/ 6234332 h 9537279"/>
              <a:gd name="connsiteX4" fmla="*/ 3385215 w 6911592"/>
              <a:gd name="connsiteY4" fmla="*/ 9219456 h 9537279"/>
              <a:gd name="connsiteX5" fmla="*/ 4355580 w 6911592"/>
              <a:gd name="connsiteY5" fmla="*/ 656585 h 9537279"/>
              <a:gd name="connsiteX6" fmla="*/ 5169248 w 6911592"/>
              <a:gd name="connsiteY6" fmla="*/ 601294 h 9537279"/>
              <a:gd name="connsiteX7" fmla="*/ 6016441 w 6911592"/>
              <a:gd name="connsiteY7" fmla="*/ 748301 h 9537279"/>
              <a:gd name="connsiteX8" fmla="*/ 6911592 w 6911592"/>
              <a:gd name="connsiteY8" fmla="*/ 421688 h 9537279"/>
              <a:gd name="connsiteX0" fmla="*/ 0 w 6911592"/>
              <a:gd name="connsiteY0" fmla="*/ 9367321 h 9537279"/>
              <a:gd name="connsiteX1" fmla="*/ 852163 w 6911592"/>
              <a:gd name="connsiteY1" fmla="*/ 6160276 h 9537279"/>
              <a:gd name="connsiteX2" fmla="*/ 1704979 w 6911592"/>
              <a:gd name="connsiteY2" fmla="*/ 9537221 h 9537279"/>
              <a:gd name="connsiteX3" fmla="*/ 2550275 w 6911592"/>
              <a:gd name="connsiteY3" fmla="*/ 6234332 h 9537279"/>
              <a:gd name="connsiteX4" fmla="*/ 3385215 w 6911592"/>
              <a:gd name="connsiteY4" fmla="*/ 9219456 h 9537279"/>
              <a:gd name="connsiteX5" fmla="*/ 4355580 w 6911592"/>
              <a:gd name="connsiteY5" fmla="*/ 656585 h 9537279"/>
              <a:gd name="connsiteX6" fmla="*/ 5169248 w 6911592"/>
              <a:gd name="connsiteY6" fmla="*/ 601294 h 9537279"/>
              <a:gd name="connsiteX7" fmla="*/ 6016441 w 6911592"/>
              <a:gd name="connsiteY7" fmla="*/ 748301 h 9537279"/>
              <a:gd name="connsiteX8" fmla="*/ 6911592 w 6911592"/>
              <a:gd name="connsiteY8" fmla="*/ 421688 h 9537279"/>
              <a:gd name="connsiteX0" fmla="*/ 0 w 6911592"/>
              <a:gd name="connsiteY0" fmla="*/ 9367321 h 9537279"/>
              <a:gd name="connsiteX1" fmla="*/ 852163 w 6911592"/>
              <a:gd name="connsiteY1" fmla="*/ 6160276 h 9537279"/>
              <a:gd name="connsiteX2" fmla="*/ 1704979 w 6911592"/>
              <a:gd name="connsiteY2" fmla="*/ 9537221 h 9537279"/>
              <a:gd name="connsiteX3" fmla="*/ 2550275 w 6911592"/>
              <a:gd name="connsiteY3" fmla="*/ 6234332 h 9537279"/>
              <a:gd name="connsiteX4" fmla="*/ 3385215 w 6911592"/>
              <a:gd name="connsiteY4" fmla="*/ 9219456 h 9537279"/>
              <a:gd name="connsiteX5" fmla="*/ 4355580 w 6911592"/>
              <a:gd name="connsiteY5" fmla="*/ 656585 h 9537279"/>
              <a:gd name="connsiteX6" fmla="*/ 5169248 w 6911592"/>
              <a:gd name="connsiteY6" fmla="*/ 601294 h 9537279"/>
              <a:gd name="connsiteX7" fmla="*/ 6016441 w 6911592"/>
              <a:gd name="connsiteY7" fmla="*/ 748301 h 9537279"/>
              <a:gd name="connsiteX8" fmla="*/ 6911592 w 6911592"/>
              <a:gd name="connsiteY8" fmla="*/ 421688 h 9537279"/>
              <a:gd name="connsiteX0" fmla="*/ 0 w 6911592"/>
              <a:gd name="connsiteY0" fmla="*/ 8950423 h 9120381"/>
              <a:gd name="connsiteX1" fmla="*/ 852163 w 6911592"/>
              <a:gd name="connsiteY1" fmla="*/ 5743378 h 9120381"/>
              <a:gd name="connsiteX2" fmla="*/ 1704979 w 6911592"/>
              <a:gd name="connsiteY2" fmla="*/ 9120323 h 9120381"/>
              <a:gd name="connsiteX3" fmla="*/ 2550275 w 6911592"/>
              <a:gd name="connsiteY3" fmla="*/ 5817434 h 9120381"/>
              <a:gd name="connsiteX4" fmla="*/ 3385215 w 6911592"/>
              <a:gd name="connsiteY4" fmla="*/ 8802558 h 9120381"/>
              <a:gd name="connsiteX5" fmla="*/ 4179639 w 6911592"/>
              <a:gd name="connsiteY5" fmla="*/ 3223667 h 9120381"/>
              <a:gd name="connsiteX6" fmla="*/ 5169248 w 6911592"/>
              <a:gd name="connsiteY6" fmla="*/ 184396 h 9120381"/>
              <a:gd name="connsiteX7" fmla="*/ 6016441 w 6911592"/>
              <a:gd name="connsiteY7" fmla="*/ 331403 h 9120381"/>
              <a:gd name="connsiteX8" fmla="*/ 6911592 w 6911592"/>
              <a:gd name="connsiteY8" fmla="*/ 4790 h 9120381"/>
              <a:gd name="connsiteX0" fmla="*/ 0 w 6911592"/>
              <a:gd name="connsiteY0" fmla="*/ 8947778 h 9117736"/>
              <a:gd name="connsiteX1" fmla="*/ 852163 w 6911592"/>
              <a:gd name="connsiteY1" fmla="*/ 5740733 h 9117736"/>
              <a:gd name="connsiteX2" fmla="*/ 1704979 w 6911592"/>
              <a:gd name="connsiteY2" fmla="*/ 9117678 h 9117736"/>
              <a:gd name="connsiteX3" fmla="*/ 2550275 w 6911592"/>
              <a:gd name="connsiteY3" fmla="*/ 5814789 h 9117736"/>
              <a:gd name="connsiteX4" fmla="*/ 3385215 w 6911592"/>
              <a:gd name="connsiteY4" fmla="*/ 8799913 h 9117736"/>
              <a:gd name="connsiteX5" fmla="*/ 4185315 w 6911592"/>
              <a:gd name="connsiteY5" fmla="*/ 2957728 h 9117736"/>
              <a:gd name="connsiteX6" fmla="*/ 5169248 w 6911592"/>
              <a:gd name="connsiteY6" fmla="*/ 181751 h 9117736"/>
              <a:gd name="connsiteX7" fmla="*/ 6016441 w 6911592"/>
              <a:gd name="connsiteY7" fmla="*/ 328758 h 9117736"/>
              <a:gd name="connsiteX8" fmla="*/ 6911592 w 6911592"/>
              <a:gd name="connsiteY8" fmla="*/ 2145 h 9117736"/>
              <a:gd name="connsiteX0" fmla="*/ 0 w 6911592"/>
              <a:gd name="connsiteY0" fmla="*/ 8947774 h 9117732"/>
              <a:gd name="connsiteX1" fmla="*/ 852163 w 6911592"/>
              <a:gd name="connsiteY1" fmla="*/ 5740729 h 9117732"/>
              <a:gd name="connsiteX2" fmla="*/ 1704979 w 6911592"/>
              <a:gd name="connsiteY2" fmla="*/ 9117674 h 9117732"/>
              <a:gd name="connsiteX3" fmla="*/ 2550275 w 6911592"/>
              <a:gd name="connsiteY3" fmla="*/ 5814785 h 9117732"/>
              <a:gd name="connsiteX4" fmla="*/ 3385215 w 6911592"/>
              <a:gd name="connsiteY4" fmla="*/ 8799909 h 9117732"/>
              <a:gd name="connsiteX5" fmla="*/ 4185315 w 6911592"/>
              <a:gd name="connsiteY5" fmla="*/ 2957724 h 9117732"/>
              <a:gd name="connsiteX6" fmla="*/ 5027361 w 6911592"/>
              <a:gd name="connsiteY6" fmla="*/ 5125793 h 9117732"/>
              <a:gd name="connsiteX7" fmla="*/ 6016441 w 6911592"/>
              <a:gd name="connsiteY7" fmla="*/ 328754 h 9117732"/>
              <a:gd name="connsiteX8" fmla="*/ 6911592 w 6911592"/>
              <a:gd name="connsiteY8" fmla="*/ 2141 h 9117732"/>
              <a:gd name="connsiteX0" fmla="*/ 0 w 6911592"/>
              <a:gd name="connsiteY0" fmla="*/ 8947774 h 9117732"/>
              <a:gd name="connsiteX1" fmla="*/ 852163 w 6911592"/>
              <a:gd name="connsiteY1" fmla="*/ 5740729 h 9117732"/>
              <a:gd name="connsiteX2" fmla="*/ 1704979 w 6911592"/>
              <a:gd name="connsiteY2" fmla="*/ 9117674 h 9117732"/>
              <a:gd name="connsiteX3" fmla="*/ 2550275 w 6911592"/>
              <a:gd name="connsiteY3" fmla="*/ 5814785 h 9117732"/>
              <a:gd name="connsiteX4" fmla="*/ 3385215 w 6911592"/>
              <a:gd name="connsiteY4" fmla="*/ 8799909 h 9117732"/>
              <a:gd name="connsiteX5" fmla="*/ 4185315 w 6911592"/>
              <a:gd name="connsiteY5" fmla="*/ 2957724 h 9117732"/>
              <a:gd name="connsiteX6" fmla="*/ 5072765 w 6911592"/>
              <a:gd name="connsiteY6" fmla="*/ 4628464 h 9117732"/>
              <a:gd name="connsiteX7" fmla="*/ 6016441 w 6911592"/>
              <a:gd name="connsiteY7" fmla="*/ 328754 h 9117732"/>
              <a:gd name="connsiteX8" fmla="*/ 6911592 w 6911592"/>
              <a:gd name="connsiteY8" fmla="*/ 2141 h 9117732"/>
              <a:gd name="connsiteX0" fmla="*/ 0 w 6911592"/>
              <a:gd name="connsiteY0" fmla="*/ 8945831 h 9115789"/>
              <a:gd name="connsiteX1" fmla="*/ 852163 w 6911592"/>
              <a:gd name="connsiteY1" fmla="*/ 5738786 h 9115789"/>
              <a:gd name="connsiteX2" fmla="*/ 1704979 w 6911592"/>
              <a:gd name="connsiteY2" fmla="*/ 9115731 h 9115789"/>
              <a:gd name="connsiteX3" fmla="*/ 2550275 w 6911592"/>
              <a:gd name="connsiteY3" fmla="*/ 5812842 h 9115789"/>
              <a:gd name="connsiteX4" fmla="*/ 3385215 w 6911592"/>
              <a:gd name="connsiteY4" fmla="*/ 8797966 h 9115789"/>
              <a:gd name="connsiteX5" fmla="*/ 4185315 w 6911592"/>
              <a:gd name="connsiteY5" fmla="*/ 2955781 h 9115789"/>
              <a:gd name="connsiteX6" fmla="*/ 5072765 w 6911592"/>
              <a:gd name="connsiteY6" fmla="*/ 4626521 h 9115789"/>
              <a:gd name="connsiteX7" fmla="*/ 5908606 w 6911592"/>
              <a:gd name="connsiteY7" fmla="*/ 4217689 h 9115789"/>
              <a:gd name="connsiteX8" fmla="*/ 6911592 w 6911592"/>
              <a:gd name="connsiteY8" fmla="*/ 198 h 9115789"/>
              <a:gd name="connsiteX0" fmla="*/ 0 w 6764029"/>
              <a:gd name="connsiteY0" fmla="*/ 6137759 h 6307717"/>
              <a:gd name="connsiteX1" fmla="*/ 852163 w 6764029"/>
              <a:gd name="connsiteY1" fmla="*/ 2930714 h 6307717"/>
              <a:gd name="connsiteX2" fmla="*/ 1704979 w 6764029"/>
              <a:gd name="connsiteY2" fmla="*/ 6307659 h 6307717"/>
              <a:gd name="connsiteX3" fmla="*/ 2550275 w 6764029"/>
              <a:gd name="connsiteY3" fmla="*/ 3004770 h 6307717"/>
              <a:gd name="connsiteX4" fmla="*/ 3385215 w 6764029"/>
              <a:gd name="connsiteY4" fmla="*/ 5989894 h 6307717"/>
              <a:gd name="connsiteX5" fmla="*/ 4185315 w 6764029"/>
              <a:gd name="connsiteY5" fmla="*/ 147709 h 6307717"/>
              <a:gd name="connsiteX6" fmla="*/ 5072765 w 6764029"/>
              <a:gd name="connsiteY6" fmla="*/ 1818449 h 6307717"/>
              <a:gd name="connsiteX7" fmla="*/ 5908606 w 6764029"/>
              <a:gd name="connsiteY7" fmla="*/ 1409617 h 6307717"/>
              <a:gd name="connsiteX8" fmla="*/ 6764029 w 6764029"/>
              <a:gd name="connsiteY8" fmla="*/ 577 h 6307717"/>
              <a:gd name="connsiteX0" fmla="*/ 0 w 6747002"/>
              <a:gd name="connsiteY0" fmla="*/ 6127608 h 6297566"/>
              <a:gd name="connsiteX1" fmla="*/ 852163 w 6747002"/>
              <a:gd name="connsiteY1" fmla="*/ 2920563 h 6297566"/>
              <a:gd name="connsiteX2" fmla="*/ 1704979 w 6747002"/>
              <a:gd name="connsiteY2" fmla="*/ 6297508 h 6297566"/>
              <a:gd name="connsiteX3" fmla="*/ 2550275 w 6747002"/>
              <a:gd name="connsiteY3" fmla="*/ 2994619 h 6297566"/>
              <a:gd name="connsiteX4" fmla="*/ 3385215 w 6747002"/>
              <a:gd name="connsiteY4" fmla="*/ 5979743 h 6297566"/>
              <a:gd name="connsiteX5" fmla="*/ 4185315 w 6747002"/>
              <a:gd name="connsiteY5" fmla="*/ 137558 h 6297566"/>
              <a:gd name="connsiteX6" fmla="*/ 5072765 w 6747002"/>
              <a:gd name="connsiteY6" fmla="*/ 1808298 h 6297566"/>
              <a:gd name="connsiteX7" fmla="*/ 5908606 w 6747002"/>
              <a:gd name="connsiteY7" fmla="*/ 1399466 h 6297566"/>
              <a:gd name="connsiteX8" fmla="*/ 6747002 w 6747002"/>
              <a:gd name="connsiteY8" fmla="*/ 1394654 h 6297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47002" h="6297566">
                <a:moveTo>
                  <a:pt x="0" y="6127608"/>
                </a:moveTo>
                <a:cubicBezTo>
                  <a:pt x="541990" y="6121029"/>
                  <a:pt x="568000" y="2892246"/>
                  <a:pt x="852163" y="2920563"/>
                </a:cubicBezTo>
                <a:cubicBezTo>
                  <a:pt x="1136326" y="2948880"/>
                  <a:pt x="1421960" y="6285165"/>
                  <a:pt x="1704979" y="6297508"/>
                </a:cubicBezTo>
                <a:cubicBezTo>
                  <a:pt x="1987998" y="6309851"/>
                  <a:pt x="2237526" y="4350850"/>
                  <a:pt x="2550275" y="2994619"/>
                </a:cubicBezTo>
                <a:cubicBezTo>
                  <a:pt x="2917505" y="1424999"/>
                  <a:pt x="2836369" y="5677063"/>
                  <a:pt x="3385215" y="5979743"/>
                </a:cubicBezTo>
                <a:cubicBezTo>
                  <a:pt x="3768649" y="5552610"/>
                  <a:pt x="3904057" y="832799"/>
                  <a:pt x="4185315" y="137558"/>
                </a:cubicBezTo>
                <a:cubicBezTo>
                  <a:pt x="4466573" y="-557683"/>
                  <a:pt x="4785550" y="1597980"/>
                  <a:pt x="5072765" y="1808298"/>
                </a:cubicBezTo>
                <a:cubicBezTo>
                  <a:pt x="5359980" y="2018616"/>
                  <a:pt x="5601241" y="1384083"/>
                  <a:pt x="5908606" y="1399466"/>
                </a:cubicBezTo>
                <a:cubicBezTo>
                  <a:pt x="6215971" y="1414849"/>
                  <a:pt x="6582071" y="1360936"/>
                  <a:pt x="6747002" y="1394654"/>
                </a:cubicBezTo>
              </a:path>
            </a:pathLst>
          </a:custGeom>
          <a:noFill/>
          <a:ln w="136525" cap="rnd" cmpd="sng" algn="ctr">
            <a:solidFill>
              <a:srgbClr val="FFCD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89" name="Freeform 42">
            <a:extLst>
              <a:ext uri="{FF2B5EF4-FFF2-40B4-BE49-F238E27FC236}">
                <a16:creationId xmlns:a16="http://schemas.microsoft.com/office/drawing/2014/main" id="{C4F25F96-0118-4748-9A32-3C2F95AF565D}"/>
              </a:ext>
            </a:extLst>
          </p:cNvPr>
          <p:cNvSpPr/>
          <p:nvPr/>
        </p:nvSpPr>
        <p:spPr bwMode="auto">
          <a:xfrm flipV="1">
            <a:off x="1215266" y="4526569"/>
            <a:ext cx="9452447" cy="1150347"/>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1637156 w 7136640"/>
              <a:gd name="connsiteY2" fmla="*/ 231150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1637156 w 7136640"/>
              <a:gd name="connsiteY2" fmla="*/ 23115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743605 w 7136640"/>
              <a:gd name="connsiteY2" fmla="*/ 245831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743605 w 7136640"/>
              <a:gd name="connsiteY2" fmla="*/ 245831 h 281116"/>
              <a:gd name="connsiteX3" fmla="*/ 2644393 w 7136640"/>
              <a:gd name="connsiteY3" fmla="*/ 214226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743605 w 7136640"/>
              <a:gd name="connsiteY2" fmla="*/ 245831 h 281116"/>
              <a:gd name="connsiteX3" fmla="*/ 2644393 w 7136640"/>
              <a:gd name="connsiteY3" fmla="*/ 214226 h 281116"/>
              <a:gd name="connsiteX4" fmla="*/ 3483886 w 7136640"/>
              <a:gd name="connsiteY4" fmla="*/ 182745 h 281116"/>
              <a:gd name="connsiteX5" fmla="*/ 4318333 w 7136640"/>
              <a:gd name="connsiteY5" fmla="*/ 132687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743605 w 7136640"/>
              <a:gd name="connsiteY2" fmla="*/ 245831 h 281116"/>
              <a:gd name="connsiteX3" fmla="*/ 2644393 w 7136640"/>
              <a:gd name="connsiteY3" fmla="*/ 214226 h 281116"/>
              <a:gd name="connsiteX4" fmla="*/ 3483886 w 7136640"/>
              <a:gd name="connsiteY4" fmla="*/ 182745 h 281116"/>
              <a:gd name="connsiteX5" fmla="*/ 4318333 w 7136640"/>
              <a:gd name="connsiteY5" fmla="*/ 132687 h 281116"/>
              <a:gd name="connsiteX6" fmla="*/ 5636849 w 7136640"/>
              <a:gd name="connsiteY6" fmla="*/ 172302 h 281116"/>
              <a:gd name="connsiteX7" fmla="*/ 6344970 w 7136640"/>
              <a:gd name="connsiteY7" fmla="*/ 119271 h 281116"/>
              <a:gd name="connsiteX8" fmla="*/ 6500954 w 7136640"/>
              <a:gd name="connsiteY8" fmla="*/ 660 h 281116"/>
              <a:gd name="connsiteX9" fmla="*/ 7136640 w 7136640"/>
              <a:gd name="connsiteY9" fmla="*/ 281116 h 281116"/>
              <a:gd name="connsiteX0" fmla="*/ 0 w 7136640"/>
              <a:gd name="connsiteY0" fmla="*/ 190752 h 281133"/>
              <a:gd name="connsiteX1" fmla="*/ 700803 w 7136640"/>
              <a:gd name="connsiteY1" fmla="*/ 113658 h 281133"/>
              <a:gd name="connsiteX2" fmla="*/ 1743605 w 7136640"/>
              <a:gd name="connsiteY2" fmla="*/ 245848 h 281133"/>
              <a:gd name="connsiteX3" fmla="*/ 2644393 w 7136640"/>
              <a:gd name="connsiteY3" fmla="*/ 214243 h 281133"/>
              <a:gd name="connsiteX4" fmla="*/ 3483886 w 7136640"/>
              <a:gd name="connsiteY4" fmla="*/ 182762 h 281133"/>
              <a:gd name="connsiteX5" fmla="*/ 4318333 w 7136640"/>
              <a:gd name="connsiteY5" fmla="*/ 132704 h 281133"/>
              <a:gd name="connsiteX6" fmla="*/ 5292453 w 7136640"/>
              <a:gd name="connsiteY6" fmla="*/ 188835 h 281133"/>
              <a:gd name="connsiteX7" fmla="*/ 6344970 w 7136640"/>
              <a:gd name="connsiteY7" fmla="*/ 119288 h 281133"/>
              <a:gd name="connsiteX8" fmla="*/ 6500954 w 7136640"/>
              <a:gd name="connsiteY8" fmla="*/ 677 h 281133"/>
              <a:gd name="connsiteX9" fmla="*/ 7136640 w 7136640"/>
              <a:gd name="connsiteY9" fmla="*/ 281133 h 281133"/>
              <a:gd name="connsiteX0" fmla="*/ 0 w 7136640"/>
              <a:gd name="connsiteY0" fmla="*/ 77830 h 168211"/>
              <a:gd name="connsiteX1" fmla="*/ 700803 w 7136640"/>
              <a:gd name="connsiteY1" fmla="*/ 736 h 168211"/>
              <a:gd name="connsiteX2" fmla="*/ 1743605 w 7136640"/>
              <a:gd name="connsiteY2" fmla="*/ 132926 h 168211"/>
              <a:gd name="connsiteX3" fmla="*/ 2644393 w 7136640"/>
              <a:gd name="connsiteY3" fmla="*/ 101321 h 168211"/>
              <a:gd name="connsiteX4" fmla="*/ 3483886 w 7136640"/>
              <a:gd name="connsiteY4" fmla="*/ 69840 h 168211"/>
              <a:gd name="connsiteX5" fmla="*/ 4318333 w 7136640"/>
              <a:gd name="connsiteY5" fmla="*/ 19782 h 168211"/>
              <a:gd name="connsiteX6" fmla="*/ 5292453 w 7136640"/>
              <a:gd name="connsiteY6" fmla="*/ 75913 h 168211"/>
              <a:gd name="connsiteX7" fmla="*/ 6344970 w 7136640"/>
              <a:gd name="connsiteY7" fmla="*/ 6366 h 168211"/>
              <a:gd name="connsiteX8" fmla="*/ 7136640 w 7136640"/>
              <a:gd name="connsiteY8" fmla="*/ 168211 h 168211"/>
              <a:gd name="connsiteX0" fmla="*/ 0 w 7136640"/>
              <a:gd name="connsiteY0" fmla="*/ 77830 h 168211"/>
              <a:gd name="connsiteX1" fmla="*/ 977970 w 7136640"/>
              <a:gd name="connsiteY1" fmla="*/ 736 h 168211"/>
              <a:gd name="connsiteX2" fmla="*/ 1743605 w 7136640"/>
              <a:gd name="connsiteY2" fmla="*/ 132926 h 168211"/>
              <a:gd name="connsiteX3" fmla="*/ 2644393 w 7136640"/>
              <a:gd name="connsiteY3" fmla="*/ 101321 h 168211"/>
              <a:gd name="connsiteX4" fmla="*/ 3483886 w 7136640"/>
              <a:gd name="connsiteY4" fmla="*/ 69840 h 168211"/>
              <a:gd name="connsiteX5" fmla="*/ 4318333 w 7136640"/>
              <a:gd name="connsiteY5" fmla="*/ 19782 h 168211"/>
              <a:gd name="connsiteX6" fmla="*/ 5292453 w 7136640"/>
              <a:gd name="connsiteY6" fmla="*/ 75913 h 168211"/>
              <a:gd name="connsiteX7" fmla="*/ 6344970 w 7136640"/>
              <a:gd name="connsiteY7" fmla="*/ 6366 h 168211"/>
              <a:gd name="connsiteX8" fmla="*/ 7136640 w 7136640"/>
              <a:gd name="connsiteY8" fmla="*/ 168211 h 168211"/>
              <a:gd name="connsiteX0" fmla="*/ 0 w 7136640"/>
              <a:gd name="connsiteY0" fmla="*/ 92613 h 182994"/>
              <a:gd name="connsiteX1" fmla="*/ 977970 w 7136640"/>
              <a:gd name="connsiteY1" fmla="*/ 15519 h 182994"/>
              <a:gd name="connsiteX2" fmla="*/ 1757063 w 7136640"/>
              <a:gd name="connsiteY2" fmla="*/ 8973 h 182994"/>
              <a:gd name="connsiteX3" fmla="*/ 2644393 w 7136640"/>
              <a:gd name="connsiteY3" fmla="*/ 116104 h 182994"/>
              <a:gd name="connsiteX4" fmla="*/ 3483886 w 7136640"/>
              <a:gd name="connsiteY4" fmla="*/ 84623 h 182994"/>
              <a:gd name="connsiteX5" fmla="*/ 4318333 w 7136640"/>
              <a:gd name="connsiteY5" fmla="*/ 34565 h 182994"/>
              <a:gd name="connsiteX6" fmla="*/ 5292453 w 7136640"/>
              <a:gd name="connsiteY6" fmla="*/ 90696 h 182994"/>
              <a:gd name="connsiteX7" fmla="*/ 6344970 w 7136640"/>
              <a:gd name="connsiteY7" fmla="*/ 21149 h 182994"/>
              <a:gd name="connsiteX8" fmla="*/ 7136640 w 7136640"/>
              <a:gd name="connsiteY8" fmla="*/ 182994 h 182994"/>
              <a:gd name="connsiteX0" fmla="*/ 0 w 7136640"/>
              <a:gd name="connsiteY0" fmla="*/ 92613 h 182994"/>
              <a:gd name="connsiteX1" fmla="*/ 977970 w 7136640"/>
              <a:gd name="connsiteY1" fmla="*/ 15519 h 182994"/>
              <a:gd name="connsiteX2" fmla="*/ 1757063 w 7136640"/>
              <a:gd name="connsiteY2" fmla="*/ 8974 h 182994"/>
              <a:gd name="connsiteX3" fmla="*/ 2644393 w 7136640"/>
              <a:gd name="connsiteY3" fmla="*/ 116104 h 182994"/>
              <a:gd name="connsiteX4" fmla="*/ 3483886 w 7136640"/>
              <a:gd name="connsiteY4" fmla="*/ 84623 h 182994"/>
              <a:gd name="connsiteX5" fmla="*/ 4318333 w 7136640"/>
              <a:gd name="connsiteY5" fmla="*/ 34565 h 182994"/>
              <a:gd name="connsiteX6" fmla="*/ 5292453 w 7136640"/>
              <a:gd name="connsiteY6" fmla="*/ 90696 h 182994"/>
              <a:gd name="connsiteX7" fmla="*/ 6344970 w 7136640"/>
              <a:gd name="connsiteY7" fmla="*/ 21149 h 182994"/>
              <a:gd name="connsiteX8" fmla="*/ 7136640 w 7136640"/>
              <a:gd name="connsiteY8" fmla="*/ 182994 h 182994"/>
              <a:gd name="connsiteX0" fmla="*/ 0 w 7136640"/>
              <a:gd name="connsiteY0" fmla="*/ 149924 h 240305"/>
              <a:gd name="connsiteX1" fmla="*/ 977970 w 7136640"/>
              <a:gd name="connsiteY1" fmla="*/ 72830 h 240305"/>
              <a:gd name="connsiteX2" fmla="*/ 1757063 w 7136640"/>
              <a:gd name="connsiteY2" fmla="*/ 66285 h 240305"/>
              <a:gd name="connsiteX3" fmla="*/ 2644393 w 7136640"/>
              <a:gd name="connsiteY3" fmla="*/ 0 h 240305"/>
              <a:gd name="connsiteX4" fmla="*/ 3483886 w 7136640"/>
              <a:gd name="connsiteY4" fmla="*/ 141934 h 240305"/>
              <a:gd name="connsiteX5" fmla="*/ 4318333 w 7136640"/>
              <a:gd name="connsiteY5" fmla="*/ 91876 h 240305"/>
              <a:gd name="connsiteX6" fmla="*/ 5292453 w 7136640"/>
              <a:gd name="connsiteY6" fmla="*/ 148007 h 240305"/>
              <a:gd name="connsiteX7" fmla="*/ 6344970 w 7136640"/>
              <a:gd name="connsiteY7" fmla="*/ 78460 h 240305"/>
              <a:gd name="connsiteX8" fmla="*/ 7136640 w 7136640"/>
              <a:gd name="connsiteY8" fmla="*/ 240305 h 240305"/>
              <a:gd name="connsiteX0" fmla="*/ 0 w 7123183"/>
              <a:gd name="connsiteY0" fmla="*/ 149924 h 149925"/>
              <a:gd name="connsiteX1" fmla="*/ 977970 w 7123183"/>
              <a:gd name="connsiteY1" fmla="*/ 72830 h 149925"/>
              <a:gd name="connsiteX2" fmla="*/ 1757063 w 7123183"/>
              <a:gd name="connsiteY2" fmla="*/ 66285 h 149925"/>
              <a:gd name="connsiteX3" fmla="*/ 2644393 w 7123183"/>
              <a:gd name="connsiteY3" fmla="*/ 0 h 149925"/>
              <a:gd name="connsiteX4" fmla="*/ 3483886 w 7123183"/>
              <a:gd name="connsiteY4" fmla="*/ 141934 h 149925"/>
              <a:gd name="connsiteX5" fmla="*/ 4318333 w 7123183"/>
              <a:gd name="connsiteY5" fmla="*/ 91876 h 149925"/>
              <a:gd name="connsiteX6" fmla="*/ 5292453 w 7123183"/>
              <a:gd name="connsiteY6" fmla="*/ 148007 h 149925"/>
              <a:gd name="connsiteX7" fmla="*/ 6344970 w 7123183"/>
              <a:gd name="connsiteY7" fmla="*/ 78460 h 149925"/>
              <a:gd name="connsiteX8" fmla="*/ 7123183 w 7123183"/>
              <a:gd name="connsiteY8" fmla="*/ 32204 h 149925"/>
              <a:gd name="connsiteX0" fmla="*/ 0 w 7123183"/>
              <a:gd name="connsiteY0" fmla="*/ 149924 h 149925"/>
              <a:gd name="connsiteX1" fmla="*/ 977970 w 7123183"/>
              <a:gd name="connsiteY1" fmla="*/ 72830 h 149925"/>
              <a:gd name="connsiteX2" fmla="*/ 1757063 w 7123183"/>
              <a:gd name="connsiteY2" fmla="*/ 66285 h 149925"/>
              <a:gd name="connsiteX3" fmla="*/ 2644393 w 7123183"/>
              <a:gd name="connsiteY3" fmla="*/ 0 h 149925"/>
              <a:gd name="connsiteX4" fmla="*/ 3483886 w 7123183"/>
              <a:gd name="connsiteY4" fmla="*/ 141934 h 149925"/>
              <a:gd name="connsiteX5" fmla="*/ 4318333 w 7123183"/>
              <a:gd name="connsiteY5" fmla="*/ 91876 h 149925"/>
              <a:gd name="connsiteX6" fmla="*/ 5292453 w 7123183"/>
              <a:gd name="connsiteY6" fmla="*/ 148007 h 149925"/>
              <a:gd name="connsiteX7" fmla="*/ 6344970 w 7123183"/>
              <a:gd name="connsiteY7" fmla="*/ 78460 h 149925"/>
              <a:gd name="connsiteX8" fmla="*/ 7123183 w 7123183"/>
              <a:gd name="connsiteY8" fmla="*/ 32204 h 149925"/>
              <a:gd name="connsiteX0" fmla="*/ 0 w 7123183"/>
              <a:gd name="connsiteY0" fmla="*/ 149924 h 149925"/>
              <a:gd name="connsiteX1" fmla="*/ 977970 w 7123183"/>
              <a:gd name="connsiteY1" fmla="*/ 72830 h 149925"/>
              <a:gd name="connsiteX2" fmla="*/ 1757063 w 7123183"/>
              <a:gd name="connsiteY2" fmla="*/ 66285 h 149925"/>
              <a:gd name="connsiteX3" fmla="*/ 2644393 w 7123183"/>
              <a:gd name="connsiteY3" fmla="*/ 0 h 149925"/>
              <a:gd name="connsiteX4" fmla="*/ 3483886 w 7123183"/>
              <a:gd name="connsiteY4" fmla="*/ 141934 h 149925"/>
              <a:gd name="connsiteX5" fmla="*/ 4318333 w 7123183"/>
              <a:gd name="connsiteY5" fmla="*/ 91876 h 149925"/>
              <a:gd name="connsiteX6" fmla="*/ 5292453 w 7123183"/>
              <a:gd name="connsiteY6" fmla="*/ 78640 h 149925"/>
              <a:gd name="connsiteX7" fmla="*/ 6344970 w 7123183"/>
              <a:gd name="connsiteY7" fmla="*/ 78460 h 149925"/>
              <a:gd name="connsiteX8" fmla="*/ 7123183 w 7123183"/>
              <a:gd name="connsiteY8" fmla="*/ 32204 h 149925"/>
              <a:gd name="connsiteX0" fmla="*/ 0 w 6994006"/>
              <a:gd name="connsiteY0" fmla="*/ 14009306 h 14009306"/>
              <a:gd name="connsiteX1" fmla="*/ 848793 w 6994006"/>
              <a:gd name="connsiteY1" fmla="*/ 965680 h 14009306"/>
              <a:gd name="connsiteX2" fmla="*/ 1627886 w 6994006"/>
              <a:gd name="connsiteY2" fmla="*/ 959135 h 14009306"/>
              <a:gd name="connsiteX3" fmla="*/ 2515216 w 6994006"/>
              <a:gd name="connsiteY3" fmla="*/ 892850 h 14009306"/>
              <a:gd name="connsiteX4" fmla="*/ 3354709 w 6994006"/>
              <a:gd name="connsiteY4" fmla="*/ 1034784 h 14009306"/>
              <a:gd name="connsiteX5" fmla="*/ 4189156 w 6994006"/>
              <a:gd name="connsiteY5" fmla="*/ 984726 h 14009306"/>
              <a:gd name="connsiteX6" fmla="*/ 5163276 w 6994006"/>
              <a:gd name="connsiteY6" fmla="*/ 971490 h 14009306"/>
              <a:gd name="connsiteX7" fmla="*/ 6215793 w 6994006"/>
              <a:gd name="connsiteY7" fmla="*/ 971310 h 14009306"/>
              <a:gd name="connsiteX8" fmla="*/ 6994006 w 6994006"/>
              <a:gd name="connsiteY8" fmla="*/ 925054 h 14009306"/>
              <a:gd name="connsiteX0" fmla="*/ 0 w 6994006"/>
              <a:gd name="connsiteY0" fmla="*/ 15251444 h 15251444"/>
              <a:gd name="connsiteX1" fmla="*/ 848793 w 6994006"/>
              <a:gd name="connsiteY1" fmla="*/ 1051344 h 15251444"/>
              <a:gd name="connsiteX2" fmla="*/ 1627886 w 6994006"/>
              <a:gd name="connsiteY2" fmla="*/ 1044799 h 15251444"/>
              <a:gd name="connsiteX3" fmla="*/ 2515216 w 6994006"/>
              <a:gd name="connsiteY3" fmla="*/ 978514 h 15251444"/>
              <a:gd name="connsiteX4" fmla="*/ 3354709 w 6994006"/>
              <a:gd name="connsiteY4" fmla="*/ 1120448 h 15251444"/>
              <a:gd name="connsiteX5" fmla="*/ 4189156 w 6994006"/>
              <a:gd name="connsiteY5" fmla="*/ 1070390 h 15251444"/>
              <a:gd name="connsiteX6" fmla="*/ 5163276 w 6994006"/>
              <a:gd name="connsiteY6" fmla="*/ 1057154 h 15251444"/>
              <a:gd name="connsiteX7" fmla="*/ 6215793 w 6994006"/>
              <a:gd name="connsiteY7" fmla="*/ 1056974 h 15251444"/>
              <a:gd name="connsiteX8" fmla="*/ 6994006 w 6994006"/>
              <a:gd name="connsiteY8" fmla="*/ 1010718 h 15251444"/>
              <a:gd name="connsiteX0" fmla="*/ 0 w 6994006"/>
              <a:gd name="connsiteY0" fmla="*/ 14858053 h 14858053"/>
              <a:gd name="connsiteX1" fmla="*/ 930379 w 6994006"/>
              <a:gd name="connsiteY1" fmla="*/ 9173810 h 14858053"/>
              <a:gd name="connsiteX2" fmla="*/ 1627886 w 6994006"/>
              <a:gd name="connsiteY2" fmla="*/ 651408 h 14858053"/>
              <a:gd name="connsiteX3" fmla="*/ 2515216 w 6994006"/>
              <a:gd name="connsiteY3" fmla="*/ 585123 h 14858053"/>
              <a:gd name="connsiteX4" fmla="*/ 3354709 w 6994006"/>
              <a:gd name="connsiteY4" fmla="*/ 727057 h 14858053"/>
              <a:gd name="connsiteX5" fmla="*/ 4189156 w 6994006"/>
              <a:gd name="connsiteY5" fmla="*/ 676999 h 14858053"/>
              <a:gd name="connsiteX6" fmla="*/ 5163276 w 6994006"/>
              <a:gd name="connsiteY6" fmla="*/ 663763 h 14858053"/>
              <a:gd name="connsiteX7" fmla="*/ 6215793 w 6994006"/>
              <a:gd name="connsiteY7" fmla="*/ 663583 h 14858053"/>
              <a:gd name="connsiteX8" fmla="*/ 6994006 w 6994006"/>
              <a:gd name="connsiteY8" fmla="*/ 617327 h 14858053"/>
              <a:gd name="connsiteX0" fmla="*/ 0 w 6994006"/>
              <a:gd name="connsiteY0" fmla="*/ 14858053 h 14858053"/>
              <a:gd name="connsiteX1" fmla="*/ 930379 w 6994006"/>
              <a:gd name="connsiteY1" fmla="*/ 9173810 h 14858053"/>
              <a:gd name="connsiteX2" fmla="*/ 1627886 w 6994006"/>
              <a:gd name="connsiteY2" fmla="*/ 651408 h 14858053"/>
              <a:gd name="connsiteX3" fmla="*/ 2515216 w 6994006"/>
              <a:gd name="connsiteY3" fmla="*/ 585123 h 14858053"/>
              <a:gd name="connsiteX4" fmla="*/ 3354709 w 6994006"/>
              <a:gd name="connsiteY4" fmla="*/ 727057 h 14858053"/>
              <a:gd name="connsiteX5" fmla="*/ 4189156 w 6994006"/>
              <a:gd name="connsiteY5" fmla="*/ 676999 h 14858053"/>
              <a:gd name="connsiteX6" fmla="*/ 5163276 w 6994006"/>
              <a:gd name="connsiteY6" fmla="*/ 663763 h 14858053"/>
              <a:gd name="connsiteX7" fmla="*/ 6215793 w 6994006"/>
              <a:gd name="connsiteY7" fmla="*/ 663583 h 14858053"/>
              <a:gd name="connsiteX8" fmla="*/ 6994006 w 6994006"/>
              <a:gd name="connsiteY8" fmla="*/ 617327 h 14858053"/>
              <a:gd name="connsiteX0" fmla="*/ 0 w 6994006"/>
              <a:gd name="connsiteY0" fmla="*/ 14980001 h 14980001"/>
              <a:gd name="connsiteX1" fmla="*/ 909983 w 6994006"/>
              <a:gd name="connsiteY1" fmla="*/ 10942858 h 14980001"/>
              <a:gd name="connsiteX2" fmla="*/ 1627886 w 6994006"/>
              <a:gd name="connsiteY2" fmla="*/ 773356 h 14980001"/>
              <a:gd name="connsiteX3" fmla="*/ 2515216 w 6994006"/>
              <a:gd name="connsiteY3" fmla="*/ 707071 h 14980001"/>
              <a:gd name="connsiteX4" fmla="*/ 3354709 w 6994006"/>
              <a:gd name="connsiteY4" fmla="*/ 849005 h 14980001"/>
              <a:gd name="connsiteX5" fmla="*/ 4189156 w 6994006"/>
              <a:gd name="connsiteY5" fmla="*/ 798947 h 14980001"/>
              <a:gd name="connsiteX6" fmla="*/ 5163276 w 6994006"/>
              <a:gd name="connsiteY6" fmla="*/ 785711 h 14980001"/>
              <a:gd name="connsiteX7" fmla="*/ 6215793 w 6994006"/>
              <a:gd name="connsiteY7" fmla="*/ 785531 h 14980001"/>
              <a:gd name="connsiteX8" fmla="*/ 6994006 w 6994006"/>
              <a:gd name="connsiteY8" fmla="*/ 739275 h 14980001"/>
              <a:gd name="connsiteX0" fmla="*/ 0 w 6994006"/>
              <a:gd name="connsiteY0" fmla="*/ 14272930 h 14272930"/>
              <a:gd name="connsiteX1" fmla="*/ 909983 w 6994006"/>
              <a:gd name="connsiteY1" fmla="*/ 10235787 h 14272930"/>
              <a:gd name="connsiteX2" fmla="*/ 1845447 w 6994006"/>
              <a:gd name="connsiteY2" fmla="*/ 13278128 h 14272930"/>
              <a:gd name="connsiteX3" fmla="*/ 2515216 w 6994006"/>
              <a:gd name="connsiteY3" fmla="*/ 0 h 14272930"/>
              <a:gd name="connsiteX4" fmla="*/ 3354709 w 6994006"/>
              <a:gd name="connsiteY4" fmla="*/ 141934 h 14272930"/>
              <a:gd name="connsiteX5" fmla="*/ 4189156 w 6994006"/>
              <a:gd name="connsiteY5" fmla="*/ 91876 h 14272930"/>
              <a:gd name="connsiteX6" fmla="*/ 5163276 w 6994006"/>
              <a:gd name="connsiteY6" fmla="*/ 78640 h 14272930"/>
              <a:gd name="connsiteX7" fmla="*/ 6215793 w 6994006"/>
              <a:gd name="connsiteY7" fmla="*/ 78460 h 14272930"/>
              <a:gd name="connsiteX8" fmla="*/ 6994006 w 6994006"/>
              <a:gd name="connsiteY8" fmla="*/ 32204 h 14272930"/>
              <a:gd name="connsiteX0" fmla="*/ 0 w 6994006"/>
              <a:gd name="connsiteY0" fmla="*/ 14248000 h 14248000"/>
              <a:gd name="connsiteX1" fmla="*/ 909983 w 6994006"/>
              <a:gd name="connsiteY1" fmla="*/ 10210857 h 14248000"/>
              <a:gd name="connsiteX2" fmla="*/ 1845447 w 6994006"/>
              <a:gd name="connsiteY2" fmla="*/ 13253198 h 14248000"/>
              <a:gd name="connsiteX3" fmla="*/ 2590003 w 6994006"/>
              <a:gd name="connsiteY3" fmla="*/ 6948961 h 14248000"/>
              <a:gd name="connsiteX4" fmla="*/ 3354709 w 6994006"/>
              <a:gd name="connsiteY4" fmla="*/ 117004 h 14248000"/>
              <a:gd name="connsiteX5" fmla="*/ 4189156 w 6994006"/>
              <a:gd name="connsiteY5" fmla="*/ 66946 h 14248000"/>
              <a:gd name="connsiteX6" fmla="*/ 5163276 w 6994006"/>
              <a:gd name="connsiteY6" fmla="*/ 53710 h 14248000"/>
              <a:gd name="connsiteX7" fmla="*/ 6215793 w 6994006"/>
              <a:gd name="connsiteY7" fmla="*/ 53530 h 14248000"/>
              <a:gd name="connsiteX8" fmla="*/ 6994006 w 6994006"/>
              <a:gd name="connsiteY8" fmla="*/ 7274 h 14248000"/>
              <a:gd name="connsiteX0" fmla="*/ 0 w 6994006"/>
              <a:gd name="connsiteY0" fmla="*/ 14247996 h 14247996"/>
              <a:gd name="connsiteX1" fmla="*/ 909983 w 6994006"/>
              <a:gd name="connsiteY1" fmla="*/ 10210853 h 14247996"/>
              <a:gd name="connsiteX2" fmla="*/ 1845447 w 6994006"/>
              <a:gd name="connsiteY2" fmla="*/ 13253194 h 14247996"/>
              <a:gd name="connsiteX3" fmla="*/ 2590003 w 6994006"/>
              <a:gd name="connsiteY3" fmla="*/ 8525967 h 14247996"/>
              <a:gd name="connsiteX4" fmla="*/ 3354709 w 6994006"/>
              <a:gd name="connsiteY4" fmla="*/ 117000 h 14247996"/>
              <a:gd name="connsiteX5" fmla="*/ 4189156 w 6994006"/>
              <a:gd name="connsiteY5" fmla="*/ 66942 h 14247996"/>
              <a:gd name="connsiteX6" fmla="*/ 5163276 w 6994006"/>
              <a:gd name="connsiteY6" fmla="*/ 53706 h 14247996"/>
              <a:gd name="connsiteX7" fmla="*/ 6215793 w 6994006"/>
              <a:gd name="connsiteY7" fmla="*/ 53526 h 14247996"/>
              <a:gd name="connsiteX8" fmla="*/ 6994006 w 6994006"/>
              <a:gd name="connsiteY8" fmla="*/ 7270 h 14247996"/>
              <a:gd name="connsiteX0" fmla="*/ 0 w 6994006"/>
              <a:gd name="connsiteY0" fmla="*/ 14884393 h 14884393"/>
              <a:gd name="connsiteX1" fmla="*/ 909983 w 6994006"/>
              <a:gd name="connsiteY1" fmla="*/ 10847250 h 14884393"/>
              <a:gd name="connsiteX2" fmla="*/ 1845447 w 6994006"/>
              <a:gd name="connsiteY2" fmla="*/ 13889591 h 14884393"/>
              <a:gd name="connsiteX3" fmla="*/ 2590003 w 6994006"/>
              <a:gd name="connsiteY3" fmla="*/ 9162364 h 14884393"/>
              <a:gd name="connsiteX4" fmla="*/ 3395502 w 6994006"/>
              <a:gd name="connsiteY4" fmla="*/ 10145370 h 14884393"/>
              <a:gd name="connsiteX5" fmla="*/ 4189156 w 6994006"/>
              <a:gd name="connsiteY5" fmla="*/ 703339 h 14884393"/>
              <a:gd name="connsiteX6" fmla="*/ 5163276 w 6994006"/>
              <a:gd name="connsiteY6" fmla="*/ 690103 h 14884393"/>
              <a:gd name="connsiteX7" fmla="*/ 6215793 w 6994006"/>
              <a:gd name="connsiteY7" fmla="*/ 689923 h 14884393"/>
              <a:gd name="connsiteX8" fmla="*/ 6994006 w 6994006"/>
              <a:gd name="connsiteY8" fmla="*/ 643667 h 14884393"/>
              <a:gd name="connsiteX0" fmla="*/ 0 w 6994006"/>
              <a:gd name="connsiteY0" fmla="*/ 14287114 h 14287114"/>
              <a:gd name="connsiteX1" fmla="*/ 909983 w 6994006"/>
              <a:gd name="connsiteY1" fmla="*/ 10249971 h 14287114"/>
              <a:gd name="connsiteX2" fmla="*/ 1845447 w 6994006"/>
              <a:gd name="connsiteY2" fmla="*/ 13292312 h 14287114"/>
              <a:gd name="connsiteX3" fmla="*/ 2590003 w 6994006"/>
              <a:gd name="connsiteY3" fmla="*/ 8565085 h 14287114"/>
              <a:gd name="connsiteX4" fmla="*/ 3395502 w 6994006"/>
              <a:gd name="connsiteY4" fmla="*/ 9548091 h 14287114"/>
              <a:gd name="connsiteX5" fmla="*/ 4189156 w 6994006"/>
              <a:gd name="connsiteY5" fmla="*/ 1297580 h 14287114"/>
              <a:gd name="connsiteX6" fmla="*/ 5163276 w 6994006"/>
              <a:gd name="connsiteY6" fmla="*/ 92824 h 14287114"/>
              <a:gd name="connsiteX7" fmla="*/ 6215793 w 6994006"/>
              <a:gd name="connsiteY7" fmla="*/ 92644 h 14287114"/>
              <a:gd name="connsiteX8" fmla="*/ 6994006 w 6994006"/>
              <a:gd name="connsiteY8" fmla="*/ 46388 h 14287114"/>
              <a:gd name="connsiteX0" fmla="*/ 0 w 6994006"/>
              <a:gd name="connsiteY0" fmla="*/ 14349370 h 14349370"/>
              <a:gd name="connsiteX1" fmla="*/ 909983 w 6994006"/>
              <a:gd name="connsiteY1" fmla="*/ 10312227 h 14349370"/>
              <a:gd name="connsiteX2" fmla="*/ 1845447 w 6994006"/>
              <a:gd name="connsiteY2" fmla="*/ 13354568 h 14349370"/>
              <a:gd name="connsiteX3" fmla="*/ 2590003 w 6994006"/>
              <a:gd name="connsiteY3" fmla="*/ 8627341 h 14349370"/>
              <a:gd name="connsiteX4" fmla="*/ 3395502 w 6994006"/>
              <a:gd name="connsiteY4" fmla="*/ 9610347 h 14349370"/>
              <a:gd name="connsiteX5" fmla="*/ 4263943 w 6994006"/>
              <a:gd name="connsiteY5" fmla="*/ 2200909 h 14349370"/>
              <a:gd name="connsiteX6" fmla="*/ 5163276 w 6994006"/>
              <a:gd name="connsiteY6" fmla="*/ 155080 h 14349370"/>
              <a:gd name="connsiteX7" fmla="*/ 6215793 w 6994006"/>
              <a:gd name="connsiteY7" fmla="*/ 154900 h 14349370"/>
              <a:gd name="connsiteX8" fmla="*/ 6994006 w 6994006"/>
              <a:gd name="connsiteY8" fmla="*/ 108644 h 14349370"/>
              <a:gd name="connsiteX0" fmla="*/ 0 w 6994006"/>
              <a:gd name="connsiteY0" fmla="*/ 14569988 h 14569988"/>
              <a:gd name="connsiteX1" fmla="*/ 909983 w 6994006"/>
              <a:gd name="connsiteY1" fmla="*/ 10532845 h 14569988"/>
              <a:gd name="connsiteX2" fmla="*/ 1845447 w 6994006"/>
              <a:gd name="connsiteY2" fmla="*/ 13575186 h 14569988"/>
              <a:gd name="connsiteX3" fmla="*/ 2590003 w 6994006"/>
              <a:gd name="connsiteY3" fmla="*/ 8847959 h 14569988"/>
              <a:gd name="connsiteX4" fmla="*/ 3395502 w 6994006"/>
              <a:gd name="connsiteY4" fmla="*/ 9830965 h 14569988"/>
              <a:gd name="connsiteX5" fmla="*/ 4209553 w 6994006"/>
              <a:gd name="connsiteY5" fmla="*/ 5400324 h 14569988"/>
              <a:gd name="connsiteX6" fmla="*/ 5163276 w 6994006"/>
              <a:gd name="connsiteY6" fmla="*/ 375698 h 14569988"/>
              <a:gd name="connsiteX7" fmla="*/ 6215793 w 6994006"/>
              <a:gd name="connsiteY7" fmla="*/ 375518 h 14569988"/>
              <a:gd name="connsiteX8" fmla="*/ 6994006 w 6994006"/>
              <a:gd name="connsiteY8" fmla="*/ 329262 h 14569988"/>
              <a:gd name="connsiteX0" fmla="*/ 0 w 6994006"/>
              <a:gd name="connsiteY0" fmla="*/ 14725734 h 14725734"/>
              <a:gd name="connsiteX1" fmla="*/ 909983 w 6994006"/>
              <a:gd name="connsiteY1" fmla="*/ 10688591 h 14725734"/>
              <a:gd name="connsiteX2" fmla="*/ 1845447 w 6994006"/>
              <a:gd name="connsiteY2" fmla="*/ 13730932 h 14725734"/>
              <a:gd name="connsiteX3" fmla="*/ 2590003 w 6994006"/>
              <a:gd name="connsiteY3" fmla="*/ 9003705 h 14725734"/>
              <a:gd name="connsiteX4" fmla="*/ 3395502 w 6994006"/>
              <a:gd name="connsiteY4" fmla="*/ 9986711 h 14725734"/>
              <a:gd name="connsiteX5" fmla="*/ 4277541 w 6994006"/>
              <a:gd name="connsiteY5" fmla="*/ 7658751 h 14725734"/>
              <a:gd name="connsiteX6" fmla="*/ 5163276 w 6994006"/>
              <a:gd name="connsiteY6" fmla="*/ 531444 h 14725734"/>
              <a:gd name="connsiteX7" fmla="*/ 6215793 w 6994006"/>
              <a:gd name="connsiteY7" fmla="*/ 531264 h 14725734"/>
              <a:gd name="connsiteX8" fmla="*/ 6994006 w 6994006"/>
              <a:gd name="connsiteY8" fmla="*/ 485008 h 14725734"/>
              <a:gd name="connsiteX0" fmla="*/ 0 w 6994006"/>
              <a:gd name="connsiteY0" fmla="*/ 14247997 h 14247997"/>
              <a:gd name="connsiteX1" fmla="*/ 909983 w 6994006"/>
              <a:gd name="connsiteY1" fmla="*/ 10210854 h 14247997"/>
              <a:gd name="connsiteX2" fmla="*/ 1845447 w 6994006"/>
              <a:gd name="connsiteY2" fmla="*/ 13253195 h 14247997"/>
              <a:gd name="connsiteX3" fmla="*/ 2590003 w 6994006"/>
              <a:gd name="connsiteY3" fmla="*/ 8525968 h 14247997"/>
              <a:gd name="connsiteX4" fmla="*/ 3395502 w 6994006"/>
              <a:gd name="connsiteY4" fmla="*/ 9508974 h 14247997"/>
              <a:gd name="connsiteX5" fmla="*/ 4277541 w 6994006"/>
              <a:gd name="connsiteY5" fmla="*/ 7181014 h 14247997"/>
              <a:gd name="connsiteX6" fmla="*/ 5115685 w 6994006"/>
              <a:gd name="connsiteY6" fmla="*/ 2962414 h 14247997"/>
              <a:gd name="connsiteX7" fmla="*/ 6215793 w 6994006"/>
              <a:gd name="connsiteY7" fmla="*/ 53527 h 14247997"/>
              <a:gd name="connsiteX8" fmla="*/ 6994006 w 6994006"/>
              <a:gd name="connsiteY8" fmla="*/ 7271 h 14247997"/>
              <a:gd name="connsiteX0" fmla="*/ 0 w 6994006"/>
              <a:gd name="connsiteY0" fmla="*/ 14240822 h 14240822"/>
              <a:gd name="connsiteX1" fmla="*/ 909983 w 6994006"/>
              <a:gd name="connsiteY1" fmla="*/ 10203679 h 14240822"/>
              <a:gd name="connsiteX2" fmla="*/ 1845447 w 6994006"/>
              <a:gd name="connsiteY2" fmla="*/ 13246020 h 14240822"/>
              <a:gd name="connsiteX3" fmla="*/ 2590003 w 6994006"/>
              <a:gd name="connsiteY3" fmla="*/ 8518793 h 14240822"/>
              <a:gd name="connsiteX4" fmla="*/ 3395502 w 6994006"/>
              <a:gd name="connsiteY4" fmla="*/ 9501799 h 14240822"/>
              <a:gd name="connsiteX5" fmla="*/ 4277541 w 6994006"/>
              <a:gd name="connsiteY5" fmla="*/ 7173839 h 14240822"/>
              <a:gd name="connsiteX6" fmla="*/ 5115685 w 6994006"/>
              <a:gd name="connsiteY6" fmla="*/ 2955239 h 14240822"/>
              <a:gd name="connsiteX7" fmla="*/ 5984634 w 6994006"/>
              <a:gd name="connsiteY7" fmla="*/ 8737431 h 14240822"/>
              <a:gd name="connsiteX8" fmla="*/ 6994006 w 6994006"/>
              <a:gd name="connsiteY8" fmla="*/ 96 h 14240822"/>
              <a:gd name="connsiteX0" fmla="*/ 0 w 6994006"/>
              <a:gd name="connsiteY0" fmla="*/ 14240807 h 14240807"/>
              <a:gd name="connsiteX1" fmla="*/ 909983 w 6994006"/>
              <a:gd name="connsiteY1" fmla="*/ 10203664 h 14240807"/>
              <a:gd name="connsiteX2" fmla="*/ 1845447 w 6994006"/>
              <a:gd name="connsiteY2" fmla="*/ 13246005 h 14240807"/>
              <a:gd name="connsiteX3" fmla="*/ 2590003 w 6994006"/>
              <a:gd name="connsiteY3" fmla="*/ 8518778 h 14240807"/>
              <a:gd name="connsiteX4" fmla="*/ 3395502 w 6994006"/>
              <a:gd name="connsiteY4" fmla="*/ 9501784 h 14240807"/>
              <a:gd name="connsiteX5" fmla="*/ 4277541 w 6994006"/>
              <a:gd name="connsiteY5" fmla="*/ 7173824 h 14240807"/>
              <a:gd name="connsiteX6" fmla="*/ 5115685 w 6994006"/>
              <a:gd name="connsiteY6" fmla="*/ 2955224 h 14240807"/>
              <a:gd name="connsiteX7" fmla="*/ 5971037 w 6994006"/>
              <a:gd name="connsiteY7" fmla="*/ 10419561 h 14240807"/>
              <a:gd name="connsiteX8" fmla="*/ 6994006 w 6994006"/>
              <a:gd name="connsiteY8" fmla="*/ 81 h 14240807"/>
              <a:gd name="connsiteX0" fmla="*/ 0 w 6694859"/>
              <a:gd name="connsiteY0" fmla="*/ 11339678 h 11339678"/>
              <a:gd name="connsiteX1" fmla="*/ 909983 w 6694859"/>
              <a:gd name="connsiteY1" fmla="*/ 7302535 h 11339678"/>
              <a:gd name="connsiteX2" fmla="*/ 1845447 w 6694859"/>
              <a:gd name="connsiteY2" fmla="*/ 10344876 h 11339678"/>
              <a:gd name="connsiteX3" fmla="*/ 2590003 w 6694859"/>
              <a:gd name="connsiteY3" fmla="*/ 5617649 h 11339678"/>
              <a:gd name="connsiteX4" fmla="*/ 3395502 w 6694859"/>
              <a:gd name="connsiteY4" fmla="*/ 6600655 h 11339678"/>
              <a:gd name="connsiteX5" fmla="*/ 4277541 w 6694859"/>
              <a:gd name="connsiteY5" fmla="*/ 4272695 h 11339678"/>
              <a:gd name="connsiteX6" fmla="*/ 5115685 w 6694859"/>
              <a:gd name="connsiteY6" fmla="*/ 54095 h 11339678"/>
              <a:gd name="connsiteX7" fmla="*/ 5971037 w 6694859"/>
              <a:gd name="connsiteY7" fmla="*/ 7518432 h 11339678"/>
              <a:gd name="connsiteX8" fmla="*/ 6694859 w 6694859"/>
              <a:gd name="connsiteY8" fmla="*/ 3617262 h 11339678"/>
              <a:gd name="connsiteX0" fmla="*/ 0 w 6694859"/>
              <a:gd name="connsiteY0" fmla="*/ 11339678 h 11339678"/>
              <a:gd name="connsiteX1" fmla="*/ 869190 w 6694859"/>
              <a:gd name="connsiteY1" fmla="*/ 11087360 h 11339678"/>
              <a:gd name="connsiteX2" fmla="*/ 1845447 w 6694859"/>
              <a:gd name="connsiteY2" fmla="*/ 10344876 h 11339678"/>
              <a:gd name="connsiteX3" fmla="*/ 2590003 w 6694859"/>
              <a:gd name="connsiteY3" fmla="*/ 5617649 h 11339678"/>
              <a:gd name="connsiteX4" fmla="*/ 3395502 w 6694859"/>
              <a:gd name="connsiteY4" fmla="*/ 6600655 h 11339678"/>
              <a:gd name="connsiteX5" fmla="*/ 4277541 w 6694859"/>
              <a:gd name="connsiteY5" fmla="*/ 4272695 h 11339678"/>
              <a:gd name="connsiteX6" fmla="*/ 5115685 w 6694859"/>
              <a:gd name="connsiteY6" fmla="*/ 54095 h 11339678"/>
              <a:gd name="connsiteX7" fmla="*/ 5971037 w 6694859"/>
              <a:gd name="connsiteY7" fmla="*/ 7518432 h 11339678"/>
              <a:gd name="connsiteX8" fmla="*/ 6694859 w 6694859"/>
              <a:gd name="connsiteY8" fmla="*/ 3617262 h 11339678"/>
              <a:gd name="connsiteX0" fmla="*/ 0 w 6694859"/>
              <a:gd name="connsiteY0" fmla="*/ 11339678 h 11339678"/>
              <a:gd name="connsiteX1" fmla="*/ 869190 w 6694859"/>
              <a:gd name="connsiteY1" fmla="*/ 11087360 h 11339678"/>
              <a:gd name="connsiteX2" fmla="*/ 1812813 w 6694859"/>
              <a:gd name="connsiteY2" fmla="*/ 10807466 h 11339678"/>
              <a:gd name="connsiteX3" fmla="*/ 2590003 w 6694859"/>
              <a:gd name="connsiteY3" fmla="*/ 5617649 h 11339678"/>
              <a:gd name="connsiteX4" fmla="*/ 3395502 w 6694859"/>
              <a:gd name="connsiteY4" fmla="*/ 6600655 h 11339678"/>
              <a:gd name="connsiteX5" fmla="*/ 4277541 w 6694859"/>
              <a:gd name="connsiteY5" fmla="*/ 4272695 h 11339678"/>
              <a:gd name="connsiteX6" fmla="*/ 5115685 w 6694859"/>
              <a:gd name="connsiteY6" fmla="*/ 54095 h 11339678"/>
              <a:gd name="connsiteX7" fmla="*/ 5971037 w 6694859"/>
              <a:gd name="connsiteY7" fmla="*/ 7518432 h 11339678"/>
              <a:gd name="connsiteX8" fmla="*/ 6694859 w 6694859"/>
              <a:gd name="connsiteY8" fmla="*/ 3617262 h 11339678"/>
              <a:gd name="connsiteX0" fmla="*/ 0 w 6694859"/>
              <a:gd name="connsiteY0" fmla="*/ 11339678 h 11339678"/>
              <a:gd name="connsiteX1" fmla="*/ 869190 w 6694859"/>
              <a:gd name="connsiteY1" fmla="*/ 11087360 h 11339678"/>
              <a:gd name="connsiteX2" fmla="*/ 1812813 w 6694859"/>
              <a:gd name="connsiteY2" fmla="*/ 10807466 h 11339678"/>
              <a:gd name="connsiteX3" fmla="*/ 2590003 w 6694859"/>
              <a:gd name="connsiteY3" fmla="*/ 11336941 h 11339678"/>
              <a:gd name="connsiteX4" fmla="*/ 3395502 w 6694859"/>
              <a:gd name="connsiteY4" fmla="*/ 6600655 h 11339678"/>
              <a:gd name="connsiteX5" fmla="*/ 4277541 w 6694859"/>
              <a:gd name="connsiteY5" fmla="*/ 4272695 h 11339678"/>
              <a:gd name="connsiteX6" fmla="*/ 5115685 w 6694859"/>
              <a:gd name="connsiteY6" fmla="*/ 54095 h 11339678"/>
              <a:gd name="connsiteX7" fmla="*/ 5971037 w 6694859"/>
              <a:gd name="connsiteY7" fmla="*/ 7518432 h 11339678"/>
              <a:gd name="connsiteX8" fmla="*/ 6694859 w 6694859"/>
              <a:gd name="connsiteY8" fmla="*/ 3617262 h 11339678"/>
              <a:gd name="connsiteX0" fmla="*/ 0 w 6694859"/>
              <a:gd name="connsiteY0" fmla="*/ 11351117 h 11351117"/>
              <a:gd name="connsiteX1" fmla="*/ 869190 w 6694859"/>
              <a:gd name="connsiteY1" fmla="*/ 11098799 h 11351117"/>
              <a:gd name="connsiteX2" fmla="*/ 1812813 w 6694859"/>
              <a:gd name="connsiteY2" fmla="*/ 10818905 h 11351117"/>
              <a:gd name="connsiteX3" fmla="*/ 2590003 w 6694859"/>
              <a:gd name="connsiteY3" fmla="*/ 11348380 h 11351117"/>
              <a:gd name="connsiteX4" fmla="*/ 3436295 w 6694859"/>
              <a:gd name="connsiteY4" fmla="*/ 11027724 h 11351117"/>
              <a:gd name="connsiteX5" fmla="*/ 4277541 w 6694859"/>
              <a:gd name="connsiteY5" fmla="*/ 4284134 h 11351117"/>
              <a:gd name="connsiteX6" fmla="*/ 5115685 w 6694859"/>
              <a:gd name="connsiteY6" fmla="*/ 65534 h 11351117"/>
              <a:gd name="connsiteX7" fmla="*/ 5971037 w 6694859"/>
              <a:gd name="connsiteY7" fmla="*/ 7529871 h 11351117"/>
              <a:gd name="connsiteX8" fmla="*/ 6694859 w 6694859"/>
              <a:gd name="connsiteY8" fmla="*/ 3628701 h 11351117"/>
              <a:gd name="connsiteX0" fmla="*/ 0 w 6694859"/>
              <a:gd name="connsiteY0" fmla="*/ 11302812 h 11302812"/>
              <a:gd name="connsiteX1" fmla="*/ 869190 w 6694859"/>
              <a:gd name="connsiteY1" fmla="*/ 11050494 h 11302812"/>
              <a:gd name="connsiteX2" fmla="*/ 1812813 w 6694859"/>
              <a:gd name="connsiteY2" fmla="*/ 10770600 h 11302812"/>
              <a:gd name="connsiteX3" fmla="*/ 2590003 w 6694859"/>
              <a:gd name="connsiteY3" fmla="*/ 11300075 h 11302812"/>
              <a:gd name="connsiteX4" fmla="*/ 3436295 w 6694859"/>
              <a:gd name="connsiteY4" fmla="*/ 10979419 h 11302812"/>
              <a:gd name="connsiteX5" fmla="*/ 4310176 w 6694859"/>
              <a:gd name="connsiteY5" fmla="*/ 10081281 h 11302812"/>
              <a:gd name="connsiteX6" fmla="*/ 5115685 w 6694859"/>
              <a:gd name="connsiteY6" fmla="*/ 17229 h 11302812"/>
              <a:gd name="connsiteX7" fmla="*/ 5971037 w 6694859"/>
              <a:gd name="connsiteY7" fmla="*/ 7481566 h 11302812"/>
              <a:gd name="connsiteX8" fmla="*/ 6694859 w 6694859"/>
              <a:gd name="connsiteY8" fmla="*/ 3580396 h 11302812"/>
              <a:gd name="connsiteX0" fmla="*/ 0 w 6694859"/>
              <a:gd name="connsiteY0" fmla="*/ 11302812 h 11302812"/>
              <a:gd name="connsiteX1" fmla="*/ 869190 w 6694859"/>
              <a:gd name="connsiteY1" fmla="*/ 11050494 h 11302812"/>
              <a:gd name="connsiteX2" fmla="*/ 1812813 w 6694859"/>
              <a:gd name="connsiteY2" fmla="*/ 10770600 h 11302812"/>
              <a:gd name="connsiteX3" fmla="*/ 2590003 w 6694859"/>
              <a:gd name="connsiteY3" fmla="*/ 11300075 h 11302812"/>
              <a:gd name="connsiteX4" fmla="*/ 3436295 w 6694859"/>
              <a:gd name="connsiteY4" fmla="*/ 10979419 h 11302812"/>
              <a:gd name="connsiteX5" fmla="*/ 4310176 w 6694859"/>
              <a:gd name="connsiteY5" fmla="*/ 10081281 h 11302812"/>
              <a:gd name="connsiteX6" fmla="*/ 5115685 w 6694859"/>
              <a:gd name="connsiteY6" fmla="*/ 17229 h 11302812"/>
              <a:gd name="connsiteX7" fmla="*/ 5971037 w 6694859"/>
              <a:gd name="connsiteY7" fmla="*/ 7481566 h 11302812"/>
              <a:gd name="connsiteX8" fmla="*/ 6694859 w 6694859"/>
              <a:gd name="connsiteY8" fmla="*/ 3580396 h 11302812"/>
              <a:gd name="connsiteX0" fmla="*/ 0 w 6694859"/>
              <a:gd name="connsiteY0" fmla="*/ 11312275 h 11312275"/>
              <a:gd name="connsiteX1" fmla="*/ 869190 w 6694859"/>
              <a:gd name="connsiteY1" fmla="*/ 11059957 h 11312275"/>
              <a:gd name="connsiteX2" fmla="*/ 1812813 w 6694859"/>
              <a:gd name="connsiteY2" fmla="*/ 10780063 h 11312275"/>
              <a:gd name="connsiteX3" fmla="*/ 2590003 w 6694859"/>
              <a:gd name="connsiteY3" fmla="*/ 11309538 h 11312275"/>
              <a:gd name="connsiteX4" fmla="*/ 3436295 w 6694859"/>
              <a:gd name="connsiteY4" fmla="*/ 10988882 h 11312275"/>
              <a:gd name="connsiteX5" fmla="*/ 4310176 w 6694859"/>
              <a:gd name="connsiteY5" fmla="*/ 10763602 h 11312275"/>
              <a:gd name="connsiteX6" fmla="*/ 5115685 w 6694859"/>
              <a:gd name="connsiteY6" fmla="*/ 26692 h 11312275"/>
              <a:gd name="connsiteX7" fmla="*/ 5971037 w 6694859"/>
              <a:gd name="connsiteY7" fmla="*/ 7491029 h 11312275"/>
              <a:gd name="connsiteX8" fmla="*/ 6694859 w 6694859"/>
              <a:gd name="connsiteY8" fmla="*/ 3589859 h 11312275"/>
              <a:gd name="connsiteX0" fmla="*/ 0 w 6694859"/>
              <a:gd name="connsiteY0" fmla="*/ 11312275 h 11312275"/>
              <a:gd name="connsiteX1" fmla="*/ 869190 w 6694859"/>
              <a:gd name="connsiteY1" fmla="*/ 11059957 h 11312275"/>
              <a:gd name="connsiteX2" fmla="*/ 1812813 w 6694859"/>
              <a:gd name="connsiteY2" fmla="*/ 10780063 h 11312275"/>
              <a:gd name="connsiteX3" fmla="*/ 2590003 w 6694859"/>
              <a:gd name="connsiteY3" fmla="*/ 11309538 h 11312275"/>
              <a:gd name="connsiteX4" fmla="*/ 3436295 w 6694859"/>
              <a:gd name="connsiteY4" fmla="*/ 10988882 h 11312275"/>
              <a:gd name="connsiteX5" fmla="*/ 4310176 w 6694859"/>
              <a:gd name="connsiteY5" fmla="*/ 10763602 h 11312275"/>
              <a:gd name="connsiteX6" fmla="*/ 5115685 w 6694859"/>
              <a:gd name="connsiteY6" fmla="*/ 26692 h 11312275"/>
              <a:gd name="connsiteX7" fmla="*/ 5971037 w 6694859"/>
              <a:gd name="connsiteY7" fmla="*/ 7491029 h 11312275"/>
              <a:gd name="connsiteX8" fmla="*/ 6694859 w 6694859"/>
              <a:gd name="connsiteY8" fmla="*/ 3589859 h 11312275"/>
              <a:gd name="connsiteX0" fmla="*/ 0 w 6694859"/>
              <a:gd name="connsiteY0" fmla="*/ 7722629 h 7722629"/>
              <a:gd name="connsiteX1" fmla="*/ 869190 w 6694859"/>
              <a:gd name="connsiteY1" fmla="*/ 7470311 h 7722629"/>
              <a:gd name="connsiteX2" fmla="*/ 1812813 w 6694859"/>
              <a:gd name="connsiteY2" fmla="*/ 7190417 h 7722629"/>
              <a:gd name="connsiteX3" fmla="*/ 2590003 w 6694859"/>
              <a:gd name="connsiteY3" fmla="*/ 7719892 h 7722629"/>
              <a:gd name="connsiteX4" fmla="*/ 3436295 w 6694859"/>
              <a:gd name="connsiteY4" fmla="*/ 7399236 h 7722629"/>
              <a:gd name="connsiteX5" fmla="*/ 4310176 w 6694859"/>
              <a:gd name="connsiteY5" fmla="*/ 7173956 h 7722629"/>
              <a:gd name="connsiteX6" fmla="*/ 5123844 w 6694859"/>
              <a:gd name="connsiteY6" fmla="*/ 7118665 h 7722629"/>
              <a:gd name="connsiteX7" fmla="*/ 5971037 w 6694859"/>
              <a:gd name="connsiteY7" fmla="*/ 3901383 h 7722629"/>
              <a:gd name="connsiteX8" fmla="*/ 6694859 w 6694859"/>
              <a:gd name="connsiteY8" fmla="*/ 213 h 7722629"/>
              <a:gd name="connsiteX0" fmla="*/ 0 w 6694859"/>
              <a:gd name="connsiteY0" fmla="*/ 7722533 h 7722533"/>
              <a:gd name="connsiteX1" fmla="*/ 869190 w 6694859"/>
              <a:gd name="connsiteY1" fmla="*/ 7470215 h 7722533"/>
              <a:gd name="connsiteX2" fmla="*/ 1812813 w 6694859"/>
              <a:gd name="connsiteY2" fmla="*/ 7190321 h 7722533"/>
              <a:gd name="connsiteX3" fmla="*/ 2590003 w 6694859"/>
              <a:gd name="connsiteY3" fmla="*/ 7719796 h 7722533"/>
              <a:gd name="connsiteX4" fmla="*/ 3436295 w 6694859"/>
              <a:gd name="connsiteY4" fmla="*/ 7399140 h 7722533"/>
              <a:gd name="connsiteX5" fmla="*/ 4310176 w 6694859"/>
              <a:gd name="connsiteY5" fmla="*/ 7173860 h 7722533"/>
              <a:gd name="connsiteX6" fmla="*/ 5123844 w 6694859"/>
              <a:gd name="connsiteY6" fmla="*/ 7118569 h 7722533"/>
              <a:gd name="connsiteX7" fmla="*/ 5971037 w 6694859"/>
              <a:gd name="connsiteY7" fmla="*/ 7265576 h 7722533"/>
              <a:gd name="connsiteX8" fmla="*/ 6694859 w 6694859"/>
              <a:gd name="connsiteY8" fmla="*/ 117 h 7722533"/>
              <a:gd name="connsiteX0" fmla="*/ 0 w 6866188"/>
              <a:gd name="connsiteY0" fmla="*/ 785715 h 785715"/>
              <a:gd name="connsiteX1" fmla="*/ 869190 w 6866188"/>
              <a:gd name="connsiteY1" fmla="*/ 533397 h 785715"/>
              <a:gd name="connsiteX2" fmla="*/ 1812813 w 6866188"/>
              <a:gd name="connsiteY2" fmla="*/ 253503 h 785715"/>
              <a:gd name="connsiteX3" fmla="*/ 2590003 w 6866188"/>
              <a:gd name="connsiteY3" fmla="*/ 782978 h 785715"/>
              <a:gd name="connsiteX4" fmla="*/ 3436295 w 6866188"/>
              <a:gd name="connsiteY4" fmla="*/ 462322 h 785715"/>
              <a:gd name="connsiteX5" fmla="*/ 4310176 w 6866188"/>
              <a:gd name="connsiteY5" fmla="*/ 237042 h 785715"/>
              <a:gd name="connsiteX6" fmla="*/ 5123844 w 6866188"/>
              <a:gd name="connsiteY6" fmla="*/ 181751 h 785715"/>
              <a:gd name="connsiteX7" fmla="*/ 5971037 w 6866188"/>
              <a:gd name="connsiteY7" fmla="*/ 328758 h 785715"/>
              <a:gd name="connsiteX8" fmla="*/ 6866188 w 6866188"/>
              <a:gd name="connsiteY8" fmla="*/ 2145 h 785715"/>
              <a:gd name="connsiteX0" fmla="*/ 0 w 7127262"/>
              <a:gd name="connsiteY0" fmla="*/ 7112524 h 7112525"/>
              <a:gd name="connsiteX1" fmla="*/ 1130264 w 7127262"/>
              <a:gd name="connsiteY1" fmla="*/ 599700 h 7112525"/>
              <a:gd name="connsiteX2" fmla="*/ 2073887 w 7127262"/>
              <a:gd name="connsiteY2" fmla="*/ 319806 h 7112525"/>
              <a:gd name="connsiteX3" fmla="*/ 2851077 w 7127262"/>
              <a:gd name="connsiteY3" fmla="*/ 849281 h 7112525"/>
              <a:gd name="connsiteX4" fmla="*/ 3697369 w 7127262"/>
              <a:gd name="connsiteY4" fmla="*/ 528625 h 7112525"/>
              <a:gd name="connsiteX5" fmla="*/ 4571250 w 7127262"/>
              <a:gd name="connsiteY5" fmla="*/ 303345 h 7112525"/>
              <a:gd name="connsiteX6" fmla="*/ 5384918 w 7127262"/>
              <a:gd name="connsiteY6" fmla="*/ 248054 h 7112525"/>
              <a:gd name="connsiteX7" fmla="*/ 6232111 w 7127262"/>
              <a:gd name="connsiteY7" fmla="*/ 395061 h 7112525"/>
              <a:gd name="connsiteX8" fmla="*/ 7127262 w 7127262"/>
              <a:gd name="connsiteY8" fmla="*/ 68448 h 7112525"/>
              <a:gd name="connsiteX0" fmla="*/ 0 w 7127262"/>
              <a:gd name="connsiteY0" fmla="*/ 7046221 h 7046222"/>
              <a:gd name="connsiteX1" fmla="*/ 886217 w 7127262"/>
              <a:gd name="connsiteY1" fmla="*/ 3224830 h 7046222"/>
              <a:gd name="connsiteX2" fmla="*/ 2073887 w 7127262"/>
              <a:gd name="connsiteY2" fmla="*/ 253503 h 7046222"/>
              <a:gd name="connsiteX3" fmla="*/ 2851077 w 7127262"/>
              <a:gd name="connsiteY3" fmla="*/ 782978 h 7046222"/>
              <a:gd name="connsiteX4" fmla="*/ 3697369 w 7127262"/>
              <a:gd name="connsiteY4" fmla="*/ 462322 h 7046222"/>
              <a:gd name="connsiteX5" fmla="*/ 4571250 w 7127262"/>
              <a:gd name="connsiteY5" fmla="*/ 237042 h 7046222"/>
              <a:gd name="connsiteX6" fmla="*/ 5384918 w 7127262"/>
              <a:gd name="connsiteY6" fmla="*/ 181751 h 7046222"/>
              <a:gd name="connsiteX7" fmla="*/ 6232111 w 7127262"/>
              <a:gd name="connsiteY7" fmla="*/ 328758 h 7046222"/>
              <a:gd name="connsiteX8" fmla="*/ 7127262 w 7127262"/>
              <a:gd name="connsiteY8" fmla="*/ 2145 h 7046222"/>
              <a:gd name="connsiteX0" fmla="*/ 0 w 7127262"/>
              <a:gd name="connsiteY0" fmla="*/ 7155840 h 7732024"/>
              <a:gd name="connsiteX1" fmla="*/ 869191 w 7127262"/>
              <a:gd name="connsiteY1" fmla="*/ 7254581 h 7732024"/>
              <a:gd name="connsiteX2" fmla="*/ 2073887 w 7127262"/>
              <a:gd name="connsiteY2" fmla="*/ 363122 h 7732024"/>
              <a:gd name="connsiteX3" fmla="*/ 2851077 w 7127262"/>
              <a:gd name="connsiteY3" fmla="*/ 892597 h 7732024"/>
              <a:gd name="connsiteX4" fmla="*/ 3697369 w 7127262"/>
              <a:gd name="connsiteY4" fmla="*/ 571941 h 7732024"/>
              <a:gd name="connsiteX5" fmla="*/ 4571250 w 7127262"/>
              <a:gd name="connsiteY5" fmla="*/ 346661 h 7732024"/>
              <a:gd name="connsiteX6" fmla="*/ 5384918 w 7127262"/>
              <a:gd name="connsiteY6" fmla="*/ 291370 h 7732024"/>
              <a:gd name="connsiteX7" fmla="*/ 6232111 w 7127262"/>
              <a:gd name="connsiteY7" fmla="*/ 438377 h 7732024"/>
              <a:gd name="connsiteX8" fmla="*/ 7127262 w 7127262"/>
              <a:gd name="connsiteY8" fmla="*/ 111764 h 7732024"/>
              <a:gd name="connsiteX0" fmla="*/ 0 w 7127262"/>
              <a:gd name="connsiteY0" fmla="*/ 7155840 h 7460412"/>
              <a:gd name="connsiteX1" fmla="*/ 869191 w 7127262"/>
              <a:gd name="connsiteY1" fmla="*/ 7254581 h 7460412"/>
              <a:gd name="connsiteX2" fmla="*/ 2073887 w 7127262"/>
              <a:gd name="connsiteY2" fmla="*/ 363122 h 7460412"/>
              <a:gd name="connsiteX3" fmla="*/ 2851077 w 7127262"/>
              <a:gd name="connsiteY3" fmla="*/ 892597 h 7460412"/>
              <a:gd name="connsiteX4" fmla="*/ 3697369 w 7127262"/>
              <a:gd name="connsiteY4" fmla="*/ 571941 h 7460412"/>
              <a:gd name="connsiteX5" fmla="*/ 4571250 w 7127262"/>
              <a:gd name="connsiteY5" fmla="*/ 346661 h 7460412"/>
              <a:gd name="connsiteX6" fmla="*/ 5384918 w 7127262"/>
              <a:gd name="connsiteY6" fmla="*/ 291370 h 7460412"/>
              <a:gd name="connsiteX7" fmla="*/ 6232111 w 7127262"/>
              <a:gd name="connsiteY7" fmla="*/ 438377 h 7460412"/>
              <a:gd name="connsiteX8" fmla="*/ 7127262 w 7127262"/>
              <a:gd name="connsiteY8" fmla="*/ 111764 h 7460412"/>
              <a:gd name="connsiteX0" fmla="*/ 0 w 7127262"/>
              <a:gd name="connsiteY0" fmla="*/ 7046217 h 8163727"/>
              <a:gd name="connsiteX1" fmla="*/ 869191 w 7127262"/>
              <a:gd name="connsiteY1" fmla="*/ 7144958 h 8163727"/>
              <a:gd name="connsiteX2" fmla="*/ 1773085 w 7127262"/>
              <a:gd name="connsiteY2" fmla="*/ 7801216 h 8163727"/>
              <a:gd name="connsiteX3" fmla="*/ 2851077 w 7127262"/>
              <a:gd name="connsiteY3" fmla="*/ 782974 h 8163727"/>
              <a:gd name="connsiteX4" fmla="*/ 3697369 w 7127262"/>
              <a:gd name="connsiteY4" fmla="*/ 462318 h 8163727"/>
              <a:gd name="connsiteX5" fmla="*/ 4571250 w 7127262"/>
              <a:gd name="connsiteY5" fmla="*/ 237038 h 8163727"/>
              <a:gd name="connsiteX6" fmla="*/ 5384918 w 7127262"/>
              <a:gd name="connsiteY6" fmla="*/ 181747 h 8163727"/>
              <a:gd name="connsiteX7" fmla="*/ 6232111 w 7127262"/>
              <a:gd name="connsiteY7" fmla="*/ 328754 h 8163727"/>
              <a:gd name="connsiteX8" fmla="*/ 7127262 w 7127262"/>
              <a:gd name="connsiteY8" fmla="*/ 2141 h 8163727"/>
              <a:gd name="connsiteX0" fmla="*/ 0 w 7127262"/>
              <a:gd name="connsiteY0" fmla="*/ 7046217 h 7816805"/>
              <a:gd name="connsiteX1" fmla="*/ 869191 w 7127262"/>
              <a:gd name="connsiteY1" fmla="*/ 7144958 h 7816805"/>
              <a:gd name="connsiteX2" fmla="*/ 1773085 w 7127262"/>
              <a:gd name="connsiteY2" fmla="*/ 7801216 h 7816805"/>
              <a:gd name="connsiteX3" fmla="*/ 2851077 w 7127262"/>
              <a:gd name="connsiteY3" fmla="*/ 782974 h 7816805"/>
              <a:gd name="connsiteX4" fmla="*/ 3697369 w 7127262"/>
              <a:gd name="connsiteY4" fmla="*/ 462318 h 7816805"/>
              <a:gd name="connsiteX5" fmla="*/ 4571250 w 7127262"/>
              <a:gd name="connsiteY5" fmla="*/ 237038 h 7816805"/>
              <a:gd name="connsiteX6" fmla="*/ 5384918 w 7127262"/>
              <a:gd name="connsiteY6" fmla="*/ 181747 h 7816805"/>
              <a:gd name="connsiteX7" fmla="*/ 6232111 w 7127262"/>
              <a:gd name="connsiteY7" fmla="*/ 328754 h 7816805"/>
              <a:gd name="connsiteX8" fmla="*/ 7127262 w 7127262"/>
              <a:gd name="connsiteY8" fmla="*/ 2141 h 7816805"/>
              <a:gd name="connsiteX0" fmla="*/ 0 w 7127262"/>
              <a:gd name="connsiteY0" fmla="*/ 7046217 h 7804962"/>
              <a:gd name="connsiteX1" fmla="*/ 869191 w 7127262"/>
              <a:gd name="connsiteY1" fmla="*/ 7144958 h 7804962"/>
              <a:gd name="connsiteX2" fmla="*/ 1773085 w 7127262"/>
              <a:gd name="connsiteY2" fmla="*/ 7801216 h 7804962"/>
              <a:gd name="connsiteX3" fmla="*/ 2527573 w 7127262"/>
              <a:gd name="connsiteY3" fmla="*/ 6809442 h 7804962"/>
              <a:gd name="connsiteX4" fmla="*/ 3697369 w 7127262"/>
              <a:gd name="connsiteY4" fmla="*/ 462318 h 7804962"/>
              <a:gd name="connsiteX5" fmla="*/ 4571250 w 7127262"/>
              <a:gd name="connsiteY5" fmla="*/ 237038 h 7804962"/>
              <a:gd name="connsiteX6" fmla="*/ 5384918 w 7127262"/>
              <a:gd name="connsiteY6" fmla="*/ 181747 h 7804962"/>
              <a:gd name="connsiteX7" fmla="*/ 6232111 w 7127262"/>
              <a:gd name="connsiteY7" fmla="*/ 328754 h 7804962"/>
              <a:gd name="connsiteX8" fmla="*/ 7127262 w 7127262"/>
              <a:gd name="connsiteY8" fmla="*/ 2141 h 7804962"/>
              <a:gd name="connsiteX0" fmla="*/ 0 w 7127262"/>
              <a:gd name="connsiteY0" fmla="*/ 7046217 h 7804962"/>
              <a:gd name="connsiteX1" fmla="*/ 869191 w 7127262"/>
              <a:gd name="connsiteY1" fmla="*/ 7144958 h 7804962"/>
              <a:gd name="connsiteX2" fmla="*/ 1773085 w 7127262"/>
              <a:gd name="connsiteY2" fmla="*/ 7801216 h 7804962"/>
              <a:gd name="connsiteX3" fmla="*/ 2527573 w 7127262"/>
              <a:gd name="connsiteY3" fmla="*/ 6809442 h 7804962"/>
              <a:gd name="connsiteX4" fmla="*/ 3697369 w 7127262"/>
              <a:gd name="connsiteY4" fmla="*/ 462318 h 7804962"/>
              <a:gd name="connsiteX5" fmla="*/ 4571250 w 7127262"/>
              <a:gd name="connsiteY5" fmla="*/ 237038 h 7804962"/>
              <a:gd name="connsiteX6" fmla="*/ 5384918 w 7127262"/>
              <a:gd name="connsiteY6" fmla="*/ 181747 h 7804962"/>
              <a:gd name="connsiteX7" fmla="*/ 6232111 w 7127262"/>
              <a:gd name="connsiteY7" fmla="*/ 328754 h 7804962"/>
              <a:gd name="connsiteX8" fmla="*/ 7127262 w 7127262"/>
              <a:gd name="connsiteY8" fmla="*/ 2141 h 7804962"/>
              <a:gd name="connsiteX0" fmla="*/ 0 w 7127262"/>
              <a:gd name="connsiteY0" fmla="*/ 7046217 h 7804962"/>
              <a:gd name="connsiteX1" fmla="*/ 869191 w 7127262"/>
              <a:gd name="connsiteY1" fmla="*/ 7144958 h 7804962"/>
              <a:gd name="connsiteX2" fmla="*/ 1773085 w 7127262"/>
              <a:gd name="connsiteY2" fmla="*/ 7801216 h 7804962"/>
              <a:gd name="connsiteX3" fmla="*/ 2527573 w 7127262"/>
              <a:gd name="connsiteY3" fmla="*/ 6809442 h 7804962"/>
              <a:gd name="connsiteX4" fmla="*/ 3697369 w 7127262"/>
              <a:gd name="connsiteY4" fmla="*/ 462318 h 7804962"/>
              <a:gd name="connsiteX5" fmla="*/ 4571250 w 7127262"/>
              <a:gd name="connsiteY5" fmla="*/ 237038 h 7804962"/>
              <a:gd name="connsiteX6" fmla="*/ 5384918 w 7127262"/>
              <a:gd name="connsiteY6" fmla="*/ 181747 h 7804962"/>
              <a:gd name="connsiteX7" fmla="*/ 6232111 w 7127262"/>
              <a:gd name="connsiteY7" fmla="*/ 328754 h 7804962"/>
              <a:gd name="connsiteX8" fmla="*/ 7127262 w 7127262"/>
              <a:gd name="connsiteY8" fmla="*/ 2141 h 7804962"/>
              <a:gd name="connsiteX0" fmla="*/ 0 w 7127262"/>
              <a:gd name="connsiteY0" fmla="*/ 7409468 h 8911779"/>
              <a:gd name="connsiteX1" fmla="*/ 869191 w 7127262"/>
              <a:gd name="connsiteY1" fmla="*/ 7508209 h 8911779"/>
              <a:gd name="connsiteX2" fmla="*/ 1773085 w 7127262"/>
              <a:gd name="connsiteY2" fmla="*/ 8164467 h 8911779"/>
              <a:gd name="connsiteX3" fmla="*/ 2527573 w 7127262"/>
              <a:gd name="connsiteY3" fmla="*/ 7172693 h 8911779"/>
              <a:gd name="connsiteX4" fmla="*/ 3419269 w 7127262"/>
              <a:gd name="connsiteY4" fmla="*/ 8402536 h 8911779"/>
              <a:gd name="connsiteX5" fmla="*/ 4571250 w 7127262"/>
              <a:gd name="connsiteY5" fmla="*/ 600289 h 8911779"/>
              <a:gd name="connsiteX6" fmla="*/ 5384918 w 7127262"/>
              <a:gd name="connsiteY6" fmla="*/ 544998 h 8911779"/>
              <a:gd name="connsiteX7" fmla="*/ 6232111 w 7127262"/>
              <a:gd name="connsiteY7" fmla="*/ 692005 h 8911779"/>
              <a:gd name="connsiteX8" fmla="*/ 7127262 w 7127262"/>
              <a:gd name="connsiteY8" fmla="*/ 365392 h 8911779"/>
              <a:gd name="connsiteX0" fmla="*/ 0 w 7127262"/>
              <a:gd name="connsiteY0" fmla="*/ 7409468 h 8402551"/>
              <a:gd name="connsiteX1" fmla="*/ 869191 w 7127262"/>
              <a:gd name="connsiteY1" fmla="*/ 7508209 h 8402551"/>
              <a:gd name="connsiteX2" fmla="*/ 1773085 w 7127262"/>
              <a:gd name="connsiteY2" fmla="*/ 8164467 h 8402551"/>
              <a:gd name="connsiteX3" fmla="*/ 2527573 w 7127262"/>
              <a:gd name="connsiteY3" fmla="*/ 7172693 h 8402551"/>
              <a:gd name="connsiteX4" fmla="*/ 3419269 w 7127262"/>
              <a:gd name="connsiteY4" fmla="*/ 8402536 h 8402551"/>
              <a:gd name="connsiteX5" fmla="*/ 4571250 w 7127262"/>
              <a:gd name="connsiteY5" fmla="*/ 600289 h 8402551"/>
              <a:gd name="connsiteX6" fmla="*/ 5384918 w 7127262"/>
              <a:gd name="connsiteY6" fmla="*/ 544998 h 8402551"/>
              <a:gd name="connsiteX7" fmla="*/ 6232111 w 7127262"/>
              <a:gd name="connsiteY7" fmla="*/ 692005 h 8402551"/>
              <a:gd name="connsiteX8" fmla="*/ 7127262 w 7127262"/>
              <a:gd name="connsiteY8" fmla="*/ 365392 h 8402551"/>
              <a:gd name="connsiteX0" fmla="*/ 0 w 7127262"/>
              <a:gd name="connsiteY0" fmla="*/ 7409468 h 8402551"/>
              <a:gd name="connsiteX1" fmla="*/ 869191 w 7127262"/>
              <a:gd name="connsiteY1" fmla="*/ 7508209 h 8402551"/>
              <a:gd name="connsiteX2" fmla="*/ 1773085 w 7127262"/>
              <a:gd name="connsiteY2" fmla="*/ 8164467 h 8402551"/>
              <a:gd name="connsiteX3" fmla="*/ 2527573 w 7127262"/>
              <a:gd name="connsiteY3" fmla="*/ 7172693 h 8402551"/>
              <a:gd name="connsiteX4" fmla="*/ 3419269 w 7127262"/>
              <a:gd name="connsiteY4" fmla="*/ 8402536 h 8402551"/>
              <a:gd name="connsiteX5" fmla="*/ 4571250 w 7127262"/>
              <a:gd name="connsiteY5" fmla="*/ 600289 h 8402551"/>
              <a:gd name="connsiteX6" fmla="*/ 5384918 w 7127262"/>
              <a:gd name="connsiteY6" fmla="*/ 544998 h 8402551"/>
              <a:gd name="connsiteX7" fmla="*/ 6232111 w 7127262"/>
              <a:gd name="connsiteY7" fmla="*/ 692005 h 8402551"/>
              <a:gd name="connsiteX8" fmla="*/ 7127262 w 7127262"/>
              <a:gd name="connsiteY8" fmla="*/ 365392 h 8402551"/>
              <a:gd name="connsiteX0" fmla="*/ 0 w 7127262"/>
              <a:gd name="connsiteY0" fmla="*/ 7409468 h 8402536"/>
              <a:gd name="connsiteX1" fmla="*/ 869191 w 7127262"/>
              <a:gd name="connsiteY1" fmla="*/ 7508209 h 8402536"/>
              <a:gd name="connsiteX2" fmla="*/ 1773085 w 7127262"/>
              <a:gd name="connsiteY2" fmla="*/ 8164467 h 8402536"/>
              <a:gd name="connsiteX3" fmla="*/ 2527573 w 7127262"/>
              <a:gd name="connsiteY3" fmla="*/ 7172693 h 8402536"/>
              <a:gd name="connsiteX4" fmla="*/ 3419269 w 7127262"/>
              <a:gd name="connsiteY4" fmla="*/ 8402536 h 8402536"/>
              <a:gd name="connsiteX5" fmla="*/ 4571250 w 7127262"/>
              <a:gd name="connsiteY5" fmla="*/ 600289 h 8402536"/>
              <a:gd name="connsiteX6" fmla="*/ 5384918 w 7127262"/>
              <a:gd name="connsiteY6" fmla="*/ 544998 h 8402536"/>
              <a:gd name="connsiteX7" fmla="*/ 6232111 w 7127262"/>
              <a:gd name="connsiteY7" fmla="*/ 692005 h 8402536"/>
              <a:gd name="connsiteX8" fmla="*/ 7127262 w 7127262"/>
              <a:gd name="connsiteY8" fmla="*/ 365392 h 8402536"/>
              <a:gd name="connsiteX0" fmla="*/ 0 w 7127262"/>
              <a:gd name="connsiteY0" fmla="*/ 7413798 h 8465377"/>
              <a:gd name="connsiteX1" fmla="*/ 869191 w 7127262"/>
              <a:gd name="connsiteY1" fmla="*/ 7512539 h 8465377"/>
              <a:gd name="connsiteX2" fmla="*/ 1773085 w 7127262"/>
              <a:gd name="connsiteY2" fmla="*/ 8168797 h 8465377"/>
              <a:gd name="connsiteX3" fmla="*/ 2527573 w 7127262"/>
              <a:gd name="connsiteY3" fmla="*/ 7177023 h 8465377"/>
              <a:gd name="connsiteX4" fmla="*/ 3390892 w 7127262"/>
              <a:gd name="connsiteY4" fmla="*/ 8465377 h 8465377"/>
              <a:gd name="connsiteX5" fmla="*/ 4571250 w 7127262"/>
              <a:gd name="connsiteY5" fmla="*/ 604619 h 8465377"/>
              <a:gd name="connsiteX6" fmla="*/ 5384918 w 7127262"/>
              <a:gd name="connsiteY6" fmla="*/ 549328 h 8465377"/>
              <a:gd name="connsiteX7" fmla="*/ 6232111 w 7127262"/>
              <a:gd name="connsiteY7" fmla="*/ 696335 h 8465377"/>
              <a:gd name="connsiteX8" fmla="*/ 7127262 w 7127262"/>
              <a:gd name="connsiteY8" fmla="*/ 369722 h 8465377"/>
              <a:gd name="connsiteX0" fmla="*/ 0 w 7127262"/>
              <a:gd name="connsiteY0" fmla="*/ 7413798 h 8465377"/>
              <a:gd name="connsiteX1" fmla="*/ 869191 w 7127262"/>
              <a:gd name="connsiteY1" fmla="*/ 7512539 h 8465377"/>
              <a:gd name="connsiteX2" fmla="*/ 1773085 w 7127262"/>
              <a:gd name="connsiteY2" fmla="*/ 8168797 h 8465377"/>
              <a:gd name="connsiteX3" fmla="*/ 2527573 w 7127262"/>
              <a:gd name="connsiteY3" fmla="*/ 7177023 h 8465377"/>
              <a:gd name="connsiteX4" fmla="*/ 3390892 w 7127262"/>
              <a:gd name="connsiteY4" fmla="*/ 8465377 h 8465377"/>
              <a:gd name="connsiteX5" fmla="*/ 4571250 w 7127262"/>
              <a:gd name="connsiteY5" fmla="*/ 604619 h 8465377"/>
              <a:gd name="connsiteX6" fmla="*/ 5384918 w 7127262"/>
              <a:gd name="connsiteY6" fmla="*/ 549328 h 8465377"/>
              <a:gd name="connsiteX7" fmla="*/ 6232111 w 7127262"/>
              <a:gd name="connsiteY7" fmla="*/ 696335 h 8465377"/>
              <a:gd name="connsiteX8" fmla="*/ 7127262 w 7127262"/>
              <a:gd name="connsiteY8" fmla="*/ 369722 h 8465377"/>
              <a:gd name="connsiteX0" fmla="*/ 0 w 7127262"/>
              <a:gd name="connsiteY0" fmla="*/ 7413798 h 8465377"/>
              <a:gd name="connsiteX1" fmla="*/ 869191 w 7127262"/>
              <a:gd name="connsiteY1" fmla="*/ 7512539 h 8465377"/>
              <a:gd name="connsiteX2" fmla="*/ 1773085 w 7127262"/>
              <a:gd name="connsiteY2" fmla="*/ 8168797 h 8465377"/>
              <a:gd name="connsiteX3" fmla="*/ 2527573 w 7127262"/>
              <a:gd name="connsiteY3" fmla="*/ 7177023 h 8465377"/>
              <a:gd name="connsiteX4" fmla="*/ 3390892 w 7127262"/>
              <a:gd name="connsiteY4" fmla="*/ 8465377 h 8465377"/>
              <a:gd name="connsiteX5" fmla="*/ 4571250 w 7127262"/>
              <a:gd name="connsiteY5" fmla="*/ 604619 h 8465377"/>
              <a:gd name="connsiteX6" fmla="*/ 5384918 w 7127262"/>
              <a:gd name="connsiteY6" fmla="*/ 549328 h 8465377"/>
              <a:gd name="connsiteX7" fmla="*/ 6232111 w 7127262"/>
              <a:gd name="connsiteY7" fmla="*/ 696335 h 8465377"/>
              <a:gd name="connsiteX8" fmla="*/ 7127262 w 7127262"/>
              <a:gd name="connsiteY8" fmla="*/ 369722 h 8465377"/>
              <a:gd name="connsiteX0" fmla="*/ 0 w 7127262"/>
              <a:gd name="connsiteY0" fmla="*/ 7102174 h 8153753"/>
              <a:gd name="connsiteX1" fmla="*/ 869191 w 7127262"/>
              <a:gd name="connsiteY1" fmla="*/ 7200915 h 8153753"/>
              <a:gd name="connsiteX2" fmla="*/ 1773085 w 7127262"/>
              <a:gd name="connsiteY2" fmla="*/ 7857173 h 8153753"/>
              <a:gd name="connsiteX3" fmla="*/ 2527573 w 7127262"/>
              <a:gd name="connsiteY3" fmla="*/ 6865399 h 8153753"/>
              <a:gd name="connsiteX4" fmla="*/ 3390892 w 7127262"/>
              <a:gd name="connsiteY4" fmla="*/ 8153753 h 8153753"/>
              <a:gd name="connsiteX5" fmla="*/ 4156938 w 7127262"/>
              <a:gd name="connsiteY5" fmla="*/ 4008345 h 8153753"/>
              <a:gd name="connsiteX6" fmla="*/ 5384918 w 7127262"/>
              <a:gd name="connsiteY6" fmla="*/ 237704 h 8153753"/>
              <a:gd name="connsiteX7" fmla="*/ 6232111 w 7127262"/>
              <a:gd name="connsiteY7" fmla="*/ 384711 h 8153753"/>
              <a:gd name="connsiteX8" fmla="*/ 7127262 w 7127262"/>
              <a:gd name="connsiteY8" fmla="*/ 58098 h 8153753"/>
              <a:gd name="connsiteX0" fmla="*/ 0 w 7127262"/>
              <a:gd name="connsiteY0" fmla="*/ 7046220 h 8097799"/>
              <a:gd name="connsiteX1" fmla="*/ 869191 w 7127262"/>
              <a:gd name="connsiteY1" fmla="*/ 7144961 h 8097799"/>
              <a:gd name="connsiteX2" fmla="*/ 1773085 w 7127262"/>
              <a:gd name="connsiteY2" fmla="*/ 7801219 h 8097799"/>
              <a:gd name="connsiteX3" fmla="*/ 2527573 w 7127262"/>
              <a:gd name="connsiteY3" fmla="*/ 6809445 h 8097799"/>
              <a:gd name="connsiteX4" fmla="*/ 3390892 w 7127262"/>
              <a:gd name="connsiteY4" fmla="*/ 8097799 h 8097799"/>
              <a:gd name="connsiteX5" fmla="*/ 4156938 w 7127262"/>
              <a:gd name="connsiteY5" fmla="*/ 3952391 h 8097799"/>
              <a:gd name="connsiteX6" fmla="*/ 5061414 w 7127262"/>
              <a:gd name="connsiteY6" fmla="*/ 5272070 h 8097799"/>
              <a:gd name="connsiteX7" fmla="*/ 6232111 w 7127262"/>
              <a:gd name="connsiteY7" fmla="*/ 328757 h 8097799"/>
              <a:gd name="connsiteX8" fmla="*/ 7127262 w 7127262"/>
              <a:gd name="connsiteY8" fmla="*/ 2144 h 8097799"/>
              <a:gd name="connsiteX0" fmla="*/ 0 w 7127262"/>
              <a:gd name="connsiteY0" fmla="*/ 7046220 h 8097799"/>
              <a:gd name="connsiteX1" fmla="*/ 869191 w 7127262"/>
              <a:gd name="connsiteY1" fmla="*/ 7144961 h 8097799"/>
              <a:gd name="connsiteX2" fmla="*/ 1773085 w 7127262"/>
              <a:gd name="connsiteY2" fmla="*/ 7801219 h 8097799"/>
              <a:gd name="connsiteX3" fmla="*/ 2527573 w 7127262"/>
              <a:gd name="connsiteY3" fmla="*/ 6809445 h 8097799"/>
              <a:gd name="connsiteX4" fmla="*/ 3390892 w 7127262"/>
              <a:gd name="connsiteY4" fmla="*/ 8097799 h 8097799"/>
              <a:gd name="connsiteX5" fmla="*/ 4156938 w 7127262"/>
              <a:gd name="connsiteY5" fmla="*/ 3952391 h 8097799"/>
              <a:gd name="connsiteX6" fmla="*/ 5061414 w 7127262"/>
              <a:gd name="connsiteY6" fmla="*/ 5272070 h 8097799"/>
              <a:gd name="connsiteX7" fmla="*/ 6232111 w 7127262"/>
              <a:gd name="connsiteY7" fmla="*/ 328757 h 8097799"/>
              <a:gd name="connsiteX8" fmla="*/ 7127262 w 7127262"/>
              <a:gd name="connsiteY8" fmla="*/ 2144 h 8097799"/>
              <a:gd name="connsiteX0" fmla="*/ 0 w 7127262"/>
              <a:gd name="connsiteY0" fmla="*/ 7044241 h 8095820"/>
              <a:gd name="connsiteX1" fmla="*/ 869191 w 7127262"/>
              <a:gd name="connsiteY1" fmla="*/ 7142982 h 8095820"/>
              <a:gd name="connsiteX2" fmla="*/ 1773085 w 7127262"/>
              <a:gd name="connsiteY2" fmla="*/ 7799240 h 8095820"/>
              <a:gd name="connsiteX3" fmla="*/ 2527573 w 7127262"/>
              <a:gd name="connsiteY3" fmla="*/ 6807466 h 8095820"/>
              <a:gd name="connsiteX4" fmla="*/ 3390892 w 7127262"/>
              <a:gd name="connsiteY4" fmla="*/ 8095820 h 8095820"/>
              <a:gd name="connsiteX5" fmla="*/ 4156938 w 7127262"/>
              <a:gd name="connsiteY5" fmla="*/ 3950412 h 8095820"/>
              <a:gd name="connsiteX6" fmla="*/ 5061414 w 7127262"/>
              <a:gd name="connsiteY6" fmla="*/ 5270091 h 8095820"/>
              <a:gd name="connsiteX7" fmla="*/ 5829149 w 7127262"/>
              <a:gd name="connsiteY7" fmla="*/ 5183062 h 8095820"/>
              <a:gd name="connsiteX8" fmla="*/ 7127262 w 7127262"/>
              <a:gd name="connsiteY8" fmla="*/ 165 h 8095820"/>
              <a:gd name="connsiteX0" fmla="*/ 0 w 6769704"/>
              <a:gd name="connsiteY0" fmla="*/ 3475505 h 4527084"/>
              <a:gd name="connsiteX1" fmla="*/ 869191 w 6769704"/>
              <a:gd name="connsiteY1" fmla="*/ 3574246 h 4527084"/>
              <a:gd name="connsiteX2" fmla="*/ 1773085 w 6769704"/>
              <a:gd name="connsiteY2" fmla="*/ 4230504 h 4527084"/>
              <a:gd name="connsiteX3" fmla="*/ 2527573 w 6769704"/>
              <a:gd name="connsiteY3" fmla="*/ 3238730 h 4527084"/>
              <a:gd name="connsiteX4" fmla="*/ 3390892 w 6769704"/>
              <a:gd name="connsiteY4" fmla="*/ 4527084 h 4527084"/>
              <a:gd name="connsiteX5" fmla="*/ 4156938 w 6769704"/>
              <a:gd name="connsiteY5" fmla="*/ 381676 h 4527084"/>
              <a:gd name="connsiteX6" fmla="*/ 5061414 w 6769704"/>
              <a:gd name="connsiteY6" fmla="*/ 1701355 h 4527084"/>
              <a:gd name="connsiteX7" fmla="*/ 5829149 w 6769704"/>
              <a:gd name="connsiteY7" fmla="*/ 1614326 h 4527084"/>
              <a:gd name="connsiteX8" fmla="*/ 6769704 w 6769704"/>
              <a:gd name="connsiteY8" fmla="*/ 507 h 4527084"/>
              <a:gd name="connsiteX0" fmla="*/ 0 w 6747002"/>
              <a:gd name="connsiteY0" fmla="*/ 3180817 h 4232396"/>
              <a:gd name="connsiteX1" fmla="*/ 869191 w 6747002"/>
              <a:gd name="connsiteY1" fmla="*/ 3279558 h 4232396"/>
              <a:gd name="connsiteX2" fmla="*/ 1773085 w 6747002"/>
              <a:gd name="connsiteY2" fmla="*/ 3935816 h 4232396"/>
              <a:gd name="connsiteX3" fmla="*/ 2527573 w 6747002"/>
              <a:gd name="connsiteY3" fmla="*/ 2944042 h 4232396"/>
              <a:gd name="connsiteX4" fmla="*/ 3390892 w 6747002"/>
              <a:gd name="connsiteY4" fmla="*/ 4232396 h 4232396"/>
              <a:gd name="connsiteX5" fmla="*/ 4156938 w 6747002"/>
              <a:gd name="connsiteY5" fmla="*/ 86988 h 4232396"/>
              <a:gd name="connsiteX6" fmla="*/ 5061414 w 6747002"/>
              <a:gd name="connsiteY6" fmla="*/ 1406667 h 4232396"/>
              <a:gd name="connsiteX7" fmla="*/ 5829149 w 6747002"/>
              <a:gd name="connsiteY7" fmla="*/ 1319638 h 4232396"/>
              <a:gd name="connsiteX8" fmla="*/ 6747002 w 6747002"/>
              <a:gd name="connsiteY8" fmla="*/ 1168554 h 4232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47002" h="4232396">
                <a:moveTo>
                  <a:pt x="0" y="3180817"/>
                </a:moveTo>
                <a:cubicBezTo>
                  <a:pt x="541990" y="3174238"/>
                  <a:pt x="573677" y="3153725"/>
                  <a:pt x="869191" y="3279558"/>
                </a:cubicBezTo>
                <a:cubicBezTo>
                  <a:pt x="1164705" y="3405391"/>
                  <a:pt x="1496688" y="3991735"/>
                  <a:pt x="1773085" y="3935816"/>
                </a:cubicBezTo>
                <a:cubicBezTo>
                  <a:pt x="2049482" y="3879897"/>
                  <a:pt x="2226176" y="3539651"/>
                  <a:pt x="2527573" y="2944042"/>
                </a:cubicBezTo>
                <a:cubicBezTo>
                  <a:pt x="2968585" y="1003864"/>
                  <a:pt x="2893126" y="3422630"/>
                  <a:pt x="3390892" y="4232396"/>
                </a:cubicBezTo>
                <a:cubicBezTo>
                  <a:pt x="3762974" y="3512719"/>
                  <a:pt x="3878518" y="557943"/>
                  <a:pt x="4156938" y="86988"/>
                </a:cubicBezTo>
                <a:cubicBezTo>
                  <a:pt x="4435358" y="-383967"/>
                  <a:pt x="4782712" y="1201225"/>
                  <a:pt x="5061414" y="1406667"/>
                </a:cubicBezTo>
                <a:cubicBezTo>
                  <a:pt x="5340116" y="1612109"/>
                  <a:pt x="5521784" y="1304255"/>
                  <a:pt x="5829149" y="1319638"/>
                </a:cubicBezTo>
                <a:cubicBezTo>
                  <a:pt x="6136514" y="1335021"/>
                  <a:pt x="6582071" y="1134836"/>
                  <a:pt x="6747002" y="1168554"/>
                </a:cubicBezTo>
              </a:path>
            </a:pathLst>
          </a:custGeom>
          <a:noFill/>
          <a:ln w="136525" cap="rnd" cmpd="sng" algn="ctr">
            <a:solidFill>
              <a:srgbClr val="32E9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74216700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Group 29"/>
          <p:cNvGraphicFramePr>
            <a:graphicFrameLocks noGrp="1"/>
          </p:cNvGraphicFramePr>
          <p:nvPr>
            <p:extLst>
              <p:ext uri="{D42A27DB-BD31-4B8C-83A1-F6EECF244321}">
                <p14:modId xmlns:p14="http://schemas.microsoft.com/office/powerpoint/2010/main" val="188905780"/>
              </p:ext>
            </p:extLst>
          </p:nvPr>
        </p:nvGraphicFramePr>
        <p:xfrm>
          <a:off x="373085" y="840879"/>
          <a:ext cx="11445832" cy="5968584"/>
        </p:xfrm>
        <a:graphic>
          <a:graphicData uri="http://schemas.openxmlformats.org/drawingml/2006/table">
            <a:tbl>
              <a:tblPr/>
              <a:tblGrid>
                <a:gridCol w="1923228">
                  <a:extLst>
                    <a:ext uri="{9D8B030D-6E8A-4147-A177-3AD203B41FA5}">
                      <a16:colId xmlns:a16="http://schemas.microsoft.com/office/drawing/2014/main" val="20000"/>
                    </a:ext>
                  </a:extLst>
                </a:gridCol>
                <a:gridCol w="4761302">
                  <a:extLst>
                    <a:ext uri="{9D8B030D-6E8A-4147-A177-3AD203B41FA5}">
                      <a16:colId xmlns:a16="http://schemas.microsoft.com/office/drawing/2014/main" val="20001"/>
                    </a:ext>
                  </a:extLst>
                </a:gridCol>
                <a:gridCol w="4761302">
                  <a:extLst>
                    <a:ext uri="{9D8B030D-6E8A-4147-A177-3AD203B41FA5}">
                      <a16:colId xmlns:a16="http://schemas.microsoft.com/office/drawing/2014/main" val="20002"/>
                    </a:ext>
                  </a:extLst>
                </a:gridCol>
              </a:tblGrid>
              <a:tr h="43200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50" b="1" i="0" u="none" strike="noStrike" cap="none" normalizeH="0" baseline="0" dirty="0">
                        <a:ln>
                          <a:noFill/>
                        </a:ln>
                        <a:solidFill>
                          <a:srgbClr val="002776"/>
                        </a:solidFill>
                        <a:effectLst/>
                        <a:latin typeface="+mj-lt"/>
                        <a:cs typeface="Arial" pitchFamily="34" charset="0"/>
                      </a:endParaRPr>
                    </a:p>
                  </a:txBody>
                  <a:tcPr marL="54864" marR="54864" marT="36576" marB="3657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Key</a:t>
                      </a:r>
                      <a:r>
                        <a:rPr lang="en-US" altLang="en-US" sz="1050" b="1" kern="1200" baseline="0" dirty="0">
                          <a:solidFill>
                            <a:schemeClr val="bg1"/>
                          </a:solidFill>
                          <a:latin typeface="+mn-lt"/>
                          <a:ea typeface="+mn-ea"/>
                          <a:cs typeface="+mn-cs"/>
                        </a:rPr>
                        <a:t> Observations</a:t>
                      </a:r>
                      <a:endParaRPr lang="en-US" altLang="en-US" sz="1050" b="1" kern="1200" dirty="0">
                        <a:solidFill>
                          <a:schemeClr val="bg1"/>
                        </a:solidFill>
                        <a:latin typeface="+mn-lt"/>
                        <a:ea typeface="+mn-ea"/>
                        <a:cs typeface="+mn-cs"/>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Business Implica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432000">
                <a:tc>
                  <a:txBody>
                    <a:bodyPr/>
                    <a:lstStyle/>
                    <a:p>
                      <a:pPr algn="l"/>
                      <a:r>
                        <a:rPr lang="en-US" sz="1050" b="1" dirty="0">
                          <a:solidFill>
                            <a:schemeClr val="bg1"/>
                          </a:solidFill>
                        </a:rPr>
                        <a:t>Model-Based Product Defini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1050" dirty="0">
                          <a:solidFill>
                            <a:schemeClr val="tx1"/>
                          </a:solidFill>
                        </a:rPr>
                        <a:t>MSBU: 3D model</a:t>
                      </a:r>
                      <a:r>
                        <a:rPr lang="en-US" sz="1050" baseline="0" dirty="0">
                          <a:solidFill>
                            <a:schemeClr val="tx1"/>
                          </a:solidFill>
                        </a:rPr>
                        <a:t> is utilized to create the 2D drawing; except for pockets of simulations  </a:t>
                      </a:r>
                      <a:endParaRPr lang="en-US" sz="1050" dirty="0">
                        <a:solidFill>
                          <a:schemeClr val="tx1"/>
                        </a:solidFill>
                      </a:endParaRPr>
                    </a:p>
                    <a:p>
                      <a:pPr marL="171450" indent="-171450">
                        <a:lnSpc>
                          <a:spcPct val="100000"/>
                        </a:lnSpc>
                        <a:spcBef>
                          <a:spcPts val="0"/>
                        </a:spcBef>
                        <a:buFont typeface="Arial" panose="020B0604020202020204" pitchFamily="34" charset="0"/>
                        <a:buChar char="•"/>
                      </a:pPr>
                      <a:r>
                        <a:rPr lang="en-US" sz="1050" dirty="0">
                          <a:solidFill>
                            <a:schemeClr val="tx1"/>
                          </a:solidFill>
                        </a:rPr>
                        <a:t>PSBU: Drawing is the master</a:t>
                      </a:r>
                      <a:r>
                        <a:rPr lang="en-US" sz="1050" baseline="0" dirty="0">
                          <a:solidFill>
                            <a:schemeClr val="tx1"/>
                          </a:solidFill>
                        </a:rPr>
                        <a:t> and the model is only utilized upfront and manual data connections are required</a:t>
                      </a:r>
                      <a:endParaRPr lang="en-US"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Data is soloed Molex</a:t>
                      </a:r>
                      <a:r>
                        <a:rPr lang="en-US" altLang="ja-JP" sz="1050" baseline="0" dirty="0">
                          <a:solidFill>
                            <a:schemeClr val="tx1"/>
                          </a:solidFill>
                        </a:rPr>
                        <a:t> is losing a lot of value by not connecting the model to all relevant data (simulations, analysis, testing results, etc.</a:t>
                      </a:r>
                    </a:p>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Limited capability here has held Molex back from exploring other digital capabilities </a:t>
                      </a:r>
                      <a:endParaRPr lang="ja-JP" altLang="en-US"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432000">
                <a:tc>
                  <a:txBody>
                    <a:bodyPr/>
                    <a:lstStyle/>
                    <a:p>
                      <a:pPr algn="l"/>
                      <a:r>
                        <a:rPr lang="en-US" sz="1050" b="1" dirty="0">
                          <a:solidFill>
                            <a:schemeClr val="bg1"/>
                          </a:solidFill>
                        </a:rPr>
                        <a:t>Real-Time Collabor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MSBU: No</a:t>
                      </a:r>
                      <a:r>
                        <a:rPr lang="en-US" altLang="ja-JP" sz="1050" baseline="0" dirty="0">
                          <a:solidFill>
                            <a:schemeClr val="tx1"/>
                          </a:solidFill>
                        </a:rPr>
                        <a:t> real-time collaboration with several tools and rely on check-in / check-out methodology forcing version control</a:t>
                      </a:r>
                      <a:endParaRPr lang="en-US" altLang="ja-JP" sz="1050" dirty="0">
                        <a:solidFill>
                          <a:schemeClr val="tx1"/>
                        </a:solidFill>
                      </a:endParaRPr>
                    </a:p>
                    <a:p>
                      <a:pPr marL="171450" indent="-171450">
                        <a:lnSpc>
                          <a:spcPct val="100000"/>
                        </a:lnSpc>
                        <a:spcBef>
                          <a:spcPts val="0"/>
                        </a:spcBef>
                        <a:buFont typeface="Arial" panose="020B0604020202020204" pitchFamily="34" charset="0"/>
                        <a:buChar char="•"/>
                      </a:pPr>
                      <a:r>
                        <a:rPr lang="en-US" altLang="ja-JP" sz="1050" dirty="0">
                          <a:solidFill>
                            <a:schemeClr val="tx1"/>
                          </a:solidFill>
                        </a:rPr>
                        <a:t>PSBU:</a:t>
                      </a:r>
                      <a:r>
                        <a:rPr lang="en-US" altLang="ja-JP" sz="1050" baseline="0" dirty="0">
                          <a:solidFill>
                            <a:schemeClr val="tx1"/>
                          </a:solidFill>
                        </a:rPr>
                        <a:t> Manual collaboration is required very limited real-time instances</a:t>
                      </a:r>
                      <a:endParaRPr lang="en-US" altLang="ja-JP"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dirty="0">
                          <a:solidFill>
                            <a:schemeClr val="tx1"/>
                          </a:solidFill>
                        </a:rPr>
                        <a:t>Molex finds</a:t>
                      </a:r>
                      <a:r>
                        <a:rPr lang="en-US" altLang="ja-JP" sz="1050" baseline="0" dirty="0">
                          <a:solidFill>
                            <a:schemeClr val="tx1"/>
                          </a:solidFill>
                        </a:rPr>
                        <a:t> value of real-time collaboration both internally and externally; currently tools need to be upgraded to allow</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baseline="0" dirty="0">
                          <a:solidFill>
                            <a:schemeClr val="tx1"/>
                          </a:solidFill>
                        </a:rPr>
                        <a:t>Fluid compatibility with suppliers / customers is required for any value to be achieved; disconnect will make this worthless </a:t>
                      </a:r>
                      <a:endParaRPr lang="en-US" altLang="ja-JP"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mn-lt"/>
                          <a:ea typeface="+mn-ea"/>
                          <a:cs typeface="Arial" pitchFamily="34" charset="0"/>
                        </a:rPr>
                        <a:t>Rapid Design Optimiz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MSBU: Simulations / 3D modeling is currently being completely but due to creating</a:t>
                      </a:r>
                      <a:r>
                        <a:rPr lang="en-US" altLang="ja-JP" sz="1050" baseline="0" dirty="0">
                          <a:solidFill>
                            <a:schemeClr val="tx1"/>
                          </a:solidFill>
                        </a:rPr>
                        <a:t> micro products the team is limited </a:t>
                      </a:r>
                      <a:endParaRPr lang="en-US" altLang="ja-JP" sz="1050" dirty="0">
                        <a:solidFill>
                          <a:schemeClr val="tx1"/>
                        </a:solidFill>
                      </a:endParaRPr>
                    </a:p>
                    <a:p>
                      <a:pPr marL="171450" indent="-171450">
                        <a:lnSpc>
                          <a:spcPct val="100000"/>
                        </a:lnSpc>
                        <a:spcBef>
                          <a:spcPts val="0"/>
                        </a:spcBef>
                        <a:buFont typeface="Arial" panose="020B0604020202020204" pitchFamily="34" charset="0"/>
                        <a:buChar char="•"/>
                      </a:pPr>
                      <a:r>
                        <a:rPr lang="en-US" altLang="ja-JP" sz="1050" dirty="0">
                          <a:solidFill>
                            <a:schemeClr val="tx1"/>
                          </a:solidFill>
                        </a:rPr>
                        <a:t>PSBU: Limited usage of additive or AR / VR to optimize design;</a:t>
                      </a:r>
                      <a:r>
                        <a:rPr lang="en-US" altLang="ja-JP" sz="1050" baseline="0" dirty="0">
                          <a:solidFill>
                            <a:schemeClr val="tx1"/>
                          </a:solidFill>
                        </a:rPr>
                        <a:t> CAD and pockets of simulations are utilized today</a:t>
                      </a:r>
                      <a:endParaRPr lang="en-US" altLang="ja-JP"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1050" baseline="0" dirty="0">
                          <a:solidFill>
                            <a:schemeClr val="tx1"/>
                          </a:solidFill>
                        </a:rPr>
                        <a:t>Speed to market is pivotal but the team perceived diminishing returns due to tooling being the longest lead item not being addressed by this capability </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0" normalizeH="0" baseline="0" noProof="0" dirty="0">
                          <a:ln>
                            <a:noFill/>
                          </a:ln>
                          <a:solidFill>
                            <a:prstClr val="white"/>
                          </a:solidFill>
                          <a:effectLst/>
                          <a:uLnTx/>
                          <a:uFillTx/>
                          <a:latin typeface="+mn-lt"/>
                          <a:ea typeface="+mn-ea"/>
                          <a:cs typeface="+mn-cs"/>
                        </a:rPr>
                        <a:t>Robotic Process Autom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MSBU: Technology being utilized in pockets but does not have a strategic vision or roadmap</a:t>
                      </a:r>
                    </a:p>
                    <a:p>
                      <a:pPr marL="171450" indent="-171450">
                        <a:lnSpc>
                          <a:spcPct val="100000"/>
                        </a:lnSpc>
                        <a:spcBef>
                          <a:spcPts val="0"/>
                        </a:spcBef>
                        <a:buFont typeface="Arial" panose="020B0604020202020204" pitchFamily="34" charset="0"/>
                        <a:buChar char="•"/>
                      </a:pPr>
                      <a:r>
                        <a:rPr lang="en-US" altLang="ja-JP" sz="1050" dirty="0">
                          <a:solidFill>
                            <a:schemeClr val="tx1"/>
                          </a:solidFill>
                        </a:rPr>
                        <a:t>PSBU: Very similar to M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1050" baseline="0" dirty="0">
                          <a:solidFill>
                            <a:schemeClr val="tx1"/>
                          </a:solidFill>
                        </a:rPr>
                        <a:t>RPA is a strong technology but use-cases / usage will be limited (e.g. SAP data entry, design validation, etc.)</a:t>
                      </a:r>
                    </a:p>
                    <a:p>
                      <a:pPr marL="171450" indent="-171450">
                        <a:lnSpc>
                          <a:spcPct val="100000"/>
                        </a:lnSpc>
                        <a:spcBef>
                          <a:spcPts val="0"/>
                        </a:spcBef>
                        <a:buFont typeface="Arial" panose="020B0604020202020204" pitchFamily="34" charset="0"/>
                        <a:buChar char="•"/>
                      </a:pPr>
                      <a:r>
                        <a:rPr lang="en-US" sz="1050" baseline="0" dirty="0">
                          <a:solidFill>
                            <a:schemeClr val="tx1"/>
                          </a:solidFill>
                        </a:rPr>
                        <a:t>Frequent complex designs limits the applicability of the capability </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96658287"/>
                  </a:ext>
                </a:extLst>
              </a:tr>
              <a:tr h="432000">
                <a:tc>
                  <a:txBody>
                    <a:bodyPr/>
                    <a:lstStyle/>
                    <a:p>
                      <a:pPr algn="l"/>
                      <a:r>
                        <a:rPr lang="en-US" sz="1050" b="1" dirty="0">
                          <a:solidFill>
                            <a:schemeClr val="bg1"/>
                          </a:solidFill>
                        </a:rPr>
                        <a:t>Model-Based Manufacturing</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MSBU: Capability is utilized</a:t>
                      </a:r>
                      <a:r>
                        <a:rPr lang="en-US" altLang="ja-JP" sz="1050" baseline="0" dirty="0">
                          <a:solidFill>
                            <a:schemeClr val="tx1"/>
                          </a:solidFill>
                        </a:rPr>
                        <a:t> in the pocket</a:t>
                      </a:r>
                      <a:r>
                        <a:rPr lang="en-US" altLang="ja-JP" sz="1050" dirty="0">
                          <a:solidFill>
                            <a:schemeClr val="tx1"/>
                          </a:solidFill>
                        </a:rPr>
                        <a:t>,</a:t>
                      </a:r>
                      <a:r>
                        <a:rPr lang="en-US" altLang="ja-JP" sz="1050" baseline="0" dirty="0">
                          <a:solidFill>
                            <a:schemeClr val="tx1"/>
                          </a:solidFill>
                        </a:rPr>
                        <a:t> limited process simulation</a:t>
                      </a:r>
                      <a:endParaRPr lang="en-US" altLang="ja-JP" sz="1050" dirty="0">
                        <a:solidFill>
                          <a:schemeClr val="tx1"/>
                        </a:solidFill>
                      </a:endParaRPr>
                    </a:p>
                    <a:p>
                      <a:pPr marL="171450" indent="-171450">
                        <a:lnSpc>
                          <a:spcPct val="100000"/>
                        </a:lnSpc>
                        <a:spcBef>
                          <a:spcPts val="0"/>
                        </a:spcBef>
                        <a:buFont typeface="Arial" panose="020B0604020202020204" pitchFamily="34" charset="0"/>
                        <a:buChar char="•"/>
                      </a:pPr>
                      <a:r>
                        <a:rPr lang="en-US" altLang="ja-JP" sz="1050" dirty="0">
                          <a:solidFill>
                            <a:schemeClr val="tx1"/>
                          </a:solidFill>
                        </a:rPr>
                        <a:t>PSBU: Rely on tribal knowledge</a:t>
                      </a:r>
                      <a:r>
                        <a:rPr lang="en-US" altLang="ja-JP" sz="1050" baseline="0" dirty="0">
                          <a:solidFill>
                            <a:schemeClr val="tx1"/>
                          </a:solidFill>
                        </a:rPr>
                        <a:t> to know if the manufacturability of the product is satisfactory </a:t>
                      </a:r>
                      <a:endParaRPr lang="en-US" altLang="ja-JP"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1050" b="0" baseline="0" dirty="0">
                          <a:solidFill>
                            <a:schemeClr val="tx1"/>
                          </a:solidFill>
                        </a:rPr>
                        <a:t>Critical functionality to drive Molex towards having smart factories, allowing the company be connected from product ideation through sustainment </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3551714"/>
                  </a:ext>
                </a:extLst>
              </a:tr>
              <a:tr h="432000">
                <a:tc>
                  <a:txBody>
                    <a:bodyPr/>
                    <a:lstStyle/>
                    <a:p>
                      <a:pPr algn="l"/>
                      <a:r>
                        <a:rPr lang="en-US" sz="1050" b="1" dirty="0">
                          <a:solidFill>
                            <a:schemeClr val="bg1"/>
                          </a:solidFill>
                        </a:rPr>
                        <a:t>Real-Time Product Intelligence</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MSBU: N/A</a:t>
                      </a:r>
                    </a:p>
                    <a:p>
                      <a:pPr marL="171450" indent="-171450">
                        <a:lnSpc>
                          <a:spcPct val="100000"/>
                        </a:lnSpc>
                        <a:spcBef>
                          <a:spcPts val="0"/>
                        </a:spcBef>
                        <a:buFont typeface="Arial" panose="020B0604020202020204" pitchFamily="34" charset="0"/>
                        <a:buChar char="•"/>
                      </a:pPr>
                      <a:r>
                        <a:rPr lang="en-US" altLang="ja-JP" sz="1050" dirty="0">
                          <a:solidFill>
                            <a:schemeClr val="tx1"/>
                          </a:solidFill>
                        </a:rPr>
                        <a:t>PSBU: N/A</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1050" b="0" baseline="0" dirty="0">
                          <a:solidFill>
                            <a:schemeClr val="tx1"/>
                          </a:solidFill>
                        </a:rPr>
                        <a:t>Extremely limited applicability due to the products / way the products are being utilized in the market</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86354471"/>
                  </a:ext>
                </a:extLst>
              </a:tr>
              <a:tr h="432000">
                <a:tc>
                  <a:txBody>
                    <a:bodyPr/>
                    <a:lstStyle/>
                    <a:p>
                      <a:pPr algn="l"/>
                      <a:r>
                        <a:rPr lang="en-US" sz="1050" b="1" dirty="0">
                          <a:solidFill>
                            <a:schemeClr val="bg1"/>
                          </a:solidFill>
                        </a:rPr>
                        <a:t>Virtual / Augmented Reality</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MSBU: Capability is being explored but not currently utilized within</a:t>
                      </a:r>
                      <a:r>
                        <a:rPr lang="en-US" altLang="ja-JP" sz="1050" baseline="0" dirty="0">
                          <a:solidFill>
                            <a:schemeClr val="tx1"/>
                          </a:solidFill>
                        </a:rPr>
                        <a:t> the group</a:t>
                      </a:r>
                      <a:endParaRPr lang="en-US" altLang="ja-JP" sz="1050" dirty="0">
                        <a:solidFill>
                          <a:schemeClr val="tx1"/>
                        </a:solidFill>
                      </a:endParaRPr>
                    </a:p>
                    <a:p>
                      <a:pPr marL="171450" indent="-171450">
                        <a:lnSpc>
                          <a:spcPct val="100000"/>
                        </a:lnSpc>
                        <a:spcBef>
                          <a:spcPts val="0"/>
                        </a:spcBef>
                        <a:buFont typeface="Arial" panose="020B0604020202020204" pitchFamily="34" charset="0"/>
                        <a:buChar char="•"/>
                      </a:pPr>
                      <a:r>
                        <a:rPr lang="en-US" altLang="ja-JP" sz="1050" dirty="0">
                          <a:solidFill>
                            <a:schemeClr val="tx1"/>
                          </a:solidFill>
                        </a:rPr>
                        <a:t>PSBU: Similar</a:t>
                      </a:r>
                      <a:r>
                        <a:rPr lang="en-US" altLang="ja-JP" sz="1050" baseline="0" dirty="0">
                          <a:solidFill>
                            <a:schemeClr val="tx1"/>
                          </a:solidFill>
                        </a:rPr>
                        <a:t> to MSBU</a:t>
                      </a:r>
                      <a:endParaRPr lang="en-US" altLang="ja-JP"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1050" baseline="0" dirty="0">
                          <a:solidFill>
                            <a:schemeClr val="tx1"/>
                          </a:solidFill>
                        </a:rPr>
                        <a:t>Limited value driven use-cases does not make these a priority for Molex (e.g. design concurrently across locations, certification of workers, etc.)</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46147242"/>
                  </a:ext>
                </a:extLst>
              </a:tr>
              <a:tr h="432000">
                <a:tc>
                  <a:txBody>
                    <a:bodyPr/>
                    <a:lstStyle/>
                    <a:p>
                      <a:pPr algn="l"/>
                      <a:r>
                        <a:rPr lang="en-US" sz="1050" b="1" dirty="0">
                          <a:solidFill>
                            <a:schemeClr val="bg1"/>
                          </a:solidFill>
                        </a:rPr>
                        <a:t>Digital Twi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MSBU: Currently have electronic representation but not a virtual twin yet; the data is currently</a:t>
                      </a:r>
                      <a:r>
                        <a:rPr lang="en-US" altLang="ja-JP" sz="1050" baseline="0" dirty="0">
                          <a:solidFill>
                            <a:schemeClr val="tx1"/>
                          </a:solidFill>
                        </a:rPr>
                        <a:t> connected in this manner</a:t>
                      </a:r>
                      <a:endParaRPr lang="en-US" altLang="ja-JP" sz="1050" dirty="0">
                        <a:solidFill>
                          <a:schemeClr val="tx1"/>
                        </a:solidFill>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dirty="0">
                          <a:solidFill>
                            <a:schemeClr val="tx1"/>
                          </a:solidFill>
                        </a:rPr>
                        <a:t>PSBU: Similar</a:t>
                      </a:r>
                      <a:r>
                        <a:rPr lang="en-US" altLang="ja-JP" sz="1050" baseline="0" dirty="0">
                          <a:solidFill>
                            <a:schemeClr val="tx1"/>
                          </a:solidFill>
                        </a:rPr>
                        <a:t> to MSBU</a:t>
                      </a:r>
                      <a:endParaRPr lang="en-US" altLang="ja-JP"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baseline="0" dirty="0">
                          <a:solidFill>
                            <a:schemeClr val="tx1"/>
                          </a:solidFill>
                        </a:rPr>
                        <a:t>Concept is foreign to the group and understand the applicability but cannot fully in vision how this capability will work in the future</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9054611"/>
                  </a:ext>
                </a:extLst>
              </a:tr>
              <a:tr h="432000">
                <a:tc>
                  <a:txBody>
                    <a:bodyPr/>
                    <a:lstStyle/>
                    <a:p>
                      <a:pPr algn="l"/>
                      <a:r>
                        <a:rPr lang="en-US" sz="1050" b="1" dirty="0">
                          <a:solidFill>
                            <a:schemeClr val="bg1"/>
                          </a:solidFill>
                        </a:rPr>
                        <a:t>Connected Customer Experience</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MSBU: Limited</a:t>
                      </a:r>
                      <a:r>
                        <a:rPr lang="en-US" altLang="ja-JP" sz="1050" baseline="0" dirty="0">
                          <a:solidFill>
                            <a:schemeClr val="tx1"/>
                          </a:solidFill>
                        </a:rPr>
                        <a:t> usage / applicability </a:t>
                      </a:r>
                      <a:endParaRPr lang="en-US" altLang="ja-JP" sz="1050" dirty="0">
                        <a:solidFill>
                          <a:schemeClr val="tx1"/>
                        </a:solidFill>
                      </a:endParaRPr>
                    </a:p>
                    <a:p>
                      <a:pPr marL="171450" indent="-171450">
                        <a:lnSpc>
                          <a:spcPct val="100000"/>
                        </a:lnSpc>
                        <a:spcBef>
                          <a:spcPts val="0"/>
                        </a:spcBef>
                        <a:buFont typeface="Arial" panose="020B0604020202020204" pitchFamily="34" charset="0"/>
                        <a:buChar char="•"/>
                      </a:pPr>
                      <a:r>
                        <a:rPr lang="en-US" altLang="ja-JP" sz="1050" dirty="0">
                          <a:solidFill>
                            <a:schemeClr val="tx1"/>
                          </a:solidFill>
                        </a:rPr>
                        <a:t>PSBU: Same</a:t>
                      </a:r>
                      <a:r>
                        <a:rPr lang="en-US" altLang="ja-JP" sz="1050" baseline="0" dirty="0">
                          <a:solidFill>
                            <a:schemeClr val="tx1"/>
                          </a:solidFill>
                        </a:rPr>
                        <a:t> as above</a:t>
                      </a:r>
                      <a:endParaRPr lang="en-US" altLang="ja-JP"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1050" b="0" baseline="0" dirty="0">
                          <a:solidFill>
                            <a:schemeClr val="tx1"/>
                          </a:solidFill>
                        </a:rPr>
                        <a:t>Molex can creatively y utilize these capability to differentiate but in most cases / products the capability is not applicable </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4600831"/>
                  </a:ext>
                </a:extLst>
              </a:tr>
            </a:tbl>
          </a:graphicData>
        </a:graphic>
      </p:graphicFrame>
      <p:sp>
        <p:nvSpPr>
          <p:cNvPr id="4" name="Title 3">
            <a:extLst>
              <a:ext uri="{FF2B5EF4-FFF2-40B4-BE49-F238E27FC236}">
                <a16:creationId xmlns:a16="http://schemas.microsoft.com/office/drawing/2014/main" id="{026705D2-9A1E-4A1F-80F4-6BC1AE8E4025}"/>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lvl="0" defTabSz="914400">
              <a:defRPr/>
            </a:pPr>
            <a:r>
              <a:rPr lang="en-US" sz="2400" b="1" dirty="0"/>
              <a:t>Digital Product Development</a:t>
            </a:r>
            <a:endParaRPr lang="en-US" sz="2400" b="1" dirty="0">
              <a:solidFill>
                <a:prstClr val="black"/>
              </a:solidFill>
            </a:endParaRPr>
          </a:p>
        </p:txBody>
      </p:sp>
    </p:spTree>
    <p:extLst>
      <p:ext uri="{BB962C8B-B14F-4D97-AF65-F5344CB8AC3E}">
        <p14:creationId xmlns:p14="http://schemas.microsoft.com/office/powerpoint/2010/main" val="38138592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en-US" dirty="0"/>
              <a:t>Current-State </a:t>
            </a:r>
            <a:r>
              <a:rPr lang="en-US" altLang="ja-JP" dirty="0"/>
              <a:t>Product Portfolio Management</a:t>
            </a:r>
            <a:endParaRPr lang="en-US" dirty="0"/>
          </a:p>
        </p:txBody>
      </p:sp>
      <p:sp>
        <p:nvSpPr>
          <p:cNvPr id="37" name="Rectangle 6">
            <a:extLst>
              <a:ext uri="{FF2B5EF4-FFF2-40B4-BE49-F238E27FC236}">
                <a16:creationId xmlns:a16="http://schemas.microsoft.com/office/drawing/2014/main" id="{CAF7A624-17EE-4DCC-9313-B0E9F63073C9}"/>
              </a:ext>
            </a:extLst>
          </p:cNvPr>
          <p:cNvSpPr>
            <a:spLocks noChangeArrowheads="1"/>
          </p:cNvSpPr>
          <p:nvPr/>
        </p:nvSpPr>
        <p:spPr bwMode="gray">
          <a:xfrm>
            <a:off x="1284971" y="1726221"/>
            <a:ext cx="3085363" cy="215444"/>
          </a:xfrm>
          <a:prstGeom prst="rect">
            <a:avLst/>
          </a:prstGeom>
          <a:solidFill>
            <a:schemeClr val="bg1"/>
          </a:solidFill>
          <a:ln w="12700" cap="rnd" algn="ctr">
            <a:noFill/>
            <a:miter lim="800000"/>
            <a:headEnd/>
            <a:tailEnd/>
          </a:ln>
        </p:spPr>
        <p:txBody>
          <a:bodyPr wrap="square" lIns="71966" tIns="0" rIns="71966" bIns="0" anchor="ctr" anchorCtr="1">
            <a:spAutoFit/>
          </a:bodyPr>
          <a:lstStyle/>
          <a:p>
            <a:pPr defTabSz="913961" fontAlgn="base">
              <a:spcBef>
                <a:spcPct val="20000"/>
              </a:spcBef>
              <a:spcAft>
                <a:spcPct val="0"/>
              </a:spcAft>
            </a:pPr>
            <a:r>
              <a:rPr lang="en-US" sz="1400" b="1" dirty="0">
                <a:solidFill>
                  <a:srgbClr val="92D400"/>
                </a:solidFill>
                <a:latin typeface="+mj-lt"/>
                <a:cs typeface="Arial" pitchFamily="34" charset="0"/>
              </a:rPr>
              <a:t>Current State Journey</a:t>
            </a:r>
          </a:p>
        </p:txBody>
      </p:sp>
      <p:pic>
        <p:nvPicPr>
          <p:cNvPr id="38" name="Picture 7">
            <a:extLst>
              <a:ext uri="{FF2B5EF4-FFF2-40B4-BE49-F238E27FC236}">
                <a16:creationId xmlns:a16="http://schemas.microsoft.com/office/drawing/2014/main" id="{770096B5-5330-4B14-ACDB-C3142AEE8EE1}"/>
              </a:ext>
            </a:extLst>
          </p:cNvPr>
          <p:cNvPicPr>
            <a:picLocks noChangeAspect="1" noChangeArrowheads="1"/>
          </p:cNvPicPr>
          <p:nvPr/>
        </p:nvPicPr>
        <p:blipFill>
          <a:blip r:embed="rId3">
            <a:lum contrast="22000"/>
            <a:extLst>
              <a:ext uri="{28A0092B-C50C-407E-A947-70E740481C1C}">
                <a14:useLocalDpi xmlns:a14="http://schemas.microsoft.com/office/drawing/2010/main" val="0"/>
              </a:ext>
            </a:extLst>
          </a:blip>
          <a:srcRect/>
          <a:stretch>
            <a:fillRect/>
          </a:stretch>
        </p:blipFill>
        <p:spPr bwMode="auto">
          <a:xfrm>
            <a:off x="1218675" y="2153365"/>
            <a:ext cx="9311976" cy="2749079"/>
          </a:xfrm>
          <a:prstGeom prst="rect">
            <a:avLst/>
          </a:prstGeom>
          <a:solidFill>
            <a:schemeClr val="accent1">
              <a:lumMod val="20000"/>
              <a:lumOff val="80000"/>
            </a:schemeClr>
          </a:solidFill>
          <a:ln>
            <a:noFill/>
          </a:ln>
          <a:effectLst/>
        </p:spPr>
      </p:pic>
      <p:sp>
        <p:nvSpPr>
          <p:cNvPr id="39" name="Rectangle 8">
            <a:extLst>
              <a:ext uri="{FF2B5EF4-FFF2-40B4-BE49-F238E27FC236}">
                <a16:creationId xmlns:a16="http://schemas.microsoft.com/office/drawing/2014/main" id="{D72A0846-0FB8-4D4A-8B22-07CDDC55CA7C}"/>
              </a:ext>
            </a:extLst>
          </p:cNvPr>
          <p:cNvSpPr/>
          <p:nvPr/>
        </p:nvSpPr>
        <p:spPr bwMode="invGray">
          <a:xfrm>
            <a:off x="7323538" y="2524973"/>
            <a:ext cx="1354655" cy="230832"/>
          </a:xfrm>
          <a:prstGeom prst="rect">
            <a:avLst/>
          </a:prstGeom>
          <a:scene3d>
            <a:camera prst="orthographicFront">
              <a:rot lat="0" lon="0" rev="0"/>
            </a:camera>
            <a:lightRig rig="threePt" dir="t"/>
          </a:scene3d>
        </p:spPr>
        <p:txBody>
          <a:bodyPr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900" dirty="0">
              <a:solidFill>
                <a:prstClr val="white"/>
              </a:solidFill>
              <a:latin typeface="+mj-lt"/>
            </a:endParaRPr>
          </a:p>
        </p:txBody>
      </p:sp>
      <p:sp>
        <p:nvSpPr>
          <p:cNvPr id="40" name="Text Box 24">
            <a:extLst>
              <a:ext uri="{FF2B5EF4-FFF2-40B4-BE49-F238E27FC236}">
                <a16:creationId xmlns:a16="http://schemas.microsoft.com/office/drawing/2014/main" id="{521AE5E8-E446-4C6E-B851-A718C99B165D}"/>
              </a:ext>
            </a:extLst>
          </p:cNvPr>
          <p:cNvSpPr txBox="1">
            <a:spLocks noChangeArrowheads="1"/>
          </p:cNvSpPr>
          <p:nvPr/>
        </p:nvSpPr>
        <p:spPr bwMode="auto">
          <a:xfrm>
            <a:off x="4260948" y="2548626"/>
            <a:ext cx="2235794" cy="653245"/>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ja-JP" altLang="en-US" kern="0" dirty="0">
                <a:solidFill>
                  <a:srgbClr val="002776"/>
                </a:solidFill>
                <a:latin typeface="+mj-lt"/>
              </a:rPr>
              <a:t>・</a:t>
            </a:r>
            <a:r>
              <a:rPr lang="en-US" altLang="ja-JP" kern="0" dirty="0">
                <a:solidFill>
                  <a:srgbClr val="002776"/>
                </a:solidFill>
                <a:latin typeface="+mj-lt"/>
              </a:rPr>
              <a:t>Project Scope</a:t>
            </a:r>
            <a:endParaRPr lang="en-US" kern="0" dirty="0">
              <a:solidFill>
                <a:srgbClr val="002776"/>
              </a:solidFill>
              <a:latin typeface="+mj-lt"/>
            </a:endParaRPr>
          </a:p>
          <a:p>
            <a:pPr algn="l" defTabSz="913961" fontAlgn="auto">
              <a:spcBef>
                <a:spcPts val="0"/>
              </a:spcBef>
              <a:spcAft>
                <a:spcPts val="0"/>
              </a:spcAft>
              <a:defRPr/>
            </a:pPr>
            <a:r>
              <a:rPr lang="ja-JP" altLang="en-US" kern="0" dirty="0">
                <a:solidFill>
                  <a:srgbClr val="002776"/>
                </a:solidFill>
                <a:latin typeface="+mj-lt"/>
              </a:rPr>
              <a:t>・</a:t>
            </a:r>
            <a:r>
              <a:rPr lang="en-US" altLang="ja-JP" kern="0" dirty="0">
                <a:solidFill>
                  <a:srgbClr val="002776"/>
                </a:solidFill>
                <a:latin typeface="+mj-lt"/>
              </a:rPr>
              <a:t>F</a:t>
            </a:r>
            <a:r>
              <a:rPr lang="en-US" kern="0" dirty="0">
                <a:solidFill>
                  <a:srgbClr val="002776"/>
                </a:solidFill>
                <a:latin typeface="+mj-lt"/>
              </a:rPr>
              <a:t>inancial metrics</a:t>
            </a:r>
          </a:p>
          <a:p>
            <a:pPr algn="l" defTabSz="913961" fontAlgn="auto">
              <a:spcBef>
                <a:spcPts val="0"/>
              </a:spcBef>
              <a:spcAft>
                <a:spcPts val="0"/>
              </a:spcAft>
              <a:defRPr/>
            </a:pPr>
            <a:r>
              <a:rPr lang="ja-JP" altLang="en-US" kern="0" dirty="0">
                <a:solidFill>
                  <a:srgbClr val="002776"/>
                </a:solidFill>
                <a:latin typeface="+mj-lt"/>
              </a:rPr>
              <a:t>・</a:t>
            </a:r>
            <a:r>
              <a:rPr lang="en-US" altLang="ja-JP" kern="0" dirty="0">
                <a:solidFill>
                  <a:srgbClr val="002776"/>
                </a:solidFill>
                <a:latin typeface="+mj-lt"/>
              </a:rPr>
              <a:t>Determine schedule</a:t>
            </a:r>
            <a:endParaRPr lang="en-US" kern="0" dirty="0">
              <a:solidFill>
                <a:srgbClr val="002776"/>
              </a:solidFill>
              <a:latin typeface="+mj-lt"/>
            </a:endParaRPr>
          </a:p>
        </p:txBody>
      </p:sp>
      <p:sp>
        <p:nvSpPr>
          <p:cNvPr id="42" name="Text Box 9">
            <a:extLst>
              <a:ext uri="{FF2B5EF4-FFF2-40B4-BE49-F238E27FC236}">
                <a16:creationId xmlns:a16="http://schemas.microsoft.com/office/drawing/2014/main" id="{D9DFE2B8-0006-42CF-AA0D-1C343005A251}"/>
              </a:ext>
            </a:extLst>
          </p:cNvPr>
          <p:cNvSpPr txBox="1">
            <a:spLocks noChangeArrowheads="1"/>
          </p:cNvSpPr>
          <p:nvPr/>
        </p:nvSpPr>
        <p:spPr bwMode="gray">
          <a:xfrm>
            <a:off x="1910767" y="2536566"/>
            <a:ext cx="855935" cy="176095"/>
          </a:xfrm>
          <a:prstGeom prst="rect">
            <a:avLst/>
          </a:prstGeom>
          <a:noFill/>
          <a:ln w="12700" algn="ctr">
            <a:noFill/>
            <a:miter lim="800000"/>
            <a:headEnd/>
            <a:tailEnd/>
          </a:ln>
          <a:effectLst/>
        </p:spPr>
        <p:txBody>
          <a:bodyPr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1</a:t>
            </a:r>
          </a:p>
        </p:txBody>
      </p:sp>
      <p:sp>
        <p:nvSpPr>
          <p:cNvPr id="43" name="Oval 12">
            <a:extLst>
              <a:ext uri="{FF2B5EF4-FFF2-40B4-BE49-F238E27FC236}">
                <a16:creationId xmlns:a16="http://schemas.microsoft.com/office/drawing/2014/main" id="{F339A67C-E2D6-4BF1-8644-9E5B1B29DB84}"/>
              </a:ext>
            </a:extLst>
          </p:cNvPr>
          <p:cNvSpPr>
            <a:spLocks noChangeArrowheads="1"/>
          </p:cNvSpPr>
          <p:nvPr/>
        </p:nvSpPr>
        <p:spPr bwMode="gray">
          <a:xfrm>
            <a:off x="1520594" y="2508120"/>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1</a:t>
            </a:r>
          </a:p>
        </p:txBody>
      </p:sp>
      <p:sp>
        <p:nvSpPr>
          <p:cNvPr id="44" name="Text Box 10">
            <a:extLst>
              <a:ext uri="{FF2B5EF4-FFF2-40B4-BE49-F238E27FC236}">
                <a16:creationId xmlns:a16="http://schemas.microsoft.com/office/drawing/2014/main" id="{DC32F060-DC19-4E2D-A780-C7C431BBD7F0}"/>
              </a:ext>
            </a:extLst>
          </p:cNvPr>
          <p:cNvSpPr txBox="1">
            <a:spLocks noChangeArrowheads="1"/>
          </p:cNvSpPr>
          <p:nvPr/>
        </p:nvSpPr>
        <p:spPr bwMode="gray">
          <a:xfrm>
            <a:off x="3175032" y="4110856"/>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2</a:t>
            </a:r>
          </a:p>
        </p:txBody>
      </p:sp>
      <p:sp>
        <p:nvSpPr>
          <p:cNvPr id="45" name="Line 28">
            <a:extLst>
              <a:ext uri="{FF2B5EF4-FFF2-40B4-BE49-F238E27FC236}">
                <a16:creationId xmlns:a16="http://schemas.microsoft.com/office/drawing/2014/main" id="{4BA8A35E-0242-491D-9BB0-2B8FA220B8D3}"/>
              </a:ext>
            </a:extLst>
          </p:cNvPr>
          <p:cNvSpPr>
            <a:spLocks noChangeShapeType="1"/>
          </p:cNvSpPr>
          <p:nvPr/>
        </p:nvSpPr>
        <p:spPr bwMode="auto">
          <a:xfrm flipV="1">
            <a:off x="2988261" y="3786445"/>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46" name="Text Box 11">
            <a:extLst>
              <a:ext uri="{FF2B5EF4-FFF2-40B4-BE49-F238E27FC236}">
                <a16:creationId xmlns:a16="http://schemas.microsoft.com/office/drawing/2014/main" id="{5D8774B9-2BAD-4B01-983B-0EE84F30BBB8}"/>
              </a:ext>
            </a:extLst>
          </p:cNvPr>
          <p:cNvSpPr txBox="1">
            <a:spLocks noChangeArrowheads="1"/>
          </p:cNvSpPr>
          <p:nvPr/>
        </p:nvSpPr>
        <p:spPr bwMode="gray">
          <a:xfrm>
            <a:off x="4318236" y="2298477"/>
            <a:ext cx="1477186" cy="177539"/>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3</a:t>
            </a:r>
          </a:p>
        </p:txBody>
      </p:sp>
      <p:sp>
        <p:nvSpPr>
          <p:cNvPr id="47" name="Rectangle 16">
            <a:extLst>
              <a:ext uri="{FF2B5EF4-FFF2-40B4-BE49-F238E27FC236}">
                <a16:creationId xmlns:a16="http://schemas.microsoft.com/office/drawing/2014/main" id="{2384C4DA-0E6E-45E4-81E1-CDA93DC6691A}"/>
              </a:ext>
            </a:extLst>
          </p:cNvPr>
          <p:cNvSpPr/>
          <p:nvPr/>
        </p:nvSpPr>
        <p:spPr bwMode="auto">
          <a:xfrm>
            <a:off x="1206286" y="1632909"/>
            <a:ext cx="9313296" cy="326953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defPPr>
              <a:defRPr lang="en-US"/>
            </a:defPPr>
            <a:lvl1pPr algn="ctr" rtl="0" fontAlgn="base">
              <a:spcBef>
                <a:spcPct val="20000"/>
              </a:spcBef>
              <a:spcAft>
                <a:spcPct val="0"/>
              </a:spcAft>
              <a:defRPr sz="1100" b="1" kern="1200">
                <a:solidFill>
                  <a:schemeClr val="lt1"/>
                </a:solidFill>
                <a:latin typeface="+mn-lt"/>
                <a:ea typeface="+mn-ea"/>
                <a:cs typeface="+mn-cs"/>
              </a:defRPr>
            </a:lvl1pPr>
            <a:lvl2pPr marL="457200" algn="ctr" rtl="0" fontAlgn="base">
              <a:spcBef>
                <a:spcPct val="20000"/>
              </a:spcBef>
              <a:spcAft>
                <a:spcPct val="0"/>
              </a:spcAft>
              <a:defRPr sz="1100" b="1" kern="1200">
                <a:solidFill>
                  <a:schemeClr val="lt1"/>
                </a:solidFill>
                <a:latin typeface="+mn-lt"/>
                <a:ea typeface="+mn-ea"/>
                <a:cs typeface="+mn-cs"/>
              </a:defRPr>
            </a:lvl2pPr>
            <a:lvl3pPr marL="914400" algn="ctr" rtl="0" fontAlgn="base">
              <a:spcBef>
                <a:spcPct val="20000"/>
              </a:spcBef>
              <a:spcAft>
                <a:spcPct val="0"/>
              </a:spcAft>
              <a:defRPr sz="1100" b="1" kern="1200">
                <a:solidFill>
                  <a:schemeClr val="lt1"/>
                </a:solidFill>
                <a:latin typeface="+mn-lt"/>
                <a:ea typeface="+mn-ea"/>
                <a:cs typeface="+mn-cs"/>
              </a:defRPr>
            </a:lvl3pPr>
            <a:lvl4pPr marL="1371600" algn="ctr" rtl="0" fontAlgn="base">
              <a:spcBef>
                <a:spcPct val="20000"/>
              </a:spcBef>
              <a:spcAft>
                <a:spcPct val="0"/>
              </a:spcAft>
              <a:defRPr sz="1100" b="1" kern="1200">
                <a:solidFill>
                  <a:schemeClr val="lt1"/>
                </a:solidFill>
                <a:latin typeface="+mn-lt"/>
                <a:ea typeface="+mn-ea"/>
                <a:cs typeface="+mn-cs"/>
              </a:defRPr>
            </a:lvl4pPr>
            <a:lvl5pPr marL="1828800" algn="ctr" rtl="0" fontAlgn="base">
              <a:spcBef>
                <a:spcPct val="20000"/>
              </a:spcBef>
              <a:spcAft>
                <a:spcPct val="0"/>
              </a:spcAft>
              <a:defRPr sz="1100" b="1" kern="1200">
                <a:solidFill>
                  <a:schemeClr val="lt1"/>
                </a:solidFill>
                <a:latin typeface="+mn-lt"/>
                <a:ea typeface="+mn-ea"/>
                <a:cs typeface="+mn-cs"/>
              </a:defRPr>
            </a:lvl5pPr>
            <a:lvl6pPr marL="2286000" algn="l" defTabSz="914400" rtl="0" eaLnBrk="1" latinLnBrk="0" hangingPunct="1">
              <a:defRPr sz="1100" b="1" kern="1200">
                <a:solidFill>
                  <a:schemeClr val="lt1"/>
                </a:solidFill>
                <a:latin typeface="+mn-lt"/>
                <a:ea typeface="+mn-ea"/>
                <a:cs typeface="+mn-cs"/>
              </a:defRPr>
            </a:lvl6pPr>
            <a:lvl7pPr marL="2743200" algn="l" defTabSz="914400" rtl="0" eaLnBrk="1" latinLnBrk="0" hangingPunct="1">
              <a:defRPr sz="1100" b="1" kern="1200">
                <a:solidFill>
                  <a:schemeClr val="lt1"/>
                </a:solidFill>
                <a:latin typeface="+mn-lt"/>
                <a:ea typeface="+mn-ea"/>
                <a:cs typeface="+mn-cs"/>
              </a:defRPr>
            </a:lvl7pPr>
            <a:lvl8pPr marL="3200400" algn="l" defTabSz="914400" rtl="0" eaLnBrk="1" latinLnBrk="0" hangingPunct="1">
              <a:defRPr sz="1100" b="1" kern="1200">
                <a:solidFill>
                  <a:schemeClr val="lt1"/>
                </a:solidFill>
                <a:latin typeface="+mn-lt"/>
                <a:ea typeface="+mn-ea"/>
                <a:cs typeface="+mn-cs"/>
              </a:defRPr>
            </a:lvl8pPr>
            <a:lvl9pPr marL="3657600" algn="l" defTabSz="914400" rtl="0" eaLnBrk="1" latinLnBrk="0" hangingPunct="1">
              <a:defRPr sz="1100" b="1" kern="1200">
                <a:solidFill>
                  <a:schemeClr val="lt1"/>
                </a:solidFill>
                <a:latin typeface="+mn-lt"/>
                <a:ea typeface="+mn-ea"/>
                <a:cs typeface="+mn-cs"/>
              </a:defRPr>
            </a:lvl9pPr>
          </a:lstStyle>
          <a:p>
            <a:pPr defTabSz="913961" fontAlgn="auto">
              <a:spcBef>
                <a:spcPts val="0"/>
              </a:spcBef>
              <a:spcAft>
                <a:spcPts val="0"/>
              </a:spcAft>
              <a:defRPr/>
            </a:pPr>
            <a:endParaRPr lang="en-US" sz="1050" dirty="0">
              <a:solidFill>
                <a:prstClr val="white"/>
              </a:solidFill>
              <a:latin typeface="+mj-lt"/>
            </a:endParaRPr>
          </a:p>
        </p:txBody>
      </p:sp>
      <p:sp>
        <p:nvSpPr>
          <p:cNvPr id="48" name="Text Box 24">
            <a:extLst>
              <a:ext uri="{FF2B5EF4-FFF2-40B4-BE49-F238E27FC236}">
                <a16:creationId xmlns:a16="http://schemas.microsoft.com/office/drawing/2014/main" id="{B74F9203-085E-4B09-8FCD-B7BEBD5572C8}"/>
              </a:ext>
            </a:extLst>
          </p:cNvPr>
          <p:cNvSpPr txBox="1">
            <a:spLocks noChangeArrowheads="1"/>
          </p:cNvSpPr>
          <p:nvPr/>
        </p:nvSpPr>
        <p:spPr bwMode="auto">
          <a:xfrm>
            <a:off x="2890783" y="4362638"/>
            <a:ext cx="1876426" cy="293726"/>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marL="171450" indent="-171450" algn="l" defTabSz="913961" fontAlgn="auto">
              <a:spcBef>
                <a:spcPts val="0"/>
              </a:spcBef>
              <a:spcAft>
                <a:spcPts val="0"/>
              </a:spcAft>
              <a:buFontTx/>
              <a:buChar char="-"/>
              <a:defRPr/>
            </a:pPr>
            <a:r>
              <a:rPr lang="en-US" kern="0" dirty="0">
                <a:solidFill>
                  <a:srgbClr val="002776"/>
                </a:solidFill>
                <a:latin typeface="+mj-lt"/>
              </a:rPr>
              <a:t>RPM system </a:t>
            </a:r>
          </a:p>
          <a:p>
            <a:pPr marL="171450" indent="-171450" algn="l" defTabSz="913961" fontAlgn="auto">
              <a:spcBef>
                <a:spcPts val="0"/>
              </a:spcBef>
              <a:spcAft>
                <a:spcPts val="0"/>
              </a:spcAft>
              <a:buFontTx/>
              <a:buChar char="-"/>
              <a:defRPr/>
            </a:pPr>
            <a:r>
              <a:rPr lang="en-US" kern="0" dirty="0">
                <a:solidFill>
                  <a:srgbClr val="002776"/>
                </a:solidFill>
                <a:latin typeface="+mj-lt"/>
              </a:rPr>
              <a:t>Practices PDP</a:t>
            </a:r>
          </a:p>
        </p:txBody>
      </p:sp>
      <p:sp>
        <p:nvSpPr>
          <p:cNvPr id="49" name="Text Box 11">
            <a:extLst>
              <a:ext uri="{FF2B5EF4-FFF2-40B4-BE49-F238E27FC236}">
                <a16:creationId xmlns:a16="http://schemas.microsoft.com/office/drawing/2014/main" id="{E83FAEF6-27A0-4EFF-84D8-EC4ED97442CC}"/>
              </a:ext>
            </a:extLst>
          </p:cNvPr>
          <p:cNvSpPr txBox="1">
            <a:spLocks noChangeArrowheads="1"/>
          </p:cNvSpPr>
          <p:nvPr/>
        </p:nvSpPr>
        <p:spPr bwMode="gray">
          <a:xfrm>
            <a:off x="7323538" y="1862916"/>
            <a:ext cx="1341777"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5</a:t>
            </a:r>
          </a:p>
        </p:txBody>
      </p:sp>
      <p:sp>
        <p:nvSpPr>
          <p:cNvPr id="51" name="Text Box 14">
            <a:extLst>
              <a:ext uri="{FF2B5EF4-FFF2-40B4-BE49-F238E27FC236}">
                <a16:creationId xmlns:a16="http://schemas.microsoft.com/office/drawing/2014/main" id="{3AE0659B-6930-4DED-A053-65D945C1E7A1}"/>
              </a:ext>
            </a:extLst>
          </p:cNvPr>
          <p:cNvSpPr txBox="1">
            <a:spLocks noChangeArrowheads="1"/>
          </p:cNvSpPr>
          <p:nvPr/>
        </p:nvSpPr>
        <p:spPr bwMode="gray">
          <a:xfrm>
            <a:off x="6093196" y="3707064"/>
            <a:ext cx="1151165" cy="176095"/>
          </a:xfrm>
          <a:prstGeom prst="rect">
            <a:avLst/>
          </a:prstGeom>
          <a:noFill/>
          <a:ln w="12700" algn="ctr">
            <a:noFill/>
            <a:miter lim="800000"/>
            <a:headEnd/>
            <a:tailEnd/>
          </a:ln>
          <a:effectLst/>
        </p:spPr>
        <p:txBody>
          <a:bodyPr wrap="non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4</a:t>
            </a:r>
          </a:p>
        </p:txBody>
      </p:sp>
      <p:sp>
        <p:nvSpPr>
          <p:cNvPr id="53" name="Text Box 10">
            <a:extLst>
              <a:ext uri="{FF2B5EF4-FFF2-40B4-BE49-F238E27FC236}">
                <a16:creationId xmlns:a16="http://schemas.microsoft.com/office/drawing/2014/main" id="{24837083-06E6-49F7-9C01-F2CFC8F49822}"/>
              </a:ext>
            </a:extLst>
          </p:cNvPr>
          <p:cNvSpPr txBox="1">
            <a:spLocks noChangeArrowheads="1"/>
          </p:cNvSpPr>
          <p:nvPr/>
        </p:nvSpPr>
        <p:spPr bwMode="gray">
          <a:xfrm>
            <a:off x="9729448" y="3432653"/>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6</a:t>
            </a:r>
          </a:p>
        </p:txBody>
      </p:sp>
      <p:sp>
        <p:nvSpPr>
          <p:cNvPr id="54" name="Oval 24">
            <a:extLst>
              <a:ext uri="{FF2B5EF4-FFF2-40B4-BE49-F238E27FC236}">
                <a16:creationId xmlns:a16="http://schemas.microsoft.com/office/drawing/2014/main" id="{B0D6BBCB-F7DE-4ED6-B21A-CA4F1EE8DC3E}"/>
              </a:ext>
            </a:extLst>
          </p:cNvPr>
          <p:cNvSpPr>
            <a:spLocks noChangeArrowheads="1"/>
          </p:cNvSpPr>
          <p:nvPr/>
        </p:nvSpPr>
        <p:spPr bwMode="gray">
          <a:xfrm>
            <a:off x="2822475" y="4087723"/>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2</a:t>
            </a:r>
          </a:p>
        </p:txBody>
      </p:sp>
      <p:sp>
        <p:nvSpPr>
          <p:cNvPr id="55" name="Oval 25">
            <a:extLst>
              <a:ext uri="{FF2B5EF4-FFF2-40B4-BE49-F238E27FC236}">
                <a16:creationId xmlns:a16="http://schemas.microsoft.com/office/drawing/2014/main" id="{C66FCFA3-4D69-45DA-A157-AA7557CB82EE}"/>
              </a:ext>
            </a:extLst>
          </p:cNvPr>
          <p:cNvSpPr>
            <a:spLocks noChangeArrowheads="1"/>
          </p:cNvSpPr>
          <p:nvPr/>
        </p:nvSpPr>
        <p:spPr bwMode="gray">
          <a:xfrm>
            <a:off x="3937618" y="2213960"/>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3</a:t>
            </a:r>
          </a:p>
        </p:txBody>
      </p:sp>
      <p:sp>
        <p:nvSpPr>
          <p:cNvPr id="56" name="Oval 26">
            <a:extLst>
              <a:ext uri="{FF2B5EF4-FFF2-40B4-BE49-F238E27FC236}">
                <a16:creationId xmlns:a16="http://schemas.microsoft.com/office/drawing/2014/main" id="{02D0AEAC-3AC6-433F-BD33-126FBFA4B3FF}"/>
              </a:ext>
            </a:extLst>
          </p:cNvPr>
          <p:cNvSpPr>
            <a:spLocks noChangeArrowheads="1"/>
          </p:cNvSpPr>
          <p:nvPr/>
        </p:nvSpPr>
        <p:spPr bwMode="gray">
          <a:xfrm>
            <a:off x="7337421" y="3649616"/>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4</a:t>
            </a:r>
          </a:p>
        </p:txBody>
      </p:sp>
      <p:sp>
        <p:nvSpPr>
          <p:cNvPr id="57" name="Oval 27">
            <a:extLst>
              <a:ext uri="{FF2B5EF4-FFF2-40B4-BE49-F238E27FC236}">
                <a16:creationId xmlns:a16="http://schemas.microsoft.com/office/drawing/2014/main" id="{B44CC72A-5101-428A-84D4-A9253EEDB3F0}"/>
              </a:ext>
            </a:extLst>
          </p:cNvPr>
          <p:cNvSpPr>
            <a:spLocks noChangeArrowheads="1"/>
          </p:cNvSpPr>
          <p:nvPr/>
        </p:nvSpPr>
        <p:spPr bwMode="gray">
          <a:xfrm>
            <a:off x="8301584" y="1878450"/>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5</a:t>
            </a:r>
          </a:p>
        </p:txBody>
      </p:sp>
      <p:sp>
        <p:nvSpPr>
          <p:cNvPr id="58" name="Line 28">
            <a:extLst>
              <a:ext uri="{FF2B5EF4-FFF2-40B4-BE49-F238E27FC236}">
                <a16:creationId xmlns:a16="http://schemas.microsoft.com/office/drawing/2014/main" id="{652FAB72-1175-4075-A98F-14B76D45F0C4}"/>
              </a:ext>
            </a:extLst>
          </p:cNvPr>
          <p:cNvSpPr>
            <a:spLocks noChangeShapeType="1"/>
          </p:cNvSpPr>
          <p:nvPr/>
        </p:nvSpPr>
        <p:spPr bwMode="auto">
          <a:xfrm flipH="1">
            <a:off x="8459546" y="2273876"/>
            <a:ext cx="0" cy="708058"/>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59" name="Oval 29">
            <a:extLst>
              <a:ext uri="{FF2B5EF4-FFF2-40B4-BE49-F238E27FC236}">
                <a16:creationId xmlns:a16="http://schemas.microsoft.com/office/drawing/2014/main" id="{FAF8C413-448C-4F80-BF55-626C55BC5B33}"/>
              </a:ext>
            </a:extLst>
          </p:cNvPr>
          <p:cNvSpPr>
            <a:spLocks noChangeArrowheads="1"/>
          </p:cNvSpPr>
          <p:nvPr/>
        </p:nvSpPr>
        <p:spPr bwMode="gray">
          <a:xfrm>
            <a:off x="9323033" y="3386403"/>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6</a:t>
            </a:r>
          </a:p>
        </p:txBody>
      </p:sp>
      <p:sp>
        <p:nvSpPr>
          <p:cNvPr id="60" name="Line 28">
            <a:extLst>
              <a:ext uri="{FF2B5EF4-FFF2-40B4-BE49-F238E27FC236}">
                <a16:creationId xmlns:a16="http://schemas.microsoft.com/office/drawing/2014/main" id="{61262CB4-975B-40BA-89E1-57E4B5BC76D3}"/>
              </a:ext>
            </a:extLst>
          </p:cNvPr>
          <p:cNvSpPr>
            <a:spLocks noChangeShapeType="1"/>
          </p:cNvSpPr>
          <p:nvPr/>
        </p:nvSpPr>
        <p:spPr bwMode="auto">
          <a:xfrm flipH="1">
            <a:off x="4095581" y="2587312"/>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61" name="Line 28">
            <a:extLst>
              <a:ext uri="{FF2B5EF4-FFF2-40B4-BE49-F238E27FC236}">
                <a16:creationId xmlns:a16="http://schemas.microsoft.com/office/drawing/2014/main" id="{B52A8944-66ED-48D6-B17B-7CE495F599A6}"/>
              </a:ext>
            </a:extLst>
          </p:cNvPr>
          <p:cNvSpPr>
            <a:spLocks noChangeShapeType="1"/>
          </p:cNvSpPr>
          <p:nvPr/>
        </p:nvSpPr>
        <p:spPr bwMode="auto">
          <a:xfrm flipH="1">
            <a:off x="1684143" y="2862885"/>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62" name="Line 28">
            <a:extLst>
              <a:ext uri="{FF2B5EF4-FFF2-40B4-BE49-F238E27FC236}">
                <a16:creationId xmlns:a16="http://schemas.microsoft.com/office/drawing/2014/main" id="{108DFD27-9CE5-443C-9483-12A10BDDECE0}"/>
              </a:ext>
            </a:extLst>
          </p:cNvPr>
          <p:cNvSpPr>
            <a:spLocks noChangeShapeType="1"/>
          </p:cNvSpPr>
          <p:nvPr/>
        </p:nvSpPr>
        <p:spPr bwMode="auto">
          <a:xfrm flipV="1">
            <a:off x="6911595" y="3294055"/>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63" name="Line 28">
            <a:extLst>
              <a:ext uri="{FF2B5EF4-FFF2-40B4-BE49-F238E27FC236}">
                <a16:creationId xmlns:a16="http://schemas.microsoft.com/office/drawing/2014/main" id="{6F8EF696-2333-47D4-B40A-1C20193954E7}"/>
              </a:ext>
            </a:extLst>
          </p:cNvPr>
          <p:cNvSpPr>
            <a:spLocks noChangeShapeType="1"/>
          </p:cNvSpPr>
          <p:nvPr/>
        </p:nvSpPr>
        <p:spPr bwMode="auto">
          <a:xfrm flipV="1">
            <a:off x="9479156" y="2987693"/>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65" name="Text Box 24">
            <a:extLst>
              <a:ext uri="{FF2B5EF4-FFF2-40B4-BE49-F238E27FC236}">
                <a16:creationId xmlns:a16="http://schemas.microsoft.com/office/drawing/2014/main" id="{DCB6449C-73BE-4075-BFC8-DCC9F7583C06}"/>
              </a:ext>
            </a:extLst>
          </p:cNvPr>
          <p:cNvSpPr txBox="1">
            <a:spLocks noChangeArrowheads="1"/>
          </p:cNvSpPr>
          <p:nvPr/>
        </p:nvSpPr>
        <p:spPr bwMode="auto">
          <a:xfrm>
            <a:off x="6009005" y="4029970"/>
            <a:ext cx="2445021" cy="571415"/>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ja-JP" altLang="en-US" kern="0" dirty="0">
                <a:solidFill>
                  <a:srgbClr val="002776"/>
                </a:solidFill>
                <a:latin typeface="+mj-lt"/>
              </a:rPr>
              <a:t>・</a:t>
            </a:r>
            <a:r>
              <a:rPr lang="en-US" altLang="ja-JP" kern="0" dirty="0">
                <a:solidFill>
                  <a:srgbClr val="002776"/>
                </a:solidFill>
                <a:latin typeface="+mj-lt"/>
              </a:rPr>
              <a:t>Tooling</a:t>
            </a:r>
            <a:r>
              <a:rPr lang="ja-JP" altLang="en-US" kern="0" dirty="0">
                <a:solidFill>
                  <a:srgbClr val="002776"/>
                </a:solidFill>
                <a:latin typeface="+mj-lt"/>
              </a:rPr>
              <a:t> </a:t>
            </a:r>
            <a:r>
              <a:rPr lang="en-US" altLang="ja-JP" kern="0" dirty="0">
                <a:solidFill>
                  <a:srgbClr val="002776"/>
                </a:solidFill>
                <a:latin typeface="+mj-lt"/>
              </a:rPr>
              <a:t>and</a:t>
            </a:r>
            <a:r>
              <a:rPr lang="ja-JP" altLang="en-US" kern="0" dirty="0">
                <a:solidFill>
                  <a:srgbClr val="002776"/>
                </a:solidFill>
                <a:latin typeface="+mj-lt"/>
              </a:rPr>
              <a:t> </a:t>
            </a:r>
            <a:r>
              <a:rPr lang="en-US" altLang="ja-JP" kern="0" dirty="0">
                <a:solidFill>
                  <a:srgbClr val="002776"/>
                </a:solidFill>
                <a:latin typeface="+mj-lt"/>
              </a:rPr>
              <a:t>design</a:t>
            </a:r>
            <a:r>
              <a:rPr lang="ja-JP" altLang="en-US" kern="0" dirty="0">
                <a:solidFill>
                  <a:srgbClr val="002776"/>
                </a:solidFill>
                <a:latin typeface="+mj-lt"/>
              </a:rPr>
              <a:t> </a:t>
            </a:r>
            <a:r>
              <a:rPr lang="en-US" altLang="ja-JP" kern="0" dirty="0">
                <a:solidFill>
                  <a:srgbClr val="002776"/>
                </a:solidFill>
                <a:latin typeface="+mj-lt"/>
              </a:rPr>
              <a:t>release</a:t>
            </a:r>
          </a:p>
          <a:p>
            <a:pPr algn="l" defTabSz="913961" fontAlgn="auto">
              <a:spcBef>
                <a:spcPts val="0"/>
              </a:spcBef>
              <a:spcAft>
                <a:spcPts val="0"/>
              </a:spcAft>
              <a:defRPr/>
            </a:pPr>
            <a:endParaRPr lang="en-US" altLang="ja-JP" kern="0" dirty="0">
              <a:solidFill>
                <a:srgbClr val="002776"/>
              </a:solidFill>
              <a:latin typeface="+mj-lt"/>
            </a:endParaRPr>
          </a:p>
        </p:txBody>
      </p:sp>
      <p:sp>
        <p:nvSpPr>
          <p:cNvPr id="31" name="Text Box 24">
            <a:extLst>
              <a:ext uri="{FF2B5EF4-FFF2-40B4-BE49-F238E27FC236}">
                <a16:creationId xmlns:a16="http://schemas.microsoft.com/office/drawing/2014/main" id="{78B6983D-BAB2-485B-BE96-BB45C10D1860}"/>
              </a:ext>
            </a:extLst>
          </p:cNvPr>
          <p:cNvSpPr txBox="1">
            <a:spLocks noChangeArrowheads="1"/>
          </p:cNvSpPr>
          <p:nvPr/>
        </p:nvSpPr>
        <p:spPr bwMode="auto">
          <a:xfrm>
            <a:off x="8669746" y="3643378"/>
            <a:ext cx="2583156" cy="728419"/>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ja-JP" altLang="en-US" kern="0" dirty="0">
                <a:solidFill>
                  <a:srgbClr val="002776"/>
                </a:solidFill>
                <a:latin typeface="+mj-lt"/>
              </a:rPr>
              <a:t>・</a:t>
            </a:r>
            <a:r>
              <a:rPr lang="en-US" altLang="ja-JP" kern="0" dirty="0">
                <a:solidFill>
                  <a:srgbClr val="002776"/>
                </a:solidFill>
                <a:latin typeface="+mj-lt"/>
              </a:rPr>
              <a:t>Performance tracking</a:t>
            </a:r>
          </a:p>
        </p:txBody>
      </p:sp>
      <p:sp>
        <p:nvSpPr>
          <p:cNvPr id="34" name="Text Box 24">
            <a:extLst>
              <a:ext uri="{FF2B5EF4-FFF2-40B4-BE49-F238E27FC236}">
                <a16:creationId xmlns:a16="http://schemas.microsoft.com/office/drawing/2014/main" id="{FAF71FDD-9666-4E28-B077-8E6CF90B4B99}"/>
              </a:ext>
            </a:extLst>
          </p:cNvPr>
          <p:cNvSpPr txBox="1">
            <a:spLocks noChangeArrowheads="1"/>
          </p:cNvSpPr>
          <p:nvPr/>
        </p:nvSpPr>
        <p:spPr bwMode="auto">
          <a:xfrm>
            <a:off x="1812506" y="2730601"/>
            <a:ext cx="1834442" cy="37809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 Program/technology road map</a:t>
            </a:r>
          </a:p>
        </p:txBody>
      </p:sp>
      <p:sp>
        <p:nvSpPr>
          <p:cNvPr id="33" name="Text Box 24">
            <a:extLst>
              <a:ext uri="{FF2B5EF4-FFF2-40B4-BE49-F238E27FC236}">
                <a16:creationId xmlns:a16="http://schemas.microsoft.com/office/drawing/2014/main" id="{AF3D79A0-297E-490F-BA6A-9A2928985E0A}"/>
              </a:ext>
            </a:extLst>
          </p:cNvPr>
          <p:cNvSpPr txBox="1">
            <a:spLocks noChangeArrowheads="1"/>
          </p:cNvSpPr>
          <p:nvPr/>
        </p:nvSpPr>
        <p:spPr bwMode="auto">
          <a:xfrm>
            <a:off x="6882639" y="2150959"/>
            <a:ext cx="1418945" cy="280802"/>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ja-JP" altLang="en-US" kern="0" dirty="0">
                <a:solidFill>
                  <a:srgbClr val="002776"/>
                </a:solidFill>
                <a:latin typeface="+mj-lt"/>
              </a:rPr>
              <a:t>･</a:t>
            </a:r>
            <a:r>
              <a:rPr lang="en-US" altLang="ja-JP" kern="0" dirty="0">
                <a:solidFill>
                  <a:srgbClr val="002776"/>
                </a:solidFill>
                <a:latin typeface="+mj-lt"/>
              </a:rPr>
              <a:t>Product release</a:t>
            </a:r>
          </a:p>
        </p:txBody>
      </p:sp>
    </p:spTree>
    <p:extLst>
      <p:ext uri="{BB962C8B-B14F-4D97-AF65-F5344CB8AC3E}">
        <p14:creationId xmlns:p14="http://schemas.microsoft.com/office/powerpoint/2010/main" val="4447729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7810ECD-C96E-48A2-BAE3-301EDEED89F4}"/>
              </a:ext>
            </a:extLst>
          </p:cNvPr>
          <p:cNvGrpSpPr/>
          <p:nvPr/>
        </p:nvGrpSpPr>
        <p:grpSpPr>
          <a:xfrm>
            <a:off x="714801" y="1206833"/>
            <a:ext cx="1078169" cy="5091191"/>
            <a:chOff x="714801" y="1206833"/>
            <a:chExt cx="1078169" cy="5091191"/>
          </a:xfrm>
        </p:grpSpPr>
        <p:sp>
          <p:nvSpPr>
            <p:cNvPr id="132" name="Rectangle 5">
              <a:extLst>
                <a:ext uri="{FF2B5EF4-FFF2-40B4-BE49-F238E27FC236}">
                  <a16:creationId xmlns:a16="http://schemas.microsoft.com/office/drawing/2014/main" id="{A9828DA7-1C5C-49FA-9F34-B51EAD882341}"/>
                </a:ext>
              </a:extLst>
            </p:cNvPr>
            <p:cNvSpPr>
              <a:spLocks noChangeArrowheads="1"/>
            </p:cNvSpPr>
            <p:nvPr/>
          </p:nvSpPr>
          <p:spPr bwMode="auto">
            <a:xfrm>
              <a:off x="714801" y="5680376"/>
              <a:ext cx="1078169" cy="617648"/>
            </a:xfrm>
            <a:prstGeom prst="roundRect">
              <a:avLst/>
            </a:prstGeom>
            <a:solidFill>
              <a:srgbClr val="145972"/>
            </a:solidFill>
            <a:ln w="9525" algn="ctr">
              <a:noFill/>
              <a:miter lim="800000"/>
              <a:headEnd/>
              <a:tailEnd/>
            </a:ln>
          </p:spPr>
          <p:txBody>
            <a:bodyPr lIns="43200" tIns="86400" rIns="43200" bIns="86400" anchor="ctr"/>
            <a:lstStyle/>
            <a:p>
              <a:pPr algn="ctr" defTabSz="548640" eaLnBrk="0" hangingPunct="0">
                <a:lnSpc>
                  <a:spcPct val="90000"/>
                </a:lnSpc>
                <a:spcBef>
                  <a:spcPct val="50000"/>
                </a:spcBef>
                <a:buSzPct val="100000"/>
                <a:defRPr/>
              </a:pPr>
              <a:r>
                <a:rPr lang="en-US" altLang="en-US" sz="840" b="1" kern="0" dirty="0">
                  <a:solidFill>
                    <a:srgbClr val="FFFFFF"/>
                  </a:solidFill>
                  <a:latin typeface="+mj-lt"/>
                </a:rPr>
                <a:t>Planning</a:t>
              </a:r>
            </a:p>
          </p:txBody>
        </p:sp>
        <p:sp>
          <p:nvSpPr>
            <p:cNvPr id="82" name="Rectangle: Rounded Corners 81">
              <a:extLst>
                <a:ext uri="{FF2B5EF4-FFF2-40B4-BE49-F238E27FC236}">
                  <a16:creationId xmlns:a16="http://schemas.microsoft.com/office/drawing/2014/main" id="{4903D46C-25B1-49A9-8153-773D2E552F78}"/>
                </a:ext>
              </a:extLst>
            </p:cNvPr>
            <p:cNvSpPr>
              <a:spLocks noChangeArrowheads="1"/>
            </p:cNvSpPr>
            <p:nvPr/>
          </p:nvSpPr>
          <p:spPr bwMode="auto">
            <a:xfrm>
              <a:off x="714801" y="4358037"/>
              <a:ext cx="1078169" cy="1103829"/>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altLang="en-US" sz="840" dirty="0">
                  <a:latin typeface="+mj-lt"/>
                  <a:ea typeface="Tahoma" pitchFamily="34" charset="0"/>
                  <a:cs typeface="Tahoma" pitchFamily="34" charset="0"/>
                </a:rPr>
                <a:t>Many non-integrated project schedules with very limited understanding of key schedule drivers</a:t>
              </a:r>
            </a:p>
          </p:txBody>
        </p:sp>
        <p:sp>
          <p:nvSpPr>
            <p:cNvPr id="86" name="Rectangle 27">
              <a:extLst>
                <a:ext uri="{FF2B5EF4-FFF2-40B4-BE49-F238E27FC236}">
                  <a16:creationId xmlns:a16="http://schemas.microsoft.com/office/drawing/2014/main" id="{109A936C-7EC9-4716-A88E-83CA5910D24B}"/>
                </a:ext>
              </a:extLst>
            </p:cNvPr>
            <p:cNvSpPr>
              <a:spLocks noChangeArrowheads="1"/>
            </p:cNvSpPr>
            <p:nvPr/>
          </p:nvSpPr>
          <p:spPr bwMode="auto">
            <a:xfrm>
              <a:off x="714801" y="1206833"/>
              <a:ext cx="1078169" cy="1340934"/>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altLang="en-US" sz="840" dirty="0">
                  <a:latin typeface="+mj-lt"/>
                  <a:ea typeface="Tahoma" pitchFamily="34" charset="0"/>
                  <a:cs typeface="Tahoma" pitchFamily="34" charset="0"/>
                </a:rPr>
                <a:t>Integrated program schedule to synchronize process flow and execution.  Critical path / near critical path well understood and managed</a:t>
              </a:r>
            </a:p>
          </p:txBody>
        </p:sp>
        <p:sp>
          <p:nvSpPr>
            <p:cNvPr id="87" name="Rectangle 35">
              <a:extLst>
                <a:ext uri="{FF2B5EF4-FFF2-40B4-BE49-F238E27FC236}">
                  <a16:creationId xmlns:a16="http://schemas.microsoft.com/office/drawing/2014/main" id="{DD791679-4BA3-4DFF-8944-2B6469FDFD7C}"/>
                </a:ext>
              </a:extLst>
            </p:cNvPr>
            <p:cNvSpPr>
              <a:spLocks noChangeArrowheads="1"/>
            </p:cNvSpPr>
            <p:nvPr/>
          </p:nvSpPr>
          <p:spPr bwMode="auto">
            <a:xfrm>
              <a:off x="714801" y="2879942"/>
              <a:ext cx="1078169" cy="1230664"/>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altLang="en-US" sz="840" dirty="0">
                  <a:latin typeface="+mj-lt"/>
                  <a:ea typeface="Tahoma" pitchFamily="34" charset="0"/>
                  <a:cs typeface="Tahoma" pitchFamily="34" charset="0"/>
                </a:rPr>
                <a:t>Integrated program schedule with some gaps in knowledge of critical path and dependencies</a:t>
              </a:r>
            </a:p>
          </p:txBody>
        </p:sp>
        <p:cxnSp>
          <p:nvCxnSpPr>
            <p:cNvPr id="117" name="Straight Arrow Connector 116">
              <a:extLst>
                <a:ext uri="{FF2B5EF4-FFF2-40B4-BE49-F238E27FC236}">
                  <a16:creationId xmlns:a16="http://schemas.microsoft.com/office/drawing/2014/main" id="{C1424754-E78D-42FD-8109-7718521E8748}"/>
                </a:ext>
              </a:extLst>
            </p:cNvPr>
            <p:cNvCxnSpPr>
              <a:cxnSpLocks/>
            </p:cNvCxnSpPr>
            <p:nvPr/>
          </p:nvCxnSpPr>
          <p:spPr>
            <a:xfrm flipV="1">
              <a:off x="1253886" y="2547769"/>
              <a:ext cx="0" cy="32962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8" name="Straight Arrow Connector 117">
              <a:extLst>
                <a:ext uri="{FF2B5EF4-FFF2-40B4-BE49-F238E27FC236}">
                  <a16:creationId xmlns:a16="http://schemas.microsoft.com/office/drawing/2014/main" id="{EC1536D8-A321-42BF-AF9C-553D1FB326C4}"/>
                </a:ext>
              </a:extLst>
            </p:cNvPr>
            <p:cNvCxnSpPr>
              <a:cxnSpLocks/>
            </p:cNvCxnSpPr>
            <p:nvPr/>
          </p:nvCxnSpPr>
          <p:spPr>
            <a:xfrm flipV="1">
              <a:off x="1253886" y="4108056"/>
              <a:ext cx="0" cy="24998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grpSp>
        <p:nvGrpSpPr>
          <p:cNvPr id="2" name="Group 1">
            <a:extLst>
              <a:ext uri="{FF2B5EF4-FFF2-40B4-BE49-F238E27FC236}">
                <a16:creationId xmlns:a16="http://schemas.microsoft.com/office/drawing/2014/main" id="{2B1AF4B7-DDCE-4AC5-AD09-3DF687BDAA4D}"/>
              </a:ext>
            </a:extLst>
          </p:cNvPr>
          <p:cNvGrpSpPr/>
          <p:nvPr/>
        </p:nvGrpSpPr>
        <p:grpSpPr>
          <a:xfrm>
            <a:off x="2102461" y="1206833"/>
            <a:ext cx="1052998" cy="5091191"/>
            <a:chOff x="1960441" y="1206833"/>
            <a:chExt cx="1052998" cy="5091191"/>
          </a:xfrm>
        </p:grpSpPr>
        <p:sp>
          <p:nvSpPr>
            <p:cNvPr id="130" name="Rectangle 4">
              <a:extLst>
                <a:ext uri="{FF2B5EF4-FFF2-40B4-BE49-F238E27FC236}">
                  <a16:creationId xmlns:a16="http://schemas.microsoft.com/office/drawing/2014/main" id="{EB2AD0BC-6033-42E6-99C7-BB0AA4DD315F}"/>
                </a:ext>
              </a:extLst>
            </p:cNvPr>
            <p:cNvSpPr>
              <a:spLocks noChangeArrowheads="1"/>
            </p:cNvSpPr>
            <p:nvPr/>
          </p:nvSpPr>
          <p:spPr bwMode="auto">
            <a:xfrm>
              <a:off x="1960442" y="5680376"/>
              <a:ext cx="1052997" cy="617648"/>
            </a:xfrm>
            <a:prstGeom prst="roundRect">
              <a:avLst/>
            </a:prstGeom>
            <a:solidFill>
              <a:srgbClr val="145972"/>
            </a:solidFill>
            <a:ln w="9525" algn="ctr">
              <a:noFill/>
              <a:miter lim="800000"/>
              <a:headEnd/>
              <a:tailEnd/>
            </a:ln>
          </p:spPr>
          <p:txBody>
            <a:bodyPr lIns="43200" tIns="86400" rIns="43200" bIns="86400" anchor="ctr"/>
            <a:lstStyle/>
            <a:p>
              <a:pPr algn="ctr" defTabSz="548640" eaLnBrk="0" hangingPunct="0">
                <a:lnSpc>
                  <a:spcPct val="90000"/>
                </a:lnSpc>
                <a:spcBef>
                  <a:spcPct val="50000"/>
                </a:spcBef>
                <a:buSzPct val="100000"/>
                <a:defRPr/>
              </a:pPr>
              <a:r>
                <a:rPr lang="en-US" altLang="en-US" sz="840" b="1" kern="0" dirty="0">
                  <a:solidFill>
                    <a:srgbClr val="FFFFFF"/>
                  </a:solidFill>
                  <a:latin typeface="+mj-lt"/>
                </a:rPr>
                <a:t>Risk &amp; Issue Management</a:t>
              </a:r>
            </a:p>
          </p:txBody>
        </p:sp>
        <p:sp>
          <p:nvSpPr>
            <p:cNvPr id="83" name="Rectangle 18">
              <a:extLst>
                <a:ext uri="{FF2B5EF4-FFF2-40B4-BE49-F238E27FC236}">
                  <a16:creationId xmlns:a16="http://schemas.microsoft.com/office/drawing/2014/main" id="{61059C2E-2B67-444B-B7D9-7E1A080EBAD0}"/>
                </a:ext>
              </a:extLst>
            </p:cNvPr>
            <p:cNvSpPr>
              <a:spLocks noChangeArrowheads="1"/>
            </p:cNvSpPr>
            <p:nvPr/>
          </p:nvSpPr>
          <p:spPr bwMode="auto">
            <a:xfrm>
              <a:off x="1960441" y="4358037"/>
              <a:ext cx="1052997" cy="1103829"/>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No visibility to project risks. Issues list is static. Team issues not shared among all team members. No contingency.</a:t>
              </a:r>
            </a:p>
          </p:txBody>
        </p:sp>
        <p:sp>
          <p:nvSpPr>
            <p:cNvPr id="84" name="Rectangle 26">
              <a:extLst>
                <a:ext uri="{FF2B5EF4-FFF2-40B4-BE49-F238E27FC236}">
                  <a16:creationId xmlns:a16="http://schemas.microsoft.com/office/drawing/2014/main" id="{DFE5B993-0D4F-44AC-B102-515EA7E6CDD0}"/>
                </a:ext>
              </a:extLst>
            </p:cNvPr>
            <p:cNvSpPr>
              <a:spLocks noChangeArrowheads="1"/>
            </p:cNvSpPr>
            <p:nvPr/>
          </p:nvSpPr>
          <p:spPr bwMode="auto">
            <a:xfrm>
              <a:off x="1960441" y="1206833"/>
              <a:ext cx="1052997" cy="1340935"/>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Quantitative risk and uncertainty analysis. Well structured and visible risk &amp; issue management process with ability to draw down contingency</a:t>
              </a:r>
            </a:p>
          </p:txBody>
        </p:sp>
        <p:sp>
          <p:nvSpPr>
            <p:cNvPr id="85" name="Rectangle 34">
              <a:extLst>
                <a:ext uri="{FF2B5EF4-FFF2-40B4-BE49-F238E27FC236}">
                  <a16:creationId xmlns:a16="http://schemas.microsoft.com/office/drawing/2014/main" id="{B7077889-44A9-4AC8-9102-32C37334EC6F}"/>
                </a:ext>
              </a:extLst>
            </p:cNvPr>
            <p:cNvSpPr>
              <a:spLocks noChangeArrowheads="1"/>
            </p:cNvSpPr>
            <p:nvPr/>
          </p:nvSpPr>
          <p:spPr bwMode="auto">
            <a:xfrm>
              <a:off x="1960441" y="2879942"/>
              <a:ext cx="1052997" cy="1230664"/>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Risks identified and categorized.</a:t>
              </a:r>
              <a:br>
                <a:rPr lang="en-US" sz="840" dirty="0">
                  <a:latin typeface="+mj-lt"/>
                  <a:ea typeface="Tahoma" pitchFamily="34" charset="0"/>
                  <a:cs typeface="Tahoma" pitchFamily="34" charset="0"/>
                </a:rPr>
              </a:br>
              <a:r>
                <a:rPr lang="en-US" sz="840" dirty="0">
                  <a:latin typeface="+mj-lt"/>
                  <a:ea typeface="Tahoma" pitchFamily="34" charset="0"/>
                  <a:cs typeface="Tahoma" pitchFamily="34" charset="0"/>
                </a:rPr>
                <a:t>Common infrastructure to track / prioritize risks and issues.  Contingency budget but rarely used</a:t>
              </a:r>
            </a:p>
          </p:txBody>
        </p:sp>
        <p:cxnSp>
          <p:nvCxnSpPr>
            <p:cNvPr id="116" name="Straight Arrow Connector 115">
              <a:extLst>
                <a:ext uri="{FF2B5EF4-FFF2-40B4-BE49-F238E27FC236}">
                  <a16:creationId xmlns:a16="http://schemas.microsoft.com/office/drawing/2014/main" id="{CDF3872B-511C-4D6C-BC95-A1F7B124EC1A}"/>
                </a:ext>
              </a:extLst>
            </p:cNvPr>
            <p:cNvCxnSpPr>
              <a:cxnSpLocks/>
            </p:cNvCxnSpPr>
            <p:nvPr/>
          </p:nvCxnSpPr>
          <p:spPr>
            <a:xfrm flipV="1">
              <a:off x="2486939" y="2547769"/>
              <a:ext cx="0" cy="33217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9" name="Straight Arrow Connector 118">
              <a:extLst>
                <a:ext uri="{FF2B5EF4-FFF2-40B4-BE49-F238E27FC236}">
                  <a16:creationId xmlns:a16="http://schemas.microsoft.com/office/drawing/2014/main" id="{CA60D516-3B77-42AC-A97B-B48FA928C6A6}"/>
                </a:ext>
              </a:extLst>
            </p:cNvPr>
            <p:cNvCxnSpPr>
              <a:cxnSpLocks/>
            </p:cNvCxnSpPr>
            <p:nvPr/>
          </p:nvCxnSpPr>
          <p:spPr>
            <a:xfrm flipV="1">
              <a:off x="2486939" y="4110607"/>
              <a:ext cx="0" cy="24743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60078B00-951E-4749-97FA-807F3AA431D3}"/>
              </a:ext>
            </a:extLst>
          </p:cNvPr>
          <p:cNvGrpSpPr/>
          <p:nvPr/>
        </p:nvGrpSpPr>
        <p:grpSpPr>
          <a:xfrm>
            <a:off x="3464950" y="1206833"/>
            <a:ext cx="1052997" cy="5091191"/>
            <a:chOff x="4407652" y="1206833"/>
            <a:chExt cx="1052997" cy="5091191"/>
          </a:xfrm>
        </p:grpSpPr>
        <p:sp>
          <p:nvSpPr>
            <p:cNvPr id="138" name="Rectangle 4">
              <a:extLst>
                <a:ext uri="{FF2B5EF4-FFF2-40B4-BE49-F238E27FC236}">
                  <a16:creationId xmlns:a16="http://schemas.microsoft.com/office/drawing/2014/main" id="{E903C244-C1E5-436F-B1D7-4ABE4E99A6F4}"/>
                </a:ext>
              </a:extLst>
            </p:cNvPr>
            <p:cNvSpPr>
              <a:spLocks noChangeArrowheads="1"/>
            </p:cNvSpPr>
            <p:nvPr/>
          </p:nvSpPr>
          <p:spPr bwMode="auto">
            <a:xfrm>
              <a:off x="4407652" y="5680376"/>
              <a:ext cx="1052997" cy="617648"/>
            </a:xfrm>
            <a:prstGeom prst="roundRect">
              <a:avLst/>
            </a:prstGeom>
            <a:solidFill>
              <a:srgbClr val="145972"/>
            </a:solidFill>
            <a:ln w="9525" algn="ctr">
              <a:noFill/>
              <a:miter lim="800000"/>
              <a:headEnd/>
              <a:tailEnd/>
            </a:ln>
          </p:spPr>
          <p:txBody>
            <a:bodyPr lIns="43200" tIns="86400" rIns="43200" bIns="86400" anchor="ctr"/>
            <a:lstStyle/>
            <a:p>
              <a:pPr algn="ctr" defTabSz="548640" eaLnBrk="0" hangingPunct="0">
                <a:lnSpc>
                  <a:spcPct val="90000"/>
                </a:lnSpc>
                <a:spcBef>
                  <a:spcPct val="50000"/>
                </a:spcBef>
                <a:buSzPct val="100000"/>
                <a:defRPr/>
              </a:pPr>
              <a:r>
                <a:rPr lang="en-US" altLang="en-US" sz="840" b="1" kern="0" dirty="0">
                  <a:solidFill>
                    <a:srgbClr val="FFFFFF"/>
                  </a:solidFill>
                  <a:latin typeface="+mj-lt"/>
                </a:rPr>
                <a:t>Change Control</a:t>
              </a:r>
            </a:p>
          </p:txBody>
        </p:sp>
        <p:sp>
          <p:nvSpPr>
            <p:cNvPr id="94" name="Rectangle 18">
              <a:extLst>
                <a:ext uri="{FF2B5EF4-FFF2-40B4-BE49-F238E27FC236}">
                  <a16:creationId xmlns:a16="http://schemas.microsoft.com/office/drawing/2014/main" id="{0C849558-8732-455D-A873-71C1F9333110}"/>
                </a:ext>
              </a:extLst>
            </p:cNvPr>
            <p:cNvSpPr>
              <a:spLocks noChangeArrowheads="1"/>
            </p:cNvSpPr>
            <p:nvPr/>
          </p:nvSpPr>
          <p:spPr bwMode="auto">
            <a:xfrm>
              <a:off x="4407652" y="4358037"/>
              <a:ext cx="1052997" cy="1103829"/>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Program changes agreed ad hoc. No impact assessments.  Minimal alignment to contract.</a:t>
              </a:r>
            </a:p>
          </p:txBody>
        </p:sp>
        <p:sp>
          <p:nvSpPr>
            <p:cNvPr id="95" name="Rectangle 26">
              <a:extLst>
                <a:ext uri="{FF2B5EF4-FFF2-40B4-BE49-F238E27FC236}">
                  <a16:creationId xmlns:a16="http://schemas.microsoft.com/office/drawing/2014/main" id="{D12FD45E-B5BE-4537-ACEC-71B21A1747D7}"/>
                </a:ext>
              </a:extLst>
            </p:cNvPr>
            <p:cNvSpPr>
              <a:spLocks noChangeArrowheads="1"/>
            </p:cNvSpPr>
            <p:nvPr/>
          </p:nvSpPr>
          <p:spPr bwMode="auto">
            <a:xfrm>
              <a:off x="4407652" y="1206833"/>
              <a:ext cx="1052997" cy="1340935"/>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Scope, cost, schedule and performance requirements under formal change control and linked product needs. Clear governance in place to control changes with tolerances defined.</a:t>
              </a:r>
            </a:p>
          </p:txBody>
        </p:sp>
        <p:sp>
          <p:nvSpPr>
            <p:cNvPr id="96" name="Rectangle 34">
              <a:extLst>
                <a:ext uri="{FF2B5EF4-FFF2-40B4-BE49-F238E27FC236}">
                  <a16:creationId xmlns:a16="http://schemas.microsoft.com/office/drawing/2014/main" id="{145B50E4-8ED3-4055-8C65-67CB51F080B7}"/>
                </a:ext>
              </a:extLst>
            </p:cNvPr>
            <p:cNvSpPr>
              <a:spLocks noChangeArrowheads="1"/>
            </p:cNvSpPr>
            <p:nvPr/>
          </p:nvSpPr>
          <p:spPr bwMode="auto">
            <a:xfrm>
              <a:off x="4407652" y="2879942"/>
              <a:ext cx="1052997" cy="1230664"/>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Program change control process in place; impact assessments not robust.  Weak link to product definition.  Governance ambiguous.</a:t>
              </a:r>
            </a:p>
          </p:txBody>
        </p:sp>
        <p:cxnSp>
          <p:nvCxnSpPr>
            <p:cNvPr id="114" name="Straight Arrow Connector 113">
              <a:extLst>
                <a:ext uri="{FF2B5EF4-FFF2-40B4-BE49-F238E27FC236}">
                  <a16:creationId xmlns:a16="http://schemas.microsoft.com/office/drawing/2014/main" id="{708A26D0-93EA-4CCE-B63E-96BCF864E938}"/>
                </a:ext>
              </a:extLst>
            </p:cNvPr>
            <p:cNvCxnSpPr>
              <a:cxnSpLocks/>
            </p:cNvCxnSpPr>
            <p:nvPr/>
          </p:nvCxnSpPr>
          <p:spPr>
            <a:xfrm flipV="1">
              <a:off x="4934151" y="2547769"/>
              <a:ext cx="0" cy="32962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1" name="Straight Arrow Connector 120">
              <a:extLst>
                <a:ext uri="{FF2B5EF4-FFF2-40B4-BE49-F238E27FC236}">
                  <a16:creationId xmlns:a16="http://schemas.microsoft.com/office/drawing/2014/main" id="{4C3E95E5-375E-48A2-B7A3-C0829C49D44C}"/>
                </a:ext>
              </a:extLst>
            </p:cNvPr>
            <p:cNvCxnSpPr>
              <a:cxnSpLocks/>
            </p:cNvCxnSpPr>
            <p:nvPr/>
          </p:nvCxnSpPr>
          <p:spPr>
            <a:xfrm flipV="1">
              <a:off x="4934151" y="4108057"/>
              <a:ext cx="0" cy="24998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grpSp>
        <p:nvGrpSpPr>
          <p:cNvPr id="6" name="Group 5">
            <a:extLst>
              <a:ext uri="{FF2B5EF4-FFF2-40B4-BE49-F238E27FC236}">
                <a16:creationId xmlns:a16="http://schemas.microsoft.com/office/drawing/2014/main" id="{5AAFF8DF-5E8D-4025-A257-A5B992498F89}"/>
              </a:ext>
            </a:extLst>
          </p:cNvPr>
          <p:cNvGrpSpPr/>
          <p:nvPr/>
        </p:nvGrpSpPr>
        <p:grpSpPr>
          <a:xfrm>
            <a:off x="4827438" y="1206833"/>
            <a:ext cx="1052997" cy="5091191"/>
            <a:chOff x="5625823" y="1206833"/>
            <a:chExt cx="1052997" cy="5091191"/>
          </a:xfrm>
        </p:grpSpPr>
        <p:sp>
          <p:nvSpPr>
            <p:cNvPr id="144" name="Rectangle 4">
              <a:extLst>
                <a:ext uri="{FF2B5EF4-FFF2-40B4-BE49-F238E27FC236}">
                  <a16:creationId xmlns:a16="http://schemas.microsoft.com/office/drawing/2014/main" id="{790C4723-7F49-4348-B359-97B6451DBF2E}"/>
                </a:ext>
              </a:extLst>
            </p:cNvPr>
            <p:cNvSpPr>
              <a:spLocks noChangeArrowheads="1"/>
            </p:cNvSpPr>
            <p:nvPr/>
          </p:nvSpPr>
          <p:spPr bwMode="auto">
            <a:xfrm>
              <a:off x="5625823" y="5680376"/>
              <a:ext cx="1052997" cy="617648"/>
            </a:xfrm>
            <a:prstGeom prst="roundRect">
              <a:avLst/>
            </a:prstGeom>
            <a:solidFill>
              <a:srgbClr val="145972"/>
            </a:solidFill>
            <a:ln w="9525" algn="ctr">
              <a:noFill/>
              <a:miter lim="800000"/>
              <a:headEnd/>
              <a:tailEnd/>
            </a:ln>
          </p:spPr>
          <p:txBody>
            <a:bodyPr lIns="43200" tIns="86400" rIns="43200" bIns="86400" anchor="ctr"/>
            <a:lstStyle/>
            <a:p>
              <a:pPr algn="ctr" defTabSz="548640" eaLnBrk="0" hangingPunct="0">
                <a:lnSpc>
                  <a:spcPct val="90000"/>
                </a:lnSpc>
                <a:spcBef>
                  <a:spcPct val="50000"/>
                </a:spcBef>
                <a:buSzPct val="100000"/>
                <a:defRPr/>
              </a:pPr>
              <a:r>
                <a:rPr lang="en-US" altLang="en-US" sz="840" b="1" kern="0" dirty="0">
                  <a:solidFill>
                    <a:srgbClr val="FFFFFF"/>
                  </a:solidFill>
                  <a:latin typeface="+mj-lt"/>
                </a:rPr>
                <a:t>Financial Management</a:t>
              </a:r>
            </a:p>
          </p:txBody>
        </p:sp>
        <p:sp>
          <p:nvSpPr>
            <p:cNvPr id="106" name="Rectangle 18">
              <a:extLst>
                <a:ext uri="{FF2B5EF4-FFF2-40B4-BE49-F238E27FC236}">
                  <a16:creationId xmlns:a16="http://schemas.microsoft.com/office/drawing/2014/main" id="{4EC71313-12CE-4C63-839B-2632ECDBD9EB}"/>
                </a:ext>
              </a:extLst>
            </p:cNvPr>
            <p:cNvSpPr>
              <a:spLocks noChangeArrowheads="1"/>
            </p:cNvSpPr>
            <p:nvPr/>
          </p:nvSpPr>
          <p:spPr bwMode="auto">
            <a:xfrm>
              <a:off x="5625823" y="4358037"/>
              <a:ext cx="1052997" cy="1103829"/>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Top down estimating  to create ballpark cost estimates. Costs are incorporated into the business case to gain project approval.</a:t>
              </a:r>
            </a:p>
          </p:txBody>
        </p:sp>
        <p:sp>
          <p:nvSpPr>
            <p:cNvPr id="107" name="Rectangle 26">
              <a:extLst>
                <a:ext uri="{FF2B5EF4-FFF2-40B4-BE49-F238E27FC236}">
                  <a16:creationId xmlns:a16="http://schemas.microsoft.com/office/drawing/2014/main" id="{ACABBEB1-3BD3-4A91-AAFD-E660D89B58F7}"/>
                </a:ext>
              </a:extLst>
            </p:cNvPr>
            <p:cNvSpPr>
              <a:spLocks noChangeArrowheads="1"/>
            </p:cNvSpPr>
            <p:nvPr/>
          </p:nvSpPr>
          <p:spPr bwMode="auto">
            <a:xfrm>
              <a:off x="5625823" y="1206833"/>
              <a:ext cx="1052997" cy="1340935"/>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Costs estimates reviewed and refined with sponsor / key stakeholders.   Cost mgt. changes  integrated into  project plan, revised to reflect cost changes </a:t>
              </a:r>
            </a:p>
          </p:txBody>
        </p:sp>
        <p:sp>
          <p:nvSpPr>
            <p:cNvPr id="108" name="Rectangle 34">
              <a:extLst>
                <a:ext uri="{FF2B5EF4-FFF2-40B4-BE49-F238E27FC236}">
                  <a16:creationId xmlns:a16="http://schemas.microsoft.com/office/drawing/2014/main" id="{CA726754-617C-41AD-A751-D38B06E709A2}"/>
                </a:ext>
              </a:extLst>
            </p:cNvPr>
            <p:cNvSpPr>
              <a:spLocks noChangeArrowheads="1"/>
            </p:cNvSpPr>
            <p:nvPr/>
          </p:nvSpPr>
          <p:spPr bwMode="auto">
            <a:xfrm>
              <a:off x="5625823" y="2879942"/>
              <a:ext cx="1052997" cy="1230664"/>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Top down /bottom up estimating. Costs defined and compared to benchmark historical costs, incorporated into the approved business case </a:t>
              </a:r>
            </a:p>
          </p:txBody>
        </p:sp>
        <p:cxnSp>
          <p:nvCxnSpPr>
            <p:cNvPr id="113" name="Straight Arrow Connector 112">
              <a:extLst>
                <a:ext uri="{FF2B5EF4-FFF2-40B4-BE49-F238E27FC236}">
                  <a16:creationId xmlns:a16="http://schemas.microsoft.com/office/drawing/2014/main" id="{AB551440-822F-4F6D-A6F5-6936C711E03A}"/>
                </a:ext>
              </a:extLst>
            </p:cNvPr>
            <p:cNvCxnSpPr>
              <a:cxnSpLocks/>
            </p:cNvCxnSpPr>
            <p:nvPr/>
          </p:nvCxnSpPr>
          <p:spPr>
            <a:xfrm flipV="1">
              <a:off x="6152322" y="2547769"/>
              <a:ext cx="0" cy="32962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2" name="Straight Arrow Connector 121">
              <a:extLst>
                <a:ext uri="{FF2B5EF4-FFF2-40B4-BE49-F238E27FC236}">
                  <a16:creationId xmlns:a16="http://schemas.microsoft.com/office/drawing/2014/main" id="{B895D67C-4374-4E14-969C-E82C8053C5AF}"/>
                </a:ext>
              </a:extLst>
            </p:cNvPr>
            <p:cNvCxnSpPr>
              <a:cxnSpLocks/>
            </p:cNvCxnSpPr>
            <p:nvPr/>
          </p:nvCxnSpPr>
          <p:spPr>
            <a:xfrm flipV="1">
              <a:off x="6152322" y="4108057"/>
              <a:ext cx="0" cy="24998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29711192-475E-4DA8-8C2D-28635370DCD7}"/>
              </a:ext>
            </a:extLst>
          </p:cNvPr>
          <p:cNvGrpSpPr/>
          <p:nvPr/>
        </p:nvGrpSpPr>
        <p:grpSpPr>
          <a:xfrm>
            <a:off x="6189926" y="1206833"/>
            <a:ext cx="1052998" cy="5091191"/>
            <a:chOff x="6785753" y="1206833"/>
            <a:chExt cx="1052998" cy="5091191"/>
          </a:xfrm>
        </p:grpSpPr>
        <p:sp>
          <p:nvSpPr>
            <p:cNvPr id="140" name="Rectangle 4">
              <a:extLst>
                <a:ext uri="{FF2B5EF4-FFF2-40B4-BE49-F238E27FC236}">
                  <a16:creationId xmlns:a16="http://schemas.microsoft.com/office/drawing/2014/main" id="{FE145B27-BA55-4C76-959A-06CC9AE3F682}"/>
                </a:ext>
              </a:extLst>
            </p:cNvPr>
            <p:cNvSpPr>
              <a:spLocks noChangeArrowheads="1"/>
            </p:cNvSpPr>
            <p:nvPr/>
          </p:nvSpPr>
          <p:spPr bwMode="auto">
            <a:xfrm>
              <a:off x="6785753" y="5682442"/>
              <a:ext cx="1052997" cy="615582"/>
            </a:xfrm>
            <a:prstGeom prst="roundRect">
              <a:avLst/>
            </a:prstGeom>
            <a:solidFill>
              <a:srgbClr val="145972"/>
            </a:solidFill>
            <a:ln w="9525" algn="ctr">
              <a:noFill/>
              <a:miter lim="800000"/>
              <a:headEnd/>
              <a:tailEnd/>
            </a:ln>
          </p:spPr>
          <p:txBody>
            <a:bodyPr lIns="43200" tIns="86400" rIns="43200" bIns="86400" anchor="ctr"/>
            <a:lstStyle/>
            <a:p>
              <a:pPr algn="ctr" defTabSz="548640" eaLnBrk="0" hangingPunct="0">
                <a:lnSpc>
                  <a:spcPct val="90000"/>
                </a:lnSpc>
                <a:spcBef>
                  <a:spcPct val="50000"/>
                </a:spcBef>
                <a:buSzPct val="100000"/>
                <a:defRPr/>
              </a:pPr>
              <a:r>
                <a:rPr lang="en-US" altLang="en-US" sz="840" b="1" kern="0" dirty="0">
                  <a:solidFill>
                    <a:srgbClr val="FFFFFF"/>
                  </a:solidFill>
                  <a:latin typeface="+mj-lt"/>
                </a:rPr>
                <a:t>Quality Management</a:t>
              </a:r>
            </a:p>
          </p:txBody>
        </p:sp>
        <p:sp>
          <p:nvSpPr>
            <p:cNvPr id="97" name="Rectangle 18">
              <a:extLst>
                <a:ext uri="{FF2B5EF4-FFF2-40B4-BE49-F238E27FC236}">
                  <a16:creationId xmlns:a16="http://schemas.microsoft.com/office/drawing/2014/main" id="{97AE081F-47B2-4806-95C4-178C235804A4}"/>
                </a:ext>
              </a:extLst>
            </p:cNvPr>
            <p:cNvSpPr>
              <a:spLocks noChangeArrowheads="1"/>
            </p:cNvSpPr>
            <p:nvPr/>
          </p:nvSpPr>
          <p:spPr bwMode="auto">
            <a:xfrm>
              <a:off x="6785753" y="4358037"/>
              <a:ext cx="1052997" cy="1103829"/>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Quality standards are not defined and a quality plan is not created.</a:t>
              </a:r>
            </a:p>
          </p:txBody>
        </p:sp>
        <p:sp>
          <p:nvSpPr>
            <p:cNvPr id="98" name="Rectangle 26">
              <a:extLst>
                <a:ext uri="{FF2B5EF4-FFF2-40B4-BE49-F238E27FC236}">
                  <a16:creationId xmlns:a16="http://schemas.microsoft.com/office/drawing/2014/main" id="{476077B3-9C87-4627-A391-E797090E6A5B}"/>
                </a:ext>
              </a:extLst>
            </p:cNvPr>
            <p:cNvSpPr>
              <a:spLocks noChangeArrowheads="1"/>
            </p:cNvSpPr>
            <p:nvPr/>
          </p:nvSpPr>
          <p:spPr bwMode="auto">
            <a:xfrm>
              <a:off x="6785754" y="1206833"/>
              <a:ext cx="1052997" cy="1340935"/>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Sponsor approved quality plan for all quality control processes. Regular independent  quality audits.  Results are reviewed with  key stakeholders. </a:t>
              </a:r>
            </a:p>
          </p:txBody>
        </p:sp>
        <p:sp>
          <p:nvSpPr>
            <p:cNvPr id="99" name="Rectangle 34">
              <a:extLst>
                <a:ext uri="{FF2B5EF4-FFF2-40B4-BE49-F238E27FC236}">
                  <a16:creationId xmlns:a16="http://schemas.microsoft.com/office/drawing/2014/main" id="{6234A0EC-2CF6-41DB-BFDE-1B76300B4457}"/>
                </a:ext>
              </a:extLst>
            </p:cNvPr>
            <p:cNvSpPr>
              <a:spLocks noChangeArrowheads="1"/>
            </p:cNvSpPr>
            <p:nvPr/>
          </p:nvSpPr>
          <p:spPr bwMode="auto">
            <a:xfrm>
              <a:off x="6785753" y="2879942"/>
              <a:ext cx="1052997" cy="1230664"/>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Quality assurance objectives are defined at the beginning of the project but formal  independent quality audits do not occur </a:t>
              </a:r>
            </a:p>
          </p:txBody>
        </p:sp>
        <p:cxnSp>
          <p:nvCxnSpPr>
            <p:cNvPr id="112" name="Straight Arrow Connector 111">
              <a:extLst>
                <a:ext uri="{FF2B5EF4-FFF2-40B4-BE49-F238E27FC236}">
                  <a16:creationId xmlns:a16="http://schemas.microsoft.com/office/drawing/2014/main" id="{12769337-80AE-464E-ACED-EB079EC06F2F}"/>
                </a:ext>
              </a:extLst>
            </p:cNvPr>
            <p:cNvCxnSpPr>
              <a:cxnSpLocks/>
            </p:cNvCxnSpPr>
            <p:nvPr/>
          </p:nvCxnSpPr>
          <p:spPr>
            <a:xfrm flipV="1">
              <a:off x="7312253" y="2547769"/>
              <a:ext cx="0" cy="32962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3" name="Straight Arrow Connector 122">
              <a:extLst>
                <a:ext uri="{FF2B5EF4-FFF2-40B4-BE49-F238E27FC236}">
                  <a16:creationId xmlns:a16="http://schemas.microsoft.com/office/drawing/2014/main" id="{F96826F3-947C-48EB-8336-BE0A602429DD}"/>
                </a:ext>
              </a:extLst>
            </p:cNvPr>
            <p:cNvCxnSpPr>
              <a:cxnSpLocks/>
            </p:cNvCxnSpPr>
            <p:nvPr/>
          </p:nvCxnSpPr>
          <p:spPr>
            <a:xfrm flipV="1">
              <a:off x="7312253" y="4108057"/>
              <a:ext cx="0" cy="24998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894AD166-5147-4721-89FA-B0E70DDDC2B3}"/>
              </a:ext>
            </a:extLst>
          </p:cNvPr>
          <p:cNvGrpSpPr/>
          <p:nvPr/>
        </p:nvGrpSpPr>
        <p:grpSpPr>
          <a:xfrm>
            <a:off x="7552415" y="1206833"/>
            <a:ext cx="1052997" cy="5091191"/>
            <a:chOff x="7945685" y="1206833"/>
            <a:chExt cx="1052997" cy="5091191"/>
          </a:xfrm>
        </p:grpSpPr>
        <p:sp>
          <p:nvSpPr>
            <p:cNvPr id="142" name="Rectangle 4">
              <a:extLst>
                <a:ext uri="{FF2B5EF4-FFF2-40B4-BE49-F238E27FC236}">
                  <a16:creationId xmlns:a16="http://schemas.microsoft.com/office/drawing/2014/main" id="{BD4A8F1B-A7E4-4A17-BEA0-B3FCBA72475F}"/>
                </a:ext>
              </a:extLst>
            </p:cNvPr>
            <p:cNvSpPr>
              <a:spLocks noChangeArrowheads="1"/>
            </p:cNvSpPr>
            <p:nvPr/>
          </p:nvSpPr>
          <p:spPr bwMode="auto">
            <a:xfrm>
              <a:off x="7945685" y="5680376"/>
              <a:ext cx="1052997" cy="617648"/>
            </a:xfrm>
            <a:prstGeom prst="roundRect">
              <a:avLst/>
            </a:prstGeom>
            <a:solidFill>
              <a:srgbClr val="145972"/>
            </a:solidFill>
            <a:ln w="9525" algn="ctr">
              <a:noFill/>
              <a:miter lim="800000"/>
              <a:headEnd/>
              <a:tailEnd/>
            </a:ln>
          </p:spPr>
          <p:txBody>
            <a:bodyPr lIns="43200" tIns="86400" rIns="43200" bIns="86400" anchor="ctr"/>
            <a:lstStyle/>
            <a:p>
              <a:pPr algn="ctr" defTabSz="548640" eaLnBrk="0" hangingPunct="0">
                <a:lnSpc>
                  <a:spcPct val="90000"/>
                </a:lnSpc>
                <a:spcBef>
                  <a:spcPct val="50000"/>
                </a:spcBef>
                <a:buSzPct val="100000"/>
                <a:defRPr/>
              </a:pPr>
              <a:r>
                <a:rPr lang="en-US" altLang="en-US" sz="840" b="1" kern="0" dirty="0">
                  <a:solidFill>
                    <a:srgbClr val="FFFFFF"/>
                  </a:solidFill>
                  <a:latin typeface="+mj-lt"/>
                </a:rPr>
                <a:t>Team Building and Development</a:t>
              </a:r>
            </a:p>
          </p:txBody>
        </p:sp>
        <p:sp>
          <p:nvSpPr>
            <p:cNvPr id="100" name="Rectangle 18">
              <a:extLst>
                <a:ext uri="{FF2B5EF4-FFF2-40B4-BE49-F238E27FC236}">
                  <a16:creationId xmlns:a16="http://schemas.microsoft.com/office/drawing/2014/main" id="{000157AD-F540-422D-B9A3-525ED797A5C7}"/>
                </a:ext>
              </a:extLst>
            </p:cNvPr>
            <p:cNvSpPr>
              <a:spLocks noChangeArrowheads="1"/>
            </p:cNvSpPr>
            <p:nvPr/>
          </p:nvSpPr>
          <p:spPr bwMode="auto">
            <a:xfrm>
              <a:off x="7945685" y="4358037"/>
              <a:ext cx="1052997" cy="1103829"/>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Project roles are not formally documented, staffing management plan not created.  Informal performance management.</a:t>
              </a:r>
            </a:p>
          </p:txBody>
        </p:sp>
        <p:sp>
          <p:nvSpPr>
            <p:cNvPr id="101" name="Rectangle 26">
              <a:extLst>
                <a:ext uri="{FF2B5EF4-FFF2-40B4-BE49-F238E27FC236}">
                  <a16:creationId xmlns:a16="http://schemas.microsoft.com/office/drawing/2014/main" id="{88270F6F-DEA0-49CD-9235-A7D6EE8EF57E}"/>
                </a:ext>
              </a:extLst>
            </p:cNvPr>
            <p:cNvSpPr>
              <a:spLocks noChangeArrowheads="1"/>
            </p:cNvSpPr>
            <p:nvPr/>
          </p:nvSpPr>
          <p:spPr bwMode="auto">
            <a:xfrm>
              <a:off x="7945685" y="1206833"/>
              <a:ext cx="1052997" cy="1340935"/>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All project roles matched to  resources  skill set. Role assignments managed. Structured Induction/exit  </a:t>
              </a:r>
              <a:r>
                <a:rPr lang="en-GB" sz="840" dirty="0">
                  <a:latin typeface="+mj-lt"/>
                  <a:ea typeface="Tahoma" pitchFamily="34" charset="0"/>
                  <a:cs typeface="Tahoma" pitchFamily="34" charset="0"/>
                </a:rPr>
                <a:t>Assessment linked to clear objectives and incentives.</a:t>
              </a:r>
              <a:endParaRPr lang="en-US" sz="840" dirty="0">
                <a:latin typeface="+mj-lt"/>
                <a:ea typeface="Tahoma" pitchFamily="34" charset="0"/>
                <a:cs typeface="Tahoma" pitchFamily="34" charset="0"/>
              </a:endParaRPr>
            </a:p>
          </p:txBody>
        </p:sp>
        <p:sp>
          <p:nvSpPr>
            <p:cNvPr id="102" name="Rectangle 34">
              <a:extLst>
                <a:ext uri="{FF2B5EF4-FFF2-40B4-BE49-F238E27FC236}">
                  <a16:creationId xmlns:a16="http://schemas.microsoft.com/office/drawing/2014/main" id="{3BCEE7BF-8929-4CDF-A5A9-F80321643FC5}"/>
                </a:ext>
              </a:extLst>
            </p:cNvPr>
            <p:cNvSpPr>
              <a:spLocks noChangeArrowheads="1"/>
            </p:cNvSpPr>
            <p:nvPr/>
          </p:nvSpPr>
          <p:spPr bwMode="auto">
            <a:xfrm>
              <a:off x="7945685" y="2879942"/>
              <a:ext cx="1052997" cy="1230664"/>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 Resources reviewed against requirements. Majority of the project team  matched to skill set. Role assignments are reviewed periodically</a:t>
              </a:r>
            </a:p>
          </p:txBody>
        </p:sp>
        <p:cxnSp>
          <p:nvCxnSpPr>
            <p:cNvPr id="111" name="Straight Arrow Connector 110">
              <a:extLst>
                <a:ext uri="{FF2B5EF4-FFF2-40B4-BE49-F238E27FC236}">
                  <a16:creationId xmlns:a16="http://schemas.microsoft.com/office/drawing/2014/main" id="{E8B4147D-7506-4CDB-A7A0-D0618276EE53}"/>
                </a:ext>
              </a:extLst>
            </p:cNvPr>
            <p:cNvCxnSpPr>
              <a:cxnSpLocks/>
            </p:cNvCxnSpPr>
            <p:nvPr/>
          </p:nvCxnSpPr>
          <p:spPr>
            <a:xfrm flipV="1">
              <a:off x="8472184" y="2547769"/>
              <a:ext cx="0" cy="32962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4" name="Straight Arrow Connector 123">
              <a:extLst>
                <a:ext uri="{FF2B5EF4-FFF2-40B4-BE49-F238E27FC236}">
                  <a16:creationId xmlns:a16="http://schemas.microsoft.com/office/drawing/2014/main" id="{84936183-3E04-4C02-BEF3-D077EAE271DD}"/>
                </a:ext>
              </a:extLst>
            </p:cNvPr>
            <p:cNvCxnSpPr>
              <a:cxnSpLocks/>
            </p:cNvCxnSpPr>
            <p:nvPr/>
          </p:nvCxnSpPr>
          <p:spPr>
            <a:xfrm flipV="1">
              <a:off x="8472184" y="4108057"/>
              <a:ext cx="0" cy="24998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15812AC3-86AE-4A70-95B2-C8649D6869DE}"/>
              </a:ext>
            </a:extLst>
          </p:cNvPr>
          <p:cNvGrpSpPr/>
          <p:nvPr/>
        </p:nvGrpSpPr>
        <p:grpSpPr>
          <a:xfrm>
            <a:off x="8914903" y="1206833"/>
            <a:ext cx="1052997" cy="5091191"/>
            <a:chOff x="9117458" y="1206833"/>
            <a:chExt cx="1052997" cy="5091191"/>
          </a:xfrm>
        </p:grpSpPr>
        <p:sp>
          <p:nvSpPr>
            <p:cNvPr id="143" name="Rectangle 4">
              <a:extLst>
                <a:ext uri="{FF2B5EF4-FFF2-40B4-BE49-F238E27FC236}">
                  <a16:creationId xmlns:a16="http://schemas.microsoft.com/office/drawing/2014/main" id="{B69F912E-824D-4874-B501-E9AE2E73DDE0}"/>
                </a:ext>
              </a:extLst>
            </p:cNvPr>
            <p:cNvSpPr>
              <a:spLocks noChangeArrowheads="1"/>
            </p:cNvSpPr>
            <p:nvPr/>
          </p:nvSpPr>
          <p:spPr bwMode="auto">
            <a:xfrm>
              <a:off x="9117458" y="5680376"/>
              <a:ext cx="1052997" cy="617648"/>
            </a:xfrm>
            <a:prstGeom prst="roundRect">
              <a:avLst/>
            </a:prstGeom>
            <a:solidFill>
              <a:srgbClr val="145972"/>
            </a:solidFill>
            <a:ln w="9525" algn="ctr">
              <a:noFill/>
              <a:miter lim="800000"/>
              <a:headEnd/>
              <a:tailEnd/>
            </a:ln>
          </p:spPr>
          <p:txBody>
            <a:bodyPr lIns="43200" tIns="86400" rIns="43200" bIns="86400" anchor="ctr"/>
            <a:lstStyle/>
            <a:p>
              <a:pPr algn="ctr" defTabSz="548640" eaLnBrk="0" hangingPunct="0">
                <a:lnSpc>
                  <a:spcPct val="90000"/>
                </a:lnSpc>
                <a:spcBef>
                  <a:spcPct val="50000"/>
                </a:spcBef>
                <a:buSzPct val="100000"/>
                <a:defRPr/>
              </a:pPr>
              <a:r>
                <a:rPr lang="en-US" altLang="en-US" sz="840" b="1" kern="0" dirty="0">
                  <a:solidFill>
                    <a:srgbClr val="FFFFFF"/>
                  </a:solidFill>
                  <a:latin typeface="+mj-lt"/>
                </a:rPr>
                <a:t>Internal and External Stakeholder Management</a:t>
              </a:r>
            </a:p>
          </p:txBody>
        </p:sp>
        <p:sp>
          <p:nvSpPr>
            <p:cNvPr id="103" name="Rectangle 18">
              <a:extLst>
                <a:ext uri="{FF2B5EF4-FFF2-40B4-BE49-F238E27FC236}">
                  <a16:creationId xmlns:a16="http://schemas.microsoft.com/office/drawing/2014/main" id="{265ECB6E-BD72-4B46-BFBF-3DB809ABF033}"/>
                </a:ext>
              </a:extLst>
            </p:cNvPr>
            <p:cNvSpPr>
              <a:spLocks noChangeArrowheads="1"/>
            </p:cNvSpPr>
            <p:nvPr/>
          </p:nvSpPr>
          <p:spPr bwMode="auto">
            <a:xfrm>
              <a:off x="9117458" y="4358037"/>
              <a:ext cx="1052997" cy="1103829"/>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No stakeholder analysis is performed. A basic communication plan is developed at the beginning of the project.</a:t>
              </a:r>
            </a:p>
          </p:txBody>
        </p:sp>
        <p:sp>
          <p:nvSpPr>
            <p:cNvPr id="104" name="Rectangle 26">
              <a:extLst>
                <a:ext uri="{FF2B5EF4-FFF2-40B4-BE49-F238E27FC236}">
                  <a16:creationId xmlns:a16="http://schemas.microsoft.com/office/drawing/2014/main" id="{EC9FFF95-3FFB-44B2-969C-1B2EE221ED7E}"/>
                </a:ext>
              </a:extLst>
            </p:cNvPr>
            <p:cNvSpPr>
              <a:spLocks noChangeArrowheads="1"/>
            </p:cNvSpPr>
            <p:nvPr/>
          </p:nvSpPr>
          <p:spPr bwMode="auto">
            <a:xfrm>
              <a:off x="9117458" y="1206833"/>
              <a:ext cx="1052997" cy="1340935"/>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Customer &amp;  stakeholder expectations are both actively managed. Leadership is trusted by all stakeholders.  Strong customer/ supplier relationship </a:t>
              </a:r>
              <a:r>
                <a:rPr lang="en-GB" sz="840" dirty="0">
                  <a:latin typeface="+mj-lt"/>
                  <a:ea typeface="Tahoma" pitchFamily="34" charset="0"/>
                  <a:cs typeface="Tahoma" pitchFamily="34" charset="0"/>
                </a:rPr>
                <a:t> </a:t>
              </a:r>
              <a:endParaRPr lang="en-US" sz="840" dirty="0">
                <a:latin typeface="+mj-lt"/>
                <a:ea typeface="Tahoma" pitchFamily="34" charset="0"/>
                <a:cs typeface="Tahoma" pitchFamily="34" charset="0"/>
              </a:endParaRPr>
            </a:p>
          </p:txBody>
        </p:sp>
        <p:sp>
          <p:nvSpPr>
            <p:cNvPr id="105" name="Rectangle 34">
              <a:extLst>
                <a:ext uri="{FF2B5EF4-FFF2-40B4-BE49-F238E27FC236}">
                  <a16:creationId xmlns:a16="http://schemas.microsoft.com/office/drawing/2014/main" id="{929CB979-85A7-4064-B702-63BFD241B661}"/>
                </a:ext>
              </a:extLst>
            </p:cNvPr>
            <p:cNvSpPr>
              <a:spLocks noChangeArrowheads="1"/>
            </p:cNvSpPr>
            <p:nvPr/>
          </p:nvSpPr>
          <p:spPr bwMode="auto">
            <a:xfrm>
              <a:off x="9117458" y="2879942"/>
              <a:ext cx="1052997" cy="1230664"/>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40" dirty="0">
                  <a:latin typeface="+mj-lt"/>
                  <a:ea typeface="Tahoma" pitchFamily="34" charset="0"/>
                  <a:cs typeface="Tahoma" pitchFamily="34" charset="0"/>
                </a:rPr>
                <a:t> A detailed stakeholder analysis  conducted. A detailed communication plan is developed  Plan is reviewed periodically</a:t>
              </a:r>
            </a:p>
          </p:txBody>
        </p:sp>
        <p:cxnSp>
          <p:nvCxnSpPr>
            <p:cNvPr id="110" name="Straight Arrow Connector 109">
              <a:extLst>
                <a:ext uri="{FF2B5EF4-FFF2-40B4-BE49-F238E27FC236}">
                  <a16:creationId xmlns:a16="http://schemas.microsoft.com/office/drawing/2014/main" id="{4BB2FEE2-4DE7-460D-BE02-78778C618F3A}"/>
                </a:ext>
              </a:extLst>
            </p:cNvPr>
            <p:cNvCxnSpPr/>
            <p:nvPr/>
          </p:nvCxnSpPr>
          <p:spPr>
            <a:xfrm flipV="1">
              <a:off x="9643957" y="2547769"/>
              <a:ext cx="0" cy="32962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5" name="Straight Arrow Connector 124">
              <a:extLst>
                <a:ext uri="{FF2B5EF4-FFF2-40B4-BE49-F238E27FC236}">
                  <a16:creationId xmlns:a16="http://schemas.microsoft.com/office/drawing/2014/main" id="{C0D91F3F-C154-4BA2-93F5-778DC83E153A}"/>
                </a:ext>
              </a:extLst>
            </p:cNvPr>
            <p:cNvCxnSpPr/>
            <p:nvPr/>
          </p:nvCxnSpPr>
          <p:spPr>
            <a:xfrm flipV="1">
              <a:off x="9643957" y="4108057"/>
              <a:ext cx="0" cy="24998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CBB83CEA-1EB2-4542-A723-8CD2C7C91B33}"/>
              </a:ext>
            </a:extLst>
          </p:cNvPr>
          <p:cNvGrpSpPr/>
          <p:nvPr/>
        </p:nvGrpSpPr>
        <p:grpSpPr>
          <a:xfrm>
            <a:off x="10277390" y="1206833"/>
            <a:ext cx="1052997" cy="5091191"/>
            <a:chOff x="10277390" y="1206833"/>
            <a:chExt cx="1052997" cy="5091191"/>
          </a:xfrm>
        </p:grpSpPr>
        <p:sp>
          <p:nvSpPr>
            <p:cNvPr id="134" name="Rectangle 4">
              <a:extLst>
                <a:ext uri="{FF2B5EF4-FFF2-40B4-BE49-F238E27FC236}">
                  <a16:creationId xmlns:a16="http://schemas.microsoft.com/office/drawing/2014/main" id="{C752A064-1A4B-42D3-BB4E-2CE355CB82CE}"/>
                </a:ext>
              </a:extLst>
            </p:cNvPr>
            <p:cNvSpPr>
              <a:spLocks noChangeArrowheads="1"/>
            </p:cNvSpPr>
            <p:nvPr/>
          </p:nvSpPr>
          <p:spPr bwMode="auto">
            <a:xfrm>
              <a:off x="10277390" y="5680376"/>
              <a:ext cx="1052997" cy="617648"/>
            </a:xfrm>
            <a:prstGeom prst="roundRect">
              <a:avLst/>
            </a:prstGeom>
            <a:solidFill>
              <a:srgbClr val="145972"/>
            </a:solidFill>
            <a:ln w="9525" algn="ctr">
              <a:noFill/>
              <a:miter lim="800000"/>
              <a:headEnd/>
              <a:tailEnd/>
            </a:ln>
          </p:spPr>
          <p:txBody>
            <a:bodyPr lIns="43200" tIns="86400" rIns="43200" bIns="86400" anchor="ctr"/>
            <a:lstStyle/>
            <a:p>
              <a:pPr algn="ctr" defTabSz="548640" eaLnBrk="0" hangingPunct="0">
                <a:lnSpc>
                  <a:spcPct val="90000"/>
                </a:lnSpc>
                <a:spcBef>
                  <a:spcPct val="50000"/>
                </a:spcBef>
                <a:buSzPct val="100000"/>
                <a:defRPr/>
              </a:pPr>
              <a:r>
                <a:rPr lang="en-US" altLang="en-US" sz="840" b="1" kern="0" dirty="0">
                  <a:solidFill>
                    <a:srgbClr val="FFFFFF"/>
                  </a:solidFill>
                  <a:latin typeface="+mj-lt"/>
                </a:rPr>
                <a:t>Operational Metrics and Dashboards</a:t>
              </a:r>
            </a:p>
          </p:txBody>
        </p:sp>
        <p:sp>
          <p:nvSpPr>
            <p:cNvPr id="88" name="Rectangle 18">
              <a:extLst>
                <a:ext uri="{FF2B5EF4-FFF2-40B4-BE49-F238E27FC236}">
                  <a16:creationId xmlns:a16="http://schemas.microsoft.com/office/drawing/2014/main" id="{4937F975-4856-4341-A2FF-EDB94D11641D}"/>
                </a:ext>
              </a:extLst>
            </p:cNvPr>
            <p:cNvSpPr>
              <a:spLocks noChangeArrowheads="1"/>
            </p:cNvSpPr>
            <p:nvPr/>
          </p:nvSpPr>
          <p:spPr bwMode="auto">
            <a:xfrm>
              <a:off x="10277390" y="4358037"/>
              <a:ext cx="1052997" cy="1103829"/>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altLang="en-US" sz="840" dirty="0">
                  <a:latin typeface="+mj-lt"/>
                  <a:ea typeface="Tahoma" pitchFamily="34" charset="0"/>
                  <a:cs typeface="Tahoma" pitchFamily="34" charset="0"/>
                </a:rPr>
                <a:t>No formal (or inconsistent)  performance metrics.  No dashboards. Poor knowledge of actual performance</a:t>
              </a:r>
            </a:p>
          </p:txBody>
        </p:sp>
        <p:sp>
          <p:nvSpPr>
            <p:cNvPr id="89" name="Rectangle: Rounded Corners 88">
              <a:extLst>
                <a:ext uri="{FF2B5EF4-FFF2-40B4-BE49-F238E27FC236}">
                  <a16:creationId xmlns:a16="http://schemas.microsoft.com/office/drawing/2014/main" id="{D4B2B2F0-3538-4A85-A9D9-309DB6AFECA1}"/>
                </a:ext>
              </a:extLst>
            </p:cNvPr>
            <p:cNvSpPr>
              <a:spLocks noChangeArrowheads="1"/>
            </p:cNvSpPr>
            <p:nvPr/>
          </p:nvSpPr>
          <p:spPr bwMode="auto">
            <a:xfrm>
              <a:off x="10277390" y="1206833"/>
              <a:ext cx="1052997" cy="1340935"/>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altLang="en-US" sz="840" dirty="0">
                  <a:latin typeface="+mj-lt"/>
                  <a:ea typeface="Tahoma" pitchFamily="34" charset="0"/>
                  <a:cs typeface="Tahoma" pitchFamily="34" charset="0"/>
                </a:rPr>
                <a:t>8-12 balanced leading and lagging metrics tied to strategic goals and incentives.  Dynamic global dashboards at multiple levels to manage risks, costs, benefits, etc.  </a:t>
              </a:r>
            </a:p>
          </p:txBody>
        </p:sp>
        <p:sp>
          <p:nvSpPr>
            <p:cNvPr id="90" name="Rectangle 34">
              <a:extLst>
                <a:ext uri="{FF2B5EF4-FFF2-40B4-BE49-F238E27FC236}">
                  <a16:creationId xmlns:a16="http://schemas.microsoft.com/office/drawing/2014/main" id="{7B95C54F-F776-4BE7-90AF-605581B9A42F}"/>
                </a:ext>
              </a:extLst>
            </p:cNvPr>
            <p:cNvSpPr>
              <a:spLocks noChangeArrowheads="1"/>
            </p:cNvSpPr>
            <p:nvPr/>
          </p:nvSpPr>
          <p:spPr bwMode="auto">
            <a:xfrm>
              <a:off x="10277390" y="2879942"/>
              <a:ext cx="1052997" cy="1230664"/>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altLang="en-US" sz="840" dirty="0">
                  <a:latin typeface="+mj-lt"/>
                  <a:ea typeface="Tahoma" pitchFamily="34" charset="0"/>
                  <a:cs typeface="Tahoma" pitchFamily="34" charset="0"/>
                </a:rPr>
                <a:t>Established project and process scorecards, but many differing and inconsistent  metrics. Manual dashboards in various formats</a:t>
              </a:r>
            </a:p>
          </p:txBody>
        </p:sp>
        <p:cxnSp>
          <p:nvCxnSpPr>
            <p:cNvPr id="109" name="Straight Arrow Connector 108">
              <a:extLst>
                <a:ext uri="{FF2B5EF4-FFF2-40B4-BE49-F238E27FC236}">
                  <a16:creationId xmlns:a16="http://schemas.microsoft.com/office/drawing/2014/main" id="{74DFB1D3-C8F6-4540-B654-7EE54EDD1CFE}"/>
                </a:ext>
              </a:extLst>
            </p:cNvPr>
            <p:cNvCxnSpPr/>
            <p:nvPr/>
          </p:nvCxnSpPr>
          <p:spPr>
            <a:xfrm flipV="1">
              <a:off x="10803888" y="2547769"/>
              <a:ext cx="0" cy="32962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6" name="Straight Arrow Connector 125">
              <a:extLst>
                <a:ext uri="{FF2B5EF4-FFF2-40B4-BE49-F238E27FC236}">
                  <a16:creationId xmlns:a16="http://schemas.microsoft.com/office/drawing/2014/main" id="{306D66D8-0700-4CC2-B5A0-E805F646C2C7}"/>
                </a:ext>
              </a:extLst>
            </p:cNvPr>
            <p:cNvCxnSpPr/>
            <p:nvPr/>
          </p:nvCxnSpPr>
          <p:spPr>
            <a:xfrm flipV="1">
              <a:off x="10803888" y="4108057"/>
              <a:ext cx="0" cy="24998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sp>
        <p:nvSpPr>
          <p:cNvPr id="4" name="Title 3">
            <a:extLst>
              <a:ext uri="{FF2B5EF4-FFF2-40B4-BE49-F238E27FC236}">
                <a16:creationId xmlns:a16="http://schemas.microsoft.com/office/drawing/2014/main" id="{026705D2-9A1E-4A1F-80F4-6BC1AE8E4025}"/>
              </a:ext>
            </a:extLst>
          </p:cNvPr>
          <p:cNvSpPr>
            <a:spLocks noGrp="1"/>
          </p:cNvSpPr>
          <p:nvPr>
            <p:ph type="title"/>
          </p:nvPr>
        </p:nvSpPr>
        <p:spPr/>
        <p:txBody>
          <a:bodyPr/>
          <a:lstStyle/>
          <a:p>
            <a:r>
              <a:rPr lang="en-GB" sz="2400" b="1" dirty="0"/>
              <a:t>Project Management</a:t>
            </a:r>
            <a:endParaRPr lang="en-US" sz="2400" b="1" dirty="0"/>
          </a:p>
        </p:txBody>
      </p:sp>
      <p:sp>
        <p:nvSpPr>
          <p:cNvPr id="204" name="Text Box 28">
            <a:extLst>
              <a:ext uri="{FF2B5EF4-FFF2-40B4-BE49-F238E27FC236}">
                <a16:creationId xmlns:a16="http://schemas.microsoft.com/office/drawing/2014/main" id="{737C9507-91B5-4B49-B0BD-98965E1C42F0}"/>
              </a:ext>
            </a:extLst>
          </p:cNvPr>
          <p:cNvSpPr txBox="1">
            <a:spLocks noChangeArrowheads="1"/>
          </p:cNvSpPr>
          <p:nvPr/>
        </p:nvSpPr>
        <p:spPr bwMode="auto">
          <a:xfrm>
            <a:off x="232751" y="954777"/>
            <a:ext cx="850504" cy="236337"/>
          </a:xfrm>
          <a:prstGeom prst="rect">
            <a:avLst/>
          </a:prstGeom>
          <a:noFill/>
          <a:ln w="25400">
            <a:noFill/>
            <a:miter lim="800000"/>
            <a:headEnd/>
            <a:tailEnd type="none" w="med" len="lg"/>
          </a:ln>
        </p:spPr>
        <p:txBody>
          <a:bodyPr wrap="square" lIns="0" tIns="54859" rIns="109718" bIns="54859">
            <a:spAutoFit/>
          </a:bodyPr>
          <a:lstStyle/>
          <a:p>
            <a:pPr marL="274320" indent="-274320" algn="r" defTabSz="1082040" eaLnBrk="0" fontAlgn="base" hangingPunct="0">
              <a:lnSpc>
                <a:spcPct val="85000"/>
              </a:lnSpc>
              <a:spcBef>
                <a:spcPct val="0"/>
              </a:spcBef>
              <a:spcAft>
                <a:spcPct val="0"/>
              </a:spcAft>
              <a:buClr>
                <a:srgbClr val="8099CC"/>
              </a:buClr>
              <a:defRPr/>
            </a:pPr>
            <a:r>
              <a:rPr lang="en-US" altLang="en-US" sz="960" b="1" dirty="0">
                <a:solidFill>
                  <a:srgbClr val="000000"/>
                </a:solidFill>
                <a:latin typeface="+mj-lt"/>
                <a:cs typeface="Arial" charset="0"/>
              </a:rPr>
              <a:t>Maturity</a:t>
            </a:r>
          </a:p>
        </p:txBody>
      </p:sp>
      <p:sp>
        <p:nvSpPr>
          <p:cNvPr id="205" name="Text Box 11">
            <a:extLst>
              <a:ext uri="{FF2B5EF4-FFF2-40B4-BE49-F238E27FC236}">
                <a16:creationId xmlns:a16="http://schemas.microsoft.com/office/drawing/2014/main" id="{9EAF6433-35B6-409C-A898-DEB420091EB9}"/>
              </a:ext>
            </a:extLst>
          </p:cNvPr>
          <p:cNvSpPr txBox="1">
            <a:spLocks noChangeArrowheads="1"/>
          </p:cNvSpPr>
          <p:nvPr/>
        </p:nvSpPr>
        <p:spPr bwMode="auto">
          <a:xfrm rot="-5400000">
            <a:off x="91599" y="4460611"/>
            <a:ext cx="574558" cy="322882"/>
          </a:xfrm>
          <a:prstGeom prst="rect">
            <a:avLst/>
          </a:prstGeom>
          <a:noFill/>
          <a:ln w="12700" algn="ctr">
            <a:noFill/>
            <a:miter lim="800000"/>
            <a:headEnd/>
            <a:tailEnd/>
          </a:ln>
        </p:spPr>
        <p:txBody>
          <a:bodyPr lIns="0" tIns="0" rIns="0" bIns="0" anchor="b"/>
          <a:lstStyle/>
          <a:p>
            <a:pPr algn="ctr" defTabSz="1082040" eaLnBrk="0" fontAlgn="base" hangingPunct="0">
              <a:lnSpc>
                <a:spcPct val="90000"/>
              </a:lnSpc>
              <a:spcBef>
                <a:spcPct val="50000"/>
              </a:spcBef>
              <a:spcAft>
                <a:spcPct val="0"/>
              </a:spcAft>
              <a:buClr>
                <a:srgbClr val="8099CC"/>
              </a:buClr>
              <a:buSzPct val="100000"/>
              <a:defRPr/>
            </a:pPr>
            <a:r>
              <a:rPr lang="en-US" sz="960" b="1" dirty="0">
                <a:solidFill>
                  <a:srgbClr val="000000"/>
                </a:solidFill>
                <a:latin typeface="+mj-lt"/>
                <a:cs typeface="Arial" charset="0"/>
              </a:rPr>
              <a:t>Low</a:t>
            </a:r>
          </a:p>
        </p:txBody>
      </p:sp>
      <p:grpSp>
        <p:nvGrpSpPr>
          <p:cNvPr id="201" name="Group 200">
            <a:extLst>
              <a:ext uri="{FF2B5EF4-FFF2-40B4-BE49-F238E27FC236}">
                <a16:creationId xmlns:a16="http://schemas.microsoft.com/office/drawing/2014/main" id="{F72E6132-C9F5-49DF-99A4-B31CFBD4BEE0}"/>
              </a:ext>
            </a:extLst>
          </p:cNvPr>
          <p:cNvGrpSpPr/>
          <p:nvPr/>
        </p:nvGrpSpPr>
        <p:grpSpPr>
          <a:xfrm>
            <a:off x="602971" y="1211825"/>
            <a:ext cx="10750837" cy="4359416"/>
            <a:chOff x="1092839" y="1211825"/>
            <a:chExt cx="10290659" cy="4031777"/>
          </a:xfrm>
        </p:grpSpPr>
        <p:sp>
          <p:nvSpPr>
            <p:cNvPr id="202" name="Line 16">
              <a:extLst>
                <a:ext uri="{FF2B5EF4-FFF2-40B4-BE49-F238E27FC236}">
                  <a16:creationId xmlns:a16="http://schemas.microsoft.com/office/drawing/2014/main" id="{CFB4B60E-83C9-4759-8513-4A6D12910087}"/>
                </a:ext>
              </a:extLst>
            </p:cNvPr>
            <p:cNvSpPr>
              <a:spLocks noChangeShapeType="1"/>
            </p:cNvSpPr>
            <p:nvPr/>
          </p:nvSpPr>
          <p:spPr bwMode="auto">
            <a:xfrm flipV="1">
              <a:off x="1092839" y="5243602"/>
              <a:ext cx="10290659" cy="0"/>
            </a:xfrm>
            <a:prstGeom prst="line">
              <a:avLst/>
            </a:prstGeom>
            <a:noFill/>
            <a:ln w="38100">
              <a:solidFill>
                <a:schemeClr val="tx1"/>
              </a:solidFill>
              <a:round/>
              <a:headEnd/>
              <a:tailEnd/>
            </a:ln>
          </p:spPr>
          <p:txBody>
            <a:bodyPr/>
            <a:lstStyle/>
            <a:p>
              <a:pPr defTabSz="1097280" fontAlgn="base">
                <a:spcBef>
                  <a:spcPct val="0"/>
                </a:spcBef>
                <a:spcAft>
                  <a:spcPct val="0"/>
                </a:spcAft>
                <a:defRPr/>
              </a:pPr>
              <a:endParaRPr lang="en-US" sz="960" dirty="0">
                <a:solidFill>
                  <a:srgbClr val="000000"/>
                </a:solidFill>
                <a:latin typeface="+mj-lt"/>
                <a:cs typeface="Arial" charset="0"/>
              </a:endParaRPr>
            </a:p>
          </p:txBody>
        </p:sp>
        <p:sp>
          <p:nvSpPr>
            <p:cNvPr id="203" name="Line 15">
              <a:extLst>
                <a:ext uri="{FF2B5EF4-FFF2-40B4-BE49-F238E27FC236}">
                  <a16:creationId xmlns:a16="http://schemas.microsoft.com/office/drawing/2014/main" id="{98BFC8BF-2277-476B-AEBC-9EF18492826C}"/>
                </a:ext>
              </a:extLst>
            </p:cNvPr>
            <p:cNvSpPr>
              <a:spLocks noChangeShapeType="1"/>
            </p:cNvSpPr>
            <p:nvPr/>
          </p:nvSpPr>
          <p:spPr bwMode="auto">
            <a:xfrm flipV="1">
              <a:off x="1111657" y="1211825"/>
              <a:ext cx="0" cy="4031776"/>
            </a:xfrm>
            <a:prstGeom prst="line">
              <a:avLst/>
            </a:prstGeom>
            <a:noFill/>
            <a:ln w="38100">
              <a:solidFill>
                <a:srgbClr val="000066"/>
              </a:solidFill>
              <a:round/>
              <a:headEnd/>
              <a:tailEnd type="triangle" w="med" len="med"/>
            </a:ln>
          </p:spPr>
          <p:txBody>
            <a:bodyPr/>
            <a:lstStyle/>
            <a:p>
              <a:pPr defTabSz="1097280" eaLnBrk="0" hangingPunct="0">
                <a:lnSpc>
                  <a:spcPct val="106000"/>
                </a:lnSpc>
                <a:spcBef>
                  <a:spcPct val="50000"/>
                </a:spcBef>
                <a:buSzPct val="100000"/>
                <a:defRPr/>
              </a:pPr>
              <a:endParaRPr lang="en-US" sz="960" kern="0" dirty="0">
                <a:solidFill>
                  <a:srgbClr val="000000"/>
                </a:solidFill>
                <a:latin typeface="+mj-lt"/>
                <a:cs typeface="Arial" charset="0"/>
              </a:endParaRPr>
            </a:p>
          </p:txBody>
        </p:sp>
      </p:grpSp>
      <p:sp>
        <p:nvSpPr>
          <p:cNvPr id="206" name="Text Box 12">
            <a:extLst>
              <a:ext uri="{FF2B5EF4-FFF2-40B4-BE49-F238E27FC236}">
                <a16:creationId xmlns:a16="http://schemas.microsoft.com/office/drawing/2014/main" id="{28BC69AA-1112-4FDB-909B-E7738EA7C9A1}"/>
              </a:ext>
            </a:extLst>
          </p:cNvPr>
          <p:cNvSpPr txBox="1">
            <a:spLocks noChangeArrowheads="1"/>
          </p:cNvSpPr>
          <p:nvPr/>
        </p:nvSpPr>
        <p:spPr bwMode="auto">
          <a:xfrm rot="-5400000">
            <a:off x="39655" y="1646485"/>
            <a:ext cx="849484" cy="248914"/>
          </a:xfrm>
          <a:prstGeom prst="rect">
            <a:avLst/>
          </a:prstGeom>
          <a:noFill/>
          <a:ln w="12700" algn="ctr">
            <a:noFill/>
            <a:miter lim="800000"/>
            <a:headEnd/>
            <a:tailEnd/>
          </a:ln>
        </p:spPr>
        <p:txBody>
          <a:bodyPr wrap="square" lIns="0" rIns="0" anchor="b">
            <a:spAutoFit/>
          </a:bodyPr>
          <a:lstStyle/>
          <a:p>
            <a:pPr algn="ctr" defTabSz="1097280" eaLnBrk="0" fontAlgn="base" hangingPunct="0">
              <a:lnSpc>
                <a:spcPct val="106000"/>
              </a:lnSpc>
              <a:spcBef>
                <a:spcPct val="50000"/>
              </a:spcBef>
              <a:spcAft>
                <a:spcPct val="0"/>
              </a:spcAft>
              <a:buSzPct val="100000"/>
              <a:defRPr/>
            </a:pPr>
            <a:r>
              <a:rPr lang="en-US" sz="960" b="1" dirty="0">
                <a:solidFill>
                  <a:srgbClr val="000000"/>
                </a:solidFill>
                <a:latin typeface="+mj-lt"/>
                <a:cs typeface="Arial" charset="0"/>
              </a:rPr>
              <a:t>Advanced</a:t>
            </a:r>
          </a:p>
        </p:txBody>
      </p:sp>
      <p:sp>
        <p:nvSpPr>
          <p:cNvPr id="207" name="Text Box 13">
            <a:extLst>
              <a:ext uri="{FF2B5EF4-FFF2-40B4-BE49-F238E27FC236}">
                <a16:creationId xmlns:a16="http://schemas.microsoft.com/office/drawing/2014/main" id="{4CB4F9C5-D63F-45F2-A775-C8D481D51B40}"/>
              </a:ext>
            </a:extLst>
          </p:cNvPr>
          <p:cNvSpPr txBox="1">
            <a:spLocks noChangeArrowheads="1"/>
          </p:cNvSpPr>
          <p:nvPr/>
        </p:nvSpPr>
        <p:spPr bwMode="auto">
          <a:xfrm rot="-5400000">
            <a:off x="196119" y="3218655"/>
            <a:ext cx="544176" cy="248914"/>
          </a:xfrm>
          <a:prstGeom prst="rect">
            <a:avLst/>
          </a:prstGeom>
          <a:noFill/>
          <a:ln w="12700" algn="ctr">
            <a:noFill/>
            <a:miter lim="800000"/>
            <a:headEnd/>
            <a:tailEnd/>
          </a:ln>
        </p:spPr>
        <p:txBody>
          <a:bodyPr wrap="square" lIns="0" rIns="0" anchor="b">
            <a:spAutoFit/>
          </a:bodyPr>
          <a:lstStyle/>
          <a:p>
            <a:pPr algn="ctr" defTabSz="1097280" eaLnBrk="0" fontAlgn="base" hangingPunct="0">
              <a:lnSpc>
                <a:spcPct val="106000"/>
              </a:lnSpc>
              <a:spcBef>
                <a:spcPct val="50000"/>
              </a:spcBef>
              <a:spcAft>
                <a:spcPct val="0"/>
              </a:spcAft>
              <a:buSzPct val="100000"/>
              <a:defRPr/>
            </a:pPr>
            <a:r>
              <a:rPr lang="en-US" sz="960" b="1" dirty="0">
                <a:solidFill>
                  <a:srgbClr val="000000"/>
                </a:solidFill>
                <a:latin typeface="+mj-lt"/>
                <a:cs typeface="Arial" charset="0"/>
              </a:rPr>
              <a:t>Basic</a:t>
            </a:r>
          </a:p>
        </p:txBody>
      </p:sp>
      <p:grpSp>
        <p:nvGrpSpPr>
          <p:cNvPr id="79" name="Group 90"/>
          <p:cNvGrpSpPr/>
          <p:nvPr/>
        </p:nvGrpSpPr>
        <p:grpSpPr>
          <a:xfrm>
            <a:off x="8960144" y="237259"/>
            <a:ext cx="2430508" cy="289004"/>
            <a:chOff x="9447824" y="732559"/>
            <a:chExt cx="2430508" cy="289004"/>
          </a:xfrm>
        </p:grpSpPr>
        <p:grpSp>
          <p:nvGrpSpPr>
            <p:cNvPr id="80"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127"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131"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81"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115"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120"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91"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92"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93"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sp>
        <p:nvSpPr>
          <p:cNvPr id="129" name="Freeform 42">
            <a:extLst>
              <a:ext uri="{FF2B5EF4-FFF2-40B4-BE49-F238E27FC236}">
                <a16:creationId xmlns:a16="http://schemas.microsoft.com/office/drawing/2014/main" id="{405A092C-DD5A-4A17-96DA-B71E07C38DD3}"/>
              </a:ext>
            </a:extLst>
          </p:cNvPr>
          <p:cNvSpPr/>
          <p:nvPr/>
        </p:nvSpPr>
        <p:spPr bwMode="auto">
          <a:xfrm flipV="1">
            <a:off x="1228296" y="1293597"/>
            <a:ext cx="9663393" cy="1423709"/>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869650 w 7136640"/>
              <a:gd name="connsiteY2" fmla="*/ 244077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211883 w 7136640"/>
              <a:gd name="connsiteY5" fmla="*/ 190348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6500954 w 7136640"/>
              <a:gd name="connsiteY8" fmla="*/ 80343 h 360799"/>
              <a:gd name="connsiteX9" fmla="*/ 7136640 w 7136640"/>
              <a:gd name="connsiteY9"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7136640 w 7136640"/>
              <a:gd name="connsiteY8" fmla="*/ 360799 h 360799"/>
              <a:gd name="connsiteX0" fmla="*/ 0 w 7074022"/>
              <a:gd name="connsiteY0" fmla="*/ 280402 h 360576"/>
              <a:gd name="connsiteX1" fmla="*/ 700803 w 7074022"/>
              <a:gd name="connsiteY1" fmla="*/ 203308 h 360576"/>
              <a:gd name="connsiteX2" fmla="*/ 1869650 w 7074022"/>
              <a:gd name="connsiteY2" fmla="*/ 333744 h 360576"/>
              <a:gd name="connsiteX3" fmla="*/ 2744581 w 7074022"/>
              <a:gd name="connsiteY3" fmla="*/ 309399 h 360576"/>
              <a:gd name="connsiteX4" fmla="*/ 3609121 w 7074022"/>
              <a:gd name="connsiteY4" fmla="*/ 9984 h 360576"/>
              <a:gd name="connsiteX5" fmla="*/ 4468614 w 7074022"/>
              <a:gd name="connsiteY5" fmla="*/ 356320 h 360576"/>
              <a:gd name="connsiteX6" fmla="*/ 5280714 w 7074022"/>
              <a:gd name="connsiteY6" fmla="*/ 214988 h 360576"/>
              <a:gd name="connsiteX7" fmla="*/ 6344970 w 7074022"/>
              <a:gd name="connsiteY7" fmla="*/ 208938 h 360576"/>
              <a:gd name="connsiteX8" fmla="*/ 7074022 w 7074022"/>
              <a:gd name="connsiteY8" fmla="*/ 3751 h 360576"/>
              <a:gd name="connsiteX0" fmla="*/ 0 w 7117854"/>
              <a:gd name="connsiteY0" fmla="*/ 287645 h 367819"/>
              <a:gd name="connsiteX1" fmla="*/ 700803 w 7117854"/>
              <a:gd name="connsiteY1" fmla="*/ 210551 h 367819"/>
              <a:gd name="connsiteX2" fmla="*/ 1869650 w 7117854"/>
              <a:gd name="connsiteY2" fmla="*/ 340987 h 367819"/>
              <a:gd name="connsiteX3" fmla="*/ 2744581 w 7117854"/>
              <a:gd name="connsiteY3" fmla="*/ 316642 h 367819"/>
              <a:gd name="connsiteX4" fmla="*/ 3609121 w 7117854"/>
              <a:gd name="connsiteY4" fmla="*/ 17227 h 367819"/>
              <a:gd name="connsiteX5" fmla="*/ 4468614 w 7117854"/>
              <a:gd name="connsiteY5" fmla="*/ 363563 h 367819"/>
              <a:gd name="connsiteX6" fmla="*/ 5280714 w 7117854"/>
              <a:gd name="connsiteY6" fmla="*/ 222231 h 367819"/>
              <a:gd name="connsiteX7" fmla="*/ 6344970 w 7117854"/>
              <a:gd name="connsiteY7" fmla="*/ 216181 h 367819"/>
              <a:gd name="connsiteX8" fmla="*/ 7117854 w 7117854"/>
              <a:gd name="connsiteY8" fmla="*/ 3653 h 367819"/>
              <a:gd name="connsiteX0" fmla="*/ 0 w 7117854"/>
              <a:gd name="connsiteY0" fmla="*/ 287645 h 375051"/>
              <a:gd name="connsiteX1" fmla="*/ 700803 w 7117854"/>
              <a:gd name="connsiteY1" fmla="*/ 210551 h 375051"/>
              <a:gd name="connsiteX2" fmla="*/ 1869650 w 7117854"/>
              <a:gd name="connsiteY2" fmla="*/ 340987 h 375051"/>
              <a:gd name="connsiteX3" fmla="*/ 2744581 w 7117854"/>
              <a:gd name="connsiteY3" fmla="*/ 316642 h 375051"/>
              <a:gd name="connsiteX4" fmla="*/ 3527718 w 7117854"/>
              <a:gd name="connsiteY4" fmla="*/ 358566 h 375051"/>
              <a:gd name="connsiteX5" fmla="*/ 4468614 w 7117854"/>
              <a:gd name="connsiteY5" fmla="*/ 363563 h 375051"/>
              <a:gd name="connsiteX6" fmla="*/ 5280714 w 7117854"/>
              <a:gd name="connsiteY6" fmla="*/ 222231 h 375051"/>
              <a:gd name="connsiteX7" fmla="*/ 6344970 w 7117854"/>
              <a:gd name="connsiteY7" fmla="*/ 216181 h 375051"/>
              <a:gd name="connsiteX8" fmla="*/ 7117854 w 7117854"/>
              <a:gd name="connsiteY8" fmla="*/ 3653 h 375051"/>
              <a:gd name="connsiteX0" fmla="*/ 0 w 7343277"/>
              <a:gd name="connsiteY0" fmla="*/ 82572 h 169978"/>
              <a:gd name="connsiteX1" fmla="*/ 700803 w 7343277"/>
              <a:gd name="connsiteY1" fmla="*/ 5478 h 169978"/>
              <a:gd name="connsiteX2" fmla="*/ 1869650 w 7343277"/>
              <a:gd name="connsiteY2" fmla="*/ 135914 h 169978"/>
              <a:gd name="connsiteX3" fmla="*/ 2744581 w 7343277"/>
              <a:gd name="connsiteY3" fmla="*/ 111569 h 169978"/>
              <a:gd name="connsiteX4" fmla="*/ 3527718 w 7343277"/>
              <a:gd name="connsiteY4" fmla="*/ 153493 h 169978"/>
              <a:gd name="connsiteX5" fmla="*/ 4468614 w 7343277"/>
              <a:gd name="connsiteY5" fmla="*/ 158490 h 169978"/>
              <a:gd name="connsiteX6" fmla="*/ 5280714 w 7343277"/>
              <a:gd name="connsiteY6" fmla="*/ 17158 h 169978"/>
              <a:gd name="connsiteX7" fmla="*/ 6344970 w 7343277"/>
              <a:gd name="connsiteY7" fmla="*/ 11108 h 169978"/>
              <a:gd name="connsiteX8" fmla="*/ 7343277 w 7343277"/>
              <a:gd name="connsiteY8" fmla="*/ 95876 h 169978"/>
              <a:gd name="connsiteX0" fmla="*/ 0 w 7343277"/>
              <a:gd name="connsiteY0" fmla="*/ 82572 h 169978"/>
              <a:gd name="connsiteX1" fmla="*/ 977775 w 7343277"/>
              <a:gd name="connsiteY1" fmla="*/ 88955 h 169978"/>
              <a:gd name="connsiteX2" fmla="*/ 1869650 w 7343277"/>
              <a:gd name="connsiteY2" fmla="*/ 135914 h 169978"/>
              <a:gd name="connsiteX3" fmla="*/ 2744581 w 7343277"/>
              <a:gd name="connsiteY3" fmla="*/ 111569 h 169978"/>
              <a:gd name="connsiteX4" fmla="*/ 3527718 w 7343277"/>
              <a:gd name="connsiteY4" fmla="*/ 153493 h 169978"/>
              <a:gd name="connsiteX5" fmla="*/ 4468614 w 7343277"/>
              <a:gd name="connsiteY5" fmla="*/ 158490 h 169978"/>
              <a:gd name="connsiteX6" fmla="*/ 5280714 w 7343277"/>
              <a:gd name="connsiteY6" fmla="*/ 17158 h 169978"/>
              <a:gd name="connsiteX7" fmla="*/ 6344970 w 7343277"/>
              <a:gd name="connsiteY7" fmla="*/ 11108 h 169978"/>
              <a:gd name="connsiteX8" fmla="*/ 7343277 w 7343277"/>
              <a:gd name="connsiteY8" fmla="*/ 95876 h 169978"/>
              <a:gd name="connsiteX0" fmla="*/ 0 w 7343277"/>
              <a:gd name="connsiteY0" fmla="*/ 82572 h 169978"/>
              <a:gd name="connsiteX1" fmla="*/ 977775 w 7343277"/>
              <a:gd name="connsiteY1" fmla="*/ 88955 h 169978"/>
              <a:gd name="connsiteX2" fmla="*/ 2021984 w 7343277"/>
              <a:gd name="connsiteY2" fmla="*/ 108088 h 169978"/>
              <a:gd name="connsiteX3" fmla="*/ 2744581 w 7343277"/>
              <a:gd name="connsiteY3" fmla="*/ 111569 h 169978"/>
              <a:gd name="connsiteX4" fmla="*/ 3527718 w 7343277"/>
              <a:gd name="connsiteY4" fmla="*/ 153493 h 169978"/>
              <a:gd name="connsiteX5" fmla="*/ 4468614 w 7343277"/>
              <a:gd name="connsiteY5" fmla="*/ 158490 h 169978"/>
              <a:gd name="connsiteX6" fmla="*/ 5280714 w 7343277"/>
              <a:gd name="connsiteY6" fmla="*/ 17158 h 169978"/>
              <a:gd name="connsiteX7" fmla="*/ 6344970 w 7343277"/>
              <a:gd name="connsiteY7" fmla="*/ 11108 h 169978"/>
              <a:gd name="connsiteX8" fmla="*/ 7343277 w 7343277"/>
              <a:gd name="connsiteY8" fmla="*/ 95876 h 169978"/>
              <a:gd name="connsiteX0" fmla="*/ 0 w 7343277"/>
              <a:gd name="connsiteY0" fmla="*/ 110133 h 197539"/>
              <a:gd name="connsiteX1" fmla="*/ 977775 w 7343277"/>
              <a:gd name="connsiteY1" fmla="*/ 116516 h 197539"/>
              <a:gd name="connsiteX2" fmla="*/ 2021984 w 7343277"/>
              <a:gd name="connsiteY2" fmla="*/ 135649 h 197539"/>
              <a:gd name="connsiteX3" fmla="*/ 2862294 w 7343277"/>
              <a:gd name="connsiteY3" fmla="*/ 0 h 197539"/>
              <a:gd name="connsiteX4" fmla="*/ 3527718 w 7343277"/>
              <a:gd name="connsiteY4" fmla="*/ 181054 h 197539"/>
              <a:gd name="connsiteX5" fmla="*/ 4468614 w 7343277"/>
              <a:gd name="connsiteY5" fmla="*/ 186051 h 197539"/>
              <a:gd name="connsiteX6" fmla="*/ 5280714 w 7343277"/>
              <a:gd name="connsiteY6" fmla="*/ 44719 h 197539"/>
              <a:gd name="connsiteX7" fmla="*/ 6344970 w 7343277"/>
              <a:gd name="connsiteY7" fmla="*/ 38669 h 197539"/>
              <a:gd name="connsiteX8" fmla="*/ 7343277 w 7343277"/>
              <a:gd name="connsiteY8" fmla="*/ 123437 h 197539"/>
              <a:gd name="connsiteX0" fmla="*/ 0 w 7343277"/>
              <a:gd name="connsiteY0" fmla="*/ 111083 h 187116"/>
              <a:gd name="connsiteX1" fmla="*/ 977775 w 7343277"/>
              <a:gd name="connsiteY1" fmla="*/ 117466 h 187116"/>
              <a:gd name="connsiteX2" fmla="*/ 2021984 w 7343277"/>
              <a:gd name="connsiteY2" fmla="*/ 136599 h 187116"/>
              <a:gd name="connsiteX3" fmla="*/ 2862294 w 7343277"/>
              <a:gd name="connsiteY3" fmla="*/ 950 h 187116"/>
              <a:gd name="connsiteX4" fmla="*/ 3735447 w 7343277"/>
              <a:gd name="connsiteY4" fmla="*/ 70701 h 187116"/>
              <a:gd name="connsiteX5" fmla="*/ 4468614 w 7343277"/>
              <a:gd name="connsiteY5" fmla="*/ 187001 h 187116"/>
              <a:gd name="connsiteX6" fmla="*/ 5280714 w 7343277"/>
              <a:gd name="connsiteY6" fmla="*/ 45669 h 187116"/>
              <a:gd name="connsiteX7" fmla="*/ 6344970 w 7343277"/>
              <a:gd name="connsiteY7" fmla="*/ 39619 h 187116"/>
              <a:gd name="connsiteX8" fmla="*/ 7343277 w 7343277"/>
              <a:gd name="connsiteY8" fmla="*/ 124387 h 187116"/>
              <a:gd name="connsiteX0" fmla="*/ 0 w 7343277"/>
              <a:gd name="connsiteY0" fmla="*/ 82572 h 158605"/>
              <a:gd name="connsiteX1" fmla="*/ 977775 w 7343277"/>
              <a:gd name="connsiteY1" fmla="*/ 88955 h 158605"/>
              <a:gd name="connsiteX2" fmla="*/ 2021984 w 7343277"/>
              <a:gd name="connsiteY2" fmla="*/ 108088 h 158605"/>
              <a:gd name="connsiteX3" fmla="*/ 2862294 w 7343277"/>
              <a:gd name="connsiteY3" fmla="*/ 55919 h 158605"/>
              <a:gd name="connsiteX4" fmla="*/ 3735447 w 7343277"/>
              <a:gd name="connsiteY4" fmla="*/ 42190 h 158605"/>
              <a:gd name="connsiteX5" fmla="*/ 4468614 w 7343277"/>
              <a:gd name="connsiteY5" fmla="*/ 158490 h 158605"/>
              <a:gd name="connsiteX6" fmla="*/ 5280714 w 7343277"/>
              <a:gd name="connsiteY6" fmla="*/ 17158 h 158605"/>
              <a:gd name="connsiteX7" fmla="*/ 6344970 w 7343277"/>
              <a:gd name="connsiteY7" fmla="*/ 11108 h 158605"/>
              <a:gd name="connsiteX8" fmla="*/ 7343277 w 7343277"/>
              <a:gd name="connsiteY8" fmla="*/ 95876 h 158605"/>
              <a:gd name="connsiteX0" fmla="*/ 0 w 7343277"/>
              <a:gd name="connsiteY0" fmla="*/ 82572 h 109107"/>
              <a:gd name="connsiteX1" fmla="*/ 977775 w 7343277"/>
              <a:gd name="connsiteY1" fmla="*/ 88955 h 109107"/>
              <a:gd name="connsiteX2" fmla="*/ 2021984 w 7343277"/>
              <a:gd name="connsiteY2" fmla="*/ 108088 h 109107"/>
              <a:gd name="connsiteX3" fmla="*/ 2862294 w 7343277"/>
              <a:gd name="connsiteY3" fmla="*/ 55919 h 109107"/>
              <a:gd name="connsiteX4" fmla="*/ 3735447 w 7343277"/>
              <a:gd name="connsiteY4" fmla="*/ 42190 h 109107"/>
              <a:gd name="connsiteX5" fmla="*/ 4510160 w 7343277"/>
              <a:gd name="connsiteY5" fmla="*/ 47187 h 109107"/>
              <a:gd name="connsiteX6" fmla="*/ 5280714 w 7343277"/>
              <a:gd name="connsiteY6" fmla="*/ 17158 h 109107"/>
              <a:gd name="connsiteX7" fmla="*/ 6344970 w 7343277"/>
              <a:gd name="connsiteY7" fmla="*/ 11108 h 109107"/>
              <a:gd name="connsiteX8" fmla="*/ 7343277 w 7343277"/>
              <a:gd name="connsiteY8" fmla="*/ 95876 h 109107"/>
              <a:gd name="connsiteX0" fmla="*/ 0 w 7343277"/>
              <a:gd name="connsiteY0" fmla="*/ 75340 h 101875"/>
              <a:gd name="connsiteX1" fmla="*/ 977775 w 7343277"/>
              <a:gd name="connsiteY1" fmla="*/ 81723 h 101875"/>
              <a:gd name="connsiteX2" fmla="*/ 2021984 w 7343277"/>
              <a:gd name="connsiteY2" fmla="*/ 100856 h 101875"/>
              <a:gd name="connsiteX3" fmla="*/ 2862294 w 7343277"/>
              <a:gd name="connsiteY3" fmla="*/ 48687 h 101875"/>
              <a:gd name="connsiteX4" fmla="*/ 3735447 w 7343277"/>
              <a:gd name="connsiteY4" fmla="*/ 34958 h 101875"/>
              <a:gd name="connsiteX5" fmla="*/ 4510160 w 7343277"/>
              <a:gd name="connsiteY5" fmla="*/ 39955 h 101875"/>
              <a:gd name="connsiteX6" fmla="*/ 5370730 w 7343277"/>
              <a:gd name="connsiteY6" fmla="*/ 37753 h 101875"/>
              <a:gd name="connsiteX7" fmla="*/ 6344970 w 7343277"/>
              <a:gd name="connsiteY7" fmla="*/ 3876 h 101875"/>
              <a:gd name="connsiteX8" fmla="*/ 7343277 w 7343277"/>
              <a:gd name="connsiteY8" fmla="*/ 88644 h 101875"/>
              <a:gd name="connsiteX0" fmla="*/ 0 w 7202698"/>
              <a:gd name="connsiteY0" fmla="*/ 7984372 h 7984372"/>
              <a:gd name="connsiteX1" fmla="*/ 837196 w 7202698"/>
              <a:gd name="connsiteY1" fmla="*/ 81723 h 7984372"/>
              <a:gd name="connsiteX2" fmla="*/ 1881405 w 7202698"/>
              <a:gd name="connsiteY2" fmla="*/ 100856 h 7984372"/>
              <a:gd name="connsiteX3" fmla="*/ 2721715 w 7202698"/>
              <a:gd name="connsiteY3" fmla="*/ 48687 h 7984372"/>
              <a:gd name="connsiteX4" fmla="*/ 3594868 w 7202698"/>
              <a:gd name="connsiteY4" fmla="*/ 34958 h 7984372"/>
              <a:gd name="connsiteX5" fmla="*/ 4369581 w 7202698"/>
              <a:gd name="connsiteY5" fmla="*/ 39955 h 7984372"/>
              <a:gd name="connsiteX6" fmla="*/ 5230151 w 7202698"/>
              <a:gd name="connsiteY6" fmla="*/ 37753 h 7984372"/>
              <a:gd name="connsiteX7" fmla="*/ 6204391 w 7202698"/>
              <a:gd name="connsiteY7" fmla="*/ 3876 h 7984372"/>
              <a:gd name="connsiteX8" fmla="*/ 7202698 w 7202698"/>
              <a:gd name="connsiteY8" fmla="*/ 88644 h 7984372"/>
              <a:gd name="connsiteX0" fmla="*/ 0 w 7202698"/>
              <a:gd name="connsiteY0" fmla="*/ 8411085 h 8411088"/>
              <a:gd name="connsiteX1" fmla="*/ 993395 w 7202698"/>
              <a:gd name="connsiteY1" fmla="*/ 7444529 h 8411088"/>
              <a:gd name="connsiteX2" fmla="*/ 1881405 w 7202698"/>
              <a:gd name="connsiteY2" fmla="*/ 527569 h 8411088"/>
              <a:gd name="connsiteX3" fmla="*/ 2721715 w 7202698"/>
              <a:gd name="connsiteY3" fmla="*/ 475400 h 8411088"/>
              <a:gd name="connsiteX4" fmla="*/ 3594868 w 7202698"/>
              <a:gd name="connsiteY4" fmla="*/ 461671 h 8411088"/>
              <a:gd name="connsiteX5" fmla="*/ 4369581 w 7202698"/>
              <a:gd name="connsiteY5" fmla="*/ 466668 h 8411088"/>
              <a:gd name="connsiteX6" fmla="*/ 5230151 w 7202698"/>
              <a:gd name="connsiteY6" fmla="*/ 464466 h 8411088"/>
              <a:gd name="connsiteX7" fmla="*/ 6204391 w 7202698"/>
              <a:gd name="connsiteY7" fmla="*/ 430589 h 8411088"/>
              <a:gd name="connsiteX8" fmla="*/ 7202698 w 7202698"/>
              <a:gd name="connsiteY8" fmla="*/ 515357 h 8411088"/>
              <a:gd name="connsiteX0" fmla="*/ 0 w 7202698"/>
              <a:gd name="connsiteY0" fmla="*/ 8411085 h 8411088"/>
              <a:gd name="connsiteX1" fmla="*/ 993395 w 7202698"/>
              <a:gd name="connsiteY1" fmla="*/ 7444529 h 8411088"/>
              <a:gd name="connsiteX2" fmla="*/ 1881405 w 7202698"/>
              <a:gd name="connsiteY2" fmla="*/ 527569 h 8411088"/>
              <a:gd name="connsiteX3" fmla="*/ 2721715 w 7202698"/>
              <a:gd name="connsiteY3" fmla="*/ 475400 h 8411088"/>
              <a:gd name="connsiteX4" fmla="*/ 3594868 w 7202698"/>
              <a:gd name="connsiteY4" fmla="*/ 461671 h 8411088"/>
              <a:gd name="connsiteX5" fmla="*/ 4369581 w 7202698"/>
              <a:gd name="connsiteY5" fmla="*/ 466668 h 8411088"/>
              <a:gd name="connsiteX6" fmla="*/ 5230151 w 7202698"/>
              <a:gd name="connsiteY6" fmla="*/ 464466 h 8411088"/>
              <a:gd name="connsiteX7" fmla="*/ 6204391 w 7202698"/>
              <a:gd name="connsiteY7" fmla="*/ 430589 h 8411088"/>
              <a:gd name="connsiteX8" fmla="*/ 7202698 w 7202698"/>
              <a:gd name="connsiteY8" fmla="*/ 515357 h 8411088"/>
              <a:gd name="connsiteX0" fmla="*/ 0 w 7202698"/>
              <a:gd name="connsiteY0" fmla="*/ 8109902 h 8109905"/>
              <a:gd name="connsiteX1" fmla="*/ 993395 w 7202698"/>
              <a:gd name="connsiteY1" fmla="*/ 7143346 h 8109905"/>
              <a:gd name="connsiteX2" fmla="*/ 1959504 w 7202698"/>
              <a:gd name="connsiteY2" fmla="*/ 2486112 h 8109905"/>
              <a:gd name="connsiteX3" fmla="*/ 2721715 w 7202698"/>
              <a:gd name="connsiteY3" fmla="*/ 174217 h 8109905"/>
              <a:gd name="connsiteX4" fmla="*/ 3594868 w 7202698"/>
              <a:gd name="connsiteY4" fmla="*/ 160488 h 8109905"/>
              <a:gd name="connsiteX5" fmla="*/ 4369581 w 7202698"/>
              <a:gd name="connsiteY5" fmla="*/ 165485 h 8109905"/>
              <a:gd name="connsiteX6" fmla="*/ 5230151 w 7202698"/>
              <a:gd name="connsiteY6" fmla="*/ 163283 h 8109905"/>
              <a:gd name="connsiteX7" fmla="*/ 6204391 w 7202698"/>
              <a:gd name="connsiteY7" fmla="*/ 129406 h 8109905"/>
              <a:gd name="connsiteX8" fmla="*/ 7202698 w 7202698"/>
              <a:gd name="connsiteY8" fmla="*/ 214174 h 8109905"/>
              <a:gd name="connsiteX0" fmla="*/ 0 w 7202698"/>
              <a:gd name="connsiteY0" fmla="*/ 8109902 h 8109905"/>
              <a:gd name="connsiteX1" fmla="*/ 993395 w 7202698"/>
              <a:gd name="connsiteY1" fmla="*/ 7143346 h 8109905"/>
              <a:gd name="connsiteX2" fmla="*/ 1959504 w 7202698"/>
              <a:gd name="connsiteY2" fmla="*/ 2486112 h 8109905"/>
              <a:gd name="connsiteX3" fmla="*/ 2721715 w 7202698"/>
              <a:gd name="connsiteY3" fmla="*/ 174217 h 8109905"/>
              <a:gd name="connsiteX4" fmla="*/ 3594868 w 7202698"/>
              <a:gd name="connsiteY4" fmla="*/ 160488 h 8109905"/>
              <a:gd name="connsiteX5" fmla="*/ 4369581 w 7202698"/>
              <a:gd name="connsiteY5" fmla="*/ 165485 h 8109905"/>
              <a:gd name="connsiteX6" fmla="*/ 5230151 w 7202698"/>
              <a:gd name="connsiteY6" fmla="*/ 163283 h 8109905"/>
              <a:gd name="connsiteX7" fmla="*/ 6204391 w 7202698"/>
              <a:gd name="connsiteY7" fmla="*/ 129406 h 8109905"/>
              <a:gd name="connsiteX8" fmla="*/ 7202698 w 7202698"/>
              <a:gd name="connsiteY8" fmla="*/ 214174 h 8109905"/>
              <a:gd name="connsiteX0" fmla="*/ 0 w 7202698"/>
              <a:gd name="connsiteY0" fmla="*/ 7984371 h 7984374"/>
              <a:gd name="connsiteX1" fmla="*/ 993395 w 7202698"/>
              <a:gd name="connsiteY1" fmla="*/ 7017815 h 7984374"/>
              <a:gd name="connsiteX2" fmla="*/ 1959504 w 7202698"/>
              <a:gd name="connsiteY2" fmla="*/ 100859 h 7984374"/>
              <a:gd name="connsiteX3" fmla="*/ 2721715 w 7202698"/>
              <a:gd name="connsiteY3" fmla="*/ 48686 h 7984374"/>
              <a:gd name="connsiteX4" fmla="*/ 3594868 w 7202698"/>
              <a:gd name="connsiteY4" fmla="*/ 34957 h 7984374"/>
              <a:gd name="connsiteX5" fmla="*/ 4369581 w 7202698"/>
              <a:gd name="connsiteY5" fmla="*/ 39954 h 7984374"/>
              <a:gd name="connsiteX6" fmla="*/ 5230151 w 7202698"/>
              <a:gd name="connsiteY6" fmla="*/ 37752 h 7984374"/>
              <a:gd name="connsiteX7" fmla="*/ 6204391 w 7202698"/>
              <a:gd name="connsiteY7" fmla="*/ 3875 h 7984374"/>
              <a:gd name="connsiteX8" fmla="*/ 7202698 w 7202698"/>
              <a:gd name="connsiteY8" fmla="*/ 88643 h 7984374"/>
              <a:gd name="connsiteX0" fmla="*/ 0 w 7202698"/>
              <a:gd name="connsiteY0" fmla="*/ 8080027 h 8080030"/>
              <a:gd name="connsiteX1" fmla="*/ 993395 w 7202698"/>
              <a:gd name="connsiteY1" fmla="*/ 7113471 h 8080030"/>
              <a:gd name="connsiteX2" fmla="*/ 1959504 w 7202698"/>
              <a:gd name="connsiteY2" fmla="*/ 196515 h 8080030"/>
              <a:gd name="connsiteX3" fmla="*/ 2721715 w 7202698"/>
              <a:gd name="connsiteY3" fmla="*/ 144342 h 8080030"/>
              <a:gd name="connsiteX4" fmla="*/ 3610488 w 7202698"/>
              <a:gd name="connsiteY4" fmla="*/ 1825405 h 8080030"/>
              <a:gd name="connsiteX5" fmla="*/ 4369581 w 7202698"/>
              <a:gd name="connsiteY5" fmla="*/ 135610 h 8080030"/>
              <a:gd name="connsiteX6" fmla="*/ 5230151 w 7202698"/>
              <a:gd name="connsiteY6" fmla="*/ 133408 h 8080030"/>
              <a:gd name="connsiteX7" fmla="*/ 6204391 w 7202698"/>
              <a:gd name="connsiteY7" fmla="*/ 99531 h 8080030"/>
              <a:gd name="connsiteX8" fmla="*/ 7202698 w 7202698"/>
              <a:gd name="connsiteY8" fmla="*/ 184299 h 8080030"/>
              <a:gd name="connsiteX0" fmla="*/ 0 w 7202698"/>
              <a:gd name="connsiteY0" fmla="*/ 8631477 h 9846506"/>
              <a:gd name="connsiteX1" fmla="*/ 993395 w 7202698"/>
              <a:gd name="connsiteY1" fmla="*/ 7664921 h 9846506"/>
              <a:gd name="connsiteX2" fmla="*/ 1959504 w 7202698"/>
              <a:gd name="connsiteY2" fmla="*/ 747965 h 9846506"/>
              <a:gd name="connsiteX3" fmla="*/ 2721715 w 7202698"/>
              <a:gd name="connsiteY3" fmla="*/ 695792 h 9846506"/>
              <a:gd name="connsiteX4" fmla="*/ 3649538 w 7202698"/>
              <a:gd name="connsiteY4" fmla="*/ 9846494 h 9846506"/>
              <a:gd name="connsiteX5" fmla="*/ 4369581 w 7202698"/>
              <a:gd name="connsiteY5" fmla="*/ 687060 h 9846506"/>
              <a:gd name="connsiteX6" fmla="*/ 5230151 w 7202698"/>
              <a:gd name="connsiteY6" fmla="*/ 684858 h 9846506"/>
              <a:gd name="connsiteX7" fmla="*/ 6204391 w 7202698"/>
              <a:gd name="connsiteY7" fmla="*/ 650981 h 9846506"/>
              <a:gd name="connsiteX8" fmla="*/ 7202698 w 7202698"/>
              <a:gd name="connsiteY8" fmla="*/ 735749 h 9846506"/>
              <a:gd name="connsiteX0" fmla="*/ 0 w 7202698"/>
              <a:gd name="connsiteY0" fmla="*/ 8625299 h 9840328"/>
              <a:gd name="connsiteX1" fmla="*/ 993395 w 7202698"/>
              <a:gd name="connsiteY1" fmla="*/ 7658743 h 9840328"/>
              <a:gd name="connsiteX2" fmla="*/ 1959504 w 7202698"/>
              <a:gd name="connsiteY2" fmla="*/ 741787 h 9840328"/>
              <a:gd name="connsiteX3" fmla="*/ 2823245 w 7202698"/>
              <a:gd name="connsiteY3" fmla="*/ 3671193 h 9840328"/>
              <a:gd name="connsiteX4" fmla="*/ 3649538 w 7202698"/>
              <a:gd name="connsiteY4" fmla="*/ 9840316 h 9840328"/>
              <a:gd name="connsiteX5" fmla="*/ 4369581 w 7202698"/>
              <a:gd name="connsiteY5" fmla="*/ 680882 h 9840328"/>
              <a:gd name="connsiteX6" fmla="*/ 5230151 w 7202698"/>
              <a:gd name="connsiteY6" fmla="*/ 678680 h 9840328"/>
              <a:gd name="connsiteX7" fmla="*/ 6204391 w 7202698"/>
              <a:gd name="connsiteY7" fmla="*/ 644803 h 9840328"/>
              <a:gd name="connsiteX8" fmla="*/ 7202698 w 7202698"/>
              <a:gd name="connsiteY8" fmla="*/ 729571 h 9840328"/>
              <a:gd name="connsiteX0" fmla="*/ 0 w 7202698"/>
              <a:gd name="connsiteY0" fmla="*/ 8625299 h 9840328"/>
              <a:gd name="connsiteX1" fmla="*/ 993395 w 7202698"/>
              <a:gd name="connsiteY1" fmla="*/ 7658743 h 9840328"/>
              <a:gd name="connsiteX2" fmla="*/ 1959504 w 7202698"/>
              <a:gd name="connsiteY2" fmla="*/ 741787 h 9840328"/>
              <a:gd name="connsiteX3" fmla="*/ 2823245 w 7202698"/>
              <a:gd name="connsiteY3" fmla="*/ 3671193 h 9840328"/>
              <a:gd name="connsiteX4" fmla="*/ 3649538 w 7202698"/>
              <a:gd name="connsiteY4" fmla="*/ 9840316 h 9840328"/>
              <a:gd name="connsiteX5" fmla="*/ 4369581 w 7202698"/>
              <a:gd name="connsiteY5" fmla="*/ 680882 h 9840328"/>
              <a:gd name="connsiteX6" fmla="*/ 5230151 w 7202698"/>
              <a:gd name="connsiteY6" fmla="*/ 678680 h 9840328"/>
              <a:gd name="connsiteX7" fmla="*/ 6204391 w 7202698"/>
              <a:gd name="connsiteY7" fmla="*/ 644803 h 9840328"/>
              <a:gd name="connsiteX8" fmla="*/ 7202698 w 7202698"/>
              <a:gd name="connsiteY8" fmla="*/ 729571 h 9840328"/>
              <a:gd name="connsiteX0" fmla="*/ 0 w 7202698"/>
              <a:gd name="connsiteY0" fmla="*/ 8625299 h 12172856"/>
              <a:gd name="connsiteX1" fmla="*/ 993395 w 7202698"/>
              <a:gd name="connsiteY1" fmla="*/ 7658743 h 12172856"/>
              <a:gd name="connsiteX2" fmla="*/ 1959504 w 7202698"/>
              <a:gd name="connsiteY2" fmla="*/ 741787 h 12172856"/>
              <a:gd name="connsiteX3" fmla="*/ 2690476 w 7202698"/>
              <a:gd name="connsiteY3" fmla="*/ 12145153 h 12172856"/>
              <a:gd name="connsiteX4" fmla="*/ 3649538 w 7202698"/>
              <a:gd name="connsiteY4" fmla="*/ 9840316 h 12172856"/>
              <a:gd name="connsiteX5" fmla="*/ 4369581 w 7202698"/>
              <a:gd name="connsiteY5" fmla="*/ 680882 h 12172856"/>
              <a:gd name="connsiteX6" fmla="*/ 5230151 w 7202698"/>
              <a:gd name="connsiteY6" fmla="*/ 678680 h 12172856"/>
              <a:gd name="connsiteX7" fmla="*/ 6204391 w 7202698"/>
              <a:gd name="connsiteY7" fmla="*/ 644803 h 12172856"/>
              <a:gd name="connsiteX8" fmla="*/ 7202698 w 7202698"/>
              <a:gd name="connsiteY8" fmla="*/ 729571 h 12172856"/>
              <a:gd name="connsiteX0" fmla="*/ 0 w 7202698"/>
              <a:gd name="connsiteY0" fmla="*/ 7984372 h 11531929"/>
              <a:gd name="connsiteX1" fmla="*/ 993395 w 7202698"/>
              <a:gd name="connsiteY1" fmla="*/ 7017816 h 11531929"/>
              <a:gd name="connsiteX2" fmla="*/ 1959504 w 7202698"/>
              <a:gd name="connsiteY2" fmla="*/ 100860 h 11531929"/>
              <a:gd name="connsiteX3" fmla="*/ 2690476 w 7202698"/>
              <a:gd name="connsiteY3" fmla="*/ 11504226 h 11531929"/>
              <a:gd name="connsiteX4" fmla="*/ 3649538 w 7202698"/>
              <a:gd name="connsiteY4" fmla="*/ 9199389 h 11531929"/>
              <a:gd name="connsiteX5" fmla="*/ 4471111 w 7202698"/>
              <a:gd name="connsiteY5" fmla="*/ 1515052 h 11531929"/>
              <a:gd name="connsiteX6" fmla="*/ 5230151 w 7202698"/>
              <a:gd name="connsiteY6" fmla="*/ 37753 h 11531929"/>
              <a:gd name="connsiteX7" fmla="*/ 6204391 w 7202698"/>
              <a:gd name="connsiteY7" fmla="*/ 3876 h 11531929"/>
              <a:gd name="connsiteX8" fmla="*/ 7202698 w 7202698"/>
              <a:gd name="connsiteY8" fmla="*/ 88644 h 11531929"/>
              <a:gd name="connsiteX0" fmla="*/ 0 w 7202698"/>
              <a:gd name="connsiteY0" fmla="*/ 7984372 h 11531929"/>
              <a:gd name="connsiteX1" fmla="*/ 993395 w 7202698"/>
              <a:gd name="connsiteY1" fmla="*/ 7017816 h 11531929"/>
              <a:gd name="connsiteX2" fmla="*/ 1959504 w 7202698"/>
              <a:gd name="connsiteY2" fmla="*/ 100860 h 11531929"/>
              <a:gd name="connsiteX3" fmla="*/ 2690476 w 7202698"/>
              <a:gd name="connsiteY3" fmla="*/ 11504226 h 11531929"/>
              <a:gd name="connsiteX4" fmla="*/ 3649538 w 7202698"/>
              <a:gd name="connsiteY4" fmla="*/ 9199389 h 11531929"/>
              <a:gd name="connsiteX5" fmla="*/ 4471111 w 7202698"/>
              <a:gd name="connsiteY5" fmla="*/ 1515052 h 11531929"/>
              <a:gd name="connsiteX6" fmla="*/ 5230151 w 7202698"/>
              <a:gd name="connsiteY6" fmla="*/ 37753 h 11531929"/>
              <a:gd name="connsiteX7" fmla="*/ 6204391 w 7202698"/>
              <a:gd name="connsiteY7" fmla="*/ 3876 h 11531929"/>
              <a:gd name="connsiteX8" fmla="*/ 7202698 w 7202698"/>
              <a:gd name="connsiteY8" fmla="*/ 88644 h 11531929"/>
              <a:gd name="connsiteX0" fmla="*/ 0 w 7202698"/>
              <a:gd name="connsiteY0" fmla="*/ 7984372 h 11531929"/>
              <a:gd name="connsiteX1" fmla="*/ 993395 w 7202698"/>
              <a:gd name="connsiteY1" fmla="*/ 7017816 h 11531929"/>
              <a:gd name="connsiteX2" fmla="*/ 1959504 w 7202698"/>
              <a:gd name="connsiteY2" fmla="*/ 100860 h 11531929"/>
              <a:gd name="connsiteX3" fmla="*/ 2690476 w 7202698"/>
              <a:gd name="connsiteY3" fmla="*/ 11504226 h 11531929"/>
              <a:gd name="connsiteX4" fmla="*/ 3649538 w 7202698"/>
              <a:gd name="connsiteY4" fmla="*/ 9199389 h 11531929"/>
              <a:gd name="connsiteX5" fmla="*/ 4471111 w 7202698"/>
              <a:gd name="connsiteY5" fmla="*/ 1515052 h 11531929"/>
              <a:gd name="connsiteX6" fmla="*/ 5230151 w 7202698"/>
              <a:gd name="connsiteY6" fmla="*/ 37753 h 11531929"/>
              <a:gd name="connsiteX7" fmla="*/ 6204391 w 7202698"/>
              <a:gd name="connsiteY7" fmla="*/ 3876 h 11531929"/>
              <a:gd name="connsiteX8" fmla="*/ 7202698 w 7202698"/>
              <a:gd name="connsiteY8" fmla="*/ 88644 h 11531929"/>
              <a:gd name="connsiteX0" fmla="*/ 0 w 7202698"/>
              <a:gd name="connsiteY0" fmla="*/ 7984372 h 11531929"/>
              <a:gd name="connsiteX1" fmla="*/ 993395 w 7202698"/>
              <a:gd name="connsiteY1" fmla="*/ 7017816 h 11531929"/>
              <a:gd name="connsiteX2" fmla="*/ 1959504 w 7202698"/>
              <a:gd name="connsiteY2" fmla="*/ 100860 h 11531929"/>
              <a:gd name="connsiteX3" fmla="*/ 2690476 w 7202698"/>
              <a:gd name="connsiteY3" fmla="*/ 11504226 h 11531929"/>
              <a:gd name="connsiteX4" fmla="*/ 3649538 w 7202698"/>
              <a:gd name="connsiteY4" fmla="*/ 9199389 h 11531929"/>
              <a:gd name="connsiteX5" fmla="*/ 4502351 w 7202698"/>
              <a:gd name="connsiteY5" fmla="*/ 7823447 h 11531929"/>
              <a:gd name="connsiteX6" fmla="*/ 5230151 w 7202698"/>
              <a:gd name="connsiteY6" fmla="*/ 37753 h 11531929"/>
              <a:gd name="connsiteX7" fmla="*/ 6204391 w 7202698"/>
              <a:gd name="connsiteY7" fmla="*/ 3876 h 11531929"/>
              <a:gd name="connsiteX8" fmla="*/ 7202698 w 7202698"/>
              <a:gd name="connsiteY8" fmla="*/ 88644 h 11531929"/>
              <a:gd name="connsiteX0" fmla="*/ 0 w 7202698"/>
              <a:gd name="connsiteY0" fmla="*/ 7980511 h 11528068"/>
              <a:gd name="connsiteX1" fmla="*/ 993395 w 7202698"/>
              <a:gd name="connsiteY1" fmla="*/ 7013955 h 11528068"/>
              <a:gd name="connsiteX2" fmla="*/ 1959504 w 7202698"/>
              <a:gd name="connsiteY2" fmla="*/ 96999 h 11528068"/>
              <a:gd name="connsiteX3" fmla="*/ 2690476 w 7202698"/>
              <a:gd name="connsiteY3" fmla="*/ 11500365 h 11528068"/>
              <a:gd name="connsiteX4" fmla="*/ 3649538 w 7202698"/>
              <a:gd name="connsiteY4" fmla="*/ 9195528 h 11528068"/>
              <a:gd name="connsiteX5" fmla="*/ 4502351 w 7202698"/>
              <a:gd name="connsiteY5" fmla="*/ 7819586 h 11528068"/>
              <a:gd name="connsiteX6" fmla="*/ 5370731 w 7202698"/>
              <a:gd name="connsiteY6" fmla="*/ 8476467 h 11528068"/>
              <a:gd name="connsiteX7" fmla="*/ 6204391 w 7202698"/>
              <a:gd name="connsiteY7" fmla="*/ 15 h 11528068"/>
              <a:gd name="connsiteX8" fmla="*/ 7202698 w 7202698"/>
              <a:gd name="connsiteY8" fmla="*/ 84783 h 11528068"/>
              <a:gd name="connsiteX0" fmla="*/ 0 w 7202698"/>
              <a:gd name="connsiteY0" fmla="*/ 7936636 h 11484193"/>
              <a:gd name="connsiteX1" fmla="*/ 993395 w 7202698"/>
              <a:gd name="connsiteY1" fmla="*/ 6970080 h 11484193"/>
              <a:gd name="connsiteX2" fmla="*/ 1959504 w 7202698"/>
              <a:gd name="connsiteY2" fmla="*/ 53124 h 11484193"/>
              <a:gd name="connsiteX3" fmla="*/ 2690476 w 7202698"/>
              <a:gd name="connsiteY3" fmla="*/ 11456490 h 11484193"/>
              <a:gd name="connsiteX4" fmla="*/ 3649538 w 7202698"/>
              <a:gd name="connsiteY4" fmla="*/ 9151653 h 11484193"/>
              <a:gd name="connsiteX5" fmla="*/ 4502351 w 7202698"/>
              <a:gd name="connsiteY5" fmla="*/ 7775711 h 11484193"/>
              <a:gd name="connsiteX6" fmla="*/ 5370731 w 7202698"/>
              <a:gd name="connsiteY6" fmla="*/ 8432592 h 11484193"/>
              <a:gd name="connsiteX7" fmla="*/ 6243441 w 7202698"/>
              <a:gd name="connsiteY7" fmla="*/ 7488549 h 11484193"/>
              <a:gd name="connsiteX8" fmla="*/ 7202698 w 7202698"/>
              <a:gd name="connsiteY8" fmla="*/ 40908 h 11484193"/>
              <a:gd name="connsiteX0" fmla="*/ 0 w 7085549"/>
              <a:gd name="connsiteY0" fmla="*/ 7936636 h 11484193"/>
              <a:gd name="connsiteX1" fmla="*/ 993395 w 7085549"/>
              <a:gd name="connsiteY1" fmla="*/ 6970080 h 11484193"/>
              <a:gd name="connsiteX2" fmla="*/ 1959504 w 7085549"/>
              <a:gd name="connsiteY2" fmla="*/ 53124 h 11484193"/>
              <a:gd name="connsiteX3" fmla="*/ 2690476 w 7085549"/>
              <a:gd name="connsiteY3" fmla="*/ 11456490 h 11484193"/>
              <a:gd name="connsiteX4" fmla="*/ 3649538 w 7085549"/>
              <a:gd name="connsiteY4" fmla="*/ 9151653 h 11484193"/>
              <a:gd name="connsiteX5" fmla="*/ 4502351 w 7085549"/>
              <a:gd name="connsiteY5" fmla="*/ 7775711 h 11484193"/>
              <a:gd name="connsiteX6" fmla="*/ 5370731 w 7085549"/>
              <a:gd name="connsiteY6" fmla="*/ 8432592 h 11484193"/>
              <a:gd name="connsiteX7" fmla="*/ 6243441 w 7085549"/>
              <a:gd name="connsiteY7" fmla="*/ 7488549 h 11484193"/>
              <a:gd name="connsiteX8" fmla="*/ 7085549 w 7085549"/>
              <a:gd name="connsiteY8" fmla="*/ 7541932 h 11484193"/>
              <a:gd name="connsiteX0" fmla="*/ 0 w 7023070"/>
              <a:gd name="connsiteY0" fmla="*/ 7936636 h 11484193"/>
              <a:gd name="connsiteX1" fmla="*/ 993395 w 7023070"/>
              <a:gd name="connsiteY1" fmla="*/ 6970080 h 11484193"/>
              <a:gd name="connsiteX2" fmla="*/ 1959504 w 7023070"/>
              <a:gd name="connsiteY2" fmla="*/ 53124 h 11484193"/>
              <a:gd name="connsiteX3" fmla="*/ 2690476 w 7023070"/>
              <a:gd name="connsiteY3" fmla="*/ 11456490 h 11484193"/>
              <a:gd name="connsiteX4" fmla="*/ 3649538 w 7023070"/>
              <a:gd name="connsiteY4" fmla="*/ 9151653 h 11484193"/>
              <a:gd name="connsiteX5" fmla="*/ 4502351 w 7023070"/>
              <a:gd name="connsiteY5" fmla="*/ 7775711 h 11484193"/>
              <a:gd name="connsiteX6" fmla="*/ 5370731 w 7023070"/>
              <a:gd name="connsiteY6" fmla="*/ 8432592 h 11484193"/>
              <a:gd name="connsiteX7" fmla="*/ 6243441 w 7023070"/>
              <a:gd name="connsiteY7" fmla="*/ 7488549 h 11484193"/>
              <a:gd name="connsiteX8" fmla="*/ 7023070 w 7023070"/>
              <a:gd name="connsiteY8" fmla="*/ 9738884 h 11484193"/>
              <a:gd name="connsiteX0" fmla="*/ 0 w 7023070"/>
              <a:gd name="connsiteY0" fmla="*/ 7936636 h 11484193"/>
              <a:gd name="connsiteX1" fmla="*/ 993395 w 7023070"/>
              <a:gd name="connsiteY1" fmla="*/ 6970080 h 11484193"/>
              <a:gd name="connsiteX2" fmla="*/ 1959504 w 7023070"/>
              <a:gd name="connsiteY2" fmla="*/ 53124 h 11484193"/>
              <a:gd name="connsiteX3" fmla="*/ 2690476 w 7023070"/>
              <a:gd name="connsiteY3" fmla="*/ 11456490 h 11484193"/>
              <a:gd name="connsiteX4" fmla="*/ 3649538 w 7023070"/>
              <a:gd name="connsiteY4" fmla="*/ 9151653 h 11484193"/>
              <a:gd name="connsiteX5" fmla="*/ 4502351 w 7023070"/>
              <a:gd name="connsiteY5" fmla="*/ 7775711 h 11484193"/>
              <a:gd name="connsiteX6" fmla="*/ 5370731 w 7023070"/>
              <a:gd name="connsiteY6" fmla="*/ 8432592 h 11484193"/>
              <a:gd name="connsiteX7" fmla="*/ 6243441 w 7023070"/>
              <a:gd name="connsiteY7" fmla="*/ 7488549 h 11484193"/>
              <a:gd name="connsiteX8" fmla="*/ 7023070 w 7023070"/>
              <a:gd name="connsiteY8" fmla="*/ 9613345 h 11484193"/>
              <a:gd name="connsiteX0" fmla="*/ 0 w 6029675"/>
              <a:gd name="connsiteY0" fmla="*/ 6970080 h 11484193"/>
              <a:gd name="connsiteX1" fmla="*/ 966109 w 6029675"/>
              <a:gd name="connsiteY1" fmla="*/ 53124 h 11484193"/>
              <a:gd name="connsiteX2" fmla="*/ 1697081 w 6029675"/>
              <a:gd name="connsiteY2" fmla="*/ 11456490 h 11484193"/>
              <a:gd name="connsiteX3" fmla="*/ 2656143 w 6029675"/>
              <a:gd name="connsiteY3" fmla="*/ 9151653 h 11484193"/>
              <a:gd name="connsiteX4" fmla="*/ 3508956 w 6029675"/>
              <a:gd name="connsiteY4" fmla="*/ 7775711 h 11484193"/>
              <a:gd name="connsiteX5" fmla="*/ 4377336 w 6029675"/>
              <a:gd name="connsiteY5" fmla="*/ 8432592 h 11484193"/>
              <a:gd name="connsiteX6" fmla="*/ 5250046 w 6029675"/>
              <a:gd name="connsiteY6" fmla="*/ 7488549 h 11484193"/>
              <a:gd name="connsiteX7" fmla="*/ 6029675 w 6029675"/>
              <a:gd name="connsiteY7" fmla="*/ 9613345 h 11484193"/>
              <a:gd name="connsiteX0" fmla="*/ 0 w 7019484"/>
              <a:gd name="connsiteY0" fmla="*/ 7848038 h 11462447"/>
              <a:gd name="connsiteX1" fmla="*/ 1955918 w 7019484"/>
              <a:gd name="connsiteY1" fmla="*/ 31378 h 11462447"/>
              <a:gd name="connsiteX2" fmla="*/ 2686890 w 7019484"/>
              <a:gd name="connsiteY2" fmla="*/ 11434744 h 11462447"/>
              <a:gd name="connsiteX3" fmla="*/ 3645952 w 7019484"/>
              <a:gd name="connsiteY3" fmla="*/ 9129907 h 11462447"/>
              <a:gd name="connsiteX4" fmla="*/ 4498765 w 7019484"/>
              <a:gd name="connsiteY4" fmla="*/ 7753965 h 11462447"/>
              <a:gd name="connsiteX5" fmla="*/ 5367145 w 7019484"/>
              <a:gd name="connsiteY5" fmla="*/ 8410846 h 11462447"/>
              <a:gd name="connsiteX6" fmla="*/ 6239855 w 7019484"/>
              <a:gd name="connsiteY6" fmla="*/ 7466803 h 11462447"/>
              <a:gd name="connsiteX7" fmla="*/ 7019484 w 7019484"/>
              <a:gd name="connsiteY7" fmla="*/ 9591599 h 11462447"/>
              <a:gd name="connsiteX0" fmla="*/ 0 w 7019484"/>
              <a:gd name="connsiteY0" fmla="*/ 1282206 h 4910025"/>
              <a:gd name="connsiteX1" fmla="*/ 1036811 w 7019484"/>
              <a:gd name="connsiteY1" fmla="*/ 142300 h 4910025"/>
              <a:gd name="connsiteX2" fmla="*/ 2686890 w 7019484"/>
              <a:gd name="connsiteY2" fmla="*/ 4868912 h 4910025"/>
              <a:gd name="connsiteX3" fmla="*/ 3645952 w 7019484"/>
              <a:gd name="connsiteY3" fmla="*/ 2564075 h 4910025"/>
              <a:gd name="connsiteX4" fmla="*/ 4498765 w 7019484"/>
              <a:gd name="connsiteY4" fmla="*/ 1188133 h 4910025"/>
              <a:gd name="connsiteX5" fmla="*/ 5367145 w 7019484"/>
              <a:gd name="connsiteY5" fmla="*/ 1845014 h 4910025"/>
              <a:gd name="connsiteX6" fmla="*/ 6239855 w 7019484"/>
              <a:gd name="connsiteY6" fmla="*/ 900971 h 4910025"/>
              <a:gd name="connsiteX7" fmla="*/ 7019484 w 7019484"/>
              <a:gd name="connsiteY7" fmla="*/ 3025767 h 4910025"/>
              <a:gd name="connsiteX0" fmla="*/ 0 w 7031268"/>
              <a:gd name="connsiteY0" fmla="*/ 1120180 h 4937409"/>
              <a:gd name="connsiteX1" fmla="*/ 1048595 w 7031268"/>
              <a:gd name="connsiteY1" fmla="*/ 169684 h 4937409"/>
              <a:gd name="connsiteX2" fmla="*/ 2698674 w 7031268"/>
              <a:gd name="connsiteY2" fmla="*/ 4896296 h 4937409"/>
              <a:gd name="connsiteX3" fmla="*/ 3657736 w 7031268"/>
              <a:gd name="connsiteY3" fmla="*/ 2591459 h 4937409"/>
              <a:gd name="connsiteX4" fmla="*/ 4510549 w 7031268"/>
              <a:gd name="connsiteY4" fmla="*/ 1215517 h 4937409"/>
              <a:gd name="connsiteX5" fmla="*/ 5378929 w 7031268"/>
              <a:gd name="connsiteY5" fmla="*/ 1872398 h 4937409"/>
              <a:gd name="connsiteX6" fmla="*/ 6251639 w 7031268"/>
              <a:gd name="connsiteY6" fmla="*/ 928355 h 4937409"/>
              <a:gd name="connsiteX7" fmla="*/ 7031268 w 7031268"/>
              <a:gd name="connsiteY7" fmla="*/ 3053151 h 4937409"/>
              <a:gd name="connsiteX0" fmla="*/ 0 w 7031268"/>
              <a:gd name="connsiteY0" fmla="*/ 1120180 h 4937409"/>
              <a:gd name="connsiteX1" fmla="*/ 1048595 w 7031268"/>
              <a:gd name="connsiteY1" fmla="*/ 169683 h 4937409"/>
              <a:gd name="connsiteX2" fmla="*/ 2698674 w 7031268"/>
              <a:gd name="connsiteY2" fmla="*/ 4896296 h 4937409"/>
              <a:gd name="connsiteX3" fmla="*/ 3657736 w 7031268"/>
              <a:gd name="connsiteY3" fmla="*/ 2591459 h 4937409"/>
              <a:gd name="connsiteX4" fmla="*/ 4510549 w 7031268"/>
              <a:gd name="connsiteY4" fmla="*/ 1215517 h 4937409"/>
              <a:gd name="connsiteX5" fmla="*/ 5378929 w 7031268"/>
              <a:gd name="connsiteY5" fmla="*/ 1872398 h 4937409"/>
              <a:gd name="connsiteX6" fmla="*/ 6251639 w 7031268"/>
              <a:gd name="connsiteY6" fmla="*/ 928355 h 4937409"/>
              <a:gd name="connsiteX7" fmla="*/ 7031268 w 7031268"/>
              <a:gd name="connsiteY7" fmla="*/ 3053151 h 4937409"/>
              <a:gd name="connsiteX0" fmla="*/ 0 w 7031268"/>
              <a:gd name="connsiteY0" fmla="*/ 950691 h 4767920"/>
              <a:gd name="connsiteX1" fmla="*/ 1048595 w 7031268"/>
              <a:gd name="connsiteY1" fmla="*/ 194 h 4767920"/>
              <a:gd name="connsiteX2" fmla="*/ 2698674 w 7031268"/>
              <a:gd name="connsiteY2" fmla="*/ 4726807 h 4767920"/>
              <a:gd name="connsiteX3" fmla="*/ 3657736 w 7031268"/>
              <a:gd name="connsiteY3" fmla="*/ 2421970 h 4767920"/>
              <a:gd name="connsiteX4" fmla="*/ 4510549 w 7031268"/>
              <a:gd name="connsiteY4" fmla="*/ 1046028 h 4767920"/>
              <a:gd name="connsiteX5" fmla="*/ 5378929 w 7031268"/>
              <a:gd name="connsiteY5" fmla="*/ 1702909 h 4767920"/>
              <a:gd name="connsiteX6" fmla="*/ 6251639 w 7031268"/>
              <a:gd name="connsiteY6" fmla="*/ 758866 h 4767920"/>
              <a:gd name="connsiteX7" fmla="*/ 7031268 w 7031268"/>
              <a:gd name="connsiteY7" fmla="*/ 2883662 h 4767920"/>
              <a:gd name="connsiteX0" fmla="*/ 0 w 7031268"/>
              <a:gd name="connsiteY0" fmla="*/ 1120180 h 4937409"/>
              <a:gd name="connsiteX1" fmla="*/ 1048595 w 7031268"/>
              <a:gd name="connsiteY1" fmla="*/ 169683 h 4937409"/>
              <a:gd name="connsiteX2" fmla="*/ 2085935 w 7031268"/>
              <a:gd name="connsiteY2" fmla="*/ 4896297 h 4937409"/>
              <a:gd name="connsiteX3" fmla="*/ 3657736 w 7031268"/>
              <a:gd name="connsiteY3" fmla="*/ 2591459 h 4937409"/>
              <a:gd name="connsiteX4" fmla="*/ 4510549 w 7031268"/>
              <a:gd name="connsiteY4" fmla="*/ 1215517 h 4937409"/>
              <a:gd name="connsiteX5" fmla="*/ 5378929 w 7031268"/>
              <a:gd name="connsiteY5" fmla="*/ 1872398 h 4937409"/>
              <a:gd name="connsiteX6" fmla="*/ 6251639 w 7031268"/>
              <a:gd name="connsiteY6" fmla="*/ 928355 h 4937409"/>
              <a:gd name="connsiteX7" fmla="*/ 7031268 w 7031268"/>
              <a:gd name="connsiteY7" fmla="*/ 3053151 h 4937409"/>
              <a:gd name="connsiteX0" fmla="*/ 0 w 7031268"/>
              <a:gd name="connsiteY0" fmla="*/ 1120180 h 4946391"/>
              <a:gd name="connsiteX1" fmla="*/ 1048595 w 7031268"/>
              <a:gd name="connsiteY1" fmla="*/ 169683 h 4946391"/>
              <a:gd name="connsiteX2" fmla="*/ 2085935 w 7031268"/>
              <a:gd name="connsiteY2" fmla="*/ 4896297 h 4946391"/>
              <a:gd name="connsiteX3" fmla="*/ 3068565 w 7031268"/>
              <a:gd name="connsiteY3" fmla="*/ 2780872 h 4946391"/>
              <a:gd name="connsiteX4" fmla="*/ 4510549 w 7031268"/>
              <a:gd name="connsiteY4" fmla="*/ 1215517 h 4946391"/>
              <a:gd name="connsiteX5" fmla="*/ 5378929 w 7031268"/>
              <a:gd name="connsiteY5" fmla="*/ 1872398 h 4946391"/>
              <a:gd name="connsiteX6" fmla="*/ 6251639 w 7031268"/>
              <a:gd name="connsiteY6" fmla="*/ 928355 h 4946391"/>
              <a:gd name="connsiteX7" fmla="*/ 7031268 w 7031268"/>
              <a:gd name="connsiteY7" fmla="*/ 3053151 h 4946391"/>
              <a:gd name="connsiteX0" fmla="*/ 0 w 7031268"/>
              <a:gd name="connsiteY0" fmla="*/ 1120180 h 4946391"/>
              <a:gd name="connsiteX1" fmla="*/ 1048595 w 7031268"/>
              <a:gd name="connsiteY1" fmla="*/ 169683 h 4946391"/>
              <a:gd name="connsiteX2" fmla="*/ 2085935 w 7031268"/>
              <a:gd name="connsiteY2" fmla="*/ 4896297 h 4946391"/>
              <a:gd name="connsiteX3" fmla="*/ 3068565 w 7031268"/>
              <a:gd name="connsiteY3" fmla="*/ 2780872 h 4946391"/>
              <a:gd name="connsiteX4" fmla="*/ 4086346 w 7031268"/>
              <a:gd name="connsiteY4" fmla="*/ 1215516 h 4946391"/>
              <a:gd name="connsiteX5" fmla="*/ 5378929 w 7031268"/>
              <a:gd name="connsiteY5" fmla="*/ 1872398 h 4946391"/>
              <a:gd name="connsiteX6" fmla="*/ 6251639 w 7031268"/>
              <a:gd name="connsiteY6" fmla="*/ 928355 h 4946391"/>
              <a:gd name="connsiteX7" fmla="*/ 7031268 w 7031268"/>
              <a:gd name="connsiteY7" fmla="*/ 3053151 h 4946391"/>
              <a:gd name="connsiteX0" fmla="*/ 0 w 7031268"/>
              <a:gd name="connsiteY0" fmla="*/ 1120180 h 4946391"/>
              <a:gd name="connsiteX1" fmla="*/ 1048595 w 7031268"/>
              <a:gd name="connsiteY1" fmla="*/ 169683 h 4946391"/>
              <a:gd name="connsiteX2" fmla="*/ 2085935 w 7031268"/>
              <a:gd name="connsiteY2" fmla="*/ 4896297 h 4946391"/>
              <a:gd name="connsiteX3" fmla="*/ 3068565 w 7031268"/>
              <a:gd name="connsiteY3" fmla="*/ 2780872 h 4946391"/>
              <a:gd name="connsiteX4" fmla="*/ 4086346 w 7031268"/>
              <a:gd name="connsiteY4" fmla="*/ 1215516 h 4946391"/>
              <a:gd name="connsiteX5" fmla="*/ 5037209 w 7031268"/>
              <a:gd name="connsiteY5" fmla="*/ 1967103 h 4946391"/>
              <a:gd name="connsiteX6" fmla="*/ 6251639 w 7031268"/>
              <a:gd name="connsiteY6" fmla="*/ 928355 h 4946391"/>
              <a:gd name="connsiteX7" fmla="*/ 7031268 w 7031268"/>
              <a:gd name="connsiteY7" fmla="*/ 3053151 h 4946391"/>
              <a:gd name="connsiteX0" fmla="*/ 0 w 7031268"/>
              <a:gd name="connsiteY0" fmla="*/ 1120180 h 4946391"/>
              <a:gd name="connsiteX1" fmla="*/ 1048595 w 7031268"/>
              <a:gd name="connsiteY1" fmla="*/ 169683 h 4946391"/>
              <a:gd name="connsiteX2" fmla="*/ 2085935 w 7031268"/>
              <a:gd name="connsiteY2" fmla="*/ 4896297 h 4946391"/>
              <a:gd name="connsiteX3" fmla="*/ 3068565 w 7031268"/>
              <a:gd name="connsiteY3" fmla="*/ 2780872 h 4946391"/>
              <a:gd name="connsiteX4" fmla="*/ 4086346 w 7031268"/>
              <a:gd name="connsiteY4" fmla="*/ 1215516 h 4946391"/>
              <a:gd name="connsiteX5" fmla="*/ 5037209 w 7031268"/>
              <a:gd name="connsiteY5" fmla="*/ 1967103 h 4946391"/>
              <a:gd name="connsiteX6" fmla="*/ 6051321 w 7031268"/>
              <a:gd name="connsiteY6" fmla="*/ 928355 h 4946391"/>
              <a:gd name="connsiteX7" fmla="*/ 7031268 w 7031268"/>
              <a:gd name="connsiteY7" fmla="*/ 3053151 h 4946391"/>
              <a:gd name="connsiteX0" fmla="*/ 0 w 7031268"/>
              <a:gd name="connsiteY0" fmla="*/ 422623 h 4223776"/>
              <a:gd name="connsiteX1" fmla="*/ 1048595 w 7031268"/>
              <a:gd name="connsiteY1" fmla="*/ 315599 h 4223776"/>
              <a:gd name="connsiteX2" fmla="*/ 2085935 w 7031268"/>
              <a:gd name="connsiteY2" fmla="*/ 4198740 h 4223776"/>
              <a:gd name="connsiteX3" fmla="*/ 3068565 w 7031268"/>
              <a:gd name="connsiteY3" fmla="*/ 2083315 h 4223776"/>
              <a:gd name="connsiteX4" fmla="*/ 4086346 w 7031268"/>
              <a:gd name="connsiteY4" fmla="*/ 517959 h 4223776"/>
              <a:gd name="connsiteX5" fmla="*/ 5037209 w 7031268"/>
              <a:gd name="connsiteY5" fmla="*/ 1269546 h 4223776"/>
              <a:gd name="connsiteX6" fmla="*/ 6051321 w 7031268"/>
              <a:gd name="connsiteY6" fmla="*/ 230798 h 4223776"/>
              <a:gd name="connsiteX7" fmla="*/ 7031268 w 7031268"/>
              <a:gd name="connsiteY7" fmla="*/ 2355594 h 4223776"/>
              <a:gd name="connsiteX0" fmla="*/ 0 w 7031268"/>
              <a:gd name="connsiteY0" fmla="*/ 214360 h 2147330"/>
              <a:gd name="connsiteX1" fmla="*/ 1048595 w 7031268"/>
              <a:gd name="connsiteY1" fmla="*/ 107336 h 2147330"/>
              <a:gd name="connsiteX2" fmla="*/ 2077540 w 7031268"/>
              <a:gd name="connsiteY2" fmla="*/ 144239 h 2147330"/>
              <a:gd name="connsiteX3" fmla="*/ 3068565 w 7031268"/>
              <a:gd name="connsiteY3" fmla="*/ 1875052 h 2147330"/>
              <a:gd name="connsiteX4" fmla="*/ 4086346 w 7031268"/>
              <a:gd name="connsiteY4" fmla="*/ 309696 h 2147330"/>
              <a:gd name="connsiteX5" fmla="*/ 5037209 w 7031268"/>
              <a:gd name="connsiteY5" fmla="*/ 1061283 h 2147330"/>
              <a:gd name="connsiteX6" fmla="*/ 6051321 w 7031268"/>
              <a:gd name="connsiteY6" fmla="*/ 22535 h 2147330"/>
              <a:gd name="connsiteX7" fmla="*/ 7031268 w 7031268"/>
              <a:gd name="connsiteY7" fmla="*/ 2147331 h 2147330"/>
              <a:gd name="connsiteX0" fmla="*/ 0 w 7031268"/>
              <a:gd name="connsiteY0" fmla="*/ 194949 h 2127919"/>
              <a:gd name="connsiteX1" fmla="*/ 1048595 w 7031268"/>
              <a:gd name="connsiteY1" fmla="*/ 87925 h 2127919"/>
              <a:gd name="connsiteX2" fmla="*/ 2077540 w 7031268"/>
              <a:gd name="connsiteY2" fmla="*/ 124828 h 2127919"/>
              <a:gd name="connsiteX3" fmla="*/ 3076961 w 7031268"/>
              <a:gd name="connsiteY3" fmla="*/ 0 h 2127919"/>
              <a:gd name="connsiteX4" fmla="*/ 4086346 w 7031268"/>
              <a:gd name="connsiteY4" fmla="*/ 290285 h 2127919"/>
              <a:gd name="connsiteX5" fmla="*/ 5037209 w 7031268"/>
              <a:gd name="connsiteY5" fmla="*/ 1041872 h 2127919"/>
              <a:gd name="connsiteX6" fmla="*/ 6051321 w 7031268"/>
              <a:gd name="connsiteY6" fmla="*/ 3124 h 2127919"/>
              <a:gd name="connsiteX7" fmla="*/ 7031268 w 7031268"/>
              <a:gd name="connsiteY7" fmla="*/ 2127920 h 2127919"/>
              <a:gd name="connsiteX0" fmla="*/ 0 w 7031268"/>
              <a:gd name="connsiteY0" fmla="*/ 194949 h 2127919"/>
              <a:gd name="connsiteX1" fmla="*/ 1048595 w 7031268"/>
              <a:gd name="connsiteY1" fmla="*/ 87925 h 2127919"/>
              <a:gd name="connsiteX2" fmla="*/ 2077540 w 7031268"/>
              <a:gd name="connsiteY2" fmla="*/ 124828 h 2127919"/>
              <a:gd name="connsiteX3" fmla="*/ 3076961 w 7031268"/>
              <a:gd name="connsiteY3" fmla="*/ 0 h 2127919"/>
              <a:gd name="connsiteX4" fmla="*/ 4086346 w 7031268"/>
              <a:gd name="connsiteY4" fmla="*/ 290285 h 2127919"/>
              <a:gd name="connsiteX5" fmla="*/ 5062396 w 7031268"/>
              <a:gd name="connsiteY5" fmla="*/ 130921 h 2127919"/>
              <a:gd name="connsiteX6" fmla="*/ 6051321 w 7031268"/>
              <a:gd name="connsiteY6" fmla="*/ 3124 h 2127919"/>
              <a:gd name="connsiteX7" fmla="*/ 7031268 w 7031268"/>
              <a:gd name="connsiteY7" fmla="*/ 2127920 h 2127919"/>
              <a:gd name="connsiteX0" fmla="*/ 0 w 7173995"/>
              <a:gd name="connsiteY0" fmla="*/ 194949 h 292041"/>
              <a:gd name="connsiteX1" fmla="*/ 1048595 w 7173995"/>
              <a:gd name="connsiteY1" fmla="*/ 87925 h 292041"/>
              <a:gd name="connsiteX2" fmla="*/ 2077540 w 7173995"/>
              <a:gd name="connsiteY2" fmla="*/ 124828 h 292041"/>
              <a:gd name="connsiteX3" fmla="*/ 3076961 w 7173995"/>
              <a:gd name="connsiteY3" fmla="*/ 0 h 292041"/>
              <a:gd name="connsiteX4" fmla="*/ 4086346 w 7173995"/>
              <a:gd name="connsiteY4" fmla="*/ 290285 h 292041"/>
              <a:gd name="connsiteX5" fmla="*/ 5062396 w 7173995"/>
              <a:gd name="connsiteY5" fmla="*/ 130921 h 292041"/>
              <a:gd name="connsiteX6" fmla="*/ 6051321 w 7173995"/>
              <a:gd name="connsiteY6" fmla="*/ 3124 h 292041"/>
              <a:gd name="connsiteX7" fmla="*/ 7173995 w 7173995"/>
              <a:gd name="connsiteY7" fmla="*/ 69845 h 292041"/>
              <a:gd name="connsiteX0" fmla="*/ 0 w 7068866"/>
              <a:gd name="connsiteY0" fmla="*/ 28626 h 2073778"/>
              <a:gd name="connsiteX1" fmla="*/ 943466 w 7068866"/>
              <a:gd name="connsiteY1" fmla="*/ 1869662 h 2073778"/>
              <a:gd name="connsiteX2" fmla="*/ 1972411 w 7068866"/>
              <a:gd name="connsiteY2" fmla="*/ 1906565 h 2073778"/>
              <a:gd name="connsiteX3" fmla="*/ 2971832 w 7068866"/>
              <a:gd name="connsiteY3" fmla="*/ 1781737 h 2073778"/>
              <a:gd name="connsiteX4" fmla="*/ 3981217 w 7068866"/>
              <a:gd name="connsiteY4" fmla="*/ 2072022 h 2073778"/>
              <a:gd name="connsiteX5" fmla="*/ 4957267 w 7068866"/>
              <a:gd name="connsiteY5" fmla="*/ 1912658 h 2073778"/>
              <a:gd name="connsiteX6" fmla="*/ 5946192 w 7068866"/>
              <a:gd name="connsiteY6" fmla="*/ 1784861 h 2073778"/>
              <a:gd name="connsiteX7" fmla="*/ 7068866 w 7068866"/>
              <a:gd name="connsiteY7" fmla="*/ 1851582 h 2073778"/>
              <a:gd name="connsiteX0" fmla="*/ 0 w 7068866"/>
              <a:gd name="connsiteY0" fmla="*/ 63073 h 2108225"/>
              <a:gd name="connsiteX1" fmla="*/ 1054436 w 7068866"/>
              <a:gd name="connsiteY1" fmla="*/ 800994 h 2108225"/>
              <a:gd name="connsiteX2" fmla="*/ 1972411 w 7068866"/>
              <a:gd name="connsiteY2" fmla="*/ 1941012 h 2108225"/>
              <a:gd name="connsiteX3" fmla="*/ 2971832 w 7068866"/>
              <a:gd name="connsiteY3" fmla="*/ 1816184 h 2108225"/>
              <a:gd name="connsiteX4" fmla="*/ 3981217 w 7068866"/>
              <a:gd name="connsiteY4" fmla="*/ 2106469 h 2108225"/>
              <a:gd name="connsiteX5" fmla="*/ 4957267 w 7068866"/>
              <a:gd name="connsiteY5" fmla="*/ 1947105 h 2108225"/>
              <a:gd name="connsiteX6" fmla="*/ 5946192 w 7068866"/>
              <a:gd name="connsiteY6" fmla="*/ 1819308 h 2108225"/>
              <a:gd name="connsiteX7" fmla="*/ 7068866 w 7068866"/>
              <a:gd name="connsiteY7" fmla="*/ 1886029 h 2108225"/>
              <a:gd name="connsiteX0" fmla="*/ 0 w 7068866"/>
              <a:gd name="connsiteY0" fmla="*/ 49808 h 2094960"/>
              <a:gd name="connsiteX1" fmla="*/ 1054436 w 7068866"/>
              <a:gd name="connsiteY1" fmla="*/ 787729 h 2094960"/>
              <a:gd name="connsiteX2" fmla="*/ 1972411 w 7068866"/>
              <a:gd name="connsiteY2" fmla="*/ 1927747 h 2094960"/>
              <a:gd name="connsiteX3" fmla="*/ 2971832 w 7068866"/>
              <a:gd name="connsiteY3" fmla="*/ 1802919 h 2094960"/>
              <a:gd name="connsiteX4" fmla="*/ 3981217 w 7068866"/>
              <a:gd name="connsiteY4" fmla="*/ 2093204 h 2094960"/>
              <a:gd name="connsiteX5" fmla="*/ 4957267 w 7068866"/>
              <a:gd name="connsiteY5" fmla="*/ 1933840 h 2094960"/>
              <a:gd name="connsiteX6" fmla="*/ 5946192 w 7068866"/>
              <a:gd name="connsiteY6" fmla="*/ 1806043 h 2094960"/>
              <a:gd name="connsiteX7" fmla="*/ 7068866 w 7068866"/>
              <a:gd name="connsiteY7" fmla="*/ 1872764 h 2094960"/>
              <a:gd name="connsiteX0" fmla="*/ 0 w 7068866"/>
              <a:gd name="connsiteY0" fmla="*/ 47942 h 2093094"/>
              <a:gd name="connsiteX1" fmla="*/ 1054436 w 7068866"/>
              <a:gd name="connsiteY1" fmla="*/ 785863 h 2093094"/>
              <a:gd name="connsiteX2" fmla="*/ 1972411 w 7068866"/>
              <a:gd name="connsiteY2" fmla="*/ 1925881 h 2093094"/>
              <a:gd name="connsiteX3" fmla="*/ 2971832 w 7068866"/>
              <a:gd name="connsiteY3" fmla="*/ 1801053 h 2093094"/>
              <a:gd name="connsiteX4" fmla="*/ 3981217 w 7068866"/>
              <a:gd name="connsiteY4" fmla="*/ 2091338 h 2093094"/>
              <a:gd name="connsiteX5" fmla="*/ 4957267 w 7068866"/>
              <a:gd name="connsiteY5" fmla="*/ 1931974 h 2093094"/>
              <a:gd name="connsiteX6" fmla="*/ 5946192 w 7068866"/>
              <a:gd name="connsiteY6" fmla="*/ 1804177 h 2093094"/>
              <a:gd name="connsiteX7" fmla="*/ 7068866 w 7068866"/>
              <a:gd name="connsiteY7" fmla="*/ 1870898 h 2093094"/>
              <a:gd name="connsiteX0" fmla="*/ 0 w 7068866"/>
              <a:gd name="connsiteY0" fmla="*/ 1137237 h 3182389"/>
              <a:gd name="connsiteX1" fmla="*/ 1054436 w 7068866"/>
              <a:gd name="connsiteY1" fmla="*/ 1875158 h 3182389"/>
              <a:gd name="connsiteX2" fmla="*/ 2030816 w 7068866"/>
              <a:gd name="connsiteY2" fmla="*/ 10945 h 3182389"/>
              <a:gd name="connsiteX3" fmla="*/ 2971832 w 7068866"/>
              <a:gd name="connsiteY3" fmla="*/ 2890348 h 3182389"/>
              <a:gd name="connsiteX4" fmla="*/ 3981217 w 7068866"/>
              <a:gd name="connsiteY4" fmla="*/ 3180633 h 3182389"/>
              <a:gd name="connsiteX5" fmla="*/ 4957267 w 7068866"/>
              <a:gd name="connsiteY5" fmla="*/ 3021269 h 3182389"/>
              <a:gd name="connsiteX6" fmla="*/ 5946192 w 7068866"/>
              <a:gd name="connsiteY6" fmla="*/ 2893472 h 3182389"/>
              <a:gd name="connsiteX7" fmla="*/ 7068866 w 7068866"/>
              <a:gd name="connsiteY7" fmla="*/ 2960193 h 3182389"/>
              <a:gd name="connsiteX0" fmla="*/ 0 w 7068866"/>
              <a:gd name="connsiteY0" fmla="*/ 1126740 h 3171892"/>
              <a:gd name="connsiteX1" fmla="*/ 1054436 w 7068866"/>
              <a:gd name="connsiteY1" fmla="*/ 1864661 h 3171892"/>
              <a:gd name="connsiteX2" fmla="*/ 2030816 w 7068866"/>
              <a:gd name="connsiteY2" fmla="*/ 448 h 3171892"/>
              <a:gd name="connsiteX3" fmla="*/ 2971832 w 7068866"/>
              <a:gd name="connsiteY3" fmla="*/ 2879851 h 3171892"/>
              <a:gd name="connsiteX4" fmla="*/ 3981217 w 7068866"/>
              <a:gd name="connsiteY4" fmla="*/ 3170136 h 3171892"/>
              <a:gd name="connsiteX5" fmla="*/ 4957267 w 7068866"/>
              <a:gd name="connsiteY5" fmla="*/ 3010772 h 3171892"/>
              <a:gd name="connsiteX6" fmla="*/ 5946192 w 7068866"/>
              <a:gd name="connsiteY6" fmla="*/ 2882975 h 3171892"/>
              <a:gd name="connsiteX7" fmla="*/ 7068866 w 7068866"/>
              <a:gd name="connsiteY7" fmla="*/ 2949696 h 3171892"/>
              <a:gd name="connsiteX0" fmla="*/ 0 w 7068866"/>
              <a:gd name="connsiteY0" fmla="*/ 2581767 h 4626919"/>
              <a:gd name="connsiteX1" fmla="*/ 1054436 w 7068866"/>
              <a:gd name="connsiteY1" fmla="*/ 3319688 h 4626919"/>
              <a:gd name="connsiteX2" fmla="*/ 2060019 w 7068866"/>
              <a:gd name="connsiteY2" fmla="*/ 301 h 4626919"/>
              <a:gd name="connsiteX3" fmla="*/ 2971832 w 7068866"/>
              <a:gd name="connsiteY3" fmla="*/ 4334878 h 4626919"/>
              <a:gd name="connsiteX4" fmla="*/ 3981217 w 7068866"/>
              <a:gd name="connsiteY4" fmla="*/ 4625163 h 4626919"/>
              <a:gd name="connsiteX5" fmla="*/ 4957267 w 7068866"/>
              <a:gd name="connsiteY5" fmla="*/ 4465799 h 4626919"/>
              <a:gd name="connsiteX6" fmla="*/ 5946192 w 7068866"/>
              <a:gd name="connsiteY6" fmla="*/ 4338002 h 4626919"/>
              <a:gd name="connsiteX7" fmla="*/ 7068866 w 7068866"/>
              <a:gd name="connsiteY7" fmla="*/ 4404723 h 4626919"/>
              <a:gd name="connsiteX0" fmla="*/ 0 w 7068866"/>
              <a:gd name="connsiteY0" fmla="*/ 3450126 h 5495278"/>
              <a:gd name="connsiteX1" fmla="*/ 1054436 w 7068866"/>
              <a:gd name="connsiteY1" fmla="*/ 4188047 h 5495278"/>
              <a:gd name="connsiteX2" fmla="*/ 2060019 w 7068866"/>
              <a:gd name="connsiteY2" fmla="*/ 250 h 5495278"/>
              <a:gd name="connsiteX3" fmla="*/ 2971832 w 7068866"/>
              <a:gd name="connsiteY3" fmla="*/ 5203237 h 5495278"/>
              <a:gd name="connsiteX4" fmla="*/ 3981217 w 7068866"/>
              <a:gd name="connsiteY4" fmla="*/ 5493522 h 5495278"/>
              <a:gd name="connsiteX5" fmla="*/ 4957267 w 7068866"/>
              <a:gd name="connsiteY5" fmla="*/ 5334158 h 5495278"/>
              <a:gd name="connsiteX6" fmla="*/ 5946192 w 7068866"/>
              <a:gd name="connsiteY6" fmla="*/ 5206361 h 5495278"/>
              <a:gd name="connsiteX7" fmla="*/ 7068866 w 7068866"/>
              <a:gd name="connsiteY7" fmla="*/ 5273082 h 5495278"/>
              <a:gd name="connsiteX0" fmla="*/ 0 w 7068866"/>
              <a:gd name="connsiteY0" fmla="*/ 3449881 h 5547539"/>
              <a:gd name="connsiteX1" fmla="*/ 1054436 w 7068866"/>
              <a:gd name="connsiteY1" fmla="*/ 4187802 h 5547539"/>
              <a:gd name="connsiteX2" fmla="*/ 2060019 w 7068866"/>
              <a:gd name="connsiteY2" fmla="*/ 5 h 5547539"/>
              <a:gd name="connsiteX3" fmla="*/ 3030237 w 7068866"/>
              <a:gd name="connsiteY3" fmla="*/ 4217228 h 5547539"/>
              <a:gd name="connsiteX4" fmla="*/ 3981217 w 7068866"/>
              <a:gd name="connsiteY4" fmla="*/ 5493277 h 5547539"/>
              <a:gd name="connsiteX5" fmla="*/ 4957267 w 7068866"/>
              <a:gd name="connsiteY5" fmla="*/ 5333913 h 5547539"/>
              <a:gd name="connsiteX6" fmla="*/ 5946192 w 7068866"/>
              <a:gd name="connsiteY6" fmla="*/ 5206116 h 5547539"/>
              <a:gd name="connsiteX7" fmla="*/ 7068866 w 7068866"/>
              <a:gd name="connsiteY7" fmla="*/ 5272837 h 5547539"/>
              <a:gd name="connsiteX0" fmla="*/ 0 w 7068866"/>
              <a:gd name="connsiteY0" fmla="*/ 3449881 h 5547539"/>
              <a:gd name="connsiteX1" fmla="*/ 1054436 w 7068866"/>
              <a:gd name="connsiteY1" fmla="*/ 4187802 h 5547539"/>
              <a:gd name="connsiteX2" fmla="*/ 2060019 w 7068866"/>
              <a:gd name="connsiteY2" fmla="*/ 5 h 5547539"/>
              <a:gd name="connsiteX3" fmla="*/ 3030237 w 7068866"/>
              <a:gd name="connsiteY3" fmla="*/ 4217228 h 5547539"/>
              <a:gd name="connsiteX4" fmla="*/ 3981217 w 7068866"/>
              <a:gd name="connsiteY4" fmla="*/ 5493277 h 5547539"/>
              <a:gd name="connsiteX5" fmla="*/ 4957267 w 7068866"/>
              <a:gd name="connsiteY5" fmla="*/ 5333913 h 5547539"/>
              <a:gd name="connsiteX6" fmla="*/ 5946192 w 7068866"/>
              <a:gd name="connsiteY6" fmla="*/ 5206116 h 5547539"/>
              <a:gd name="connsiteX7" fmla="*/ 7068866 w 7068866"/>
              <a:gd name="connsiteY7" fmla="*/ 5272837 h 5547539"/>
              <a:gd name="connsiteX0" fmla="*/ 0 w 7068866"/>
              <a:gd name="connsiteY0" fmla="*/ 3449881 h 5547539"/>
              <a:gd name="connsiteX1" fmla="*/ 1054436 w 7068866"/>
              <a:gd name="connsiteY1" fmla="*/ 4187802 h 5547539"/>
              <a:gd name="connsiteX2" fmla="*/ 2060019 w 7068866"/>
              <a:gd name="connsiteY2" fmla="*/ 5 h 5547539"/>
              <a:gd name="connsiteX3" fmla="*/ 3030237 w 7068866"/>
              <a:gd name="connsiteY3" fmla="*/ 4217228 h 5547539"/>
              <a:gd name="connsiteX4" fmla="*/ 3981217 w 7068866"/>
              <a:gd name="connsiteY4" fmla="*/ 5493277 h 5547539"/>
              <a:gd name="connsiteX5" fmla="*/ 4957267 w 7068866"/>
              <a:gd name="connsiteY5" fmla="*/ 5333913 h 5547539"/>
              <a:gd name="connsiteX6" fmla="*/ 5946192 w 7068866"/>
              <a:gd name="connsiteY6" fmla="*/ 5206116 h 5547539"/>
              <a:gd name="connsiteX7" fmla="*/ 7068866 w 7068866"/>
              <a:gd name="connsiteY7" fmla="*/ 5272837 h 5547539"/>
              <a:gd name="connsiteX0" fmla="*/ 0 w 7068866"/>
              <a:gd name="connsiteY0" fmla="*/ 3451581 h 5588929"/>
              <a:gd name="connsiteX1" fmla="*/ 1054436 w 7068866"/>
              <a:gd name="connsiteY1" fmla="*/ 4189502 h 5588929"/>
              <a:gd name="connsiteX2" fmla="*/ 2060019 w 7068866"/>
              <a:gd name="connsiteY2" fmla="*/ 1705 h 5588929"/>
              <a:gd name="connsiteX3" fmla="*/ 3036078 w 7068866"/>
              <a:gd name="connsiteY3" fmla="*/ 3632163 h 5588929"/>
              <a:gd name="connsiteX4" fmla="*/ 3981217 w 7068866"/>
              <a:gd name="connsiteY4" fmla="*/ 5494977 h 5588929"/>
              <a:gd name="connsiteX5" fmla="*/ 4957267 w 7068866"/>
              <a:gd name="connsiteY5" fmla="*/ 5335613 h 5588929"/>
              <a:gd name="connsiteX6" fmla="*/ 5946192 w 7068866"/>
              <a:gd name="connsiteY6" fmla="*/ 5207816 h 5588929"/>
              <a:gd name="connsiteX7" fmla="*/ 7068866 w 7068866"/>
              <a:gd name="connsiteY7" fmla="*/ 5274537 h 5588929"/>
              <a:gd name="connsiteX0" fmla="*/ 0 w 7068866"/>
              <a:gd name="connsiteY0" fmla="*/ 4212194 h 6096226"/>
              <a:gd name="connsiteX1" fmla="*/ 1054436 w 7068866"/>
              <a:gd name="connsiteY1" fmla="*/ 4950115 h 6096226"/>
              <a:gd name="connsiteX2" fmla="*/ 2060019 w 7068866"/>
              <a:gd name="connsiteY2" fmla="*/ 762318 h 6096226"/>
              <a:gd name="connsiteX3" fmla="*/ 3036078 w 7068866"/>
              <a:gd name="connsiteY3" fmla="*/ 4392776 h 6096226"/>
              <a:gd name="connsiteX4" fmla="*/ 4051303 w 7068866"/>
              <a:gd name="connsiteY4" fmla="*/ 12424 h 6096226"/>
              <a:gd name="connsiteX5" fmla="*/ 4957267 w 7068866"/>
              <a:gd name="connsiteY5" fmla="*/ 6096226 h 6096226"/>
              <a:gd name="connsiteX6" fmla="*/ 5946192 w 7068866"/>
              <a:gd name="connsiteY6" fmla="*/ 5968429 h 6096226"/>
              <a:gd name="connsiteX7" fmla="*/ 7068866 w 7068866"/>
              <a:gd name="connsiteY7" fmla="*/ 6035150 h 6096226"/>
              <a:gd name="connsiteX0" fmla="*/ 0 w 7068866"/>
              <a:gd name="connsiteY0" fmla="*/ 4199882 h 6083914"/>
              <a:gd name="connsiteX1" fmla="*/ 1054436 w 7068866"/>
              <a:gd name="connsiteY1" fmla="*/ 4937803 h 6083914"/>
              <a:gd name="connsiteX2" fmla="*/ 2060019 w 7068866"/>
              <a:gd name="connsiteY2" fmla="*/ 750006 h 6083914"/>
              <a:gd name="connsiteX3" fmla="*/ 3036078 w 7068866"/>
              <a:gd name="connsiteY3" fmla="*/ 4380464 h 6083914"/>
              <a:gd name="connsiteX4" fmla="*/ 4051303 w 7068866"/>
              <a:gd name="connsiteY4" fmla="*/ 112 h 6083914"/>
              <a:gd name="connsiteX5" fmla="*/ 4957267 w 7068866"/>
              <a:gd name="connsiteY5" fmla="*/ 6083914 h 6083914"/>
              <a:gd name="connsiteX6" fmla="*/ 5946192 w 7068866"/>
              <a:gd name="connsiteY6" fmla="*/ 5956117 h 6083914"/>
              <a:gd name="connsiteX7" fmla="*/ 7068866 w 7068866"/>
              <a:gd name="connsiteY7" fmla="*/ 6022838 h 6083914"/>
              <a:gd name="connsiteX0" fmla="*/ 0 w 7068866"/>
              <a:gd name="connsiteY0" fmla="*/ 3613135 h 5497167"/>
              <a:gd name="connsiteX1" fmla="*/ 1054436 w 7068866"/>
              <a:gd name="connsiteY1" fmla="*/ 4351056 h 5497167"/>
              <a:gd name="connsiteX2" fmla="*/ 2060019 w 7068866"/>
              <a:gd name="connsiteY2" fmla="*/ 163259 h 5497167"/>
              <a:gd name="connsiteX3" fmla="*/ 3036078 w 7068866"/>
              <a:gd name="connsiteY3" fmla="*/ 3793717 h 5497167"/>
              <a:gd name="connsiteX4" fmla="*/ 4027942 w 7068866"/>
              <a:gd name="connsiteY4" fmla="*/ 130 h 5497167"/>
              <a:gd name="connsiteX5" fmla="*/ 4957267 w 7068866"/>
              <a:gd name="connsiteY5" fmla="*/ 5497167 h 5497167"/>
              <a:gd name="connsiteX6" fmla="*/ 5946192 w 7068866"/>
              <a:gd name="connsiteY6" fmla="*/ 5369370 h 5497167"/>
              <a:gd name="connsiteX7" fmla="*/ 7068866 w 7068866"/>
              <a:gd name="connsiteY7" fmla="*/ 5436091 h 5497167"/>
              <a:gd name="connsiteX0" fmla="*/ 0 w 7068866"/>
              <a:gd name="connsiteY0" fmla="*/ 3451584 h 5335616"/>
              <a:gd name="connsiteX1" fmla="*/ 1054436 w 7068866"/>
              <a:gd name="connsiteY1" fmla="*/ 4189505 h 5335616"/>
              <a:gd name="connsiteX2" fmla="*/ 2060019 w 7068866"/>
              <a:gd name="connsiteY2" fmla="*/ 1708 h 5335616"/>
              <a:gd name="connsiteX3" fmla="*/ 3036078 w 7068866"/>
              <a:gd name="connsiteY3" fmla="*/ 3632166 h 5335616"/>
              <a:gd name="connsiteX4" fmla="*/ 4039624 w 7068866"/>
              <a:gd name="connsiteY4" fmla="*/ 448813 h 5335616"/>
              <a:gd name="connsiteX5" fmla="*/ 4957267 w 7068866"/>
              <a:gd name="connsiteY5" fmla="*/ 5335616 h 5335616"/>
              <a:gd name="connsiteX6" fmla="*/ 5946192 w 7068866"/>
              <a:gd name="connsiteY6" fmla="*/ 5207819 h 5335616"/>
              <a:gd name="connsiteX7" fmla="*/ 7068866 w 7068866"/>
              <a:gd name="connsiteY7" fmla="*/ 5274540 h 5335616"/>
              <a:gd name="connsiteX0" fmla="*/ 0 w 7068866"/>
              <a:gd name="connsiteY0" fmla="*/ 3451584 h 5274541"/>
              <a:gd name="connsiteX1" fmla="*/ 1054436 w 7068866"/>
              <a:gd name="connsiteY1" fmla="*/ 4189505 h 5274541"/>
              <a:gd name="connsiteX2" fmla="*/ 2060019 w 7068866"/>
              <a:gd name="connsiteY2" fmla="*/ 1708 h 5274541"/>
              <a:gd name="connsiteX3" fmla="*/ 3036078 w 7068866"/>
              <a:gd name="connsiteY3" fmla="*/ 3632166 h 5274541"/>
              <a:gd name="connsiteX4" fmla="*/ 4039624 w 7068866"/>
              <a:gd name="connsiteY4" fmla="*/ 448813 h 5274541"/>
              <a:gd name="connsiteX5" fmla="*/ 5033194 w 7068866"/>
              <a:gd name="connsiteY5" fmla="*/ 4068208 h 5274541"/>
              <a:gd name="connsiteX6" fmla="*/ 5946192 w 7068866"/>
              <a:gd name="connsiteY6" fmla="*/ 5207819 h 5274541"/>
              <a:gd name="connsiteX7" fmla="*/ 7068866 w 7068866"/>
              <a:gd name="connsiteY7" fmla="*/ 5274540 h 5274541"/>
              <a:gd name="connsiteX0" fmla="*/ 0 w 7068866"/>
              <a:gd name="connsiteY0" fmla="*/ 3451584 h 5274541"/>
              <a:gd name="connsiteX1" fmla="*/ 1054436 w 7068866"/>
              <a:gd name="connsiteY1" fmla="*/ 4189505 h 5274541"/>
              <a:gd name="connsiteX2" fmla="*/ 2060019 w 7068866"/>
              <a:gd name="connsiteY2" fmla="*/ 1708 h 5274541"/>
              <a:gd name="connsiteX3" fmla="*/ 3036078 w 7068866"/>
              <a:gd name="connsiteY3" fmla="*/ 3632166 h 5274541"/>
              <a:gd name="connsiteX4" fmla="*/ 4039624 w 7068866"/>
              <a:gd name="connsiteY4" fmla="*/ 448813 h 5274541"/>
              <a:gd name="connsiteX5" fmla="*/ 5033194 w 7068866"/>
              <a:gd name="connsiteY5" fmla="*/ 4068208 h 5274541"/>
              <a:gd name="connsiteX6" fmla="*/ 5946192 w 7068866"/>
              <a:gd name="connsiteY6" fmla="*/ 5207819 h 5274541"/>
              <a:gd name="connsiteX7" fmla="*/ 7068866 w 7068866"/>
              <a:gd name="connsiteY7" fmla="*/ 5274540 h 5274541"/>
              <a:gd name="connsiteX0" fmla="*/ 0 w 7068866"/>
              <a:gd name="connsiteY0" fmla="*/ 3451584 h 5274541"/>
              <a:gd name="connsiteX1" fmla="*/ 1054436 w 7068866"/>
              <a:gd name="connsiteY1" fmla="*/ 4189505 h 5274541"/>
              <a:gd name="connsiteX2" fmla="*/ 2060019 w 7068866"/>
              <a:gd name="connsiteY2" fmla="*/ 1708 h 5274541"/>
              <a:gd name="connsiteX3" fmla="*/ 3036078 w 7068866"/>
              <a:gd name="connsiteY3" fmla="*/ 3632166 h 5274541"/>
              <a:gd name="connsiteX4" fmla="*/ 4039624 w 7068866"/>
              <a:gd name="connsiteY4" fmla="*/ 448813 h 5274541"/>
              <a:gd name="connsiteX5" fmla="*/ 5033194 w 7068866"/>
              <a:gd name="connsiteY5" fmla="*/ 4068208 h 5274541"/>
              <a:gd name="connsiteX6" fmla="*/ 5946192 w 7068866"/>
              <a:gd name="connsiteY6" fmla="*/ 5207819 h 5274541"/>
              <a:gd name="connsiteX7" fmla="*/ 7068866 w 7068866"/>
              <a:gd name="connsiteY7" fmla="*/ 5274540 h 5274541"/>
              <a:gd name="connsiteX0" fmla="*/ 0 w 7068866"/>
              <a:gd name="connsiteY0" fmla="*/ 3451584 h 5274541"/>
              <a:gd name="connsiteX1" fmla="*/ 1054436 w 7068866"/>
              <a:gd name="connsiteY1" fmla="*/ 4189505 h 5274541"/>
              <a:gd name="connsiteX2" fmla="*/ 2060019 w 7068866"/>
              <a:gd name="connsiteY2" fmla="*/ 1708 h 5274541"/>
              <a:gd name="connsiteX3" fmla="*/ 3036078 w 7068866"/>
              <a:gd name="connsiteY3" fmla="*/ 3632166 h 5274541"/>
              <a:gd name="connsiteX4" fmla="*/ 4039624 w 7068866"/>
              <a:gd name="connsiteY4" fmla="*/ 448813 h 5274541"/>
              <a:gd name="connsiteX5" fmla="*/ 5033194 w 7068866"/>
              <a:gd name="connsiteY5" fmla="*/ 4068208 h 5274541"/>
              <a:gd name="connsiteX6" fmla="*/ 5946192 w 7068866"/>
              <a:gd name="connsiteY6" fmla="*/ 5207819 h 5274541"/>
              <a:gd name="connsiteX7" fmla="*/ 7068866 w 7068866"/>
              <a:gd name="connsiteY7" fmla="*/ 5274540 h 5274541"/>
              <a:gd name="connsiteX0" fmla="*/ 0 w 7068866"/>
              <a:gd name="connsiteY0" fmla="*/ 3451584 h 5274541"/>
              <a:gd name="connsiteX1" fmla="*/ 1054436 w 7068866"/>
              <a:gd name="connsiteY1" fmla="*/ 4189505 h 5274541"/>
              <a:gd name="connsiteX2" fmla="*/ 2060019 w 7068866"/>
              <a:gd name="connsiteY2" fmla="*/ 1708 h 5274541"/>
              <a:gd name="connsiteX3" fmla="*/ 3036078 w 7068866"/>
              <a:gd name="connsiteY3" fmla="*/ 3632166 h 5274541"/>
              <a:gd name="connsiteX4" fmla="*/ 4039624 w 7068866"/>
              <a:gd name="connsiteY4" fmla="*/ 448813 h 5274541"/>
              <a:gd name="connsiteX5" fmla="*/ 5021514 w 7068866"/>
              <a:gd name="connsiteY5" fmla="*/ 3645736 h 5274541"/>
              <a:gd name="connsiteX6" fmla="*/ 5946192 w 7068866"/>
              <a:gd name="connsiteY6" fmla="*/ 5207819 h 5274541"/>
              <a:gd name="connsiteX7" fmla="*/ 7068866 w 7068866"/>
              <a:gd name="connsiteY7" fmla="*/ 5274540 h 5274541"/>
              <a:gd name="connsiteX0" fmla="*/ 0 w 7068866"/>
              <a:gd name="connsiteY0" fmla="*/ 3451584 h 5274541"/>
              <a:gd name="connsiteX1" fmla="*/ 1054436 w 7068866"/>
              <a:gd name="connsiteY1" fmla="*/ 4189505 h 5274541"/>
              <a:gd name="connsiteX2" fmla="*/ 2060019 w 7068866"/>
              <a:gd name="connsiteY2" fmla="*/ 1708 h 5274541"/>
              <a:gd name="connsiteX3" fmla="*/ 3036078 w 7068866"/>
              <a:gd name="connsiteY3" fmla="*/ 3632166 h 5274541"/>
              <a:gd name="connsiteX4" fmla="*/ 4039624 w 7068866"/>
              <a:gd name="connsiteY4" fmla="*/ 448813 h 5274541"/>
              <a:gd name="connsiteX5" fmla="*/ 5021514 w 7068866"/>
              <a:gd name="connsiteY5" fmla="*/ 3645736 h 5274541"/>
              <a:gd name="connsiteX6" fmla="*/ 6045481 w 7068866"/>
              <a:gd name="connsiteY6" fmla="*/ 4198585 h 5274541"/>
              <a:gd name="connsiteX7" fmla="*/ 7068866 w 7068866"/>
              <a:gd name="connsiteY7" fmla="*/ 5274540 h 5274541"/>
              <a:gd name="connsiteX0" fmla="*/ 0 w 7068866"/>
              <a:gd name="connsiteY0" fmla="*/ 3451584 h 5274541"/>
              <a:gd name="connsiteX1" fmla="*/ 1054436 w 7068866"/>
              <a:gd name="connsiteY1" fmla="*/ 4189505 h 5274541"/>
              <a:gd name="connsiteX2" fmla="*/ 2060019 w 7068866"/>
              <a:gd name="connsiteY2" fmla="*/ 1708 h 5274541"/>
              <a:gd name="connsiteX3" fmla="*/ 3036078 w 7068866"/>
              <a:gd name="connsiteY3" fmla="*/ 3632166 h 5274541"/>
              <a:gd name="connsiteX4" fmla="*/ 4039624 w 7068866"/>
              <a:gd name="connsiteY4" fmla="*/ 448813 h 5274541"/>
              <a:gd name="connsiteX5" fmla="*/ 5021514 w 7068866"/>
              <a:gd name="connsiteY5" fmla="*/ 3457973 h 5274541"/>
              <a:gd name="connsiteX6" fmla="*/ 6045481 w 7068866"/>
              <a:gd name="connsiteY6" fmla="*/ 4198585 h 5274541"/>
              <a:gd name="connsiteX7" fmla="*/ 7068866 w 7068866"/>
              <a:gd name="connsiteY7" fmla="*/ 5274540 h 5274541"/>
              <a:gd name="connsiteX0" fmla="*/ 0 w 7068866"/>
              <a:gd name="connsiteY0" fmla="*/ 3453255 h 5276212"/>
              <a:gd name="connsiteX1" fmla="*/ 1054436 w 7068866"/>
              <a:gd name="connsiteY1" fmla="*/ 4191176 h 5276212"/>
              <a:gd name="connsiteX2" fmla="*/ 2060019 w 7068866"/>
              <a:gd name="connsiteY2" fmla="*/ 3379 h 5276212"/>
              <a:gd name="connsiteX3" fmla="*/ 3036078 w 7068866"/>
              <a:gd name="connsiteY3" fmla="*/ 3422605 h 5276212"/>
              <a:gd name="connsiteX4" fmla="*/ 4039624 w 7068866"/>
              <a:gd name="connsiteY4" fmla="*/ 450484 h 5276212"/>
              <a:gd name="connsiteX5" fmla="*/ 5021514 w 7068866"/>
              <a:gd name="connsiteY5" fmla="*/ 3459644 h 5276212"/>
              <a:gd name="connsiteX6" fmla="*/ 6045481 w 7068866"/>
              <a:gd name="connsiteY6" fmla="*/ 4200256 h 5276212"/>
              <a:gd name="connsiteX7" fmla="*/ 7068866 w 7068866"/>
              <a:gd name="connsiteY7" fmla="*/ 5276211 h 5276212"/>
              <a:gd name="connsiteX0" fmla="*/ 0 w 7057185"/>
              <a:gd name="connsiteY0" fmla="*/ 3242021 h 5276212"/>
              <a:gd name="connsiteX1" fmla="*/ 1042755 w 7057185"/>
              <a:gd name="connsiteY1" fmla="*/ 4191176 h 5276212"/>
              <a:gd name="connsiteX2" fmla="*/ 2048338 w 7057185"/>
              <a:gd name="connsiteY2" fmla="*/ 3379 h 5276212"/>
              <a:gd name="connsiteX3" fmla="*/ 3024397 w 7057185"/>
              <a:gd name="connsiteY3" fmla="*/ 3422605 h 5276212"/>
              <a:gd name="connsiteX4" fmla="*/ 4027943 w 7057185"/>
              <a:gd name="connsiteY4" fmla="*/ 450484 h 5276212"/>
              <a:gd name="connsiteX5" fmla="*/ 5009833 w 7057185"/>
              <a:gd name="connsiteY5" fmla="*/ 3459644 h 5276212"/>
              <a:gd name="connsiteX6" fmla="*/ 6033800 w 7057185"/>
              <a:gd name="connsiteY6" fmla="*/ 4200256 h 5276212"/>
              <a:gd name="connsiteX7" fmla="*/ 7057185 w 7057185"/>
              <a:gd name="connsiteY7" fmla="*/ 5276211 h 5276212"/>
              <a:gd name="connsiteX0" fmla="*/ 0 w 7057185"/>
              <a:gd name="connsiteY0" fmla="*/ 3242021 h 5276212"/>
              <a:gd name="connsiteX1" fmla="*/ 1042755 w 7057185"/>
              <a:gd name="connsiteY1" fmla="*/ 4191176 h 5276212"/>
              <a:gd name="connsiteX2" fmla="*/ 2048338 w 7057185"/>
              <a:gd name="connsiteY2" fmla="*/ 3379 h 5276212"/>
              <a:gd name="connsiteX3" fmla="*/ 3024397 w 7057185"/>
              <a:gd name="connsiteY3" fmla="*/ 3422605 h 5276212"/>
              <a:gd name="connsiteX4" fmla="*/ 4027943 w 7057185"/>
              <a:gd name="connsiteY4" fmla="*/ 450484 h 5276212"/>
              <a:gd name="connsiteX5" fmla="*/ 5009833 w 7057185"/>
              <a:gd name="connsiteY5" fmla="*/ 3459644 h 5276212"/>
              <a:gd name="connsiteX6" fmla="*/ 6033800 w 7057185"/>
              <a:gd name="connsiteY6" fmla="*/ 4200256 h 5276212"/>
              <a:gd name="connsiteX7" fmla="*/ 7057185 w 7057185"/>
              <a:gd name="connsiteY7" fmla="*/ 5276211 h 5276212"/>
              <a:gd name="connsiteX0" fmla="*/ 0 w 7098068"/>
              <a:gd name="connsiteY0" fmla="*/ 3242021 h 4202485"/>
              <a:gd name="connsiteX1" fmla="*/ 1042755 w 7098068"/>
              <a:gd name="connsiteY1" fmla="*/ 4191176 h 4202485"/>
              <a:gd name="connsiteX2" fmla="*/ 2048338 w 7098068"/>
              <a:gd name="connsiteY2" fmla="*/ 3379 h 4202485"/>
              <a:gd name="connsiteX3" fmla="*/ 3024397 w 7098068"/>
              <a:gd name="connsiteY3" fmla="*/ 3422605 h 4202485"/>
              <a:gd name="connsiteX4" fmla="*/ 4027943 w 7098068"/>
              <a:gd name="connsiteY4" fmla="*/ 450484 h 4202485"/>
              <a:gd name="connsiteX5" fmla="*/ 5009833 w 7098068"/>
              <a:gd name="connsiteY5" fmla="*/ 3459644 h 4202485"/>
              <a:gd name="connsiteX6" fmla="*/ 6033800 w 7098068"/>
              <a:gd name="connsiteY6" fmla="*/ 4200256 h 4202485"/>
              <a:gd name="connsiteX7" fmla="*/ 7098068 w 7098068"/>
              <a:gd name="connsiteY7" fmla="*/ 4196567 h 420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8068" h="4202485">
                <a:moveTo>
                  <a:pt x="0" y="3242021"/>
                </a:moveTo>
                <a:cubicBezTo>
                  <a:pt x="207491" y="2965934"/>
                  <a:pt x="759770" y="4191128"/>
                  <a:pt x="1042755" y="4191176"/>
                </a:cubicBezTo>
                <a:cubicBezTo>
                  <a:pt x="1325740" y="4191224"/>
                  <a:pt x="1718064" y="131474"/>
                  <a:pt x="2048338" y="3379"/>
                </a:cubicBezTo>
                <a:cubicBezTo>
                  <a:pt x="2378612" y="-124716"/>
                  <a:pt x="2830597" y="3429970"/>
                  <a:pt x="3024397" y="3422605"/>
                </a:cubicBezTo>
                <a:cubicBezTo>
                  <a:pt x="3257957" y="3434294"/>
                  <a:pt x="3697037" y="444311"/>
                  <a:pt x="4027943" y="450484"/>
                </a:cubicBezTo>
                <a:cubicBezTo>
                  <a:pt x="4358849" y="456657"/>
                  <a:pt x="4831737" y="3452149"/>
                  <a:pt x="5009833" y="3459644"/>
                </a:cubicBezTo>
                <a:cubicBezTo>
                  <a:pt x="5229110" y="3458552"/>
                  <a:pt x="5690040" y="4187136"/>
                  <a:pt x="6033800" y="4200256"/>
                </a:cubicBezTo>
                <a:cubicBezTo>
                  <a:pt x="6377560" y="4213376"/>
                  <a:pt x="6933137" y="4162849"/>
                  <a:pt x="7098068" y="4196567"/>
                </a:cubicBezTo>
              </a:path>
            </a:pathLst>
          </a:custGeom>
          <a:noFill/>
          <a:ln w="136525" cap="rnd" cmpd="sng" algn="ctr">
            <a:solidFill>
              <a:srgbClr val="43B02A">
                <a:alpha val="50000"/>
              </a:srgb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133" name="Freeform 42">
            <a:extLst>
              <a:ext uri="{FF2B5EF4-FFF2-40B4-BE49-F238E27FC236}">
                <a16:creationId xmlns:a16="http://schemas.microsoft.com/office/drawing/2014/main" id="{3E42F72C-9E68-4966-9A4D-9908EF4AEE18}"/>
              </a:ext>
            </a:extLst>
          </p:cNvPr>
          <p:cNvSpPr/>
          <p:nvPr/>
        </p:nvSpPr>
        <p:spPr bwMode="auto">
          <a:xfrm flipV="1">
            <a:off x="1271162" y="2958220"/>
            <a:ext cx="9552076" cy="1535593"/>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869650 w 7136640"/>
              <a:gd name="connsiteY2" fmla="*/ 244077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211883 w 7136640"/>
              <a:gd name="connsiteY5" fmla="*/ 190348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6500954 w 7136640"/>
              <a:gd name="connsiteY8" fmla="*/ 80343 h 360799"/>
              <a:gd name="connsiteX9" fmla="*/ 7136640 w 7136640"/>
              <a:gd name="connsiteY9"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7136640 w 7136640"/>
              <a:gd name="connsiteY8" fmla="*/ 360799 h 360799"/>
              <a:gd name="connsiteX0" fmla="*/ 0 w 7074022"/>
              <a:gd name="connsiteY0" fmla="*/ 280402 h 360576"/>
              <a:gd name="connsiteX1" fmla="*/ 700803 w 7074022"/>
              <a:gd name="connsiteY1" fmla="*/ 203308 h 360576"/>
              <a:gd name="connsiteX2" fmla="*/ 1869650 w 7074022"/>
              <a:gd name="connsiteY2" fmla="*/ 333744 h 360576"/>
              <a:gd name="connsiteX3" fmla="*/ 2744581 w 7074022"/>
              <a:gd name="connsiteY3" fmla="*/ 309399 h 360576"/>
              <a:gd name="connsiteX4" fmla="*/ 3609121 w 7074022"/>
              <a:gd name="connsiteY4" fmla="*/ 9984 h 360576"/>
              <a:gd name="connsiteX5" fmla="*/ 4468614 w 7074022"/>
              <a:gd name="connsiteY5" fmla="*/ 356320 h 360576"/>
              <a:gd name="connsiteX6" fmla="*/ 5280714 w 7074022"/>
              <a:gd name="connsiteY6" fmla="*/ 214988 h 360576"/>
              <a:gd name="connsiteX7" fmla="*/ 6344970 w 7074022"/>
              <a:gd name="connsiteY7" fmla="*/ 208938 h 360576"/>
              <a:gd name="connsiteX8" fmla="*/ 7074022 w 7074022"/>
              <a:gd name="connsiteY8" fmla="*/ 3751 h 360576"/>
              <a:gd name="connsiteX0" fmla="*/ 0 w 7117854"/>
              <a:gd name="connsiteY0" fmla="*/ 287645 h 367819"/>
              <a:gd name="connsiteX1" fmla="*/ 700803 w 7117854"/>
              <a:gd name="connsiteY1" fmla="*/ 210551 h 367819"/>
              <a:gd name="connsiteX2" fmla="*/ 1869650 w 7117854"/>
              <a:gd name="connsiteY2" fmla="*/ 340987 h 367819"/>
              <a:gd name="connsiteX3" fmla="*/ 2744581 w 7117854"/>
              <a:gd name="connsiteY3" fmla="*/ 316642 h 367819"/>
              <a:gd name="connsiteX4" fmla="*/ 3609121 w 7117854"/>
              <a:gd name="connsiteY4" fmla="*/ 17227 h 367819"/>
              <a:gd name="connsiteX5" fmla="*/ 4468614 w 7117854"/>
              <a:gd name="connsiteY5" fmla="*/ 363563 h 367819"/>
              <a:gd name="connsiteX6" fmla="*/ 5280714 w 7117854"/>
              <a:gd name="connsiteY6" fmla="*/ 222231 h 367819"/>
              <a:gd name="connsiteX7" fmla="*/ 6344970 w 7117854"/>
              <a:gd name="connsiteY7" fmla="*/ 216181 h 367819"/>
              <a:gd name="connsiteX8" fmla="*/ 7117854 w 7117854"/>
              <a:gd name="connsiteY8" fmla="*/ 3653 h 367819"/>
              <a:gd name="connsiteX0" fmla="*/ 0 w 7117854"/>
              <a:gd name="connsiteY0" fmla="*/ 287645 h 375051"/>
              <a:gd name="connsiteX1" fmla="*/ 700803 w 7117854"/>
              <a:gd name="connsiteY1" fmla="*/ 210551 h 375051"/>
              <a:gd name="connsiteX2" fmla="*/ 1869650 w 7117854"/>
              <a:gd name="connsiteY2" fmla="*/ 340987 h 375051"/>
              <a:gd name="connsiteX3" fmla="*/ 2744581 w 7117854"/>
              <a:gd name="connsiteY3" fmla="*/ 316642 h 375051"/>
              <a:gd name="connsiteX4" fmla="*/ 3527718 w 7117854"/>
              <a:gd name="connsiteY4" fmla="*/ 358566 h 375051"/>
              <a:gd name="connsiteX5" fmla="*/ 4468614 w 7117854"/>
              <a:gd name="connsiteY5" fmla="*/ 363563 h 375051"/>
              <a:gd name="connsiteX6" fmla="*/ 5280714 w 7117854"/>
              <a:gd name="connsiteY6" fmla="*/ 222231 h 375051"/>
              <a:gd name="connsiteX7" fmla="*/ 6344970 w 7117854"/>
              <a:gd name="connsiteY7" fmla="*/ 216181 h 375051"/>
              <a:gd name="connsiteX8" fmla="*/ 7117854 w 7117854"/>
              <a:gd name="connsiteY8" fmla="*/ 3653 h 375051"/>
              <a:gd name="connsiteX0" fmla="*/ 0 w 7343277"/>
              <a:gd name="connsiteY0" fmla="*/ 82572 h 169978"/>
              <a:gd name="connsiteX1" fmla="*/ 700803 w 7343277"/>
              <a:gd name="connsiteY1" fmla="*/ 5478 h 169978"/>
              <a:gd name="connsiteX2" fmla="*/ 1869650 w 7343277"/>
              <a:gd name="connsiteY2" fmla="*/ 135914 h 169978"/>
              <a:gd name="connsiteX3" fmla="*/ 2744581 w 7343277"/>
              <a:gd name="connsiteY3" fmla="*/ 111569 h 169978"/>
              <a:gd name="connsiteX4" fmla="*/ 3527718 w 7343277"/>
              <a:gd name="connsiteY4" fmla="*/ 153493 h 169978"/>
              <a:gd name="connsiteX5" fmla="*/ 4468614 w 7343277"/>
              <a:gd name="connsiteY5" fmla="*/ 158490 h 169978"/>
              <a:gd name="connsiteX6" fmla="*/ 5280714 w 7343277"/>
              <a:gd name="connsiteY6" fmla="*/ 17158 h 169978"/>
              <a:gd name="connsiteX7" fmla="*/ 6344970 w 7343277"/>
              <a:gd name="connsiteY7" fmla="*/ 11108 h 169978"/>
              <a:gd name="connsiteX8" fmla="*/ 7343277 w 7343277"/>
              <a:gd name="connsiteY8" fmla="*/ 95876 h 169978"/>
              <a:gd name="connsiteX0" fmla="*/ 0 w 7343277"/>
              <a:gd name="connsiteY0" fmla="*/ 82572 h 169978"/>
              <a:gd name="connsiteX1" fmla="*/ 977775 w 7343277"/>
              <a:gd name="connsiteY1" fmla="*/ 88955 h 169978"/>
              <a:gd name="connsiteX2" fmla="*/ 1869650 w 7343277"/>
              <a:gd name="connsiteY2" fmla="*/ 135914 h 169978"/>
              <a:gd name="connsiteX3" fmla="*/ 2744581 w 7343277"/>
              <a:gd name="connsiteY3" fmla="*/ 111569 h 169978"/>
              <a:gd name="connsiteX4" fmla="*/ 3527718 w 7343277"/>
              <a:gd name="connsiteY4" fmla="*/ 153493 h 169978"/>
              <a:gd name="connsiteX5" fmla="*/ 4468614 w 7343277"/>
              <a:gd name="connsiteY5" fmla="*/ 158490 h 169978"/>
              <a:gd name="connsiteX6" fmla="*/ 5280714 w 7343277"/>
              <a:gd name="connsiteY6" fmla="*/ 17158 h 169978"/>
              <a:gd name="connsiteX7" fmla="*/ 6344970 w 7343277"/>
              <a:gd name="connsiteY7" fmla="*/ 11108 h 169978"/>
              <a:gd name="connsiteX8" fmla="*/ 7343277 w 7343277"/>
              <a:gd name="connsiteY8" fmla="*/ 95876 h 169978"/>
              <a:gd name="connsiteX0" fmla="*/ 0 w 7343277"/>
              <a:gd name="connsiteY0" fmla="*/ 82572 h 169978"/>
              <a:gd name="connsiteX1" fmla="*/ 977775 w 7343277"/>
              <a:gd name="connsiteY1" fmla="*/ 88955 h 169978"/>
              <a:gd name="connsiteX2" fmla="*/ 2021984 w 7343277"/>
              <a:gd name="connsiteY2" fmla="*/ 108088 h 169978"/>
              <a:gd name="connsiteX3" fmla="*/ 2744581 w 7343277"/>
              <a:gd name="connsiteY3" fmla="*/ 111569 h 169978"/>
              <a:gd name="connsiteX4" fmla="*/ 3527718 w 7343277"/>
              <a:gd name="connsiteY4" fmla="*/ 153493 h 169978"/>
              <a:gd name="connsiteX5" fmla="*/ 4468614 w 7343277"/>
              <a:gd name="connsiteY5" fmla="*/ 158490 h 169978"/>
              <a:gd name="connsiteX6" fmla="*/ 5280714 w 7343277"/>
              <a:gd name="connsiteY6" fmla="*/ 17158 h 169978"/>
              <a:gd name="connsiteX7" fmla="*/ 6344970 w 7343277"/>
              <a:gd name="connsiteY7" fmla="*/ 11108 h 169978"/>
              <a:gd name="connsiteX8" fmla="*/ 7343277 w 7343277"/>
              <a:gd name="connsiteY8" fmla="*/ 95876 h 169978"/>
              <a:gd name="connsiteX0" fmla="*/ 0 w 7343277"/>
              <a:gd name="connsiteY0" fmla="*/ 110133 h 197539"/>
              <a:gd name="connsiteX1" fmla="*/ 977775 w 7343277"/>
              <a:gd name="connsiteY1" fmla="*/ 116516 h 197539"/>
              <a:gd name="connsiteX2" fmla="*/ 2021984 w 7343277"/>
              <a:gd name="connsiteY2" fmla="*/ 135649 h 197539"/>
              <a:gd name="connsiteX3" fmla="*/ 2862294 w 7343277"/>
              <a:gd name="connsiteY3" fmla="*/ 0 h 197539"/>
              <a:gd name="connsiteX4" fmla="*/ 3527718 w 7343277"/>
              <a:gd name="connsiteY4" fmla="*/ 181054 h 197539"/>
              <a:gd name="connsiteX5" fmla="*/ 4468614 w 7343277"/>
              <a:gd name="connsiteY5" fmla="*/ 186051 h 197539"/>
              <a:gd name="connsiteX6" fmla="*/ 5280714 w 7343277"/>
              <a:gd name="connsiteY6" fmla="*/ 44719 h 197539"/>
              <a:gd name="connsiteX7" fmla="*/ 6344970 w 7343277"/>
              <a:gd name="connsiteY7" fmla="*/ 38669 h 197539"/>
              <a:gd name="connsiteX8" fmla="*/ 7343277 w 7343277"/>
              <a:gd name="connsiteY8" fmla="*/ 123437 h 197539"/>
              <a:gd name="connsiteX0" fmla="*/ 0 w 7343277"/>
              <a:gd name="connsiteY0" fmla="*/ 111083 h 187116"/>
              <a:gd name="connsiteX1" fmla="*/ 977775 w 7343277"/>
              <a:gd name="connsiteY1" fmla="*/ 117466 h 187116"/>
              <a:gd name="connsiteX2" fmla="*/ 2021984 w 7343277"/>
              <a:gd name="connsiteY2" fmla="*/ 136599 h 187116"/>
              <a:gd name="connsiteX3" fmla="*/ 2862294 w 7343277"/>
              <a:gd name="connsiteY3" fmla="*/ 950 h 187116"/>
              <a:gd name="connsiteX4" fmla="*/ 3735447 w 7343277"/>
              <a:gd name="connsiteY4" fmla="*/ 70701 h 187116"/>
              <a:gd name="connsiteX5" fmla="*/ 4468614 w 7343277"/>
              <a:gd name="connsiteY5" fmla="*/ 187001 h 187116"/>
              <a:gd name="connsiteX6" fmla="*/ 5280714 w 7343277"/>
              <a:gd name="connsiteY6" fmla="*/ 45669 h 187116"/>
              <a:gd name="connsiteX7" fmla="*/ 6344970 w 7343277"/>
              <a:gd name="connsiteY7" fmla="*/ 39619 h 187116"/>
              <a:gd name="connsiteX8" fmla="*/ 7343277 w 7343277"/>
              <a:gd name="connsiteY8" fmla="*/ 124387 h 187116"/>
              <a:gd name="connsiteX0" fmla="*/ 0 w 7343277"/>
              <a:gd name="connsiteY0" fmla="*/ 82572 h 158605"/>
              <a:gd name="connsiteX1" fmla="*/ 977775 w 7343277"/>
              <a:gd name="connsiteY1" fmla="*/ 88955 h 158605"/>
              <a:gd name="connsiteX2" fmla="*/ 2021984 w 7343277"/>
              <a:gd name="connsiteY2" fmla="*/ 108088 h 158605"/>
              <a:gd name="connsiteX3" fmla="*/ 2862294 w 7343277"/>
              <a:gd name="connsiteY3" fmla="*/ 55919 h 158605"/>
              <a:gd name="connsiteX4" fmla="*/ 3735447 w 7343277"/>
              <a:gd name="connsiteY4" fmla="*/ 42190 h 158605"/>
              <a:gd name="connsiteX5" fmla="*/ 4468614 w 7343277"/>
              <a:gd name="connsiteY5" fmla="*/ 158490 h 158605"/>
              <a:gd name="connsiteX6" fmla="*/ 5280714 w 7343277"/>
              <a:gd name="connsiteY6" fmla="*/ 17158 h 158605"/>
              <a:gd name="connsiteX7" fmla="*/ 6344970 w 7343277"/>
              <a:gd name="connsiteY7" fmla="*/ 11108 h 158605"/>
              <a:gd name="connsiteX8" fmla="*/ 7343277 w 7343277"/>
              <a:gd name="connsiteY8" fmla="*/ 95876 h 158605"/>
              <a:gd name="connsiteX0" fmla="*/ 0 w 7343277"/>
              <a:gd name="connsiteY0" fmla="*/ 82572 h 109107"/>
              <a:gd name="connsiteX1" fmla="*/ 977775 w 7343277"/>
              <a:gd name="connsiteY1" fmla="*/ 88955 h 109107"/>
              <a:gd name="connsiteX2" fmla="*/ 2021984 w 7343277"/>
              <a:gd name="connsiteY2" fmla="*/ 108088 h 109107"/>
              <a:gd name="connsiteX3" fmla="*/ 2862294 w 7343277"/>
              <a:gd name="connsiteY3" fmla="*/ 55919 h 109107"/>
              <a:gd name="connsiteX4" fmla="*/ 3735447 w 7343277"/>
              <a:gd name="connsiteY4" fmla="*/ 42190 h 109107"/>
              <a:gd name="connsiteX5" fmla="*/ 4510160 w 7343277"/>
              <a:gd name="connsiteY5" fmla="*/ 47187 h 109107"/>
              <a:gd name="connsiteX6" fmla="*/ 5280714 w 7343277"/>
              <a:gd name="connsiteY6" fmla="*/ 17158 h 109107"/>
              <a:gd name="connsiteX7" fmla="*/ 6344970 w 7343277"/>
              <a:gd name="connsiteY7" fmla="*/ 11108 h 109107"/>
              <a:gd name="connsiteX8" fmla="*/ 7343277 w 7343277"/>
              <a:gd name="connsiteY8" fmla="*/ 95876 h 109107"/>
              <a:gd name="connsiteX0" fmla="*/ 0 w 7343277"/>
              <a:gd name="connsiteY0" fmla="*/ 75340 h 101875"/>
              <a:gd name="connsiteX1" fmla="*/ 977775 w 7343277"/>
              <a:gd name="connsiteY1" fmla="*/ 81723 h 101875"/>
              <a:gd name="connsiteX2" fmla="*/ 2021984 w 7343277"/>
              <a:gd name="connsiteY2" fmla="*/ 100856 h 101875"/>
              <a:gd name="connsiteX3" fmla="*/ 2862294 w 7343277"/>
              <a:gd name="connsiteY3" fmla="*/ 48687 h 101875"/>
              <a:gd name="connsiteX4" fmla="*/ 3735447 w 7343277"/>
              <a:gd name="connsiteY4" fmla="*/ 34958 h 101875"/>
              <a:gd name="connsiteX5" fmla="*/ 4510160 w 7343277"/>
              <a:gd name="connsiteY5" fmla="*/ 39955 h 101875"/>
              <a:gd name="connsiteX6" fmla="*/ 5370730 w 7343277"/>
              <a:gd name="connsiteY6" fmla="*/ 37753 h 101875"/>
              <a:gd name="connsiteX7" fmla="*/ 6344970 w 7343277"/>
              <a:gd name="connsiteY7" fmla="*/ 3876 h 101875"/>
              <a:gd name="connsiteX8" fmla="*/ 7343277 w 7343277"/>
              <a:gd name="connsiteY8" fmla="*/ 88644 h 101875"/>
              <a:gd name="connsiteX0" fmla="*/ 0 w 7202698"/>
              <a:gd name="connsiteY0" fmla="*/ 7984372 h 7984372"/>
              <a:gd name="connsiteX1" fmla="*/ 837196 w 7202698"/>
              <a:gd name="connsiteY1" fmla="*/ 81723 h 7984372"/>
              <a:gd name="connsiteX2" fmla="*/ 1881405 w 7202698"/>
              <a:gd name="connsiteY2" fmla="*/ 100856 h 7984372"/>
              <a:gd name="connsiteX3" fmla="*/ 2721715 w 7202698"/>
              <a:gd name="connsiteY3" fmla="*/ 48687 h 7984372"/>
              <a:gd name="connsiteX4" fmla="*/ 3594868 w 7202698"/>
              <a:gd name="connsiteY4" fmla="*/ 34958 h 7984372"/>
              <a:gd name="connsiteX5" fmla="*/ 4369581 w 7202698"/>
              <a:gd name="connsiteY5" fmla="*/ 39955 h 7984372"/>
              <a:gd name="connsiteX6" fmla="*/ 5230151 w 7202698"/>
              <a:gd name="connsiteY6" fmla="*/ 37753 h 7984372"/>
              <a:gd name="connsiteX7" fmla="*/ 6204391 w 7202698"/>
              <a:gd name="connsiteY7" fmla="*/ 3876 h 7984372"/>
              <a:gd name="connsiteX8" fmla="*/ 7202698 w 7202698"/>
              <a:gd name="connsiteY8" fmla="*/ 88644 h 7984372"/>
              <a:gd name="connsiteX0" fmla="*/ 0 w 7202698"/>
              <a:gd name="connsiteY0" fmla="*/ 8411085 h 8411088"/>
              <a:gd name="connsiteX1" fmla="*/ 993395 w 7202698"/>
              <a:gd name="connsiteY1" fmla="*/ 7444529 h 8411088"/>
              <a:gd name="connsiteX2" fmla="*/ 1881405 w 7202698"/>
              <a:gd name="connsiteY2" fmla="*/ 527569 h 8411088"/>
              <a:gd name="connsiteX3" fmla="*/ 2721715 w 7202698"/>
              <a:gd name="connsiteY3" fmla="*/ 475400 h 8411088"/>
              <a:gd name="connsiteX4" fmla="*/ 3594868 w 7202698"/>
              <a:gd name="connsiteY4" fmla="*/ 461671 h 8411088"/>
              <a:gd name="connsiteX5" fmla="*/ 4369581 w 7202698"/>
              <a:gd name="connsiteY5" fmla="*/ 466668 h 8411088"/>
              <a:gd name="connsiteX6" fmla="*/ 5230151 w 7202698"/>
              <a:gd name="connsiteY6" fmla="*/ 464466 h 8411088"/>
              <a:gd name="connsiteX7" fmla="*/ 6204391 w 7202698"/>
              <a:gd name="connsiteY7" fmla="*/ 430589 h 8411088"/>
              <a:gd name="connsiteX8" fmla="*/ 7202698 w 7202698"/>
              <a:gd name="connsiteY8" fmla="*/ 515357 h 8411088"/>
              <a:gd name="connsiteX0" fmla="*/ 0 w 7202698"/>
              <a:gd name="connsiteY0" fmla="*/ 8411085 h 8411088"/>
              <a:gd name="connsiteX1" fmla="*/ 993395 w 7202698"/>
              <a:gd name="connsiteY1" fmla="*/ 7444529 h 8411088"/>
              <a:gd name="connsiteX2" fmla="*/ 1881405 w 7202698"/>
              <a:gd name="connsiteY2" fmla="*/ 527569 h 8411088"/>
              <a:gd name="connsiteX3" fmla="*/ 2721715 w 7202698"/>
              <a:gd name="connsiteY3" fmla="*/ 475400 h 8411088"/>
              <a:gd name="connsiteX4" fmla="*/ 3594868 w 7202698"/>
              <a:gd name="connsiteY4" fmla="*/ 461671 h 8411088"/>
              <a:gd name="connsiteX5" fmla="*/ 4369581 w 7202698"/>
              <a:gd name="connsiteY5" fmla="*/ 466668 h 8411088"/>
              <a:gd name="connsiteX6" fmla="*/ 5230151 w 7202698"/>
              <a:gd name="connsiteY6" fmla="*/ 464466 h 8411088"/>
              <a:gd name="connsiteX7" fmla="*/ 6204391 w 7202698"/>
              <a:gd name="connsiteY7" fmla="*/ 430589 h 8411088"/>
              <a:gd name="connsiteX8" fmla="*/ 7202698 w 7202698"/>
              <a:gd name="connsiteY8" fmla="*/ 515357 h 8411088"/>
              <a:gd name="connsiteX0" fmla="*/ 0 w 7202698"/>
              <a:gd name="connsiteY0" fmla="*/ 8109902 h 8109905"/>
              <a:gd name="connsiteX1" fmla="*/ 993395 w 7202698"/>
              <a:gd name="connsiteY1" fmla="*/ 7143346 h 8109905"/>
              <a:gd name="connsiteX2" fmla="*/ 1959504 w 7202698"/>
              <a:gd name="connsiteY2" fmla="*/ 2486112 h 8109905"/>
              <a:gd name="connsiteX3" fmla="*/ 2721715 w 7202698"/>
              <a:gd name="connsiteY3" fmla="*/ 174217 h 8109905"/>
              <a:gd name="connsiteX4" fmla="*/ 3594868 w 7202698"/>
              <a:gd name="connsiteY4" fmla="*/ 160488 h 8109905"/>
              <a:gd name="connsiteX5" fmla="*/ 4369581 w 7202698"/>
              <a:gd name="connsiteY5" fmla="*/ 165485 h 8109905"/>
              <a:gd name="connsiteX6" fmla="*/ 5230151 w 7202698"/>
              <a:gd name="connsiteY6" fmla="*/ 163283 h 8109905"/>
              <a:gd name="connsiteX7" fmla="*/ 6204391 w 7202698"/>
              <a:gd name="connsiteY7" fmla="*/ 129406 h 8109905"/>
              <a:gd name="connsiteX8" fmla="*/ 7202698 w 7202698"/>
              <a:gd name="connsiteY8" fmla="*/ 214174 h 8109905"/>
              <a:gd name="connsiteX0" fmla="*/ 0 w 7202698"/>
              <a:gd name="connsiteY0" fmla="*/ 8109902 h 8109905"/>
              <a:gd name="connsiteX1" fmla="*/ 993395 w 7202698"/>
              <a:gd name="connsiteY1" fmla="*/ 7143346 h 8109905"/>
              <a:gd name="connsiteX2" fmla="*/ 1959504 w 7202698"/>
              <a:gd name="connsiteY2" fmla="*/ 2486112 h 8109905"/>
              <a:gd name="connsiteX3" fmla="*/ 2721715 w 7202698"/>
              <a:gd name="connsiteY3" fmla="*/ 174217 h 8109905"/>
              <a:gd name="connsiteX4" fmla="*/ 3594868 w 7202698"/>
              <a:gd name="connsiteY4" fmla="*/ 160488 h 8109905"/>
              <a:gd name="connsiteX5" fmla="*/ 4369581 w 7202698"/>
              <a:gd name="connsiteY5" fmla="*/ 165485 h 8109905"/>
              <a:gd name="connsiteX6" fmla="*/ 5230151 w 7202698"/>
              <a:gd name="connsiteY6" fmla="*/ 163283 h 8109905"/>
              <a:gd name="connsiteX7" fmla="*/ 6204391 w 7202698"/>
              <a:gd name="connsiteY7" fmla="*/ 129406 h 8109905"/>
              <a:gd name="connsiteX8" fmla="*/ 7202698 w 7202698"/>
              <a:gd name="connsiteY8" fmla="*/ 214174 h 8109905"/>
              <a:gd name="connsiteX0" fmla="*/ 0 w 7202698"/>
              <a:gd name="connsiteY0" fmla="*/ 7984371 h 7984374"/>
              <a:gd name="connsiteX1" fmla="*/ 993395 w 7202698"/>
              <a:gd name="connsiteY1" fmla="*/ 7017815 h 7984374"/>
              <a:gd name="connsiteX2" fmla="*/ 1959504 w 7202698"/>
              <a:gd name="connsiteY2" fmla="*/ 100859 h 7984374"/>
              <a:gd name="connsiteX3" fmla="*/ 2721715 w 7202698"/>
              <a:gd name="connsiteY3" fmla="*/ 48686 h 7984374"/>
              <a:gd name="connsiteX4" fmla="*/ 3594868 w 7202698"/>
              <a:gd name="connsiteY4" fmla="*/ 34957 h 7984374"/>
              <a:gd name="connsiteX5" fmla="*/ 4369581 w 7202698"/>
              <a:gd name="connsiteY5" fmla="*/ 39954 h 7984374"/>
              <a:gd name="connsiteX6" fmla="*/ 5230151 w 7202698"/>
              <a:gd name="connsiteY6" fmla="*/ 37752 h 7984374"/>
              <a:gd name="connsiteX7" fmla="*/ 6204391 w 7202698"/>
              <a:gd name="connsiteY7" fmla="*/ 3875 h 7984374"/>
              <a:gd name="connsiteX8" fmla="*/ 7202698 w 7202698"/>
              <a:gd name="connsiteY8" fmla="*/ 88643 h 7984374"/>
              <a:gd name="connsiteX0" fmla="*/ 0 w 7202698"/>
              <a:gd name="connsiteY0" fmla="*/ 8080027 h 8080030"/>
              <a:gd name="connsiteX1" fmla="*/ 993395 w 7202698"/>
              <a:gd name="connsiteY1" fmla="*/ 7113471 h 8080030"/>
              <a:gd name="connsiteX2" fmla="*/ 1959504 w 7202698"/>
              <a:gd name="connsiteY2" fmla="*/ 196515 h 8080030"/>
              <a:gd name="connsiteX3" fmla="*/ 2721715 w 7202698"/>
              <a:gd name="connsiteY3" fmla="*/ 144342 h 8080030"/>
              <a:gd name="connsiteX4" fmla="*/ 3610488 w 7202698"/>
              <a:gd name="connsiteY4" fmla="*/ 1825405 h 8080030"/>
              <a:gd name="connsiteX5" fmla="*/ 4369581 w 7202698"/>
              <a:gd name="connsiteY5" fmla="*/ 135610 h 8080030"/>
              <a:gd name="connsiteX6" fmla="*/ 5230151 w 7202698"/>
              <a:gd name="connsiteY6" fmla="*/ 133408 h 8080030"/>
              <a:gd name="connsiteX7" fmla="*/ 6204391 w 7202698"/>
              <a:gd name="connsiteY7" fmla="*/ 99531 h 8080030"/>
              <a:gd name="connsiteX8" fmla="*/ 7202698 w 7202698"/>
              <a:gd name="connsiteY8" fmla="*/ 184299 h 8080030"/>
              <a:gd name="connsiteX0" fmla="*/ 0 w 7202698"/>
              <a:gd name="connsiteY0" fmla="*/ 8631477 h 9846506"/>
              <a:gd name="connsiteX1" fmla="*/ 993395 w 7202698"/>
              <a:gd name="connsiteY1" fmla="*/ 7664921 h 9846506"/>
              <a:gd name="connsiteX2" fmla="*/ 1959504 w 7202698"/>
              <a:gd name="connsiteY2" fmla="*/ 747965 h 9846506"/>
              <a:gd name="connsiteX3" fmla="*/ 2721715 w 7202698"/>
              <a:gd name="connsiteY3" fmla="*/ 695792 h 9846506"/>
              <a:gd name="connsiteX4" fmla="*/ 3649538 w 7202698"/>
              <a:gd name="connsiteY4" fmla="*/ 9846494 h 9846506"/>
              <a:gd name="connsiteX5" fmla="*/ 4369581 w 7202698"/>
              <a:gd name="connsiteY5" fmla="*/ 687060 h 9846506"/>
              <a:gd name="connsiteX6" fmla="*/ 5230151 w 7202698"/>
              <a:gd name="connsiteY6" fmla="*/ 684858 h 9846506"/>
              <a:gd name="connsiteX7" fmla="*/ 6204391 w 7202698"/>
              <a:gd name="connsiteY7" fmla="*/ 650981 h 9846506"/>
              <a:gd name="connsiteX8" fmla="*/ 7202698 w 7202698"/>
              <a:gd name="connsiteY8" fmla="*/ 735749 h 9846506"/>
              <a:gd name="connsiteX0" fmla="*/ 0 w 7202698"/>
              <a:gd name="connsiteY0" fmla="*/ 8625299 h 9840328"/>
              <a:gd name="connsiteX1" fmla="*/ 993395 w 7202698"/>
              <a:gd name="connsiteY1" fmla="*/ 7658743 h 9840328"/>
              <a:gd name="connsiteX2" fmla="*/ 1959504 w 7202698"/>
              <a:gd name="connsiteY2" fmla="*/ 741787 h 9840328"/>
              <a:gd name="connsiteX3" fmla="*/ 2823245 w 7202698"/>
              <a:gd name="connsiteY3" fmla="*/ 3671193 h 9840328"/>
              <a:gd name="connsiteX4" fmla="*/ 3649538 w 7202698"/>
              <a:gd name="connsiteY4" fmla="*/ 9840316 h 9840328"/>
              <a:gd name="connsiteX5" fmla="*/ 4369581 w 7202698"/>
              <a:gd name="connsiteY5" fmla="*/ 680882 h 9840328"/>
              <a:gd name="connsiteX6" fmla="*/ 5230151 w 7202698"/>
              <a:gd name="connsiteY6" fmla="*/ 678680 h 9840328"/>
              <a:gd name="connsiteX7" fmla="*/ 6204391 w 7202698"/>
              <a:gd name="connsiteY7" fmla="*/ 644803 h 9840328"/>
              <a:gd name="connsiteX8" fmla="*/ 7202698 w 7202698"/>
              <a:gd name="connsiteY8" fmla="*/ 729571 h 9840328"/>
              <a:gd name="connsiteX0" fmla="*/ 0 w 7202698"/>
              <a:gd name="connsiteY0" fmla="*/ 8625299 h 9840328"/>
              <a:gd name="connsiteX1" fmla="*/ 993395 w 7202698"/>
              <a:gd name="connsiteY1" fmla="*/ 7658743 h 9840328"/>
              <a:gd name="connsiteX2" fmla="*/ 1959504 w 7202698"/>
              <a:gd name="connsiteY2" fmla="*/ 741787 h 9840328"/>
              <a:gd name="connsiteX3" fmla="*/ 2823245 w 7202698"/>
              <a:gd name="connsiteY3" fmla="*/ 3671193 h 9840328"/>
              <a:gd name="connsiteX4" fmla="*/ 3649538 w 7202698"/>
              <a:gd name="connsiteY4" fmla="*/ 9840316 h 9840328"/>
              <a:gd name="connsiteX5" fmla="*/ 4369581 w 7202698"/>
              <a:gd name="connsiteY5" fmla="*/ 680882 h 9840328"/>
              <a:gd name="connsiteX6" fmla="*/ 5230151 w 7202698"/>
              <a:gd name="connsiteY6" fmla="*/ 678680 h 9840328"/>
              <a:gd name="connsiteX7" fmla="*/ 6204391 w 7202698"/>
              <a:gd name="connsiteY7" fmla="*/ 644803 h 9840328"/>
              <a:gd name="connsiteX8" fmla="*/ 7202698 w 7202698"/>
              <a:gd name="connsiteY8" fmla="*/ 729571 h 9840328"/>
              <a:gd name="connsiteX0" fmla="*/ 0 w 7202698"/>
              <a:gd name="connsiteY0" fmla="*/ 8625299 h 12172856"/>
              <a:gd name="connsiteX1" fmla="*/ 993395 w 7202698"/>
              <a:gd name="connsiteY1" fmla="*/ 7658743 h 12172856"/>
              <a:gd name="connsiteX2" fmla="*/ 1959504 w 7202698"/>
              <a:gd name="connsiteY2" fmla="*/ 741787 h 12172856"/>
              <a:gd name="connsiteX3" fmla="*/ 2690476 w 7202698"/>
              <a:gd name="connsiteY3" fmla="*/ 12145153 h 12172856"/>
              <a:gd name="connsiteX4" fmla="*/ 3649538 w 7202698"/>
              <a:gd name="connsiteY4" fmla="*/ 9840316 h 12172856"/>
              <a:gd name="connsiteX5" fmla="*/ 4369581 w 7202698"/>
              <a:gd name="connsiteY5" fmla="*/ 680882 h 12172856"/>
              <a:gd name="connsiteX6" fmla="*/ 5230151 w 7202698"/>
              <a:gd name="connsiteY6" fmla="*/ 678680 h 12172856"/>
              <a:gd name="connsiteX7" fmla="*/ 6204391 w 7202698"/>
              <a:gd name="connsiteY7" fmla="*/ 644803 h 12172856"/>
              <a:gd name="connsiteX8" fmla="*/ 7202698 w 7202698"/>
              <a:gd name="connsiteY8" fmla="*/ 729571 h 12172856"/>
              <a:gd name="connsiteX0" fmla="*/ 0 w 7202698"/>
              <a:gd name="connsiteY0" fmla="*/ 7984372 h 11531929"/>
              <a:gd name="connsiteX1" fmla="*/ 993395 w 7202698"/>
              <a:gd name="connsiteY1" fmla="*/ 7017816 h 11531929"/>
              <a:gd name="connsiteX2" fmla="*/ 1959504 w 7202698"/>
              <a:gd name="connsiteY2" fmla="*/ 100860 h 11531929"/>
              <a:gd name="connsiteX3" fmla="*/ 2690476 w 7202698"/>
              <a:gd name="connsiteY3" fmla="*/ 11504226 h 11531929"/>
              <a:gd name="connsiteX4" fmla="*/ 3649538 w 7202698"/>
              <a:gd name="connsiteY4" fmla="*/ 9199389 h 11531929"/>
              <a:gd name="connsiteX5" fmla="*/ 4471111 w 7202698"/>
              <a:gd name="connsiteY5" fmla="*/ 1515052 h 11531929"/>
              <a:gd name="connsiteX6" fmla="*/ 5230151 w 7202698"/>
              <a:gd name="connsiteY6" fmla="*/ 37753 h 11531929"/>
              <a:gd name="connsiteX7" fmla="*/ 6204391 w 7202698"/>
              <a:gd name="connsiteY7" fmla="*/ 3876 h 11531929"/>
              <a:gd name="connsiteX8" fmla="*/ 7202698 w 7202698"/>
              <a:gd name="connsiteY8" fmla="*/ 88644 h 11531929"/>
              <a:gd name="connsiteX0" fmla="*/ 0 w 7202698"/>
              <a:gd name="connsiteY0" fmla="*/ 7984372 h 11531929"/>
              <a:gd name="connsiteX1" fmla="*/ 993395 w 7202698"/>
              <a:gd name="connsiteY1" fmla="*/ 7017816 h 11531929"/>
              <a:gd name="connsiteX2" fmla="*/ 1959504 w 7202698"/>
              <a:gd name="connsiteY2" fmla="*/ 100860 h 11531929"/>
              <a:gd name="connsiteX3" fmla="*/ 2690476 w 7202698"/>
              <a:gd name="connsiteY3" fmla="*/ 11504226 h 11531929"/>
              <a:gd name="connsiteX4" fmla="*/ 3649538 w 7202698"/>
              <a:gd name="connsiteY4" fmla="*/ 9199389 h 11531929"/>
              <a:gd name="connsiteX5" fmla="*/ 4471111 w 7202698"/>
              <a:gd name="connsiteY5" fmla="*/ 1515052 h 11531929"/>
              <a:gd name="connsiteX6" fmla="*/ 5230151 w 7202698"/>
              <a:gd name="connsiteY6" fmla="*/ 37753 h 11531929"/>
              <a:gd name="connsiteX7" fmla="*/ 6204391 w 7202698"/>
              <a:gd name="connsiteY7" fmla="*/ 3876 h 11531929"/>
              <a:gd name="connsiteX8" fmla="*/ 7202698 w 7202698"/>
              <a:gd name="connsiteY8" fmla="*/ 88644 h 11531929"/>
              <a:gd name="connsiteX0" fmla="*/ 0 w 7202698"/>
              <a:gd name="connsiteY0" fmla="*/ 7984372 h 11531929"/>
              <a:gd name="connsiteX1" fmla="*/ 993395 w 7202698"/>
              <a:gd name="connsiteY1" fmla="*/ 7017816 h 11531929"/>
              <a:gd name="connsiteX2" fmla="*/ 1959504 w 7202698"/>
              <a:gd name="connsiteY2" fmla="*/ 100860 h 11531929"/>
              <a:gd name="connsiteX3" fmla="*/ 2690476 w 7202698"/>
              <a:gd name="connsiteY3" fmla="*/ 11504226 h 11531929"/>
              <a:gd name="connsiteX4" fmla="*/ 3649538 w 7202698"/>
              <a:gd name="connsiteY4" fmla="*/ 9199389 h 11531929"/>
              <a:gd name="connsiteX5" fmla="*/ 4471111 w 7202698"/>
              <a:gd name="connsiteY5" fmla="*/ 1515052 h 11531929"/>
              <a:gd name="connsiteX6" fmla="*/ 5230151 w 7202698"/>
              <a:gd name="connsiteY6" fmla="*/ 37753 h 11531929"/>
              <a:gd name="connsiteX7" fmla="*/ 6204391 w 7202698"/>
              <a:gd name="connsiteY7" fmla="*/ 3876 h 11531929"/>
              <a:gd name="connsiteX8" fmla="*/ 7202698 w 7202698"/>
              <a:gd name="connsiteY8" fmla="*/ 88644 h 11531929"/>
              <a:gd name="connsiteX0" fmla="*/ 0 w 7202698"/>
              <a:gd name="connsiteY0" fmla="*/ 7984372 h 11531929"/>
              <a:gd name="connsiteX1" fmla="*/ 993395 w 7202698"/>
              <a:gd name="connsiteY1" fmla="*/ 7017816 h 11531929"/>
              <a:gd name="connsiteX2" fmla="*/ 1959504 w 7202698"/>
              <a:gd name="connsiteY2" fmla="*/ 100860 h 11531929"/>
              <a:gd name="connsiteX3" fmla="*/ 2690476 w 7202698"/>
              <a:gd name="connsiteY3" fmla="*/ 11504226 h 11531929"/>
              <a:gd name="connsiteX4" fmla="*/ 3649538 w 7202698"/>
              <a:gd name="connsiteY4" fmla="*/ 9199389 h 11531929"/>
              <a:gd name="connsiteX5" fmla="*/ 4502351 w 7202698"/>
              <a:gd name="connsiteY5" fmla="*/ 7823447 h 11531929"/>
              <a:gd name="connsiteX6" fmla="*/ 5230151 w 7202698"/>
              <a:gd name="connsiteY6" fmla="*/ 37753 h 11531929"/>
              <a:gd name="connsiteX7" fmla="*/ 6204391 w 7202698"/>
              <a:gd name="connsiteY7" fmla="*/ 3876 h 11531929"/>
              <a:gd name="connsiteX8" fmla="*/ 7202698 w 7202698"/>
              <a:gd name="connsiteY8" fmla="*/ 88644 h 11531929"/>
              <a:gd name="connsiteX0" fmla="*/ 0 w 7202698"/>
              <a:gd name="connsiteY0" fmla="*/ 7980511 h 11528068"/>
              <a:gd name="connsiteX1" fmla="*/ 993395 w 7202698"/>
              <a:gd name="connsiteY1" fmla="*/ 7013955 h 11528068"/>
              <a:gd name="connsiteX2" fmla="*/ 1959504 w 7202698"/>
              <a:gd name="connsiteY2" fmla="*/ 96999 h 11528068"/>
              <a:gd name="connsiteX3" fmla="*/ 2690476 w 7202698"/>
              <a:gd name="connsiteY3" fmla="*/ 11500365 h 11528068"/>
              <a:gd name="connsiteX4" fmla="*/ 3649538 w 7202698"/>
              <a:gd name="connsiteY4" fmla="*/ 9195528 h 11528068"/>
              <a:gd name="connsiteX5" fmla="*/ 4502351 w 7202698"/>
              <a:gd name="connsiteY5" fmla="*/ 7819586 h 11528068"/>
              <a:gd name="connsiteX6" fmla="*/ 5370731 w 7202698"/>
              <a:gd name="connsiteY6" fmla="*/ 8476467 h 11528068"/>
              <a:gd name="connsiteX7" fmla="*/ 6204391 w 7202698"/>
              <a:gd name="connsiteY7" fmla="*/ 15 h 11528068"/>
              <a:gd name="connsiteX8" fmla="*/ 7202698 w 7202698"/>
              <a:gd name="connsiteY8" fmla="*/ 84783 h 11528068"/>
              <a:gd name="connsiteX0" fmla="*/ 0 w 7202698"/>
              <a:gd name="connsiteY0" fmla="*/ 7936636 h 11484193"/>
              <a:gd name="connsiteX1" fmla="*/ 993395 w 7202698"/>
              <a:gd name="connsiteY1" fmla="*/ 6970080 h 11484193"/>
              <a:gd name="connsiteX2" fmla="*/ 1959504 w 7202698"/>
              <a:gd name="connsiteY2" fmla="*/ 53124 h 11484193"/>
              <a:gd name="connsiteX3" fmla="*/ 2690476 w 7202698"/>
              <a:gd name="connsiteY3" fmla="*/ 11456490 h 11484193"/>
              <a:gd name="connsiteX4" fmla="*/ 3649538 w 7202698"/>
              <a:gd name="connsiteY4" fmla="*/ 9151653 h 11484193"/>
              <a:gd name="connsiteX5" fmla="*/ 4502351 w 7202698"/>
              <a:gd name="connsiteY5" fmla="*/ 7775711 h 11484193"/>
              <a:gd name="connsiteX6" fmla="*/ 5370731 w 7202698"/>
              <a:gd name="connsiteY6" fmla="*/ 8432592 h 11484193"/>
              <a:gd name="connsiteX7" fmla="*/ 6243441 w 7202698"/>
              <a:gd name="connsiteY7" fmla="*/ 7488549 h 11484193"/>
              <a:gd name="connsiteX8" fmla="*/ 7202698 w 7202698"/>
              <a:gd name="connsiteY8" fmla="*/ 40908 h 11484193"/>
              <a:gd name="connsiteX0" fmla="*/ 0 w 7085549"/>
              <a:gd name="connsiteY0" fmla="*/ 7936636 h 11484193"/>
              <a:gd name="connsiteX1" fmla="*/ 993395 w 7085549"/>
              <a:gd name="connsiteY1" fmla="*/ 6970080 h 11484193"/>
              <a:gd name="connsiteX2" fmla="*/ 1959504 w 7085549"/>
              <a:gd name="connsiteY2" fmla="*/ 53124 h 11484193"/>
              <a:gd name="connsiteX3" fmla="*/ 2690476 w 7085549"/>
              <a:gd name="connsiteY3" fmla="*/ 11456490 h 11484193"/>
              <a:gd name="connsiteX4" fmla="*/ 3649538 w 7085549"/>
              <a:gd name="connsiteY4" fmla="*/ 9151653 h 11484193"/>
              <a:gd name="connsiteX5" fmla="*/ 4502351 w 7085549"/>
              <a:gd name="connsiteY5" fmla="*/ 7775711 h 11484193"/>
              <a:gd name="connsiteX6" fmla="*/ 5370731 w 7085549"/>
              <a:gd name="connsiteY6" fmla="*/ 8432592 h 11484193"/>
              <a:gd name="connsiteX7" fmla="*/ 6243441 w 7085549"/>
              <a:gd name="connsiteY7" fmla="*/ 7488549 h 11484193"/>
              <a:gd name="connsiteX8" fmla="*/ 7085549 w 7085549"/>
              <a:gd name="connsiteY8" fmla="*/ 7541932 h 11484193"/>
              <a:gd name="connsiteX0" fmla="*/ 0 w 7023070"/>
              <a:gd name="connsiteY0" fmla="*/ 7936636 h 11484193"/>
              <a:gd name="connsiteX1" fmla="*/ 993395 w 7023070"/>
              <a:gd name="connsiteY1" fmla="*/ 6970080 h 11484193"/>
              <a:gd name="connsiteX2" fmla="*/ 1959504 w 7023070"/>
              <a:gd name="connsiteY2" fmla="*/ 53124 h 11484193"/>
              <a:gd name="connsiteX3" fmla="*/ 2690476 w 7023070"/>
              <a:gd name="connsiteY3" fmla="*/ 11456490 h 11484193"/>
              <a:gd name="connsiteX4" fmla="*/ 3649538 w 7023070"/>
              <a:gd name="connsiteY4" fmla="*/ 9151653 h 11484193"/>
              <a:gd name="connsiteX5" fmla="*/ 4502351 w 7023070"/>
              <a:gd name="connsiteY5" fmla="*/ 7775711 h 11484193"/>
              <a:gd name="connsiteX6" fmla="*/ 5370731 w 7023070"/>
              <a:gd name="connsiteY6" fmla="*/ 8432592 h 11484193"/>
              <a:gd name="connsiteX7" fmla="*/ 6243441 w 7023070"/>
              <a:gd name="connsiteY7" fmla="*/ 7488549 h 11484193"/>
              <a:gd name="connsiteX8" fmla="*/ 7023070 w 7023070"/>
              <a:gd name="connsiteY8" fmla="*/ 9738884 h 11484193"/>
              <a:gd name="connsiteX0" fmla="*/ 0 w 7023070"/>
              <a:gd name="connsiteY0" fmla="*/ 7936636 h 11484193"/>
              <a:gd name="connsiteX1" fmla="*/ 993395 w 7023070"/>
              <a:gd name="connsiteY1" fmla="*/ 6970080 h 11484193"/>
              <a:gd name="connsiteX2" fmla="*/ 1959504 w 7023070"/>
              <a:gd name="connsiteY2" fmla="*/ 53124 h 11484193"/>
              <a:gd name="connsiteX3" fmla="*/ 2690476 w 7023070"/>
              <a:gd name="connsiteY3" fmla="*/ 11456490 h 11484193"/>
              <a:gd name="connsiteX4" fmla="*/ 3649538 w 7023070"/>
              <a:gd name="connsiteY4" fmla="*/ 9151653 h 11484193"/>
              <a:gd name="connsiteX5" fmla="*/ 4502351 w 7023070"/>
              <a:gd name="connsiteY5" fmla="*/ 7775711 h 11484193"/>
              <a:gd name="connsiteX6" fmla="*/ 5370731 w 7023070"/>
              <a:gd name="connsiteY6" fmla="*/ 8432592 h 11484193"/>
              <a:gd name="connsiteX7" fmla="*/ 6243441 w 7023070"/>
              <a:gd name="connsiteY7" fmla="*/ 7488549 h 11484193"/>
              <a:gd name="connsiteX8" fmla="*/ 7023070 w 7023070"/>
              <a:gd name="connsiteY8" fmla="*/ 9613345 h 11484193"/>
              <a:gd name="connsiteX0" fmla="*/ 0 w 6029675"/>
              <a:gd name="connsiteY0" fmla="*/ 6970080 h 11484193"/>
              <a:gd name="connsiteX1" fmla="*/ 966109 w 6029675"/>
              <a:gd name="connsiteY1" fmla="*/ 53124 h 11484193"/>
              <a:gd name="connsiteX2" fmla="*/ 1697081 w 6029675"/>
              <a:gd name="connsiteY2" fmla="*/ 11456490 h 11484193"/>
              <a:gd name="connsiteX3" fmla="*/ 2656143 w 6029675"/>
              <a:gd name="connsiteY3" fmla="*/ 9151653 h 11484193"/>
              <a:gd name="connsiteX4" fmla="*/ 3508956 w 6029675"/>
              <a:gd name="connsiteY4" fmla="*/ 7775711 h 11484193"/>
              <a:gd name="connsiteX5" fmla="*/ 4377336 w 6029675"/>
              <a:gd name="connsiteY5" fmla="*/ 8432592 h 11484193"/>
              <a:gd name="connsiteX6" fmla="*/ 5250046 w 6029675"/>
              <a:gd name="connsiteY6" fmla="*/ 7488549 h 11484193"/>
              <a:gd name="connsiteX7" fmla="*/ 6029675 w 6029675"/>
              <a:gd name="connsiteY7" fmla="*/ 9613345 h 11484193"/>
              <a:gd name="connsiteX0" fmla="*/ 0 w 7019484"/>
              <a:gd name="connsiteY0" fmla="*/ 7848038 h 11462447"/>
              <a:gd name="connsiteX1" fmla="*/ 1955918 w 7019484"/>
              <a:gd name="connsiteY1" fmla="*/ 31378 h 11462447"/>
              <a:gd name="connsiteX2" fmla="*/ 2686890 w 7019484"/>
              <a:gd name="connsiteY2" fmla="*/ 11434744 h 11462447"/>
              <a:gd name="connsiteX3" fmla="*/ 3645952 w 7019484"/>
              <a:gd name="connsiteY3" fmla="*/ 9129907 h 11462447"/>
              <a:gd name="connsiteX4" fmla="*/ 4498765 w 7019484"/>
              <a:gd name="connsiteY4" fmla="*/ 7753965 h 11462447"/>
              <a:gd name="connsiteX5" fmla="*/ 5367145 w 7019484"/>
              <a:gd name="connsiteY5" fmla="*/ 8410846 h 11462447"/>
              <a:gd name="connsiteX6" fmla="*/ 6239855 w 7019484"/>
              <a:gd name="connsiteY6" fmla="*/ 7466803 h 11462447"/>
              <a:gd name="connsiteX7" fmla="*/ 7019484 w 7019484"/>
              <a:gd name="connsiteY7" fmla="*/ 9591599 h 11462447"/>
              <a:gd name="connsiteX0" fmla="*/ 0 w 7019484"/>
              <a:gd name="connsiteY0" fmla="*/ 1282206 h 4910025"/>
              <a:gd name="connsiteX1" fmla="*/ 1036811 w 7019484"/>
              <a:gd name="connsiteY1" fmla="*/ 142300 h 4910025"/>
              <a:gd name="connsiteX2" fmla="*/ 2686890 w 7019484"/>
              <a:gd name="connsiteY2" fmla="*/ 4868912 h 4910025"/>
              <a:gd name="connsiteX3" fmla="*/ 3645952 w 7019484"/>
              <a:gd name="connsiteY3" fmla="*/ 2564075 h 4910025"/>
              <a:gd name="connsiteX4" fmla="*/ 4498765 w 7019484"/>
              <a:gd name="connsiteY4" fmla="*/ 1188133 h 4910025"/>
              <a:gd name="connsiteX5" fmla="*/ 5367145 w 7019484"/>
              <a:gd name="connsiteY5" fmla="*/ 1845014 h 4910025"/>
              <a:gd name="connsiteX6" fmla="*/ 6239855 w 7019484"/>
              <a:gd name="connsiteY6" fmla="*/ 900971 h 4910025"/>
              <a:gd name="connsiteX7" fmla="*/ 7019484 w 7019484"/>
              <a:gd name="connsiteY7" fmla="*/ 3025767 h 4910025"/>
              <a:gd name="connsiteX0" fmla="*/ 0 w 7031268"/>
              <a:gd name="connsiteY0" fmla="*/ 1120180 h 4937409"/>
              <a:gd name="connsiteX1" fmla="*/ 1048595 w 7031268"/>
              <a:gd name="connsiteY1" fmla="*/ 169684 h 4937409"/>
              <a:gd name="connsiteX2" fmla="*/ 2698674 w 7031268"/>
              <a:gd name="connsiteY2" fmla="*/ 4896296 h 4937409"/>
              <a:gd name="connsiteX3" fmla="*/ 3657736 w 7031268"/>
              <a:gd name="connsiteY3" fmla="*/ 2591459 h 4937409"/>
              <a:gd name="connsiteX4" fmla="*/ 4510549 w 7031268"/>
              <a:gd name="connsiteY4" fmla="*/ 1215517 h 4937409"/>
              <a:gd name="connsiteX5" fmla="*/ 5378929 w 7031268"/>
              <a:gd name="connsiteY5" fmla="*/ 1872398 h 4937409"/>
              <a:gd name="connsiteX6" fmla="*/ 6251639 w 7031268"/>
              <a:gd name="connsiteY6" fmla="*/ 928355 h 4937409"/>
              <a:gd name="connsiteX7" fmla="*/ 7031268 w 7031268"/>
              <a:gd name="connsiteY7" fmla="*/ 3053151 h 4937409"/>
              <a:gd name="connsiteX0" fmla="*/ 0 w 7031268"/>
              <a:gd name="connsiteY0" fmla="*/ 1120180 h 4937409"/>
              <a:gd name="connsiteX1" fmla="*/ 1048595 w 7031268"/>
              <a:gd name="connsiteY1" fmla="*/ 169683 h 4937409"/>
              <a:gd name="connsiteX2" fmla="*/ 2698674 w 7031268"/>
              <a:gd name="connsiteY2" fmla="*/ 4896296 h 4937409"/>
              <a:gd name="connsiteX3" fmla="*/ 3657736 w 7031268"/>
              <a:gd name="connsiteY3" fmla="*/ 2591459 h 4937409"/>
              <a:gd name="connsiteX4" fmla="*/ 4510549 w 7031268"/>
              <a:gd name="connsiteY4" fmla="*/ 1215517 h 4937409"/>
              <a:gd name="connsiteX5" fmla="*/ 5378929 w 7031268"/>
              <a:gd name="connsiteY5" fmla="*/ 1872398 h 4937409"/>
              <a:gd name="connsiteX6" fmla="*/ 6251639 w 7031268"/>
              <a:gd name="connsiteY6" fmla="*/ 928355 h 4937409"/>
              <a:gd name="connsiteX7" fmla="*/ 7031268 w 7031268"/>
              <a:gd name="connsiteY7" fmla="*/ 3053151 h 4937409"/>
              <a:gd name="connsiteX0" fmla="*/ 0 w 7031268"/>
              <a:gd name="connsiteY0" fmla="*/ 950691 h 4767920"/>
              <a:gd name="connsiteX1" fmla="*/ 1048595 w 7031268"/>
              <a:gd name="connsiteY1" fmla="*/ 194 h 4767920"/>
              <a:gd name="connsiteX2" fmla="*/ 2698674 w 7031268"/>
              <a:gd name="connsiteY2" fmla="*/ 4726807 h 4767920"/>
              <a:gd name="connsiteX3" fmla="*/ 3657736 w 7031268"/>
              <a:gd name="connsiteY3" fmla="*/ 2421970 h 4767920"/>
              <a:gd name="connsiteX4" fmla="*/ 4510549 w 7031268"/>
              <a:gd name="connsiteY4" fmla="*/ 1046028 h 4767920"/>
              <a:gd name="connsiteX5" fmla="*/ 5378929 w 7031268"/>
              <a:gd name="connsiteY5" fmla="*/ 1702909 h 4767920"/>
              <a:gd name="connsiteX6" fmla="*/ 6251639 w 7031268"/>
              <a:gd name="connsiteY6" fmla="*/ 758866 h 4767920"/>
              <a:gd name="connsiteX7" fmla="*/ 7031268 w 7031268"/>
              <a:gd name="connsiteY7" fmla="*/ 2883662 h 4767920"/>
              <a:gd name="connsiteX0" fmla="*/ 0 w 7031268"/>
              <a:gd name="connsiteY0" fmla="*/ 1120180 h 4937409"/>
              <a:gd name="connsiteX1" fmla="*/ 1048595 w 7031268"/>
              <a:gd name="connsiteY1" fmla="*/ 169683 h 4937409"/>
              <a:gd name="connsiteX2" fmla="*/ 2085935 w 7031268"/>
              <a:gd name="connsiteY2" fmla="*/ 4896297 h 4937409"/>
              <a:gd name="connsiteX3" fmla="*/ 3657736 w 7031268"/>
              <a:gd name="connsiteY3" fmla="*/ 2591459 h 4937409"/>
              <a:gd name="connsiteX4" fmla="*/ 4510549 w 7031268"/>
              <a:gd name="connsiteY4" fmla="*/ 1215517 h 4937409"/>
              <a:gd name="connsiteX5" fmla="*/ 5378929 w 7031268"/>
              <a:gd name="connsiteY5" fmla="*/ 1872398 h 4937409"/>
              <a:gd name="connsiteX6" fmla="*/ 6251639 w 7031268"/>
              <a:gd name="connsiteY6" fmla="*/ 928355 h 4937409"/>
              <a:gd name="connsiteX7" fmla="*/ 7031268 w 7031268"/>
              <a:gd name="connsiteY7" fmla="*/ 3053151 h 4937409"/>
              <a:gd name="connsiteX0" fmla="*/ 0 w 7031268"/>
              <a:gd name="connsiteY0" fmla="*/ 1120180 h 4946391"/>
              <a:gd name="connsiteX1" fmla="*/ 1048595 w 7031268"/>
              <a:gd name="connsiteY1" fmla="*/ 169683 h 4946391"/>
              <a:gd name="connsiteX2" fmla="*/ 2085935 w 7031268"/>
              <a:gd name="connsiteY2" fmla="*/ 4896297 h 4946391"/>
              <a:gd name="connsiteX3" fmla="*/ 3068565 w 7031268"/>
              <a:gd name="connsiteY3" fmla="*/ 2780872 h 4946391"/>
              <a:gd name="connsiteX4" fmla="*/ 4510549 w 7031268"/>
              <a:gd name="connsiteY4" fmla="*/ 1215517 h 4946391"/>
              <a:gd name="connsiteX5" fmla="*/ 5378929 w 7031268"/>
              <a:gd name="connsiteY5" fmla="*/ 1872398 h 4946391"/>
              <a:gd name="connsiteX6" fmla="*/ 6251639 w 7031268"/>
              <a:gd name="connsiteY6" fmla="*/ 928355 h 4946391"/>
              <a:gd name="connsiteX7" fmla="*/ 7031268 w 7031268"/>
              <a:gd name="connsiteY7" fmla="*/ 3053151 h 4946391"/>
              <a:gd name="connsiteX0" fmla="*/ 0 w 7031268"/>
              <a:gd name="connsiteY0" fmla="*/ 1120180 h 4946391"/>
              <a:gd name="connsiteX1" fmla="*/ 1048595 w 7031268"/>
              <a:gd name="connsiteY1" fmla="*/ 169683 h 4946391"/>
              <a:gd name="connsiteX2" fmla="*/ 2085935 w 7031268"/>
              <a:gd name="connsiteY2" fmla="*/ 4896297 h 4946391"/>
              <a:gd name="connsiteX3" fmla="*/ 3068565 w 7031268"/>
              <a:gd name="connsiteY3" fmla="*/ 2780872 h 4946391"/>
              <a:gd name="connsiteX4" fmla="*/ 4086346 w 7031268"/>
              <a:gd name="connsiteY4" fmla="*/ 1215516 h 4946391"/>
              <a:gd name="connsiteX5" fmla="*/ 5378929 w 7031268"/>
              <a:gd name="connsiteY5" fmla="*/ 1872398 h 4946391"/>
              <a:gd name="connsiteX6" fmla="*/ 6251639 w 7031268"/>
              <a:gd name="connsiteY6" fmla="*/ 928355 h 4946391"/>
              <a:gd name="connsiteX7" fmla="*/ 7031268 w 7031268"/>
              <a:gd name="connsiteY7" fmla="*/ 3053151 h 4946391"/>
              <a:gd name="connsiteX0" fmla="*/ 0 w 7031268"/>
              <a:gd name="connsiteY0" fmla="*/ 1120180 h 4946391"/>
              <a:gd name="connsiteX1" fmla="*/ 1048595 w 7031268"/>
              <a:gd name="connsiteY1" fmla="*/ 169683 h 4946391"/>
              <a:gd name="connsiteX2" fmla="*/ 2085935 w 7031268"/>
              <a:gd name="connsiteY2" fmla="*/ 4896297 h 4946391"/>
              <a:gd name="connsiteX3" fmla="*/ 3068565 w 7031268"/>
              <a:gd name="connsiteY3" fmla="*/ 2780872 h 4946391"/>
              <a:gd name="connsiteX4" fmla="*/ 4086346 w 7031268"/>
              <a:gd name="connsiteY4" fmla="*/ 1215516 h 4946391"/>
              <a:gd name="connsiteX5" fmla="*/ 5037209 w 7031268"/>
              <a:gd name="connsiteY5" fmla="*/ 1967103 h 4946391"/>
              <a:gd name="connsiteX6" fmla="*/ 6251639 w 7031268"/>
              <a:gd name="connsiteY6" fmla="*/ 928355 h 4946391"/>
              <a:gd name="connsiteX7" fmla="*/ 7031268 w 7031268"/>
              <a:gd name="connsiteY7" fmla="*/ 3053151 h 4946391"/>
              <a:gd name="connsiteX0" fmla="*/ 0 w 7031268"/>
              <a:gd name="connsiteY0" fmla="*/ 1120180 h 4946391"/>
              <a:gd name="connsiteX1" fmla="*/ 1048595 w 7031268"/>
              <a:gd name="connsiteY1" fmla="*/ 169683 h 4946391"/>
              <a:gd name="connsiteX2" fmla="*/ 2085935 w 7031268"/>
              <a:gd name="connsiteY2" fmla="*/ 4896297 h 4946391"/>
              <a:gd name="connsiteX3" fmla="*/ 3068565 w 7031268"/>
              <a:gd name="connsiteY3" fmla="*/ 2780872 h 4946391"/>
              <a:gd name="connsiteX4" fmla="*/ 4086346 w 7031268"/>
              <a:gd name="connsiteY4" fmla="*/ 1215516 h 4946391"/>
              <a:gd name="connsiteX5" fmla="*/ 5037209 w 7031268"/>
              <a:gd name="connsiteY5" fmla="*/ 1967103 h 4946391"/>
              <a:gd name="connsiteX6" fmla="*/ 6051321 w 7031268"/>
              <a:gd name="connsiteY6" fmla="*/ 928355 h 4946391"/>
              <a:gd name="connsiteX7" fmla="*/ 7031268 w 7031268"/>
              <a:gd name="connsiteY7" fmla="*/ 3053151 h 4946391"/>
              <a:gd name="connsiteX0" fmla="*/ 0 w 7031268"/>
              <a:gd name="connsiteY0" fmla="*/ 422623 h 4223776"/>
              <a:gd name="connsiteX1" fmla="*/ 1048595 w 7031268"/>
              <a:gd name="connsiteY1" fmla="*/ 315599 h 4223776"/>
              <a:gd name="connsiteX2" fmla="*/ 2085935 w 7031268"/>
              <a:gd name="connsiteY2" fmla="*/ 4198740 h 4223776"/>
              <a:gd name="connsiteX3" fmla="*/ 3068565 w 7031268"/>
              <a:gd name="connsiteY3" fmla="*/ 2083315 h 4223776"/>
              <a:gd name="connsiteX4" fmla="*/ 4086346 w 7031268"/>
              <a:gd name="connsiteY4" fmla="*/ 517959 h 4223776"/>
              <a:gd name="connsiteX5" fmla="*/ 5037209 w 7031268"/>
              <a:gd name="connsiteY5" fmla="*/ 1269546 h 4223776"/>
              <a:gd name="connsiteX6" fmla="*/ 6051321 w 7031268"/>
              <a:gd name="connsiteY6" fmla="*/ 230798 h 4223776"/>
              <a:gd name="connsiteX7" fmla="*/ 7031268 w 7031268"/>
              <a:gd name="connsiteY7" fmla="*/ 2355594 h 4223776"/>
              <a:gd name="connsiteX0" fmla="*/ 0 w 7031268"/>
              <a:gd name="connsiteY0" fmla="*/ 214360 h 2147330"/>
              <a:gd name="connsiteX1" fmla="*/ 1048595 w 7031268"/>
              <a:gd name="connsiteY1" fmla="*/ 107336 h 2147330"/>
              <a:gd name="connsiteX2" fmla="*/ 2077540 w 7031268"/>
              <a:gd name="connsiteY2" fmla="*/ 144239 h 2147330"/>
              <a:gd name="connsiteX3" fmla="*/ 3068565 w 7031268"/>
              <a:gd name="connsiteY3" fmla="*/ 1875052 h 2147330"/>
              <a:gd name="connsiteX4" fmla="*/ 4086346 w 7031268"/>
              <a:gd name="connsiteY4" fmla="*/ 309696 h 2147330"/>
              <a:gd name="connsiteX5" fmla="*/ 5037209 w 7031268"/>
              <a:gd name="connsiteY5" fmla="*/ 1061283 h 2147330"/>
              <a:gd name="connsiteX6" fmla="*/ 6051321 w 7031268"/>
              <a:gd name="connsiteY6" fmla="*/ 22535 h 2147330"/>
              <a:gd name="connsiteX7" fmla="*/ 7031268 w 7031268"/>
              <a:gd name="connsiteY7" fmla="*/ 2147331 h 2147330"/>
              <a:gd name="connsiteX0" fmla="*/ 0 w 7031268"/>
              <a:gd name="connsiteY0" fmla="*/ 194949 h 2127919"/>
              <a:gd name="connsiteX1" fmla="*/ 1048595 w 7031268"/>
              <a:gd name="connsiteY1" fmla="*/ 87925 h 2127919"/>
              <a:gd name="connsiteX2" fmla="*/ 2077540 w 7031268"/>
              <a:gd name="connsiteY2" fmla="*/ 124828 h 2127919"/>
              <a:gd name="connsiteX3" fmla="*/ 3076961 w 7031268"/>
              <a:gd name="connsiteY3" fmla="*/ 0 h 2127919"/>
              <a:gd name="connsiteX4" fmla="*/ 4086346 w 7031268"/>
              <a:gd name="connsiteY4" fmla="*/ 290285 h 2127919"/>
              <a:gd name="connsiteX5" fmla="*/ 5037209 w 7031268"/>
              <a:gd name="connsiteY5" fmla="*/ 1041872 h 2127919"/>
              <a:gd name="connsiteX6" fmla="*/ 6051321 w 7031268"/>
              <a:gd name="connsiteY6" fmla="*/ 3124 h 2127919"/>
              <a:gd name="connsiteX7" fmla="*/ 7031268 w 7031268"/>
              <a:gd name="connsiteY7" fmla="*/ 2127920 h 2127919"/>
              <a:gd name="connsiteX0" fmla="*/ 0 w 7031268"/>
              <a:gd name="connsiteY0" fmla="*/ 194949 h 2127919"/>
              <a:gd name="connsiteX1" fmla="*/ 1048595 w 7031268"/>
              <a:gd name="connsiteY1" fmla="*/ 87925 h 2127919"/>
              <a:gd name="connsiteX2" fmla="*/ 2077540 w 7031268"/>
              <a:gd name="connsiteY2" fmla="*/ 124828 h 2127919"/>
              <a:gd name="connsiteX3" fmla="*/ 3076961 w 7031268"/>
              <a:gd name="connsiteY3" fmla="*/ 0 h 2127919"/>
              <a:gd name="connsiteX4" fmla="*/ 4086346 w 7031268"/>
              <a:gd name="connsiteY4" fmla="*/ 290285 h 2127919"/>
              <a:gd name="connsiteX5" fmla="*/ 5062396 w 7031268"/>
              <a:gd name="connsiteY5" fmla="*/ 130921 h 2127919"/>
              <a:gd name="connsiteX6" fmla="*/ 6051321 w 7031268"/>
              <a:gd name="connsiteY6" fmla="*/ 3124 h 2127919"/>
              <a:gd name="connsiteX7" fmla="*/ 7031268 w 7031268"/>
              <a:gd name="connsiteY7" fmla="*/ 2127920 h 2127919"/>
              <a:gd name="connsiteX0" fmla="*/ 0 w 7173995"/>
              <a:gd name="connsiteY0" fmla="*/ 194949 h 292041"/>
              <a:gd name="connsiteX1" fmla="*/ 1048595 w 7173995"/>
              <a:gd name="connsiteY1" fmla="*/ 87925 h 292041"/>
              <a:gd name="connsiteX2" fmla="*/ 2077540 w 7173995"/>
              <a:gd name="connsiteY2" fmla="*/ 124828 h 292041"/>
              <a:gd name="connsiteX3" fmla="*/ 3076961 w 7173995"/>
              <a:gd name="connsiteY3" fmla="*/ 0 h 292041"/>
              <a:gd name="connsiteX4" fmla="*/ 4086346 w 7173995"/>
              <a:gd name="connsiteY4" fmla="*/ 290285 h 292041"/>
              <a:gd name="connsiteX5" fmla="*/ 5062396 w 7173995"/>
              <a:gd name="connsiteY5" fmla="*/ 130921 h 292041"/>
              <a:gd name="connsiteX6" fmla="*/ 6051321 w 7173995"/>
              <a:gd name="connsiteY6" fmla="*/ 3124 h 292041"/>
              <a:gd name="connsiteX7" fmla="*/ 7173995 w 7173995"/>
              <a:gd name="connsiteY7" fmla="*/ 69845 h 292041"/>
              <a:gd name="connsiteX0" fmla="*/ 0 w 7238240"/>
              <a:gd name="connsiteY0" fmla="*/ 6931372 h 6931373"/>
              <a:gd name="connsiteX1" fmla="*/ 1112840 w 7238240"/>
              <a:gd name="connsiteY1" fmla="*/ 463829 h 6931373"/>
              <a:gd name="connsiteX2" fmla="*/ 2141785 w 7238240"/>
              <a:gd name="connsiteY2" fmla="*/ 500732 h 6931373"/>
              <a:gd name="connsiteX3" fmla="*/ 3141206 w 7238240"/>
              <a:gd name="connsiteY3" fmla="*/ 375904 h 6931373"/>
              <a:gd name="connsiteX4" fmla="*/ 4150591 w 7238240"/>
              <a:gd name="connsiteY4" fmla="*/ 666189 h 6931373"/>
              <a:gd name="connsiteX5" fmla="*/ 5126641 w 7238240"/>
              <a:gd name="connsiteY5" fmla="*/ 506825 h 6931373"/>
              <a:gd name="connsiteX6" fmla="*/ 6115566 w 7238240"/>
              <a:gd name="connsiteY6" fmla="*/ 379028 h 6931373"/>
              <a:gd name="connsiteX7" fmla="*/ 7238240 w 7238240"/>
              <a:gd name="connsiteY7" fmla="*/ 445749 h 6931373"/>
              <a:gd name="connsiteX0" fmla="*/ 0 w 7238240"/>
              <a:gd name="connsiteY0" fmla="*/ 6931372 h 6931373"/>
              <a:gd name="connsiteX1" fmla="*/ 1112840 w 7238240"/>
              <a:gd name="connsiteY1" fmla="*/ 463829 h 6931373"/>
              <a:gd name="connsiteX2" fmla="*/ 2141785 w 7238240"/>
              <a:gd name="connsiteY2" fmla="*/ 500732 h 6931373"/>
              <a:gd name="connsiteX3" fmla="*/ 3141206 w 7238240"/>
              <a:gd name="connsiteY3" fmla="*/ 375904 h 6931373"/>
              <a:gd name="connsiteX4" fmla="*/ 4150591 w 7238240"/>
              <a:gd name="connsiteY4" fmla="*/ 666189 h 6931373"/>
              <a:gd name="connsiteX5" fmla="*/ 5126641 w 7238240"/>
              <a:gd name="connsiteY5" fmla="*/ 506825 h 6931373"/>
              <a:gd name="connsiteX6" fmla="*/ 6115566 w 7238240"/>
              <a:gd name="connsiteY6" fmla="*/ 379028 h 6931373"/>
              <a:gd name="connsiteX7" fmla="*/ 7238240 w 7238240"/>
              <a:gd name="connsiteY7" fmla="*/ 445749 h 6931373"/>
              <a:gd name="connsiteX0" fmla="*/ 0 w 7238240"/>
              <a:gd name="connsiteY0" fmla="*/ 6960161 h 7461851"/>
              <a:gd name="connsiteX1" fmla="*/ 978509 w 7238240"/>
              <a:gd name="connsiteY1" fmla="*/ 7111317 h 7461851"/>
              <a:gd name="connsiteX2" fmla="*/ 2141785 w 7238240"/>
              <a:gd name="connsiteY2" fmla="*/ 529521 h 7461851"/>
              <a:gd name="connsiteX3" fmla="*/ 3141206 w 7238240"/>
              <a:gd name="connsiteY3" fmla="*/ 404693 h 7461851"/>
              <a:gd name="connsiteX4" fmla="*/ 4150591 w 7238240"/>
              <a:gd name="connsiteY4" fmla="*/ 694978 h 7461851"/>
              <a:gd name="connsiteX5" fmla="*/ 5126641 w 7238240"/>
              <a:gd name="connsiteY5" fmla="*/ 535614 h 7461851"/>
              <a:gd name="connsiteX6" fmla="*/ 6115566 w 7238240"/>
              <a:gd name="connsiteY6" fmla="*/ 407817 h 7461851"/>
              <a:gd name="connsiteX7" fmla="*/ 7238240 w 7238240"/>
              <a:gd name="connsiteY7" fmla="*/ 474538 h 7461851"/>
              <a:gd name="connsiteX0" fmla="*/ 0 w 7238240"/>
              <a:gd name="connsiteY0" fmla="*/ 6960161 h 7117903"/>
              <a:gd name="connsiteX1" fmla="*/ 978509 w 7238240"/>
              <a:gd name="connsiteY1" fmla="*/ 7111317 h 7117903"/>
              <a:gd name="connsiteX2" fmla="*/ 2141785 w 7238240"/>
              <a:gd name="connsiteY2" fmla="*/ 529521 h 7117903"/>
              <a:gd name="connsiteX3" fmla="*/ 3141206 w 7238240"/>
              <a:gd name="connsiteY3" fmla="*/ 404693 h 7117903"/>
              <a:gd name="connsiteX4" fmla="*/ 4150591 w 7238240"/>
              <a:gd name="connsiteY4" fmla="*/ 694978 h 7117903"/>
              <a:gd name="connsiteX5" fmla="*/ 5126641 w 7238240"/>
              <a:gd name="connsiteY5" fmla="*/ 535614 h 7117903"/>
              <a:gd name="connsiteX6" fmla="*/ 6115566 w 7238240"/>
              <a:gd name="connsiteY6" fmla="*/ 407817 h 7117903"/>
              <a:gd name="connsiteX7" fmla="*/ 7238240 w 7238240"/>
              <a:gd name="connsiteY7" fmla="*/ 474538 h 7117903"/>
              <a:gd name="connsiteX0" fmla="*/ 0 w 7238240"/>
              <a:gd name="connsiteY0" fmla="*/ 6960161 h 7126859"/>
              <a:gd name="connsiteX1" fmla="*/ 978509 w 7238240"/>
              <a:gd name="connsiteY1" fmla="*/ 7111317 h 7126859"/>
              <a:gd name="connsiteX2" fmla="*/ 2141785 w 7238240"/>
              <a:gd name="connsiteY2" fmla="*/ 529521 h 7126859"/>
              <a:gd name="connsiteX3" fmla="*/ 3141206 w 7238240"/>
              <a:gd name="connsiteY3" fmla="*/ 404693 h 7126859"/>
              <a:gd name="connsiteX4" fmla="*/ 4150591 w 7238240"/>
              <a:gd name="connsiteY4" fmla="*/ 694978 h 7126859"/>
              <a:gd name="connsiteX5" fmla="*/ 5126641 w 7238240"/>
              <a:gd name="connsiteY5" fmla="*/ 535614 h 7126859"/>
              <a:gd name="connsiteX6" fmla="*/ 6115566 w 7238240"/>
              <a:gd name="connsiteY6" fmla="*/ 407817 h 7126859"/>
              <a:gd name="connsiteX7" fmla="*/ 7238240 w 7238240"/>
              <a:gd name="connsiteY7" fmla="*/ 474538 h 7126859"/>
              <a:gd name="connsiteX0" fmla="*/ 0 w 7238240"/>
              <a:gd name="connsiteY0" fmla="*/ 6960161 h 7132004"/>
              <a:gd name="connsiteX1" fmla="*/ 978509 w 7238240"/>
              <a:gd name="connsiteY1" fmla="*/ 7111317 h 7132004"/>
              <a:gd name="connsiteX2" fmla="*/ 2141785 w 7238240"/>
              <a:gd name="connsiteY2" fmla="*/ 529521 h 7132004"/>
              <a:gd name="connsiteX3" fmla="*/ 3141206 w 7238240"/>
              <a:gd name="connsiteY3" fmla="*/ 404693 h 7132004"/>
              <a:gd name="connsiteX4" fmla="*/ 4150591 w 7238240"/>
              <a:gd name="connsiteY4" fmla="*/ 694978 h 7132004"/>
              <a:gd name="connsiteX5" fmla="*/ 5126641 w 7238240"/>
              <a:gd name="connsiteY5" fmla="*/ 535614 h 7132004"/>
              <a:gd name="connsiteX6" fmla="*/ 6115566 w 7238240"/>
              <a:gd name="connsiteY6" fmla="*/ 407817 h 7132004"/>
              <a:gd name="connsiteX7" fmla="*/ 7238240 w 7238240"/>
              <a:gd name="connsiteY7" fmla="*/ 474538 h 7132004"/>
              <a:gd name="connsiteX0" fmla="*/ 0 w 7238240"/>
              <a:gd name="connsiteY0" fmla="*/ 6951509 h 7021442"/>
              <a:gd name="connsiteX1" fmla="*/ 978509 w 7238240"/>
              <a:gd name="connsiteY1" fmla="*/ 6985312 h 7021442"/>
              <a:gd name="connsiteX2" fmla="*/ 2141785 w 7238240"/>
              <a:gd name="connsiteY2" fmla="*/ 520869 h 7021442"/>
              <a:gd name="connsiteX3" fmla="*/ 3141206 w 7238240"/>
              <a:gd name="connsiteY3" fmla="*/ 396041 h 7021442"/>
              <a:gd name="connsiteX4" fmla="*/ 4150591 w 7238240"/>
              <a:gd name="connsiteY4" fmla="*/ 686326 h 7021442"/>
              <a:gd name="connsiteX5" fmla="*/ 5126641 w 7238240"/>
              <a:gd name="connsiteY5" fmla="*/ 526962 h 7021442"/>
              <a:gd name="connsiteX6" fmla="*/ 6115566 w 7238240"/>
              <a:gd name="connsiteY6" fmla="*/ 399165 h 7021442"/>
              <a:gd name="connsiteX7" fmla="*/ 7238240 w 7238240"/>
              <a:gd name="connsiteY7" fmla="*/ 465886 h 7021442"/>
              <a:gd name="connsiteX0" fmla="*/ 0 w 7238240"/>
              <a:gd name="connsiteY0" fmla="*/ 6951509 h 7000777"/>
              <a:gd name="connsiteX1" fmla="*/ 978509 w 7238240"/>
              <a:gd name="connsiteY1" fmla="*/ 6985312 h 7000777"/>
              <a:gd name="connsiteX2" fmla="*/ 2141785 w 7238240"/>
              <a:gd name="connsiteY2" fmla="*/ 520869 h 7000777"/>
              <a:gd name="connsiteX3" fmla="*/ 3141206 w 7238240"/>
              <a:gd name="connsiteY3" fmla="*/ 396041 h 7000777"/>
              <a:gd name="connsiteX4" fmla="*/ 4150591 w 7238240"/>
              <a:gd name="connsiteY4" fmla="*/ 686326 h 7000777"/>
              <a:gd name="connsiteX5" fmla="*/ 5126641 w 7238240"/>
              <a:gd name="connsiteY5" fmla="*/ 526962 h 7000777"/>
              <a:gd name="connsiteX6" fmla="*/ 6115566 w 7238240"/>
              <a:gd name="connsiteY6" fmla="*/ 399165 h 7000777"/>
              <a:gd name="connsiteX7" fmla="*/ 7238240 w 7238240"/>
              <a:gd name="connsiteY7" fmla="*/ 465886 h 7000777"/>
              <a:gd name="connsiteX0" fmla="*/ 0 w 7238240"/>
              <a:gd name="connsiteY0" fmla="*/ 6555468 h 6878862"/>
              <a:gd name="connsiteX1" fmla="*/ 978509 w 7238240"/>
              <a:gd name="connsiteY1" fmla="*/ 6589271 h 6878862"/>
              <a:gd name="connsiteX2" fmla="*/ 2001613 w 7238240"/>
              <a:gd name="connsiteY2" fmla="*/ 6321057 h 6878862"/>
              <a:gd name="connsiteX3" fmla="*/ 3141206 w 7238240"/>
              <a:gd name="connsiteY3" fmla="*/ 0 h 6878862"/>
              <a:gd name="connsiteX4" fmla="*/ 4150591 w 7238240"/>
              <a:gd name="connsiteY4" fmla="*/ 290285 h 6878862"/>
              <a:gd name="connsiteX5" fmla="*/ 5126641 w 7238240"/>
              <a:gd name="connsiteY5" fmla="*/ 130921 h 6878862"/>
              <a:gd name="connsiteX6" fmla="*/ 6115566 w 7238240"/>
              <a:gd name="connsiteY6" fmla="*/ 3124 h 6878862"/>
              <a:gd name="connsiteX7" fmla="*/ 7238240 w 7238240"/>
              <a:gd name="connsiteY7" fmla="*/ 69845 h 6878862"/>
              <a:gd name="connsiteX0" fmla="*/ 0 w 7238240"/>
              <a:gd name="connsiteY0" fmla="*/ 6555468 h 6604735"/>
              <a:gd name="connsiteX1" fmla="*/ 978509 w 7238240"/>
              <a:gd name="connsiteY1" fmla="*/ 6589271 h 6604735"/>
              <a:gd name="connsiteX2" fmla="*/ 2001613 w 7238240"/>
              <a:gd name="connsiteY2" fmla="*/ 6321057 h 6604735"/>
              <a:gd name="connsiteX3" fmla="*/ 3141206 w 7238240"/>
              <a:gd name="connsiteY3" fmla="*/ 0 h 6604735"/>
              <a:gd name="connsiteX4" fmla="*/ 4150591 w 7238240"/>
              <a:gd name="connsiteY4" fmla="*/ 290285 h 6604735"/>
              <a:gd name="connsiteX5" fmla="*/ 5126641 w 7238240"/>
              <a:gd name="connsiteY5" fmla="*/ 130921 h 6604735"/>
              <a:gd name="connsiteX6" fmla="*/ 6115566 w 7238240"/>
              <a:gd name="connsiteY6" fmla="*/ 3124 h 6604735"/>
              <a:gd name="connsiteX7" fmla="*/ 7238240 w 7238240"/>
              <a:gd name="connsiteY7" fmla="*/ 69845 h 6604735"/>
              <a:gd name="connsiteX0" fmla="*/ 0 w 7238240"/>
              <a:gd name="connsiteY0" fmla="*/ 6555468 h 6593064"/>
              <a:gd name="connsiteX1" fmla="*/ 978509 w 7238240"/>
              <a:gd name="connsiteY1" fmla="*/ 6589271 h 6593064"/>
              <a:gd name="connsiteX2" fmla="*/ 2019135 w 7238240"/>
              <a:gd name="connsiteY2" fmla="*/ 6485350 h 6593064"/>
              <a:gd name="connsiteX3" fmla="*/ 3141206 w 7238240"/>
              <a:gd name="connsiteY3" fmla="*/ 0 h 6593064"/>
              <a:gd name="connsiteX4" fmla="*/ 4150591 w 7238240"/>
              <a:gd name="connsiteY4" fmla="*/ 290285 h 6593064"/>
              <a:gd name="connsiteX5" fmla="*/ 5126641 w 7238240"/>
              <a:gd name="connsiteY5" fmla="*/ 130921 h 6593064"/>
              <a:gd name="connsiteX6" fmla="*/ 6115566 w 7238240"/>
              <a:gd name="connsiteY6" fmla="*/ 3124 h 6593064"/>
              <a:gd name="connsiteX7" fmla="*/ 7238240 w 7238240"/>
              <a:gd name="connsiteY7" fmla="*/ 69845 h 6593064"/>
              <a:gd name="connsiteX0" fmla="*/ 0 w 7238240"/>
              <a:gd name="connsiteY0" fmla="*/ 6555468 h 6593064"/>
              <a:gd name="connsiteX1" fmla="*/ 978509 w 7238240"/>
              <a:gd name="connsiteY1" fmla="*/ 6589271 h 6593064"/>
              <a:gd name="connsiteX2" fmla="*/ 2019135 w 7238240"/>
              <a:gd name="connsiteY2" fmla="*/ 6485350 h 6593064"/>
              <a:gd name="connsiteX3" fmla="*/ 3141206 w 7238240"/>
              <a:gd name="connsiteY3" fmla="*/ 0 h 6593064"/>
              <a:gd name="connsiteX4" fmla="*/ 4150591 w 7238240"/>
              <a:gd name="connsiteY4" fmla="*/ 290285 h 6593064"/>
              <a:gd name="connsiteX5" fmla="*/ 5126641 w 7238240"/>
              <a:gd name="connsiteY5" fmla="*/ 130921 h 6593064"/>
              <a:gd name="connsiteX6" fmla="*/ 6115566 w 7238240"/>
              <a:gd name="connsiteY6" fmla="*/ 3124 h 6593064"/>
              <a:gd name="connsiteX7" fmla="*/ 7238240 w 7238240"/>
              <a:gd name="connsiteY7" fmla="*/ 69845 h 6593064"/>
              <a:gd name="connsiteX0" fmla="*/ 0 w 7238240"/>
              <a:gd name="connsiteY0" fmla="*/ 6555468 h 6589271"/>
              <a:gd name="connsiteX1" fmla="*/ 978509 w 7238240"/>
              <a:gd name="connsiteY1" fmla="*/ 6589271 h 6589271"/>
              <a:gd name="connsiteX2" fmla="*/ 2019135 w 7238240"/>
              <a:gd name="connsiteY2" fmla="*/ 6579232 h 6589271"/>
              <a:gd name="connsiteX3" fmla="*/ 3141206 w 7238240"/>
              <a:gd name="connsiteY3" fmla="*/ 0 h 6589271"/>
              <a:gd name="connsiteX4" fmla="*/ 4150591 w 7238240"/>
              <a:gd name="connsiteY4" fmla="*/ 290285 h 6589271"/>
              <a:gd name="connsiteX5" fmla="*/ 5126641 w 7238240"/>
              <a:gd name="connsiteY5" fmla="*/ 130921 h 6589271"/>
              <a:gd name="connsiteX6" fmla="*/ 6115566 w 7238240"/>
              <a:gd name="connsiteY6" fmla="*/ 3124 h 6589271"/>
              <a:gd name="connsiteX7" fmla="*/ 7238240 w 7238240"/>
              <a:gd name="connsiteY7" fmla="*/ 69845 h 6589271"/>
              <a:gd name="connsiteX0" fmla="*/ 0 w 7238240"/>
              <a:gd name="connsiteY0" fmla="*/ 6555468 h 7987465"/>
              <a:gd name="connsiteX1" fmla="*/ 978509 w 7238240"/>
              <a:gd name="connsiteY1" fmla="*/ 6589271 h 7987465"/>
              <a:gd name="connsiteX2" fmla="*/ 1978252 w 7238240"/>
              <a:gd name="connsiteY2" fmla="*/ 7987465 h 7987465"/>
              <a:gd name="connsiteX3" fmla="*/ 3141206 w 7238240"/>
              <a:gd name="connsiteY3" fmla="*/ 0 h 7987465"/>
              <a:gd name="connsiteX4" fmla="*/ 4150591 w 7238240"/>
              <a:gd name="connsiteY4" fmla="*/ 290285 h 7987465"/>
              <a:gd name="connsiteX5" fmla="*/ 5126641 w 7238240"/>
              <a:gd name="connsiteY5" fmla="*/ 130921 h 7987465"/>
              <a:gd name="connsiteX6" fmla="*/ 6115566 w 7238240"/>
              <a:gd name="connsiteY6" fmla="*/ 3124 h 7987465"/>
              <a:gd name="connsiteX7" fmla="*/ 7238240 w 7238240"/>
              <a:gd name="connsiteY7" fmla="*/ 69845 h 7987465"/>
              <a:gd name="connsiteX0" fmla="*/ 0 w 7238240"/>
              <a:gd name="connsiteY0" fmla="*/ 6555468 h 7987911"/>
              <a:gd name="connsiteX1" fmla="*/ 978509 w 7238240"/>
              <a:gd name="connsiteY1" fmla="*/ 6589271 h 7987911"/>
              <a:gd name="connsiteX2" fmla="*/ 1978252 w 7238240"/>
              <a:gd name="connsiteY2" fmla="*/ 7987465 h 7987911"/>
              <a:gd name="connsiteX3" fmla="*/ 3141206 w 7238240"/>
              <a:gd name="connsiteY3" fmla="*/ 0 h 7987911"/>
              <a:gd name="connsiteX4" fmla="*/ 4150591 w 7238240"/>
              <a:gd name="connsiteY4" fmla="*/ 290285 h 7987911"/>
              <a:gd name="connsiteX5" fmla="*/ 5126641 w 7238240"/>
              <a:gd name="connsiteY5" fmla="*/ 130921 h 7987911"/>
              <a:gd name="connsiteX6" fmla="*/ 6115566 w 7238240"/>
              <a:gd name="connsiteY6" fmla="*/ 3124 h 7987911"/>
              <a:gd name="connsiteX7" fmla="*/ 7238240 w 7238240"/>
              <a:gd name="connsiteY7" fmla="*/ 69845 h 7987911"/>
              <a:gd name="connsiteX0" fmla="*/ 0 w 7238240"/>
              <a:gd name="connsiteY0" fmla="*/ 6555468 h 7990641"/>
              <a:gd name="connsiteX1" fmla="*/ 978509 w 7238240"/>
              <a:gd name="connsiteY1" fmla="*/ 6589271 h 7990641"/>
              <a:gd name="connsiteX2" fmla="*/ 1978252 w 7238240"/>
              <a:gd name="connsiteY2" fmla="*/ 7987465 h 7990641"/>
              <a:gd name="connsiteX3" fmla="*/ 3141206 w 7238240"/>
              <a:gd name="connsiteY3" fmla="*/ 0 h 7990641"/>
              <a:gd name="connsiteX4" fmla="*/ 4150591 w 7238240"/>
              <a:gd name="connsiteY4" fmla="*/ 290285 h 7990641"/>
              <a:gd name="connsiteX5" fmla="*/ 5126641 w 7238240"/>
              <a:gd name="connsiteY5" fmla="*/ 130921 h 7990641"/>
              <a:gd name="connsiteX6" fmla="*/ 6115566 w 7238240"/>
              <a:gd name="connsiteY6" fmla="*/ 3124 h 7990641"/>
              <a:gd name="connsiteX7" fmla="*/ 7238240 w 7238240"/>
              <a:gd name="connsiteY7" fmla="*/ 69845 h 7990641"/>
              <a:gd name="connsiteX0" fmla="*/ 0 w 7238240"/>
              <a:gd name="connsiteY0" fmla="*/ 6555468 h 7987471"/>
              <a:gd name="connsiteX1" fmla="*/ 978509 w 7238240"/>
              <a:gd name="connsiteY1" fmla="*/ 6589271 h 7987471"/>
              <a:gd name="connsiteX2" fmla="*/ 1978252 w 7238240"/>
              <a:gd name="connsiteY2" fmla="*/ 7987465 h 7987471"/>
              <a:gd name="connsiteX3" fmla="*/ 3141206 w 7238240"/>
              <a:gd name="connsiteY3" fmla="*/ 0 h 7987471"/>
              <a:gd name="connsiteX4" fmla="*/ 4150591 w 7238240"/>
              <a:gd name="connsiteY4" fmla="*/ 290285 h 7987471"/>
              <a:gd name="connsiteX5" fmla="*/ 5126641 w 7238240"/>
              <a:gd name="connsiteY5" fmla="*/ 130921 h 7987471"/>
              <a:gd name="connsiteX6" fmla="*/ 6115566 w 7238240"/>
              <a:gd name="connsiteY6" fmla="*/ 3124 h 7987471"/>
              <a:gd name="connsiteX7" fmla="*/ 7238240 w 7238240"/>
              <a:gd name="connsiteY7" fmla="*/ 69845 h 7987471"/>
              <a:gd name="connsiteX0" fmla="*/ 0 w 7238240"/>
              <a:gd name="connsiteY0" fmla="*/ 7052080 h 10635919"/>
              <a:gd name="connsiteX1" fmla="*/ 978509 w 7238240"/>
              <a:gd name="connsiteY1" fmla="*/ 7085883 h 10635919"/>
              <a:gd name="connsiteX2" fmla="*/ 1978252 w 7238240"/>
              <a:gd name="connsiteY2" fmla="*/ 8484077 h 10635919"/>
              <a:gd name="connsiteX3" fmla="*/ 2960151 w 7238240"/>
              <a:gd name="connsiteY3" fmla="*/ 10635895 h 10635919"/>
              <a:gd name="connsiteX4" fmla="*/ 4150591 w 7238240"/>
              <a:gd name="connsiteY4" fmla="*/ 786897 h 10635919"/>
              <a:gd name="connsiteX5" fmla="*/ 5126641 w 7238240"/>
              <a:gd name="connsiteY5" fmla="*/ 627533 h 10635919"/>
              <a:gd name="connsiteX6" fmla="*/ 6115566 w 7238240"/>
              <a:gd name="connsiteY6" fmla="*/ 499736 h 10635919"/>
              <a:gd name="connsiteX7" fmla="*/ 7238240 w 7238240"/>
              <a:gd name="connsiteY7" fmla="*/ 566457 h 10635919"/>
              <a:gd name="connsiteX0" fmla="*/ 0 w 7238240"/>
              <a:gd name="connsiteY0" fmla="*/ 6553372 h 11523203"/>
              <a:gd name="connsiteX1" fmla="*/ 978509 w 7238240"/>
              <a:gd name="connsiteY1" fmla="*/ 6587175 h 11523203"/>
              <a:gd name="connsiteX2" fmla="*/ 1978252 w 7238240"/>
              <a:gd name="connsiteY2" fmla="*/ 7985369 h 11523203"/>
              <a:gd name="connsiteX3" fmla="*/ 2960151 w 7238240"/>
              <a:gd name="connsiteY3" fmla="*/ 10137187 h 11523203"/>
              <a:gd name="connsiteX4" fmla="*/ 4016260 w 7238240"/>
              <a:gd name="connsiteY4" fmla="*/ 10943826 h 11523203"/>
              <a:gd name="connsiteX5" fmla="*/ 5126641 w 7238240"/>
              <a:gd name="connsiteY5" fmla="*/ 128825 h 11523203"/>
              <a:gd name="connsiteX6" fmla="*/ 6115566 w 7238240"/>
              <a:gd name="connsiteY6" fmla="*/ 1028 h 11523203"/>
              <a:gd name="connsiteX7" fmla="*/ 7238240 w 7238240"/>
              <a:gd name="connsiteY7" fmla="*/ 67749 h 11523203"/>
              <a:gd name="connsiteX0" fmla="*/ 0 w 7238240"/>
              <a:gd name="connsiteY0" fmla="*/ 6553372 h 10944390"/>
              <a:gd name="connsiteX1" fmla="*/ 978509 w 7238240"/>
              <a:gd name="connsiteY1" fmla="*/ 6587175 h 10944390"/>
              <a:gd name="connsiteX2" fmla="*/ 1978252 w 7238240"/>
              <a:gd name="connsiteY2" fmla="*/ 7985369 h 10944390"/>
              <a:gd name="connsiteX3" fmla="*/ 2960151 w 7238240"/>
              <a:gd name="connsiteY3" fmla="*/ 10137187 h 10944390"/>
              <a:gd name="connsiteX4" fmla="*/ 4016260 w 7238240"/>
              <a:gd name="connsiteY4" fmla="*/ 10943826 h 10944390"/>
              <a:gd name="connsiteX5" fmla="*/ 5126641 w 7238240"/>
              <a:gd name="connsiteY5" fmla="*/ 128825 h 10944390"/>
              <a:gd name="connsiteX6" fmla="*/ 6115566 w 7238240"/>
              <a:gd name="connsiteY6" fmla="*/ 1028 h 10944390"/>
              <a:gd name="connsiteX7" fmla="*/ 7238240 w 7238240"/>
              <a:gd name="connsiteY7" fmla="*/ 67749 h 10944390"/>
              <a:gd name="connsiteX0" fmla="*/ 0 w 7238240"/>
              <a:gd name="connsiteY0" fmla="*/ 6553372 h 10944390"/>
              <a:gd name="connsiteX1" fmla="*/ 978509 w 7238240"/>
              <a:gd name="connsiteY1" fmla="*/ 6587175 h 10944390"/>
              <a:gd name="connsiteX2" fmla="*/ 1978252 w 7238240"/>
              <a:gd name="connsiteY2" fmla="*/ 7985369 h 10944390"/>
              <a:gd name="connsiteX3" fmla="*/ 2960151 w 7238240"/>
              <a:gd name="connsiteY3" fmla="*/ 10137187 h 10944390"/>
              <a:gd name="connsiteX4" fmla="*/ 4016260 w 7238240"/>
              <a:gd name="connsiteY4" fmla="*/ 10943826 h 10944390"/>
              <a:gd name="connsiteX5" fmla="*/ 5126641 w 7238240"/>
              <a:gd name="connsiteY5" fmla="*/ 128825 h 10944390"/>
              <a:gd name="connsiteX6" fmla="*/ 6115566 w 7238240"/>
              <a:gd name="connsiteY6" fmla="*/ 1028 h 10944390"/>
              <a:gd name="connsiteX7" fmla="*/ 7238240 w 7238240"/>
              <a:gd name="connsiteY7" fmla="*/ 67749 h 10944390"/>
              <a:gd name="connsiteX0" fmla="*/ 0 w 7238240"/>
              <a:gd name="connsiteY0" fmla="*/ 6552360 h 11019994"/>
              <a:gd name="connsiteX1" fmla="*/ 978509 w 7238240"/>
              <a:gd name="connsiteY1" fmla="*/ 6586163 h 11019994"/>
              <a:gd name="connsiteX2" fmla="*/ 1978252 w 7238240"/>
              <a:gd name="connsiteY2" fmla="*/ 7984357 h 11019994"/>
              <a:gd name="connsiteX3" fmla="*/ 2960151 w 7238240"/>
              <a:gd name="connsiteY3" fmla="*/ 10136175 h 11019994"/>
              <a:gd name="connsiteX4" fmla="*/ 4016260 w 7238240"/>
              <a:gd name="connsiteY4" fmla="*/ 10942814 h 11019994"/>
              <a:gd name="connsiteX5" fmla="*/ 5033194 w 7238240"/>
              <a:gd name="connsiteY5" fmla="*/ 7826160 h 11019994"/>
              <a:gd name="connsiteX6" fmla="*/ 6115566 w 7238240"/>
              <a:gd name="connsiteY6" fmla="*/ 16 h 11019994"/>
              <a:gd name="connsiteX7" fmla="*/ 7238240 w 7238240"/>
              <a:gd name="connsiteY7" fmla="*/ 66737 h 11019994"/>
              <a:gd name="connsiteX0" fmla="*/ 0 w 7238240"/>
              <a:gd name="connsiteY0" fmla="*/ 6552360 h 11010427"/>
              <a:gd name="connsiteX1" fmla="*/ 978509 w 7238240"/>
              <a:gd name="connsiteY1" fmla="*/ 6586163 h 11010427"/>
              <a:gd name="connsiteX2" fmla="*/ 1978252 w 7238240"/>
              <a:gd name="connsiteY2" fmla="*/ 7984357 h 11010427"/>
              <a:gd name="connsiteX3" fmla="*/ 2960151 w 7238240"/>
              <a:gd name="connsiteY3" fmla="*/ 10136175 h 11010427"/>
              <a:gd name="connsiteX4" fmla="*/ 4016260 w 7238240"/>
              <a:gd name="connsiteY4" fmla="*/ 10942814 h 11010427"/>
              <a:gd name="connsiteX5" fmla="*/ 5015673 w 7238240"/>
              <a:gd name="connsiteY5" fmla="*/ 8013925 h 11010427"/>
              <a:gd name="connsiteX6" fmla="*/ 6115566 w 7238240"/>
              <a:gd name="connsiteY6" fmla="*/ 16 h 11010427"/>
              <a:gd name="connsiteX7" fmla="*/ 7238240 w 7238240"/>
              <a:gd name="connsiteY7" fmla="*/ 66737 h 11010427"/>
              <a:gd name="connsiteX0" fmla="*/ 0 w 7238240"/>
              <a:gd name="connsiteY0" fmla="*/ 6485732 h 10943799"/>
              <a:gd name="connsiteX1" fmla="*/ 978509 w 7238240"/>
              <a:gd name="connsiteY1" fmla="*/ 6519535 h 10943799"/>
              <a:gd name="connsiteX2" fmla="*/ 1978252 w 7238240"/>
              <a:gd name="connsiteY2" fmla="*/ 7917729 h 10943799"/>
              <a:gd name="connsiteX3" fmla="*/ 2960151 w 7238240"/>
              <a:gd name="connsiteY3" fmla="*/ 10069547 h 10943799"/>
              <a:gd name="connsiteX4" fmla="*/ 4016260 w 7238240"/>
              <a:gd name="connsiteY4" fmla="*/ 10876186 h 10943799"/>
              <a:gd name="connsiteX5" fmla="*/ 5015673 w 7238240"/>
              <a:gd name="connsiteY5" fmla="*/ 7947297 h 10943799"/>
              <a:gd name="connsiteX6" fmla="*/ 5992917 w 7238240"/>
              <a:gd name="connsiteY6" fmla="*/ 7866439 h 10943799"/>
              <a:gd name="connsiteX7" fmla="*/ 7238240 w 7238240"/>
              <a:gd name="connsiteY7" fmla="*/ 109 h 10943799"/>
              <a:gd name="connsiteX0" fmla="*/ 0 w 7238240"/>
              <a:gd name="connsiteY0" fmla="*/ 6485723 h 10943790"/>
              <a:gd name="connsiteX1" fmla="*/ 978509 w 7238240"/>
              <a:gd name="connsiteY1" fmla="*/ 6519526 h 10943790"/>
              <a:gd name="connsiteX2" fmla="*/ 1978252 w 7238240"/>
              <a:gd name="connsiteY2" fmla="*/ 7917720 h 10943790"/>
              <a:gd name="connsiteX3" fmla="*/ 2960151 w 7238240"/>
              <a:gd name="connsiteY3" fmla="*/ 10069538 h 10943790"/>
              <a:gd name="connsiteX4" fmla="*/ 4016260 w 7238240"/>
              <a:gd name="connsiteY4" fmla="*/ 10876177 h 10943790"/>
              <a:gd name="connsiteX5" fmla="*/ 5015673 w 7238240"/>
              <a:gd name="connsiteY5" fmla="*/ 7947288 h 10943790"/>
              <a:gd name="connsiteX6" fmla="*/ 5992917 w 7238240"/>
              <a:gd name="connsiteY6" fmla="*/ 8382783 h 10943790"/>
              <a:gd name="connsiteX7" fmla="*/ 7238240 w 7238240"/>
              <a:gd name="connsiteY7" fmla="*/ 100 h 10943790"/>
              <a:gd name="connsiteX0" fmla="*/ 0 w 7238240"/>
              <a:gd name="connsiteY0" fmla="*/ 6485723 h 10943790"/>
              <a:gd name="connsiteX1" fmla="*/ 978509 w 7238240"/>
              <a:gd name="connsiteY1" fmla="*/ 6519526 h 10943790"/>
              <a:gd name="connsiteX2" fmla="*/ 1978252 w 7238240"/>
              <a:gd name="connsiteY2" fmla="*/ 7917720 h 10943790"/>
              <a:gd name="connsiteX3" fmla="*/ 2960151 w 7238240"/>
              <a:gd name="connsiteY3" fmla="*/ 10069538 h 10943790"/>
              <a:gd name="connsiteX4" fmla="*/ 4016260 w 7238240"/>
              <a:gd name="connsiteY4" fmla="*/ 10876177 h 10943790"/>
              <a:gd name="connsiteX5" fmla="*/ 5015673 w 7238240"/>
              <a:gd name="connsiteY5" fmla="*/ 7947288 h 10943790"/>
              <a:gd name="connsiteX6" fmla="*/ 5992917 w 7238240"/>
              <a:gd name="connsiteY6" fmla="*/ 8382783 h 10943790"/>
              <a:gd name="connsiteX7" fmla="*/ 7238240 w 7238240"/>
              <a:gd name="connsiteY7" fmla="*/ 100 h 10943790"/>
              <a:gd name="connsiteX0" fmla="*/ 0 w 7238240"/>
              <a:gd name="connsiteY0" fmla="*/ 6485723 h 10943790"/>
              <a:gd name="connsiteX1" fmla="*/ 978509 w 7238240"/>
              <a:gd name="connsiteY1" fmla="*/ 6519526 h 10943790"/>
              <a:gd name="connsiteX2" fmla="*/ 1978252 w 7238240"/>
              <a:gd name="connsiteY2" fmla="*/ 7917720 h 10943790"/>
              <a:gd name="connsiteX3" fmla="*/ 2960151 w 7238240"/>
              <a:gd name="connsiteY3" fmla="*/ 10069538 h 10943790"/>
              <a:gd name="connsiteX4" fmla="*/ 4016260 w 7238240"/>
              <a:gd name="connsiteY4" fmla="*/ 10876177 h 10943790"/>
              <a:gd name="connsiteX5" fmla="*/ 5015673 w 7238240"/>
              <a:gd name="connsiteY5" fmla="*/ 7947288 h 10943790"/>
              <a:gd name="connsiteX6" fmla="*/ 5992917 w 7238240"/>
              <a:gd name="connsiteY6" fmla="*/ 8382783 h 10943790"/>
              <a:gd name="connsiteX7" fmla="*/ 7238240 w 7238240"/>
              <a:gd name="connsiteY7" fmla="*/ 100 h 10943790"/>
              <a:gd name="connsiteX0" fmla="*/ 0 w 7238240"/>
              <a:gd name="connsiteY0" fmla="*/ 6485723 h 10943790"/>
              <a:gd name="connsiteX1" fmla="*/ 978509 w 7238240"/>
              <a:gd name="connsiteY1" fmla="*/ 6519526 h 10943790"/>
              <a:gd name="connsiteX2" fmla="*/ 1978252 w 7238240"/>
              <a:gd name="connsiteY2" fmla="*/ 7917720 h 10943790"/>
              <a:gd name="connsiteX3" fmla="*/ 2960151 w 7238240"/>
              <a:gd name="connsiteY3" fmla="*/ 10069538 h 10943790"/>
              <a:gd name="connsiteX4" fmla="*/ 4016260 w 7238240"/>
              <a:gd name="connsiteY4" fmla="*/ 10876177 h 10943790"/>
              <a:gd name="connsiteX5" fmla="*/ 5015673 w 7238240"/>
              <a:gd name="connsiteY5" fmla="*/ 7947288 h 10943790"/>
              <a:gd name="connsiteX6" fmla="*/ 5987077 w 7238240"/>
              <a:gd name="connsiteY6" fmla="*/ 8570549 h 10943790"/>
              <a:gd name="connsiteX7" fmla="*/ 7238240 w 7238240"/>
              <a:gd name="connsiteY7" fmla="*/ 100 h 10943790"/>
              <a:gd name="connsiteX0" fmla="*/ 0 w 7168155"/>
              <a:gd name="connsiteY0" fmla="*/ 336682 h 4794749"/>
              <a:gd name="connsiteX1" fmla="*/ 978509 w 7168155"/>
              <a:gd name="connsiteY1" fmla="*/ 370485 h 4794749"/>
              <a:gd name="connsiteX2" fmla="*/ 1978252 w 7168155"/>
              <a:gd name="connsiteY2" fmla="*/ 1768679 h 4794749"/>
              <a:gd name="connsiteX3" fmla="*/ 2960151 w 7168155"/>
              <a:gd name="connsiteY3" fmla="*/ 3920497 h 4794749"/>
              <a:gd name="connsiteX4" fmla="*/ 4016260 w 7168155"/>
              <a:gd name="connsiteY4" fmla="*/ 4727136 h 4794749"/>
              <a:gd name="connsiteX5" fmla="*/ 5015673 w 7168155"/>
              <a:gd name="connsiteY5" fmla="*/ 1798247 h 4794749"/>
              <a:gd name="connsiteX6" fmla="*/ 5987077 w 7168155"/>
              <a:gd name="connsiteY6" fmla="*/ 2421508 h 4794749"/>
              <a:gd name="connsiteX7" fmla="*/ 7168155 w 7168155"/>
              <a:gd name="connsiteY7" fmla="*/ 345 h 4794749"/>
              <a:gd name="connsiteX0" fmla="*/ 0 w 7016302"/>
              <a:gd name="connsiteY0" fmla="*/ 74678 h 4532745"/>
              <a:gd name="connsiteX1" fmla="*/ 978509 w 7016302"/>
              <a:gd name="connsiteY1" fmla="*/ 108481 h 4532745"/>
              <a:gd name="connsiteX2" fmla="*/ 1978252 w 7016302"/>
              <a:gd name="connsiteY2" fmla="*/ 1506675 h 4532745"/>
              <a:gd name="connsiteX3" fmla="*/ 2960151 w 7016302"/>
              <a:gd name="connsiteY3" fmla="*/ 3658493 h 4532745"/>
              <a:gd name="connsiteX4" fmla="*/ 4016260 w 7016302"/>
              <a:gd name="connsiteY4" fmla="*/ 4465132 h 4532745"/>
              <a:gd name="connsiteX5" fmla="*/ 5015673 w 7016302"/>
              <a:gd name="connsiteY5" fmla="*/ 1536243 h 4532745"/>
              <a:gd name="connsiteX6" fmla="*/ 5987077 w 7016302"/>
              <a:gd name="connsiteY6" fmla="*/ 2159504 h 4532745"/>
              <a:gd name="connsiteX7" fmla="*/ 7016302 w 7016302"/>
              <a:gd name="connsiteY7" fmla="*/ 1404753 h 4532745"/>
              <a:gd name="connsiteX0" fmla="*/ 0 w 7016302"/>
              <a:gd name="connsiteY0" fmla="*/ 74678 h 4532745"/>
              <a:gd name="connsiteX1" fmla="*/ 978509 w 7016302"/>
              <a:gd name="connsiteY1" fmla="*/ 108481 h 4532745"/>
              <a:gd name="connsiteX2" fmla="*/ 1978252 w 7016302"/>
              <a:gd name="connsiteY2" fmla="*/ 1506675 h 4532745"/>
              <a:gd name="connsiteX3" fmla="*/ 2960151 w 7016302"/>
              <a:gd name="connsiteY3" fmla="*/ 3658493 h 4532745"/>
              <a:gd name="connsiteX4" fmla="*/ 4016260 w 7016302"/>
              <a:gd name="connsiteY4" fmla="*/ 4465132 h 4532745"/>
              <a:gd name="connsiteX5" fmla="*/ 5015673 w 7016302"/>
              <a:gd name="connsiteY5" fmla="*/ 1536243 h 4532745"/>
              <a:gd name="connsiteX6" fmla="*/ 5987077 w 7016302"/>
              <a:gd name="connsiteY6" fmla="*/ 2159504 h 4532745"/>
              <a:gd name="connsiteX7" fmla="*/ 7016302 w 7016302"/>
              <a:gd name="connsiteY7" fmla="*/ 1404753 h 453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6302" h="4532745">
                <a:moveTo>
                  <a:pt x="0" y="74678"/>
                </a:moveTo>
                <a:cubicBezTo>
                  <a:pt x="254215" y="103711"/>
                  <a:pt x="648800" y="-130185"/>
                  <a:pt x="978509" y="108481"/>
                </a:cubicBezTo>
                <a:cubicBezTo>
                  <a:pt x="1308218" y="347147"/>
                  <a:pt x="1647978" y="915006"/>
                  <a:pt x="1978252" y="1506675"/>
                </a:cubicBezTo>
                <a:cubicBezTo>
                  <a:pt x="2308526" y="2098344"/>
                  <a:pt x="2766351" y="3665857"/>
                  <a:pt x="2960151" y="3658493"/>
                </a:cubicBezTo>
                <a:cubicBezTo>
                  <a:pt x="3275478" y="3670181"/>
                  <a:pt x="3673673" y="4818840"/>
                  <a:pt x="4016260" y="4465132"/>
                </a:cubicBezTo>
                <a:cubicBezTo>
                  <a:pt x="4358847" y="4111424"/>
                  <a:pt x="4749969" y="1528748"/>
                  <a:pt x="5015673" y="1536243"/>
                </a:cubicBezTo>
                <a:cubicBezTo>
                  <a:pt x="5328399" y="1511679"/>
                  <a:pt x="5765968" y="2193326"/>
                  <a:pt x="5987077" y="2159504"/>
                </a:cubicBezTo>
                <a:cubicBezTo>
                  <a:pt x="6190666" y="2149152"/>
                  <a:pt x="6851371" y="1488389"/>
                  <a:pt x="7016302" y="1404753"/>
                </a:cubicBezTo>
              </a:path>
            </a:pathLst>
          </a:custGeom>
          <a:noFill/>
          <a:ln w="136525" cap="rnd" cmpd="sng" algn="ctr">
            <a:solidFill>
              <a:srgbClr val="FFCD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135" name="Freeform 42">
            <a:extLst>
              <a:ext uri="{FF2B5EF4-FFF2-40B4-BE49-F238E27FC236}">
                <a16:creationId xmlns:a16="http://schemas.microsoft.com/office/drawing/2014/main" id="{8B99F392-EE41-46AD-AE59-A30442473B9B}"/>
              </a:ext>
            </a:extLst>
          </p:cNvPr>
          <p:cNvSpPr/>
          <p:nvPr/>
        </p:nvSpPr>
        <p:spPr bwMode="auto">
          <a:xfrm flipV="1">
            <a:off x="1248633" y="3123904"/>
            <a:ext cx="9639540" cy="932538"/>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869650 w 7136640"/>
              <a:gd name="connsiteY2" fmla="*/ 244077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211883 w 7136640"/>
              <a:gd name="connsiteY5" fmla="*/ 190348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6500954 w 7136640"/>
              <a:gd name="connsiteY8" fmla="*/ 80343 h 360799"/>
              <a:gd name="connsiteX9" fmla="*/ 7136640 w 7136640"/>
              <a:gd name="connsiteY9"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7136640 w 7136640"/>
              <a:gd name="connsiteY8" fmla="*/ 360799 h 360799"/>
              <a:gd name="connsiteX0" fmla="*/ 0 w 7074022"/>
              <a:gd name="connsiteY0" fmla="*/ 280402 h 360576"/>
              <a:gd name="connsiteX1" fmla="*/ 700803 w 7074022"/>
              <a:gd name="connsiteY1" fmla="*/ 203308 h 360576"/>
              <a:gd name="connsiteX2" fmla="*/ 1869650 w 7074022"/>
              <a:gd name="connsiteY2" fmla="*/ 333744 h 360576"/>
              <a:gd name="connsiteX3" fmla="*/ 2744581 w 7074022"/>
              <a:gd name="connsiteY3" fmla="*/ 309399 h 360576"/>
              <a:gd name="connsiteX4" fmla="*/ 3609121 w 7074022"/>
              <a:gd name="connsiteY4" fmla="*/ 9984 h 360576"/>
              <a:gd name="connsiteX5" fmla="*/ 4468614 w 7074022"/>
              <a:gd name="connsiteY5" fmla="*/ 356320 h 360576"/>
              <a:gd name="connsiteX6" fmla="*/ 5280714 w 7074022"/>
              <a:gd name="connsiteY6" fmla="*/ 214988 h 360576"/>
              <a:gd name="connsiteX7" fmla="*/ 6344970 w 7074022"/>
              <a:gd name="connsiteY7" fmla="*/ 208938 h 360576"/>
              <a:gd name="connsiteX8" fmla="*/ 7074022 w 7074022"/>
              <a:gd name="connsiteY8" fmla="*/ 3751 h 360576"/>
              <a:gd name="connsiteX0" fmla="*/ 0 w 7117854"/>
              <a:gd name="connsiteY0" fmla="*/ 287645 h 367819"/>
              <a:gd name="connsiteX1" fmla="*/ 700803 w 7117854"/>
              <a:gd name="connsiteY1" fmla="*/ 210551 h 367819"/>
              <a:gd name="connsiteX2" fmla="*/ 1869650 w 7117854"/>
              <a:gd name="connsiteY2" fmla="*/ 340987 h 367819"/>
              <a:gd name="connsiteX3" fmla="*/ 2744581 w 7117854"/>
              <a:gd name="connsiteY3" fmla="*/ 316642 h 367819"/>
              <a:gd name="connsiteX4" fmla="*/ 3609121 w 7117854"/>
              <a:gd name="connsiteY4" fmla="*/ 17227 h 367819"/>
              <a:gd name="connsiteX5" fmla="*/ 4468614 w 7117854"/>
              <a:gd name="connsiteY5" fmla="*/ 363563 h 367819"/>
              <a:gd name="connsiteX6" fmla="*/ 5280714 w 7117854"/>
              <a:gd name="connsiteY6" fmla="*/ 222231 h 367819"/>
              <a:gd name="connsiteX7" fmla="*/ 6344970 w 7117854"/>
              <a:gd name="connsiteY7" fmla="*/ 216181 h 367819"/>
              <a:gd name="connsiteX8" fmla="*/ 7117854 w 7117854"/>
              <a:gd name="connsiteY8" fmla="*/ 3653 h 367819"/>
              <a:gd name="connsiteX0" fmla="*/ 0 w 7117854"/>
              <a:gd name="connsiteY0" fmla="*/ 287645 h 375051"/>
              <a:gd name="connsiteX1" fmla="*/ 700803 w 7117854"/>
              <a:gd name="connsiteY1" fmla="*/ 210551 h 375051"/>
              <a:gd name="connsiteX2" fmla="*/ 1869650 w 7117854"/>
              <a:gd name="connsiteY2" fmla="*/ 340987 h 375051"/>
              <a:gd name="connsiteX3" fmla="*/ 2744581 w 7117854"/>
              <a:gd name="connsiteY3" fmla="*/ 316642 h 375051"/>
              <a:gd name="connsiteX4" fmla="*/ 3527718 w 7117854"/>
              <a:gd name="connsiteY4" fmla="*/ 358566 h 375051"/>
              <a:gd name="connsiteX5" fmla="*/ 4468614 w 7117854"/>
              <a:gd name="connsiteY5" fmla="*/ 363563 h 375051"/>
              <a:gd name="connsiteX6" fmla="*/ 5280714 w 7117854"/>
              <a:gd name="connsiteY6" fmla="*/ 222231 h 375051"/>
              <a:gd name="connsiteX7" fmla="*/ 6344970 w 7117854"/>
              <a:gd name="connsiteY7" fmla="*/ 216181 h 375051"/>
              <a:gd name="connsiteX8" fmla="*/ 7117854 w 7117854"/>
              <a:gd name="connsiteY8" fmla="*/ 3653 h 375051"/>
              <a:gd name="connsiteX0" fmla="*/ 0 w 7343277"/>
              <a:gd name="connsiteY0" fmla="*/ 82572 h 169978"/>
              <a:gd name="connsiteX1" fmla="*/ 700803 w 7343277"/>
              <a:gd name="connsiteY1" fmla="*/ 5478 h 169978"/>
              <a:gd name="connsiteX2" fmla="*/ 1869650 w 7343277"/>
              <a:gd name="connsiteY2" fmla="*/ 135914 h 169978"/>
              <a:gd name="connsiteX3" fmla="*/ 2744581 w 7343277"/>
              <a:gd name="connsiteY3" fmla="*/ 111569 h 169978"/>
              <a:gd name="connsiteX4" fmla="*/ 3527718 w 7343277"/>
              <a:gd name="connsiteY4" fmla="*/ 153493 h 169978"/>
              <a:gd name="connsiteX5" fmla="*/ 4468614 w 7343277"/>
              <a:gd name="connsiteY5" fmla="*/ 158490 h 169978"/>
              <a:gd name="connsiteX6" fmla="*/ 5280714 w 7343277"/>
              <a:gd name="connsiteY6" fmla="*/ 17158 h 169978"/>
              <a:gd name="connsiteX7" fmla="*/ 6344970 w 7343277"/>
              <a:gd name="connsiteY7" fmla="*/ 11108 h 169978"/>
              <a:gd name="connsiteX8" fmla="*/ 7343277 w 7343277"/>
              <a:gd name="connsiteY8" fmla="*/ 95876 h 169978"/>
              <a:gd name="connsiteX0" fmla="*/ 0 w 7343277"/>
              <a:gd name="connsiteY0" fmla="*/ 82572 h 169978"/>
              <a:gd name="connsiteX1" fmla="*/ 977775 w 7343277"/>
              <a:gd name="connsiteY1" fmla="*/ 88955 h 169978"/>
              <a:gd name="connsiteX2" fmla="*/ 1869650 w 7343277"/>
              <a:gd name="connsiteY2" fmla="*/ 135914 h 169978"/>
              <a:gd name="connsiteX3" fmla="*/ 2744581 w 7343277"/>
              <a:gd name="connsiteY3" fmla="*/ 111569 h 169978"/>
              <a:gd name="connsiteX4" fmla="*/ 3527718 w 7343277"/>
              <a:gd name="connsiteY4" fmla="*/ 153493 h 169978"/>
              <a:gd name="connsiteX5" fmla="*/ 4468614 w 7343277"/>
              <a:gd name="connsiteY5" fmla="*/ 158490 h 169978"/>
              <a:gd name="connsiteX6" fmla="*/ 5280714 w 7343277"/>
              <a:gd name="connsiteY6" fmla="*/ 17158 h 169978"/>
              <a:gd name="connsiteX7" fmla="*/ 6344970 w 7343277"/>
              <a:gd name="connsiteY7" fmla="*/ 11108 h 169978"/>
              <a:gd name="connsiteX8" fmla="*/ 7343277 w 7343277"/>
              <a:gd name="connsiteY8" fmla="*/ 95876 h 169978"/>
              <a:gd name="connsiteX0" fmla="*/ 0 w 7343277"/>
              <a:gd name="connsiteY0" fmla="*/ 82572 h 169978"/>
              <a:gd name="connsiteX1" fmla="*/ 977775 w 7343277"/>
              <a:gd name="connsiteY1" fmla="*/ 88955 h 169978"/>
              <a:gd name="connsiteX2" fmla="*/ 2021984 w 7343277"/>
              <a:gd name="connsiteY2" fmla="*/ 108088 h 169978"/>
              <a:gd name="connsiteX3" fmla="*/ 2744581 w 7343277"/>
              <a:gd name="connsiteY3" fmla="*/ 111569 h 169978"/>
              <a:gd name="connsiteX4" fmla="*/ 3527718 w 7343277"/>
              <a:gd name="connsiteY4" fmla="*/ 153493 h 169978"/>
              <a:gd name="connsiteX5" fmla="*/ 4468614 w 7343277"/>
              <a:gd name="connsiteY5" fmla="*/ 158490 h 169978"/>
              <a:gd name="connsiteX6" fmla="*/ 5280714 w 7343277"/>
              <a:gd name="connsiteY6" fmla="*/ 17158 h 169978"/>
              <a:gd name="connsiteX7" fmla="*/ 6344970 w 7343277"/>
              <a:gd name="connsiteY7" fmla="*/ 11108 h 169978"/>
              <a:gd name="connsiteX8" fmla="*/ 7343277 w 7343277"/>
              <a:gd name="connsiteY8" fmla="*/ 95876 h 169978"/>
              <a:gd name="connsiteX0" fmla="*/ 0 w 7343277"/>
              <a:gd name="connsiteY0" fmla="*/ 110133 h 197539"/>
              <a:gd name="connsiteX1" fmla="*/ 977775 w 7343277"/>
              <a:gd name="connsiteY1" fmla="*/ 116516 h 197539"/>
              <a:gd name="connsiteX2" fmla="*/ 2021984 w 7343277"/>
              <a:gd name="connsiteY2" fmla="*/ 135649 h 197539"/>
              <a:gd name="connsiteX3" fmla="*/ 2862294 w 7343277"/>
              <a:gd name="connsiteY3" fmla="*/ 0 h 197539"/>
              <a:gd name="connsiteX4" fmla="*/ 3527718 w 7343277"/>
              <a:gd name="connsiteY4" fmla="*/ 181054 h 197539"/>
              <a:gd name="connsiteX5" fmla="*/ 4468614 w 7343277"/>
              <a:gd name="connsiteY5" fmla="*/ 186051 h 197539"/>
              <a:gd name="connsiteX6" fmla="*/ 5280714 w 7343277"/>
              <a:gd name="connsiteY6" fmla="*/ 44719 h 197539"/>
              <a:gd name="connsiteX7" fmla="*/ 6344970 w 7343277"/>
              <a:gd name="connsiteY7" fmla="*/ 38669 h 197539"/>
              <a:gd name="connsiteX8" fmla="*/ 7343277 w 7343277"/>
              <a:gd name="connsiteY8" fmla="*/ 123437 h 197539"/>
              <a:gd name="connsiteX0" fmla="*/ 0 w 7343277"/>
              <a:gd name="connsiteY0" fmla="*/ 111083 h 187116"/>
              <a:gd name="connsiteX1" fmla="*/ 977775 w 7343277"/>
              <a:gd name="connsiteY1" fmla="*/ 117466 h 187116"/>
              <a:gd name="connsiteX2" fmla="*/ 2021984 w 7343277"/>
              <a:gd name="connsiteY2" fmla="*/ 136599 h 187116"/>
              <a:gd name="connsiteX3" fmla="*/ 2862294 w 7343277"/>
              <a:gd name="connsiteY3" fmla="*/ 950 h 187116"/>
              <a:gd name="connsiteX4" fmla="*/ 3735447 w 7343277"/>
              <a:gd name="connsiteY4" fmla="*/ 70701 h 187116"/>
              <a:gd name="connsiteX5" fmla="*/ 4468614 w 7343277"/>
              <a:gd name="connsiteY5" fmla="*/ 187001 h 187116"/>
              <a:gd name="connsiteX6" fmla="*/ 5280714 w 7343277"/>
              <a:gd name="connsiteY6" fmla="*/ 45669 h 187116"/>
              <a:gd name="connsiteX7" fmla="*/ 6344970 w 7343277"/>
              <a:gd name="connsiteY7" fmla="*/ 39619 h 187116"/>
              <a:gd name="connsiteX8" fmla="*/ 7343277 w 7343277"/>
              <a:gd name="connsiteY8" fmla="*/ 124387 h 187116"/>
              <a:gd name="connsiteX0" fmla="*/ 0 w 7343277"/>
              <a:gd name="connsiteY0" fmla="*/ 82572 h 158605"/>
              <a:gd name="connsiteX1" fmla="*/ 977775 w 7343277"/>
              <a:gd name="connsiteY1" fmla="*/ 88955 h 158605"/>
              <a:gd name="connsiteX2" fmla="*/ 2021984 w 7343277"/>
              <a:gd name="connsiteY2" fmla="*/ 108088 h 158605"/>
              <a:gd name="connsiteX3" fmla="*/ 2862294 w 7343277"/>
              <a:gd name="connsiteY3" fmla="*/ 55919 h 158605"/>
              <a:gd name="connsiteX4" fmla="*/ 3735447 w 7343277"/>
              <a:gd name="connsiteY4" fmla="*/ 42190 h 158605"/>
              <a:gd name="connsiteX5" fmla="*/ 4468614 w 7343277"/>
              <a:gd name="connsiteY5" fmla="*/ 158490 h 158605"/>
              <a:gd name="connsiteX6" fmla="*/ 5280714 w 7343277"/>
              <a:gd name="connsiteY6" fmla="*/ 17158 h 158605"/>
              <a:gd name="connsiteX7" fmla="*/ 6344970 w 7343277"/>
              <a:gd name="connsiteY7" fmla="*/ 11108 h 158605"/>
              <a:gd name="connsiteX8" fmla="*/ 7343277 w 7343277"/>
              <a:gd name="connsiteY8" fmla="*/ 95876 h 158605"/>
              <a:gd name="connsiteX0" fmla="*/ 0 w 7343277"/>
              <a:gd name="connsiteY0" fmla="*/ 82572 h 109107"/>
              <a:gd name="connsiteX1" fmla="*/ 977775 w 7343277"/>
              <a:gd name="connsiteY1" fmla="*/ 88955 h 109107"/>
              <a:gd name="connsiteX2" fmla="*/ 2021984 w 7343277"/>
              <a:gd name="connsiteY2" fmla="*/ 108088 h 109107"/>
              <a:gd name="connsiteX3" fmla="*/ 2862294 w 7343277"/>
              <a:gd name="connsiteY3" fmla="*/ 55919 h 109107"/>
              <a:gd name="connsiteX4" fmla="*/ 3735447 w 7343277"/>
              <a:gd name="connsiteY4" fmla="*/ 42190 h 109107"/>
              <a:gd name="connsiteX5" fmla="*/ 4510160 w 7343277"/>
              <a:gd name="connsiteY5" fmla="*/ 47187 h 109107"/>
              <a:gd name="connsiteX6" fmla="*/ 5280714 w 7343277"/>
              <a:gd name="connsiteY6" fmla="*/ 17158 h 109107"/>
              <a:gd name="connsiteX7" fmla="*/ 6344970 w 7343277"/>
              <a:gd name="connsiteY7" fmla="*/ 11108 h 109107"/>
              <a:gd name="connsiteX8" fmla="*/ 7343277 w 7343277"/>
              <a:gd name="connsiteY8" fmla="*/ 95876 h 109107"/>
              <a:gd name="connsiteX0" fmla="*/ 0 w 7343277"/>
              <a:gd name="connsiteY0" fmla="*/ 75340 h 101875"/>
              <a:gd name="connsiteX1" fmla="*/ 977775 w 7343277"/>
              <a:gd name="connsiteY1" fmla="*/ 81723 h 101875"/>
              <a:gd name="connsiteX2" fmla="*/ 2021984 w 7343277"/>
              <a:gd name="connsiteY2" fmla="*/ 100856 h 101875"/>
              <a:gd name="connsiteX3" fmla="*/ 2862294 w 7343277"/>
              <a:gd name="connsiteY3" fmla="*/ 48687 h 101875"/>
              <a:gd name="connsiteX4" fmla="*/ 3735447 w 7343277"/>
              <a:gd name="connsiteY4" fmla="*/ 34958 h 101875"/>
              <a:gd name="connsiteX5" fmla="*/ 4510160 w 7343277"/>
              <a:gd name="connsiteY5" fmla="*/ 39955 h 101875"/>
              <a:gd name="connsiteX6" fmla="*/ 5370730 w 7343277"/>
              <a:gd name="connsiteY6" fmla="*/ 37753 h 101875"/>
              <a:gd name="connsiteX7" fmla="*/ 6344970 w 7343277"/>
              <a:gd name="connsiteY7" fmla="*/ 3876 h 101875"/>
              <a:gd name="connsiteX8" fmla="*/ 7343277 w 7343277"/>
              <a:gd name="connsiteY8" fmla="*/ 88644 h 101875"/>
              <a:gd name="connsiteX0" fmla="*/ 0 w 7202698"/>
              <a:gd name="connsiteY0" fmla="*/ 7984372 h 7984372"/>
              <a:gd name="connsiteX1" fmla="*/ 837196 w 7202698"/>
              <a:gd name="connsiteY1" fmla="*/ 81723 h 7984372"/>
              <a:gd name="connsiteX2" fmla="*/ 1881405 w 7202698"/>
              <a:gd name="connsiteY2" fmla="*/ 100856 h 7984372"/>
              <a:gd name="connsiteX3" fmla="*/ 2721715 w 7202698"/>
              <a:gd name="connsiteY3" fmla="*/ 48687 h 7984372"/>
              <a:gd name="connsiteX4" fmla="*/ 3594868 w 7202698"/>
              <a:gd name="connsiteY4" fmla="*/ 34958 h 7984372"/>
              <a:gd name="connsiteX5" fmla="*/ 4369581 w 7202698"/>
              <a:gd name="connsiteY5" fmla="*/ 39955 h 7984372"/>
              <a:gd name="connsiteX6" fmla="*/ 5230151 w 7202698"/>
              <a:gd name="connsiteY6" fmla="*/ 37753 h 7984372"/>
              <a:gd name="connsiteX7" fmla="*/ 6204391 w 7202698"/>
              <a:gd name="connsiteY7" fmla="*/ 3876 h 7984372"/>
              <a:gd name="connsiteX8" fmla="*/ 7202698 w 7202698"/>
              <a:gd name="connsiteY8" fmla="*/ 88644 h 7984372"/>
              <a:gd name="connsiteX0" fmla="*/ 0 w 7202698"/>
              <a:gd name="connsiteY0" fmla="*/ 8411085 h 8411088"/>
              <a:gd name="connsiteX1" fmla="*/ 993395 w 7202698"/>
              <a:gd name="connsiteY1" fmla="*/ 7444529 h 8411088"/>
              <a:gd name="connsiteX2" fmla="*/ 1881405 w 7202698"/>
              <a:gd name="connsiteY2" fmla="*/ 527569 h 8411088"/>
              <a:gd name="connsiteX3" fmla="*/ 2721715 w 7202698"/>
              <a:gd name="connsiteY3" fmla="*/ 475400 h 8411088"/>
              <a:gd name="connsiteX4" fmla="*/ 3594868 w 7202698"/>
              <a:gd name="connsiteY4" fmla="*/ 461671 h 8411088"/>
              <a:gd name="connsiteX5" fmla="*/ 4369581 w 7202698"/>
              <a:gd name="connsiteY5" fmla="*/ 466668 h 8411088"/>
              <a:gd name="connsiteX6" fmla="*/ 5230151 w 7202698"/>
              <a:gd name="connsiteY6" fmla="*/ 464466 h 8411088"/>
              <a:gd name="connsiteX7" fmla="*/ 6204391 w 7202698"/>
              <a:gd name="connsiteY7" fmla="*/ 430589 h 8411088"/>
              <a:gd name="connsiteX8" fmla="*/ 7202698 w 7202698"/>
              <a:gd name="connsiteY8" fmla="*/ 515357 h 8411088"/>
              <a:gd name="connsiteX0" fmla="*/ 0 w 7202698"/>
              <a:gd name="connsiteY0" fmla="*/ 8411085 h 8411088"/>
              <a:gd name="connsiteX1" fmla="*/ 993395 w 7202698"/>
              <a:gd name="connsiteY1" fmla="*/ 7444529 h 8411088"/>
              <a:gd name="connsiteX2" fmla="*/ 1881405 w 7202698"/>
              <a:gd name="connsiteY2" fmla="*/ 527569 h 8411088"/>
              <a:gd name="connsiteX3" fmla="*/ 2721715 w 7202698"/>
              <a:gd name="connsiteY3" fmla="*/ 475400 h 8411088"/>
              <a:gd name="connsiteX4" fmla="*/ 3594868 w 7202698"/>
              <a:gd name="connsiteY4" fmla="*/ 461671 h 8411088"/>
              <a:gd name="connsiteX5" fmla="*/ 4369581 w 7202698"/>
              <a:gd name="connsiteY5" fmla="*/ 466668 h 8411088"/>
              <a:gd name="connsiteX6" fmla="*/ 5230151 w 7202698"/>
              <a:gd name="connsiteY6" fmla="*/ 464466 h 8411088"/>
              <a:gd name="connsiteX7" fmla="*/ 6204391 w 7202698"/>
              <a:gd name="connsiteY7" fmla="*/ 430589 h 8411088"/>
              <a:gd name="connsiteX8" fmla="*/ 7202698 w 7202698"/>
              <a:gd name="connsiteY8" fmla="*/ 515357 h 8411088"/>
              <a:gd name="connsiteX0" fmla="*/ 0 w 7202698"/>
              <a:gd name="connsiteY0" fmla="*/ 8109902 h 8109905"/>
              <a:gd name="connsiteX1" fmla="*/ 993395 w 7202698"/>
              <a:gd name="connsiteY1" fmla="*/ 7143346 h 8109905"/>
              <a:gd name="connsiteX2" fmla="*/ 1959504 w 7202698"/>
              <a:gd name="connsiteY2" fmla="*/ 2486112 h 8109905"/>
              <a:gd name="connsiteX3" fmla="*/ 2721715 w 7202698"/>
              <a:gd name="connsiteY3" fmla="*/ 174217 h 8109905"/>
              <a:gd name="connsiteX4" fmla="*/ 3594868 w 7202698"/>
              <a:gd name="connsiteY4" fmla="*/ 160488 h 8109905"/>
              <a:gd name="connsiteX5" fmla="*/ 4369581 w 7202698"/>
              <a:gd name="connsiteY5" fmla="*/ 165485 h 8109905"/>
              <a:gd name="connsiteX6" fmla="*/ 5230151 w 7202698"/>
              <a:gd name="connsiteY6" fmla="*/ 163283 h 8109905"/>
              <a:gd name="connsiteX7" fmla="*/ 6204391 w 7202698"/>
              <a:gd name="connsiteY7" fmla="*/ 129406 h 8109905"/>
              <a:gd name="connsiteX8" fmla="*/ 7202698 w 7202698"/>
              <a:gd name="connsiteY8" fmla="*/ 214174 h 8109905"/>
              <a:gd name="connsiteX0" fmla="*/ 0 w 7202698"/>
              <a:gd name="connsiteY0" fmla="*/ 8109902 h 8109905"/>
              <a:gd name="connsiteX1" fmla="*/ 993395 w 7202698"/>
              <a:gd name="connsiteY1" fmla="*/ 7143346 h 8109905"/>
              <a:gd name="connsiteX2" fmla="*/ 1959504 w 7202698"/>
              <a:gd name="connsiteY2" fmla="*/ 2486112 h 8109905"/>
              <a:gd name="connsiteX3" fmla="*/ 2721715 w 7202698"/>
              <a:gd name="connsiteY3" fmla="*/ 174217 h 8109905"/>
              <a:gd name="connsiteX4" fmla="*/ 3594868 w 7202698"/>
              <a:gd name="connsiteY4" fmla="*/ 160488 h 8109905"/>
              <a:gd name="connsiteX5" fmla="*/ 4369581 w 7202698"/>
              <a:gd name="connsiteY5" fmla="*/ 165485 h 8109905"/>
              <a:gd name="connsiteX6" fmla="*/ 5230151 w 7202698"/>
              <a:gd name="connsiteY6" fmla="*/ 163283 h 8109905"/>
              <a:gd name="connsiteX7" fmla="*/ 6204391 w 7202698"/>
              <a:gd name="connsiteY7" fmla="*/ 129406 h 8109905"/>
              <a:gd name="connsiteX8" fmla="*/ 7202698 w 7202698"/>
              <a:gd name="connsiteY8" fmla="*/ 214174 h 8109905"/>
              <a:gd name="connsiteX0" fmla="*/ 0 w 7202698"/>
              <a:gd name="connsiteY0" fmla="*/ 7984371 h 7984374"/>
              <a:gd name="connsiteX1" fmla="*/ 993395 w 7202698"/>
              <a:gd name="connsiteY1" fmla="*/ 7017815 h 7984374"/>
              <a:gd name="connsiteX2" fmla="*/ 1959504 w 7202698"/>
              <a:gd name="connsiteY2" fmla="*/ 100859 h 7984374"/>
              <a:gd name="connsiteX3" fmla="*/ 2721715 w 7202698"/>
              <a:gd name="connsiteY3" fmla="*/ 48686 h 7984374"/>
              <a:gd name="connsiteX4" fmla="*/ 3594868 w 7202698"/>
              <a:gd name="connsiteY4" fmla="*/ 34957 h 7984374"/>
              <a:gd name="connsiteX5" fmla="*/ 4369581 w 7202698"/>
              <a:gd name="connsiteY5" fmla="*/ 39954 h 7984374"/>
              <a:gd name="connsiteX6" fmla="*/ 5230151 w 7202698"/>
              <a:gd name="connsiteY6" fmla="*/ 37752 h 7984374"/>
              <a:gd name="connsiteX7" fmla="*/ 6204391 w 7202698"/>
              <a:gd name="connsiteY7" fmla="*/ 3875 h 7984374"/>
              <a:gd name="connsiteX8" fmla="*/ 7202698 w 7202698"/>
              <a:gd name="connsiteY8" fmla="*/ 88643 h 7984374"/>
              <a:gd name="connsiteX0" fmla="*/ 0 w 7202698"/>
              <a:gd name="connsiteY0" fmla="*/ 8080027 h 8080030"/>
              <a:gd name="connsiteX1" fmla="*/ 993395 w 7202698"/>
              <a:gd name="connsiteY1" fmla="*/ 7113471 h 8080030"/>
              <a:gd name="connsiteX2" fmla="*/ 1959504 w 7202698"/>
              <a:gd name="connsiteY2" fmla="*/ 196515 h 8080030"/>
              <a:gd name="connsiteX3" fmla="*/ 2721715 w 7202698"/>
              <a:gd name="connsiteY3" fmla="*/ 144342 h 8080030"/>
              <a:gd name="connsiteX4" fmla="*/ 3610488 w 7202698"/>
              <a:gd name="connsiteY4" fmla="*/ 1825405 h 8080030"/>
              <a:gd name="connsiteX5" fmla="*/ 4369581 w 7202698"/>
              <a:gd name="connsiteY5" fmla="*/ 135610 h 8080030"/>
              <a:gd name="connsiteX6" fmla="*/ 5230151 w 7202698"/>
              <a:gd name="connsiteY6" fmla="*/ 133408 h 8080030"/>
              <a:gd name="connsiteX7" fmla="*/ 6204391 w 7202698"/>
              <a:gd name="connsiteY7" fmla="*/ 99531 h 8080030"/>
              <a:gd name="connsiteX8" fmla="*/ 7202698 w 7202698"/>
              <a:gd name="connsiteY8" fmla="*/ 184299 h 8080030"/>
              <a:gd name="connsiteX0" fmla="*/ 0 w 7202698"/>
              <a:gd name="connsiteY0" fmla="*/ 8631477 h 9846506"/>
              <a:gd name="connsiteX1" fmla="*/ 993395 w 7202698"/>
              <a:gd name="connsiteY1" fmla="*/ 7664921 h 9846506"/>
              <a:gd name="connsiteX2" fmla="*/ 1959504 w 7202698"/>
              <a:gd name="connsiteY2" fmla="*/ 747965 h 9846506"/>
              <a:gd name="connsiteX3" fmla="*/ 2721715 w 7202698"/>
              <a:gd name="connsiteY3" fmla="*/ 695792 h 9846506"/>
              <a:gd name="connsiteX4" fmla="*/ 3649538 w 7202698"/>
              <a:gd name="connsiteY4" fmla="*/ 9846494 h 9846506"/>
              <a:gd name="connsiteX5" fmla="*/ 4369581 w 7202698"/>
              <a:gd name="connsiteY5" fmla="*/ 687060 h 9846506"/>
              <a:gd name="connsiteX6" fmla="*/ 5230151 w 7202698"/>
              <a:gd name="connsiteY6" fmla="*/ 684858 h 9846506"/>
              <a:gd name="connsiteX7" fmla="*/ 6204391 w 7202698"/>
              <a:gd name="connsiteY7" fmla="*/ 650981 h 9846506"/>
              <a:gd name="connsiteX8" fmla="*/ 7202698 w 7202698"/>
              <a:gd name="connsiteY8" fmla="*/ 735749 h 9846506"/>
              <a:gd name="connsiteX0" fmla="*/ 0 w 7202698"/>
              <a:gd name="connsiteY0" fmla="*/ 8625299 h 9840328"/>
              <a:gd name="connsiteX1" fmla="*/ 993395 w 7202698"/>
              <a:gd name="connsiteY1" fmla="*/ 7658743 h 9840328"/>
              <a:gd name="connsiteX2" fmla="*/ 1959504 w 7202698"/>
              <a:gd name="connsiteY2" fmla="*/ 741787 h 9840328"/>
              <a:gd name="connsiteX3" fmla="*/ 2823245 w 7202698"/>
              <a:gd name="connsiteY3" fmla="*/ 3671193 h 9840328"/>
              <a:gd name="connsiteX4" fmla="*/ 3649538 w 7202698"/>
              <a:gd name="connsiteY4" fmla="*/ 9840316 h 9840328"/>
              <a:gd name="connsiteX5" fmla="*/ 4369581 w 7202698"/>
              <a:gd name="connsiteY5" fmla="*/ 680882 h 9840328"/>
              <a:gd name="connsiteX6" fmla="*/ 5230151 w 7202698"/>
              <a:gd name="connsiteY6" fmla="*/ 678680 h 9840328"/>
              <a:gd name="connsiteX7" fmla="*/ 6204391 w 7202698"/>
              <a:gd name="connsiteY7" fmla="*/ 644803 h 9840328"/>
              <a:gd name="connsiteX8" fmla="*/ 7202698 w 7202698"/>
              <a:gd name="connsiteY8" fmla="*/ 729571 h 9840328"/>
              <a:gd name="connsiteX0" fmla="*/ 0 w 7202698"/>
              <a:gd name="connsiteY0" fmla="*/ 8625299 h 9840328"/>
              <a:gd name="connsiteX1" fmla="*/ 993395 w 7202698"/>
              <a:gd name="connsiteY1" fmla="*/ 7658743 h 9840328"/>
              <a:gd name="connsiteX2" fmla="*/ 1959504 w 7202698"/>
              <a:gd name="connsiteY2" fmla="*/ 741787 h 9840328"/>
              <a:gd name="connsiteX3" fmla="*/ 2823245 w 7202698"/>
              <a:gd name="connsiteY3" fmla="*/ 3671193 h 9840328"/>
              <a:gd name="connsiteX4" fmla="*/ 3649538 w 7202698"/>
              <a:gd name="connsiteY4" fmla="*/ 9840316 h 9840328"/>
              <a:gd name="connsiteX5" fmla="*/ 4369581 w 7202698"/>
              <a:gd name="connsiteY5" fmla="*/ 680882 h 9840328"/>
              <a:gd name="connsiteX6" fmla="*/ 5230151 w 7202698"/>
              <a:gd name="connsiteY6" fmla="*/ 678680 h 9840328"/>
              <a:gd name="connsiteX7" fmla="*/ 6204391 w 7202698"/>
              <a:gd name="connsiteY7" fmla="*/ 644803 h 9840328"/>
              <a:gd name="connsiteX8" fmla="*/ 7202698 w 7202698"/>
              <a:gd name="connsiteY8" fmla="*/ 729571 h 9840328"/>
              <a:gd name="connsiteX0" fmla="*/ 0 w 7202698"/>
              <a:gd name="connsiteY0" fmla="*/ 8625299 h 12172856"/>
              <a:gd name="connsiteX1" fmla="*/ 993395 w 7202698"/>
              <a:gd name="connsiteY1" fmla="*/ 7658743 h 12172856"/>
              <a:gd name="connsiteX2" fmla="*/ 1959504 w 7202698"/>
              <a:gd name="connsiteY2" fmla="*/ 741787 h 12172856"/>
              <a:gd name="connsiteX3" fmla="*/ 2690476 w 7202698"/>
              <a:gd name="connsiteY3" fmla="*/ 12145153 h 12172856"/>
              <a:gd name="connsiteX4" fmla="*/ 3649538 w 7202698"/>
              <a:gd name="connsiteY4" fmla="*/ 9840316 h 12172856"/>
              <a:gd name="connsiteX5" fmla="*/ 4369581 w 7202698"/>
              <a:gd name="connsiteY5" fmla="*/ 680882 h 12172856"/>
              <a:gd name="connsiteX6" fmla="*/ 5230151 w 7202698"/>
              <a:gd name="connsiteY6" fmla="*/ 678680 h 12172856"/>
              <a:gd name="connsiteX7" fmla="*/ 6204391 w 7202698"/>
              <a:gd name="connsiteY7" fmla="*/ 644803 h 12172856"/>
              <a:gd name="connsiteX8" fmla="*/ 7202698 w 7202698"/>
              <a:gd name="connsiteY8" fmla="*/ 729571 h 12172856"/>
              <a:gd name="connsiteX0" fmla="*/ 0 w 7202698"/>
              <a:gd name="connsiteY0" fmla="*/ 7984372 h 11531929"/>
              <a:gd name="connsiteX1" fmla="*/ 993395 w 7202698"/>
              <a:gd name="connsiteY1" fmla="*/ 7017816 h 11531929"/>
              <a:gd name="connsiteX2" fmla="*/ 1959504 w 7202698"/>
              <a:gd name="connsiteY2" fmla="*/ 100860 h 11531929"/>
              <a:gd name="connsiteX3" fmla="*/ 2690476 w 7202698"/>
              <a:gd name="connsiteY3" fmla="*/ 11504226 h 11531929"/>
              <a:gd name="connsiteX4" fmla="*/ 3649538 w 7202698"/>
              <a:gd name="connsiteY4" fmla="*/ 9199389 h 11531929"/>
              <a:gd name="connsiteX5" fmla="*/ 4471111 w 7202698"/>
              <a:gd name="connsiteY5" fmla="*/ 1515052 h 11531929"/>
              <a:gd name="connsiteX6" fmla="*/ 5230151 w 7202698"/>
              <a:gd name="connsiteY6" fmla="*/ 37753 h 11531929"/>
              <a:gd name="connsiteX7" fmla="*/ 6204391 w 7202698"/>
              <a:gd name="connsiteY7" fmla="*/ 3876 h 11531929"/>
              <a:gd name="connsiteX8" fmla="*/ 7202698 w 7202698"/>
              <a:gd name="connsiteY8" fmla="*/ 88644 h 11531929"/>
              <a:gd name="connsiteX0" fmla="*/ 0 w 7202698"/>
              <a:gd name="connsiteY0" fmla="*/ 7984372 h 11531929"/>
              <a:gd name="connsiteX1" fmla="*/ 993395 w 7202698"/>
              <a:gd name="connsiteY1" fmla="*/ 7017816 h 11531929"/>
              <a:gd name="connsiteX2" fmla="*/ 1959504 w 7202698"/>
              <a:gd name="connsiteY2" fmla="*/ 100860 h 11531929"/>
              <a:gd name="connsiteX3" fmla="*/ 2690476 w 7202698"/>
              <a:gd name="connsiteY3" fmla="*/ 11504226 h 11531929"/>
              <a:gd name="connsiteX4" fmla="*/ 3649538 w 7202698"/>
              <a:gd name="connsiteY4" fmla="*/ 9199389 h 11531929"/>
              <a:gd name="connsiteX5" fmla="*/ 4471111 w 7202698"/>
              <a:gd name="connsiteY5" fmla="*/ 1515052 h 11531929"/>
              <a:gd name="connsiteX6" fmla="*/ 5230151 w 7202698"/>
              <a:gd name="connsiteY6" fmla="*/ 37753 h 11531929"/>
              <a:gd name="connsiteX7" fmla="*/ 6204391 w 7202698"/>
              <a:gd name="connsiteY7" fmla="*/ 3876 h 11531929"/>
              <a:gd name="connsiteX8" fmla="*/ 7202698 w 7202698"/>
              <a:gd name="connsiteY8" fmla="*/ 88644 h 11531929"/>
              <a:gd name="connsiteX0" fmla="*/ 0 w 7202698"/>
              <a:gd name="connsiteY0" fmla="*/ 7984372 h 11531929"/>
              <a:gd name="connsiteX1" fmla="*/ 993395 w 7202698"/>
              <a:gd name="connsiteY1" fmla="*/ 7017816 h 11531929"/>
              <a:gd name="connsiteX2" fmla="*/ 1959504 w 7202698"/>
              <a:gd name="connsiteY2" fmla="*/ 100860 h 11531929"/>
              <a:gd name="connsiteX3" fmla="*/ 2690476 w 7202698"/>
              <a:gd name="connsiteY3" fmla="*/ 11504226 h 11531929"/>
              <a:gd name="connsiteX4" fmla="*/ 3649538 w 7202698"/>
              <a:gd name="connsiteY4" fmla="*/ 9199389 h 11531929"/>
              <a:gd name="connsiteX5" fmla="*/ 4471111 w 7202698"/>
              <a:gd name="connsiteY5" fmla="*/ 1515052 h 11531929"/>
              <a:gd name="connsiteX6" fmla="*/ 5230151 w 7202698"/>
              <a:gd name="connsiteY6" fmla="*/ 37753 h 11531929"/>
              <a:gd name="connsiteX7" fmla="*/ 6204391 w 7202698"/>
              <a:gd name="connsiteY7" fmla="*/ 3876 h 11531929"/>
              <a:gd name="connsiteX8" fmla="*/ 7202698 w 7202698"/>
              <a:gd name="connsiteY8" fmla="*/ 88644 h 11531929"/>
              <a:gd name="connsiteX0" fmla="*/ 0 w 7202698"/>
              <a:gd name="connsiteY0" fmla="*/ 7984372 h 11531929"/>
              <a:gd name="connsiteX1" fmla="*/ 993395 w 7202698"/>
              <a:gd name="connsiteY1" fmla="*/ 7017816 h 11531929"/>
              <a:gd name="connsiteX2" fmla="*/ 1959504 w 7202698"/>
              <a:gd name="connsiteY2" fmla="*/ 100860 h 11531929"/>
              <a:gd name="connsiteX3" fmla="*/ 2690476 w 7202698"/>
              <a:gd name="connsiteY3" fmla="*/ 11504226 h 11531929"/>
              <a:gd name="connsiteX4" fmla="*/ 3649538 w 7202698"/>
              <a:gd name="connsiteY4" fmla="*/ 9199389 h 11531929"/>
              <a:gd name="connsiteX5" fmla="*/ 4502351 w 7202698"/>
              <a:gd name="connsiteY5" fmla="*/ 7823447 h 11531929"/>
              <a:gd name="connsiteX6" fmla="*/ 5230151 w 7202698"/>
              <a:gd name="connsiteY6" fmla="*/ 37753 h 11531929"/>
              <a:gd name="connsiteX7" fmla="*/ 6204391 w 7202698"/>
              <a:gd name="connsiteY7" fmla="*/ 3876 h 11531929"/>
              <a:gd name="connsiteX8" fmla="*/ 7202698 w 7202698"/>
              <a:gd name="connsiteY8" fmla="*/ 88644 h 11531929"/>
              <a:gd name="connsiteX0" fmla="*/ 0 w 7202698"/>
              <a:gd name="connsiteY0" fmla="*/ 7980511 h 11528068"/>
              <a:gd name="connsiteX1" fmla="*/ 993395 w 7202698"/>
              <a:gd name="connsiteY1" fmla="*/ 7013955 h 11528068"/>
              <a:gd name="connsiteX2" fmla="*/ 1959504 w 7202698"/>
              <a:gd name="connsiteY2" fmla="*/ 96999 h 11528068"/>
              <a:gd name="connsiteX3" fmla="*/ 2690476 w 7202698"/>
              <a:gd name="connsiteY3" fmla="*/ 11500365 h 11528068"/>
              <a:gd name="connsiteX4" fmla="*/ 3649538 w 7202698"/>
              <a:gd name="connsiteY4" fmla="*/ 9195528 h 11528068"/>
              <a:gd name="connsiteX5" fmla="*/ 4502351 w 7202698"/>
              <a:gd name="connsiteY5" fmla="*/ 7819586 h 11528068"/>
              <a:gd name="connsiteX6" fmla="*/ 5370731 w 7202698"/>
              <a:gd name="connsiteY6" fmla="*/ 8476467 h 11528068"/>
              <a:gd name="connsiteX7" fmla="*/ 6204391 w 7202698"/>
              <a:gd name="connsiteY7" fmla="*/ 15 h 11528068"/>
              <a:gd name="connsiteX8" fmla="*/ 7202698 w 7202698"/>
              <a:gd name="connsiteY8" fmla="*/ 84783 h 11528068"/>
              <a:gd name="connsiteX0" fmla="*/ 0 w 7202698"/>
              <a:gd name="connsiteY0" fmla="*/ 7936636 h 11484193"/>
              <a:gd name="connsiteX1" fmla="*/ 993395 w 7202698"/>
              <a:gd name="connsiteY1" fmla="*/ 6970080 h 11484193"/>
              <a:gd name="connsiteX2" fmla="*/ 1959504 w 7202698"/>
              <a:gd name="connsiteY2" fmla="*/ 53124 h 11484193"/>
              <a:gd name="connsiteX3" fmla="*/ 2690476 w 7202698"/>
              <a:gd name="connsiteY3" fmla="*/ 11456490 h 11484193"/>
              <a:gd name="connsiteX4" fmla="*/ 3649538 w 7202698"/>
              <a:gd name="connsiteY4" fmla="*/ 9151653 h 11484193"/>
              <a:gd name="connsiteX5" fmla="*/ 4502351 w 7202698"/>
              <a:gd name="connsiteY5" fmla="*/ 7775711 h 11484193"/>
              <a:gd name="connsiteX6" fmla="*/ 5370731 w 7202698"/>
              <a:gd name="connsiteY6" fmla="*/ 8432592 h 11484193"/>
              <a:gd name="connsiteX7" fmla="*/ 6243441 w 7202698"/>
              <a:gd name="connsiteY7" fmla="*/ 7488549 h 11484193"/>
              <a:gd name="connsiteX8" fmla="*/ 7202698 w 7202698"/>
              <a:gd name="connsiteY8" fmla="*/ 40908 h 11484193"/>
              <a:gd name="connsiteX0" fmla="*/ 0 w 7085549"/>
              <a:gd name="connsiteY0" fmla="*/ 7936636 h 11484193"/>
              <a:gd name="connsiteX1" fmla="*/ 993395 w 7085549"/>
              <a:gd name="connsiteY1" fmla="*/ 6970080 h 11484193"/>
              <a:gd name="connsiteX2" fmla="*/ 1959504 w 7085549"/>
              <a:gd name="connsiteY2" fmla="*/ 53124 h 11484193"/>
              <a:gd name="connsiteX3" fmla="*/ 2690476 w 7085549"/>
              <a:gd name="connsiteY3" fmla="*/ 11456490 h 11484193"/>
              <a:gd name="connsiteX4" fmla="*/ 3649538 w 7085549"/>
              <a:gd name="connsiteY4" fmla="*/ 9151653 h 11484193"/>
              <a:gd name="connsiteX5" fmla="*/ 4502351 w 7085549"/>
              <a:gd name="connsiteY5" fmla="*/ 7775711 h 11484193"/>
              <a:gd name="connsiteX6" fmla="*/ 5370731 w 7085549"/>
              <a:gd name="connsiteY6" fmla="*/ 8432592 h 11484193"/>
              <a:gd name="connsiteX7" fmla="*/ 6243441 w 7085549"/>
              <a:gd name="connsiteY7" fmla="*/ 7488549 h 11484193"/>
              <a:gd name="connsiteX8" fmla="*/ 7085549 w 7085549"/>
              <a:gd name="connsiteY8" fmla="*/ 7541932 h 11484193"/>
              <a:gd name="connsiteX0" fmla="*/ 0 w 7023070"/>
              <a:gd name="connsiteY0" fmla="*/ 7936636 h 11484193"/>
              <a:gd name="connsiteX1" fmla="*/ 993395 w 7023070"/>
              <a:gd name="connsiteY1" fmla="*/ 6970080 h 11484193"/>
              <a:gd name="connsiteX2" fmla="*/ 1959504 w 7023070"/>
              <a:gd name="connsiteY2" fmla="*/ 53124 h 11484193"/>
              <a:gd name="connsiteX3" fmla="*/ 2690476 w 7023070"/>
              <a:gd name="connsiteY3" fmla="*/ 11456490 h 11484193"/>
              <a:gd name="connsiteX4" fmla="*/ 3649538 w 7023070"/>
              <a:gd name="connsiteY4" fmla="*/ 9151653 h 11484193"/>
              <a:gd name="connsiteX5" fmla="*/ 4502351 w 7023070"/>
              <a:gd name="connsiteY5" fmla="*/ 7775711 h 11484193"/>
              <a:gd name="connsiteX6" fmla="*/ 5370731 w 7023070"/>
              <a:gd name="connsiteY6" fmla="*/ 8432592 h 11484193"/>
              <a:gd name="connsiteX7" fmla="*/ 6243441 w 7023070"/>
              <a:gd name="connsiteY7" fmla="*/ 7488549 h 11484193"/>
              <a:gd name="connsiteX8" fmla="*/ 7023070 w 7023070"/>
              <a:gd name="connsiteY8" fmla="*/ 9738884 h 11484193"/>
              <a:gd name="connsiteX0" fmla="*/ 0 w 7023070"/>
              <a:gd name="connsiteY0" fmla="*/ 7936636 h 11484193"/>
              <a:gd name="connsiteX1" fmla="*/ 993395 w 7023070"/>
              <a:gd name="connsiteY1" fmla="*/ 6970080 h 11484193"/>
              <a:gd name="connsiteX2" fmla="*/ 1959504 w 7023070"/>
              <a:gd name="connsiteY2" fmla="*/ 53124 h 11484193"/>
              <a:gd name="connsiteX3" fmla="*/ 2690476 w 7023070"/>
              <a:gd name="connsiteY3" fmla="*/ 11456490 h 11484193"/>
              <a:gd name="connsiteX4" fmla="*/ 3649538 w 7023070"/>
              <a:gd name="connsiteY4" fmla="*/ 9151653 h 11484193"/>
              <a:gd name="connsiteX5" fmla="*/ 4502351 w 7023070"/>
              <a:gd name="connsiteY5" fmla="*/ 7775711 h 11484193"/>
              <a:gd name="connsiteX6" fmla="*/ 5370731 w 7023070"/>
              <a:gd name="connsiteY6" fmla="*/ 8432592 h 11484193"/>
              <a:gd name="connsiteX7" fmla="*/ 6243441 w 7023070"/>
              <a:gd name="connsiteY7" fmla="*/ 7488549 h 11484193"/>
              <a:gd name="connsiteX8" fmla="*/ 7023070 w 7023070"/>
              <a:gd name="connsiteY8" fmla="*/ 9613345 h 11484193"/>
              <a:gd name="connsiteX0" fmla="*/ 0 w 6029675"/>
              <a:gd name="connsiteY0" fmla="*/ 6970080 h 11484193"/>
              <a:gd name="connsiteX1" fmla="*/ 966109 w 6029675"/>
              <a:gd name="connsiteY1" fmla="*/ 53124 h 11484193"/>
              <a:gd name="connsiteX2" fmla="*/ 1697081 w 6029675"/>
              <a:gd name="connsiteY2" fmla="*/ 11456490 h 11484193"/>
              <a:gd name="connsiteX3" fmla="*/ 2656143 w 6029675"/>
              <a:gd name="connsiteY3" fmla="*/ 9151653 h 11484193"/>
              <a:gd name="connsiteX4" fmla="*/ 3508956 w 6029675"/>
              <a:gd name="connsiteY4" fmla="*/ 7775711 h 11484193"/>
              <a:gd name="connsiteX5" fmla="*/ 4377336 w 6029675"/>
              <a:gd name="connsiteY5" fmla="*/ 8432592 h 11484193"/>
              <a:gd name="connsiteX6" fmla="*/ 5250046 w 6029675"/>
              <a:gd name="connsiteY6" fmla="*/ 7488549 h 11484193"/>
              <a:gd name="connsiteX7" fmla="*/ 6029675 w 6029675"/>
              <a:gd name="connsiteY7" fmla="*/ 9613345 h 11484193"/>
              <a:gd name="connsiteX0" fmla="*/ 0 w 7019484"/>
              <a:gd name="connsiteY0" fmla="*/ 7848038 h 11462447"/>
              <a:gd name="connsiteX1" fmla="*/ 1955918 w 7019484"/>
              <a:gd name="connsiteY1" fmla="*/ 31378 h 11462447"/>
              <a:gd name="connsiteX2" fmla="*/ 2686890 w 7019484"/>
              <a:gd name="connsiteY2" fmla="*/ 11434744 h 11462447"/>
              <a:gd name="connsiteX3" fmla="*/ 3645952 w 7019484"/>
              <a:gd name="connsiteY3" fmla="*/ 9129907 h 11462447"/>
              <a:gd name="connsiteX4" fmla="*/ 4498765 w 7019484"/>
              <a:gd name="connsiteY4" fmla="*/ 7753965 h 11462447"/>
              <a:gd name="connsiteX5" fmla="*/ 5367145 w 7019484"/>
              <a:gd name="connsiteY5" fmla="*/ 8410846 h 11462447"/>
              <a:gd name="connsiteX6" fmla="*/ 6239855 w 7019484"/>
              <a:gd name="connsiteY6" fmla="*/ 7466803 h 11462447"/>
              <a:gd name="connsiteX7" fmla="*/ 7019484 w 7019484"/>
              <a:gd name="connsiteY7" fmla="*/ 9591599 h 11462447"/>
              <a:gd name="connsiteX0" fmla="*/ 0 w 7019484"/>
              <a:gd name="connsiteY0" fmla="*/ 1282206 h 4910025"/>
              <a:gd name="connsiteX1" fmla="*/ 1036811 w 7019484"/>
              <a:gd name="connsiteY1" fmla="*/ 142300 h 4910025"/>
              <a:gd name="connsiteX2" fmla="*/ 2686890 w 7019484"/>
              <a:gd name="connsiteY2" fmla="*/ 4868912 h 4910025"/>
              <a:gd name="connsiteX3" fmla="*/ 3645952 w 7019484"/>
              <a:gd name="connsiteY3" fmla="*/ 2564075 h 4910025"/>
              <a:gd name="connsiteX4" fmla="*/ 4498765 w 7019484"/>
              <a:gd name="connsiteY4" fmla="*/ 1188133 h 4910025"/>
              <a:gd name="connsiteX5" fmla="*/ 5367145 w 7019484"/>
              <a:gd name="connsiteY5" fmla="*/ 1845014 h 4910025"/>
              <a:gd name="connsiteX6" fmla="*/ 6239855 w 7019484"/>
              <a:gd name="connsiteY6" fmla="*/ 900971 h 4910025"/>
              <a:gd name="connsiteX7" fmla="*/ 7019484 w 7019484"/>
              <a:gd name="connsiteY7" fmla="*/ 3025767 h 4910025"/>
              <a:gd name="connsiteX0" fmla="*/ 0 w 7031268"/>
              <a:gd name="connsiteY0" fmla="*/ 1120180 h 4937409"/>
              <a:gd name="connsiteX1" fmla="*/ 1048595 w 7031268"/>
              <a:gd name="connsiteY1" fmla="*/ 169684 h 4937409"/>
              <a:gd name="connsiteX2" fmla="*/ 2698674 w 7031268"/>
              <a:gd name="connsiteY2" fmla="*/ 4896296 h 4937409"/>
              <a:gd name="connsiteX3" fmla="*/ 3657736 w 7031268"/>
              <a:gd name="connsiteY3" fmla="*/ 2591459 h 4937409"/>
              <a:gd name="connsiteX4" fmla="*/ 4510549 w 7031268"/>
              <a:gd name="connsiteY4" fmla="*/ 1215517 h 4937409"/>
              <a:gd name="connsiteX5" fmla="*/ 5378929 w 7031268"/>
              <a:gd name="connsiteY5" fmla="*/ 1872398 h 4937409"/>
              <a:gd name="connsiteX6" fmla="*/ 6251639 w 7031268"/>
              <a:gd name="connsiteY6" fmla="*/ 928355 h 4937409"/>
              <a:gd name="connsiteX7" fmla="*/ 7031268 w 7031268"/>
              <a:gd name="connsiteY7" fmla="*/ 3053151 h 4937409"/>
              <a:gd name="connsiteX0" fmla="*/ 0 w 7031268"/>
              <a:gd name="connsiteY0" fmla="*/ 1120180 h 4937409"/>
              <a:gd name="connsiteX1" fmla="*/ 1048595 w 7031268"/>
              <a:gd name="connsiteY1" fmla="*/ 169683 h 4937409"/>
              <a:gd name="connsiteX2" fmla="*/ 2698674 w 7031268"/>
              <a:gd name="connsiteY2" fmla="*/ 4896296 h 4937409"/>
              <a:gd name="connsiteX3" fmla="*/ 3657736 w 7031268"/>
              <a:gd name="connsiteY3" fmla="*/ 2591459 h 4937409"/>
              <a:gd name="connsiteX4" fmla="*/ 4510549 w 7031268"/>
              <a:gd name="connsiteY4" fmla="*/ 1215517 h 4937409"/>
              <a:gd name="connsiteX5" fmla="*/ 5378929 w 7031268"/>
              <a:gd name="connsiteY5" fmla="*/ 1872398 h 4937409"/>
              <a:gd name="connsiteX6" fmla="*/ 6251639 w 7031268"/>
              <a:gd name="connsiteY6" fmla="*/ 928355 h 4937409"/>
              <a:gd name="connsiteX7" fmla="*/ 7031268 w 7031268"/>
              <a:gd name="connsiteY7" fmla="*/ 3053151 h 4937409"/>
              <a:gd name="connsiteX0" fmla="*/ 0 w 7031268"/>
              <a:gd name="connsiteY0" fmla="*/ 950691 h 4767920"/>
              <a:gd name="connsiteX1" fmla="*/ 1048595 w 7031268"/>
              <a:gd name="connsiteY1" fmla="*/ 194 h 4767920"/>
              <a:gd name="connsiteX2" fmla="*/ 2698674 w 7031268"/>
              <a:gd name="connsiteY2" fmla="*/ 4726807 h 4767920"/>
              <a:gd name="connsiteX3" fmla="*/ 3657736 w 7031268"/>
              <a:gd name="connsiteY3" fmla="*/ 2421970 h 4767920"/>
              <a:gd name="connsiteX4" fmla="*/ 4510549 w 7031268"/>
              <a:gd name="connsiteY4" fmla="*/ 1046028 h 4767920"/>
              <a:gd name="connsiteX5" fmla="*/ 5378929 w 7031268"/>
              <a:gd name="connsiteY5" fmla="*/ 1702909 h 4767920"/>
              <a:gd name="connsiteX6" fmla="*/ 6251639 w 7031268"/>
              <a:gd name="connsiteY6" fmla="*/ 758866 h 4767920"/>
              <a:gd name="connsiteX7" fmla="*/ 7031268 w 7031268"/>
              <a:gd name="connsiteY7" fmla="*/ 2883662 h 4767920"/>
              <a:gd name="connsiteX0" fmla="*/ 0 w 7031268"/>
              <a:gd name="connsiteY0" fmla="*/ 1120180 h 4937409"/>
              <a:gd name="connsiteX1" fmla="*/ 1048595 w 7031268"/>
              <a:gd name="connsiteY1" fmla="*/ 169683 h 4937409"/>
              <a:gd name="connsiteX2" fmla="*/ 2085935 w 7031268"/>
              <a:gd name="connsiteY2" fmla="*/ 4896297 h 4937409"/>
              <a:gd name="connsiteX3" fmla="*/ 3657736 w 7031268"/>
              <a:gd name="connsiteY3" fmla="*/ 2591459 h 4937409"/>
              <a:gd name="connsiteX4" fmla="*/ 4510549 w 7031268"/>
              <a:gd name="connsiteY4" fmla="*/ 1215517 h 4937409"/>
              <a:gd name="connsiteX5" fmla="*/ 5378929 w 7031268"/>
              <a:gd name="connsiteY5" fmla="*/ 1872398 h 4937409"/>
              <a:gd name="connsiteX6" fmla="*/ 6251639 w 7031268"/>
              <a:gd name="connsiteY6" fmla="*/ 928355 h 4937409"/>
              <a:gd name="connsiteX7" fmla="*/ 7031268 w 7031268"/>
              <a:gd name="connsiteY7" fmla="*/ 3053151 h 4937409"/>
              <a:gd name="connsiteX0" fmla="*/ 0 w 7031268"/>
              <a:gd name="connsiteY0" fmla="*/ 1120180 h 4946391"/>
              <a:gd name="connsiteX1" fmla="*/ 1048595 w 7031268"/>
              <a:gd name="connsiteY1" fmla="*/ 169683 h 4946391"/>
              <a:gd name="connsiteX2" fmla="*/ 2085935 w 7031268"/>
              <a:gd name="connsiteY2" fmla="*/ 4896297 h 4946391"/>
              <a:gd name="connsiteX3" fmla="*/ 3068565 w 7031268"/>
              <a:gd name="connsiteY3" fmla="*/ 2780872 h 4946391"/>
              <a:gd name="connsiteX4" fmla="*/ 4510549 w 7031268"/>
              <a:gd name="connsiteY4" fmla="*/ 1215517 h 4946391"/>
              <a:gd name="connsiteX5" fmla="*/ 5378929 w 7031268"/>
              <a:gd name="connsiteY5" fmla="*/ 1872398 h 4946391"/>
              <a:gd name="connsiteX6" fmla="*/ 6251639 w 7031268"/>
              <a:gd name="connsiteY6" fmla="*/ 928355 h 4946391"/>
              <a:gd name="connsiteX7" fmla="*/ 7031268 w 7031268"/>
              <a:gd name="connsiteY7" fmla="*/ 3053151 h 4946391"/>
              <a:gd name="connsiteX0" fmla="*/ 0 w 7031268"/>
              <a:gd name="connsiteY0" fmla="*/ 1120180 h 4946391"/>
              <a:gd name="connsiteX1" fmla="*/ 1048595 w 7031268"/>
              <a:gd name="connsiteY1" fmla="*/ 169683 h 4946391"/>
              <a:gd name="connsiteX2" fmla="*/ 2085935 w 7031268"/>
              <a:gd name="connsiteY2" fmla="*/ 4896297 h 4946391"/>
              <a:gd name="connsiteX3" fmla="*/ 3068565 w 7031268"/>
              <a:gd name="connsiteY3" fmla="*/ 2780872 h 4946391"/>
              <a:gd name="connsiteX4" fmla="*/ 4086346 w 7031268"/>
              <a:gd name="connsiteY4" fmla="*/ 1215516 h 4946391"/>
              <a:gd name="connsiteX5" fmla="*/ 5378929 w 7031268"/>
              <a:gd name="connsiteY5" fmla="*/ 1872398 h 4946391"/>
              <a:gd name="connsiteX6" fmla="*/ 6251639 w 7031268"/>
              <a:gd name="connsiteY6" fmla="*/ 928355 h 4946391"/>
              <a:gd name="connsiteX7" fmla="*/ 7031268 w 7031268"/>
              <a:gd name="connsiteY7" fmla="*/ 3053151 h 4946391"/>
              <a:gd name="connsiteX0" fmla="*/ 0 w 7031268"/>
              <a:gd name="connsiteY0" fmla="*/ 1120180 h 4946391"/>
              <a:gd name="connsiteX1" fmla="*/ 1048595 w 7031268"/>
              <a:gd name="connsiteY1" fmla="*/ 169683 h 4946391"/>
              <a:gd name="connsiteX2" fmla="*/ 2085935 w 7031268"/>
              <a:gd name="connsiteY2" fmla="*/ 4896297 h 4946391"/>
              <a:gd name="connsiteX3" fmla="*/ 3068565 w 7031268"/>
              <a:gd name="connsiteY3" fmla="*/ 2780872 h 4946391"/>
              <a:gd name="connsiteX4" fmla="*/ 4086346 w 7031268"/>
              <a:gd name="connsiteY4" fmla="*/ 1215516 h 4946391"/>
              <a:gd name="connsiteX5" fmla="*/ 5037209 w 7031268"/>
              <a:gd name="connsiteY5" fmla="*/ 1967103 h 4946391"/>
              <a:gd name="connsiteX6" fmla="*/ 6251639 w 7031268"/>
              <a:gd name="connsiteY6" fmla="*/ 928355 h 4946391"/>
              <a:gd name="connsiteX7" fmla="*/ 7031268 w 7031268"/>
              <a:gd name="connsiteY7" fmla="*/ 3053151 h 4946391"/>
              <a:gd name="connsiteX0" fmla="*/ 0 w 7031268"/>
              <a:gd name="connsiteY0" fmla="*/ 1120180 h 4946391"/>
              <a:gd name="connsiteX1" fmla="*/ 1048595 w 7031268"/>
              <a:gd name="connsiteY1" fmla="*/ 169683 h 4946391"/>
              <a:gd name="connsiteX2" fmla="*/ 2085935 w 7031268"/>
              <a:gd name="connsiteY2" fmla="*/ 4896297 h 4946391"/>
              <a:gd name="connsiteX3" fmla="*/ 3068565 w 7031268"/>
              <a:gd name="connsiteY3" fmla="*/ 2780872 h 4946391"/>
              <a:gd name="connsiteX4" fmla="*/ 4086346 w 7031268"/>
              <a:gd name="connsiteY4" fmla="*/ 1215516 h 4946391"/>
              <a:gd name="connsiteX5" fmla="*/ 5037209 w 7031268"/>
              <a:gd name="connsiteY5" fmla="*/ 1967103 h 4946391"/>
              <a:gd name="connsiteX6" fmla="*/ 6051321 w 7031268"/>
              <a:gd name="connsiteY6" fmla="*/ 928355 h 4946391"/>
              <a:gd name="connsiteX7" fmla="*/ 7031268 w 7031268"/>
              <a:gd name="connsiteY7" fmla="*/ 3053151 h 4946391"/>
              <a:gd name="connsiteX0" fmla="*/ 0 w 7031268"/>
              <a:gd name="connsiteY0" fmla="*/ 422623 h 4223776"/>
              <a:gd name="connsiteX1" fmla="*/ 1048595 w 7031268"/>
              <a:gd name="connsiteY1" fmla="*/ 315599 h 4223776"/>
              <a:gd name="connsiteX2" fmla="*/ 2085935 w 7031268"/>
              <a:gd name="connsiteY2" fmla="*/ 4198740 h 4223776"/>
              <a:gd name="connsiteX3" fmla="*/ 3068565 w 7031268"/>
              <a:gd name="connsiteY3" fmla="*/ 2083315 h 4223776"/>
              <a:gd name="connsiteX4" fmla="*/ 4086346 w 7031268"/>
              <a:gd name="connsiteY4" fmla="*/ 517959 h 4223776"/>
              <a:gd name="connsiteX5" fmla="*/ 5037209 w 7031268"/>
              <a:gd name="connsiteY5" fmla="*/ 1269546 h 4223776"/>
              <a:gd name="connsiteX6" fmla="*/ 6051321 w 7031268"/>
              <a:gd name="connsiteY6" fmla="*/ 230798 h 4223776"/>
              <a:gd name="connsiteX7" fmla="*/ 7031268 w 7031268"/>
              <a:gd name="connsiteY7" fmla="*/ 2355594 h 4223776"/>
              <a:gd name="connsiteX0" fmla="*/ 0 w 7031268"/>
              <a:gd name="connsiteY0" fmla="*/ 214360 h 2147330"/>
              <a:gd name="connsiteX1" fmla="*/ 1048595 w 7031268"/>
              <a:gd name="connsiteY1" fmla="*/ 107336 h 2147330"/>
              <a:gd name="connsiteX2" fmla="*/ 2077540 w 7031268"/>
              <a:gd name="connsiteY2" fmla="*/ 144239 h 2147330"/>
              <a:gd name="connsiteX3" fmla="*/ 3068565 w 7031268"/>
              <a:gd name="connsiteY3" fmla="*/ 1875052 h 2147330"/>
              <a:gd name="connsiteX4" fmla="*/ 4086346 w 7031268"/>
              <a:gd name="connsiteY4" fmla="*/ 309696 h 2147330"/>
              <a:gd name="connsiteX5" fmla="*/ 5037209 w 7031268"/>
              <a:gd name="connsiteY5" fmla="*/ 1061283 h 2147330"/>
              <a:gd name="connsiteX6" fmla="*/ 6051321 w 7031268"/>
              <a:gd name="connsiteY6" fmla="*/ 22535 h 2147330"/>
              <a:gd name="connsiteX7" fmla="*/ 7031268 w 7031268"/>
              <a:gd name="connsiteY7" fmla="*/ 2147331 h 2147330"/>
              <a:gd name="connsiteX0" fmla="*/ 0 w 7031268"/>
              <a:gd name="connsiteY0" fmla="*/ 194949 h 2127919"/>
              <a:gd name="connsiteX1" fmla="*/ 1048595 w 7031268"/>
              <a:gd name="connsiteY1" fmla="*/ 87925 h 2127919"/>
              <a:gd name="connsiteX2" fmla="*/ 2077540 w 7031268"/>
              <a:gd name="connsiteY2" fmla="*/ 124828 h 2127919"/>
              <a:gd name="connsiteX3" fmla="*/ 3076961 w 7031268"/>
              <a:gd name="connsiteY3" fmla="*/ 0 h 2127919"/>
              <a:gd name="connsiteX4" fmla="*/ 4086346 w 7031268"/>
              <a:gd name="connsiteY4" fmla="*/ 290285 h 2127919"/>
              <a:gd name="connsiteX5" fmla="*/ 5037209 w 7031268"/>
              <a:gd name="connsiteY5" fmla="*/ 1041872 h 2127919"/>
              <a:gd name="connsiteX6" fmla="*/ 6051321 w 7031268"/>
              <a:gd name="connsiteY6" fmla="*/ 3124 h 2127919"/>
              <a:gd name="connsiteX7" fmla="*/ 7031268 w 7031268"/>
              <a:gd name="connsiteY7" fmla="*/ 2127920 h 2127919"/>
              <a:gd name="connsiteX0" fmla="*/ 0 w 7031268"/>
              <a:gd name="connsiteY0" fmla="*/ 194949 h 2127919"/>
              <a:gd name="connsiteX1" fmla="*/ 1048595 w 7031268"/>
              <a:gd name="connsiteY1" fmla="*/ 87925 h 2127919"/>
              <a:gd name="connsiteX2" fmla="*/ 2077540 w 7031268"/>
              <a:gd name="connsiteY2" fmla="*/ 124828 h 2127919"/>
              <a:gd name="connsiteX3" fmla="*/ 3076961 w 7031268"/>
              <a:gd name="connsiteY3" fmla="*/ 0 h 2127919"/>
              <a:gd name="connsiteX4" fmla="*/ 4086346 w 7031268"/>
              <a:gd name="connsiteY4" fmla="*/ 290285 h 2127919"/>
              <a:gd name="connsiteX5" fmla="*/ 5062396 w 7031268"/>
              <a:gd name="connsiteY5" fmla="*/ 130921 h 2127919"/>
              <a:gd name="connsiteX6" fmla="*/ 6051321 w 7031268"/>
              <a:gd name="connsiteY6" fmla="*/ 3124 h 2127919"/>
              <a:gd name="connsiteX7" fmla="*/ 7031268 w 7031268"/>
              <a:gd name="connsiteY7" fmla="*/ 2127920 h 2127919"/>
              <a:gd name="connsiteX0" fmla="*/ 0 w 7173995"/>
              <a:gd name="connsiteY0" fmla="*/ 194949 h 292041"/>
              <a:gd name="connsiteX1" fmla="*/ 1048595 w 7173995"/>
              <a:gd name="connsiteY1" fmla="*/ 87925 h 292041"/>
              <a:gd name="connsiteX2" fmla="*/ 2077540 w 7173995"/>
              <a:gd name="connsiteY2" fmla="*/ 124828 h 292041"/>
              <a:gd name="connsiteX3" fmla="*/ 3076961 w 7173995"/>
              <a:gd name="connsiteY3" fmla="*/ 0 h 292041"/>
              <a:gd name="connsiteX4" fmla="*/ 4086346 w 7173995"/>
              <a:gd name="connsiteY4" fmla="*/ 290285 h 292041"/>
              <a:gd name="connsiteX5" fmla="*/ 5062396 w 7173995"/>
              <a:gd name="connsiteY5" fmla="*/ 130921 h 292041"/>
              <a:gd name="connsiteX6" fmla="*/ 6051321 w 7173995"/>
              <a:gd name="connsiteY6" fmla="*/ 3124 h 292041"/>
              <a:gd name="connsiteX7" fmla="*/ 7173995 w 7173995"/>
              <a:gd name="connsiteY7" fmla="*/ 69845 h 292041"/>
              <a:gd name="connsiteX0" fmla="*/ 0 w 7366731"/>
              <a:gd name="connsiteY0" fmla="*/ 10410128 h 10410128"/>
              <a:gd name="connsiteX1" fmla="*/ 1241331 w 7366731"/>
              <a:gd name="connsiteY1" fmla="*/ 703647 h 10410128"/>
              <a:gd name="connsiteX2" fmla="*/ 2270276 w 7366731"/>
              <a:gd name="connsiteY2" fmla="*/ 740550 h 10410128"/>
              <a:gd name="connsiteX3" fmla="*/ 3269697 w 7366731"/>
              <a:gd name="connsiteY3" fmla="*/ 615722 h 10410128"/>
              <a:gd name="connsiteX4" fmla="*/ 4279082 w 7366731"/>
              <a:gd name="connsiteY4" fmla="*/ 906007 h 10410128"/>
              <a:gd name="connsiteX5" fmla="*/ 5255132 w 7366731"/>
              <a:gd name="connsiteY5" fmla="*/ 746643 h 10410128"/>
              <a:gd name="connsiteX6" fmla="*/ 6244057 w 7366731"/>
              <a:gd name="connsiteY6" fmla="*/ 618846 h 10410128"/>
              <a:gd name="connsiteX7" fmla="*/ 7366731 w 7366731"/>
              <a:gd name="connsiteY7" fmla="*/ 685567 h 10410128"/>
              <a:gd name="connsiteX0" fmla="*/ 0 w 7366731"/>
              <a:gd name="connsiteY0" fmla="*/ 10410128 h 10410128"/>
              <a:gd name="connsiteX1" fmla="*/ 1241331 w 7366731"/>
              <a:gd name="connsiteY1" fmla="*/ 703647 h 10410128"/>
              <a:gd name="connsiteX2" fmla="*/ 2270276 w 7366731"/>
              <a:gd name="connsiteY2" fmla="*/ 740550 h 10410128"/>
              <a:gd name="connsiteX3" fmla="*/ 3269697 w 7366731"/>
              <a:gd name="connsiteY3" fmla="*/ 615722 h 10410128"/>
              <a:gd name="connsiteX4" fmla="*/ 4279082 w 7366731"/>
              <a:gd name="connsiteY4" fmla="*/ 906007 h 10410128"/>
              <a:gd name="connsiteX5" fmla="*/ 5255132 w 7366731"/>
              <a:gd name="connsiteY5" fmla="*/ 746643 h 10410128"/>
              <a:gd name="connsiteX6" fmla="*/ 6244057 w 7366731"/>
              <a:gd name="connsiteY6" fmla="*/ 618846 h 10410128"/>
              <a:gd name="connsiteX7" fmla="*/ 7366731 w 7366731"/>
              <a:gd name="connsiteY7" fmla="*/ 685567 h 10410128"/>
              <a:gd name="connsiteX0" fmla="*/ 0 w 7366731"/>
              <a:gd name="connsiteY0" fmla="*/ 10332523 h 10332523"/>
              <a:gd name="connsiteX1" fmla="*/ 1001872 w 7366731"/>
              <a:gd name="connsiteY1" fmla="*/ 9051973 h 10332523"/>
              <a:gd name="connsiteX2" fmla="*/ 2270276 w 7366731"/>
              <a:gd name="connsiteY2" fmla="*/ 662945 h 10332523"/>
              <a:gd name="connsiteX3" fmla="*/ 3269697 w 7366731"/>
              <a:gd name="connsiteY3" fmla="*/ 538117 h 10332523"/>
              <a:gd name="connsiteX4" fmla="*/ 4279082 w 7366731"/>
              <a:gd name="connsiteY4" fmla="*/ 828402 h 10332523"/>
              <a:gd name="connsiteX5" fmla="*/ 5255132 w 7366731"/>
              <a:gd name="connsiteY5" fmla="*/ 669038 h 10332523"/>
              <a:gd name="connsiteX6" fmla="*/ 6244057 w 7366731"/>
              <a:gd name="connsiteY6" fmla="*/ 541241 h 10332523"/>
              <a:gd name="connsiteX7" fmla="*/ 7366731 w 7366731"/>
              <a:gd name="connsiteY7" fmla="*/ 607962 h 10332523"/>
              <a:gd name="connsiteX0" fmla="*/ 0 w 7366731"/>
              <a:gd name="connsiteY0" fmla="*/ 10332523 h 10332523"/>
              <a:gd name="connsiteX1" fmla="*/ 1001872 w 7366731"/>
              <a:gd name="connsiteY1" fmla="*/ 9051973 h 10332523"/>
              <a:gd name="connsiteX2" fmla="*/ 2270276 w 7366731"/>
              <a:gd name="connsiteY2" fmla="*/ 662945 h 10332523"/>
              <a:gd name="connsiteX3" fmla="*/ 3269697 w 7366731"/>
              <a:gd name="connsiteY3" fmla="*/ 538117 h 10332523"/>
              <a:gd name="connsiteX4" fmla="*/ 4279082 w 7366731"/>
              <a:gd name="connsiteY4" fmla="*/ 828402 h 10332523"/>
              <a:gd name="connsiteX5" fmla="*/ 5255132 w 7366731"/>
              <a:gd name="connsiteY5" fmla="*/ 669038 h 10332523"/>
              <a:gd name="connsiteX6" fmla="*/ 6244057 w 7366731"/>
              <a:gd name="connsiteY6" fmla="*/ 541241 h 10332523"/>
              <a:gd name="connsiteX7" fmla="*/ 7366731 w 7366731"/>
              <a:gd name="connsiteY7" fmla="*/ 607962 h 10332523"/>
              <a:gd name="connsiteX0" fmla="*/ 0 w 7366731"/>
              <a:gd name="connsiteY0" fmla="*/ 9794406 h 9794406"/>
              <a:gd name="connsiteX1" fmla="*/ 1001872 w 7366731"/>
              <a:gd name="connsiteY1" fmla="*/ 8513856 h 9794406"/>
              <a:gd name="connsiteX2" fmla="*/ 2019136 w 7366731"/>
              <a:gd name="connsiteY2" fmla="*/ 6860878 h 9794406"/>
              <a:gd name="connsiteX3" fmla="*/ 3269697 w 7366731"/>
              <a:gd name="connsiteY3" fmla="*/ 0 h 9794406"/>
              <a:gd name="connsiteX4" fmla="*/ 4279082 w 7366731"/>
              <a:gd name="connsiteY4" fmla="*/ 290285 h 9794406"/>
              <a:gd name="connsiteX5" fmla="*/ 5255132 w 7366731"/>
              <a:gd name="connsiteY5" fmla="*/ 130921 h 9794406"/>
              <a:gd name="connsiteX6" fmla="*/ 6244057 w 7366731"/>
              <a:gd name="connsiteY6" fmla="*/ 3124 h 9794406"/>
              <a:gd name="connsiteX7" fmla="*/ 7366731 w 7366731"/>
              <a:gd name="connsiteY7" fmla="*/ 69845 h 9794406"/>
              <a:gd name="connsiteX0" fmla="*/ 0 w 7366731"/>
              <a:gd name="connsiteY0" fmla="*/ 9794406 h 9794406"/>
              <a:gd name="connsiteX1" fmla="*/ 1001872 w 7366731"/>
              <a:gd name="connsiteY1" fmla="*/ 8513856 h 9794406"/>
              <a:gd name="connsiteX2" fmla="*/ 2019136 w 7366731"/>
              <a:gd name="connsiteY2" fmla="*/ 6860878 h 9794406"/>
              <a:gd name="connsiteX3" fmla="*/ 3269697 w 7366731"/>
              <a:gd name="connsiteY3" fmla="*/ 0 h 9794406"/>
              <a:gd name="connsiteX4" fmla="*/ 4279082 w 7366731"/>
              <a:gd name="connsiteY4" fmla="*/ 290285 h 9794406"/>
              <a:gd name="connsiteX5" fmla="*/ 5255132 w 7366731"/>
              <a:gd name="connsiteY5" fmla="*/ 130921 h 9794406"/>
              <a:gd name="connsiteX6" fmla="*/ 6244057 w 7366731"/>
              <a:gd name="connsiteY6" fmla="*/ 3124 h 9794406"/>
              <a:gd name="connsiteX7" fmla="*/ 7366731 w 7366731"/>
              <a:gd name="connsiteY7" fmla="*/ 69845 h 9794406"/>
              <a:gd name="connsiteX0" fmla="*/ 0 w 7366731"/>
              <a:gd name="connsiteY0" fmla="*/ 9794406 h 9794406"/>
              <a:gd name="connsiteX1" fmla="*/ 1001872 w 7366731"/>
              <a:gd name="connsiteY1" fmla="*/ 8513856 h 9794406"/>
              <a:gd name="connsiteX2" fmla="*/ 2001615 w 7366731"/>
              <a:gd name="connsiteY2" fmla="*/ 6907820 h 9794406"/>
              <a:gd name="connsiteX3" fmla="*/ 3269697 w 7366731"/>
              <a:gd name="connsiteY3" fmla="*/ 0 h 9794406"/>
              <a:gd name="connsiteX4" fmla="*/ 4279082 w 7366731"/>
              <a:gd name="connsiteY4" fmla="*/ 290285 h 9794406"/>
              <a:gd name="connsiteX5" fmla="*/ 5255132 w 7366731"/>
              <a:gd name="connsiteY5" fmla="*/ 130921 h 9794406"/>
              <a:gd name="connsiteX6" fmla="*/ 6244057 w 7366731"/>
              <a:gd name="connsiteY6" fmla="*/ 3124 h 9794406"/>
              <a:gd name="connsiteX7" fmla="*/ 7366731 w 7366731"/>
              <a:gd name="connsiteY7" fmla="*/ 69845 h 9794406"/>
              <a:gd name="connsiteX0" fmla="*/ 0 w 7366731"/>
              <a:gd name="connsiteY0" fmla="*/ 9794406 h 9794406"/>
              <a:gd name="connsiteX1" fmla="*/ 1001872 w 7366731"/>
              <a:gd name="connsiteY1" fmla="*/ 8513856 h 9794406"/>
              <a:gd name="connsiteX2" fmla="*/ 2013295 w 7366731"/>
              <a:gd name="connsiteY2" fmla="*/ 8386468 h 9794406"/>
              <a:gd name="connsiteX3" fmla="*/ 3269697 w 7366731"/>
              <a:gd name="connsiteY3" fmla="*/ 0 h 9794406"/>
              <a:gd name="connsiteX4" fmla="*/ 4279082 w 7366731"/>
              <a:gd name="connsiteY4" fmla="*/ 290285 h 9794406"/>
              <a:gd name="connsiteX5" fmla="*/ 5255132 w 7366731"/>
              <a:gd name="connsiteY5" fmla="*/ 130921 h 9794406"/>
              <a:gd name="connsiteX6" fmla="*/ 6244057 w 7366731"/>
              <a:gd name="connsiteY6" fmla="*/ 3124 h 9794406"/>
              <a:gd name="connsiteX7" fmla="*/ 7366731 w 7366731"/>
              <a:gd name="connsiteY7" fmla="*/ 69845 h 9794406"/>
              <a:gd name="connsiteX0" fmla="*/ 0 w 7366731"/>
              <a:gd name="connsiteY0" fmla="*/ 9794406 h 9794406"/>
              <a:gd name="connsiteX1" fmla="*/ 1001872 w 7366731"/>
              <a:gd name="connsiteY1" fmla="*/ 8513856 h 9794406"/>
              <a:gd name="connsiteX2" fmla="*/ 2013295 w 7366731"/>
              <a:gd name="connsiteY2" fmla="*/ 8386468 h 9794406"/>
              <a:gd name="connsiteX3" fmla="*/ 3269697 w 7366731"/>
              <a:gd name="connsiteY3" fmla="*/ 0 h 9794406"/>
              <a:gd name="connsiteX4" fmla="*/ 4279082 w 7366731"/>
              <a:gd name="connsiteY4" fmla="*/ 290285 h 9794406"/>
              <a:gd name="connsiteX5" fmla="*/ 5255132 w 7366731"/>
              <a:gd name="connsiteY5" fmla="*/ 130921 h 9794406"/>
              <a:gd name="connsiteX6" fmla="*/ 6244057 w 7366731"/>
              <a:gd name="connsiteY6" fmla="*/ 3124 h 9794406"/>
              <a:gd name="connsiteX7" fmla="*/ 7366731 w 7366731"/>
              <a:gd name="connsiteY7" fmla="*/ 69845 h 9794406"/>
              <a:gd name="connsiteX0" fmla="*/ 0 w 7366731"/>
              <a:gd name="connsiteY0" fmla="*/ 9794406 h 9794406"/>
              <a:gd name="connsiteX1" fmla="*/ 1001872 w 7366731"/>
              <a:gd name="connsiteY1" fmla="*/ 8443447 h 9794406"/>
              <a:gd name="connsiteX2" fmla="*/ 2013295 w 7366731"/>
              <a:gd name="connsiteY2" fmla="*/ 8386468 h 9794406"/>
              <a:gd name="connsiteX3" fmla="*/ 3269697 w 7366731"/>
              <a:gd name="connsiteY3" fmla="*/ 0 h 9794406"/>
              <a:gd name="connsiteX4" fmla="*/ 4279082 w 7366731"/>
              <a:gd name="connsiteY4" fmla="*/ 290285 h 9794406"/>
              <a:gd name="connsiteX5" fmla="*/ 5255132 w 7366731"/>
              <a:gd name="connsiteY5" fmla="*/ 130921 h 9794406"/>
              <a:gd name="connsiteX6" fmla="*/ 6244057 w 7366731"/>
              <a:gd name="connsiteY6" fmla="*/ 3124 h 9794406"/>
              <a:gd name="connsiteX7" fmla="*/ 7366731 w 7366731"/>
              <a:gd name="connsiteY7" fmla="*/ 69845 h 9794406"/>
              <a:gd name="connsiteX0" fmla="*/ 0 w 7366731"/>
              <a:gd name="connsiteY0" fmla="*/ 9794406 h 9794406"/>
              <a:gd name="connsiteX1" fmla="*/ 1001872 w 7366731"/>
              <a:gd name="connsiteY1" fmla="*/ 8443447 h 9794406"/>
              <a:gd name="connsiteX2" fmla="*/ 2013295 w 7366731"/>
              <a:gd name="connsiteY2" fmla="*/ 8386468 h 9794406"/>
              <a:gd name="connsiteX3" fmla="*/ 3269697 w 7366731"/>
              <a:gd name="connsiteY3" fmla="*/ 0 h 9794406"/>
              <a:gd name="connsiteX4" fmla="*/ 4279082 w 7366731"/>
              <a:gd name="connsiteY4" fmla="*/ 290285 h 9794406"/>
              <a:gd name="connsiteX5" fmla="*/ 5255132 w 7366731"/>
              <a:gd name="connsiteY5" fmla="*/ 130921 h 9794406"/>
              <a:gd name="connsiteX6" fmla="*/ 6244057 w 7366731"/>
              <a:gd name="connsiteY6" fmla="*/ 3124 h 9794406"/>
              <a:gd name="connsiteX7" fmla="*/ 7366731 w 7366731"/>
              <a:gd name="connsiteY7" fmla="*/ 69845 h 9794406"/>
              <a:gd name="connsiteX0" fmla="*/ 0 w 7366731"/>
              <a:gd name="connsiteY0" fmla="*/ 9794406 h 9794406"/>
              <a:gd name="connsiteX1" fmla="*/ 1001872 w 7366731"/>
              <a:gd name="connsiteY1" fmla="*/ 8443447 h 9794406"/>
              <a:gd name="connsiteX2" fmla="*/ 2013295 w 7366731"/>
              <a:gd name="connsiteY2" fmla="*/ 8386468 h 9794406"/>
              <a:gd name="connsiteX3" fmla="*/ 3269697 w 7366731"/>
              <a:gd name="connsiteY3" fmla="*/ 0 h 9794406"/>
              <a:gd name="connsiteX4" fmla="*/ 4279082 w 7366731"/>
              <a:gd name="connsiteY4" fmla="*/ 290285 h 9794406"/>
              <a:gd name="connsiteX5" fmla="*/ 5255132 w 7366731"/>
              <a:gd name="connsiteY5" fmla="*/ 130921 h 9794406"/>
              <a:gd name="connsiteX6" fmla="*/ 6244057 w 7366731"/>
              <a:gd name="connsiteY6" fmla="*/ 3124 h 9794406"/>
              <a:gd name="connsiteX7" fmla="*/ 7366731 w 7366731"/>
              <a:gd name="connsiteY7" fmla="*/ 69845 h 9794406"/>
              <a:gd name="connsiteX0" fmla="*/ 0 w 7366731"/>
              <a:gd name="connsiteY0" fmla="*/ 10323936 h 11114773"/>
              <a:gd name="connsiteX1" fmla="*/ 1001872 w 7366731"/>
              <a:gd name="connsiteY1" fmla="*/ 8972977 h 11114773"/>
              <a:gd name="connsiteX2" fmla="*/ 2013295 w 7366731"/>
              <a:gd name="connsiteY2" fmla="*/ 8915998 h 11114773"/>
              <a:gd name="connsiteX3" fmla="*/ 2983513 w 7366731"/>
              <a:gd name="connsiteY3" fmla="*/ 11114752 h 11114773"/>
              <a:gd name="connsiteX4" fmla="*/ 4279082 w 7366731"/>
              <a:gd name="connsiteY4" fmla="*/ 819815 h 11114773"/>
              <a:gd name="connsiteX5" fmla="*/ 5255132 w 7366731"/>
              <a:gd name="connsiteY5" fmla="*/ 660451 h 11114773"/>
              <a:gd name="connsiteX6" fmla="*/ 6244057 w 7366731"/>
              <a:gd name="connsiteY6" fmla="*/ 532654 h 11114773"/>
              <a:gd name="connsiteX7" fmla="*/ 7366731 w 7366731"/>
              <a:gd name="connsiteY7" fmla="*/ 599375 h 11114773"/>
              <a:gd name="connsiteX0" fmla="*/ 0 w 7366731"/>
              <a:gd name="connsiteY0" fmla="*/ 9792310 h 10811022"/>
              <a:gd name="connsiteX1" fmla="*/ 1001872 w 7366731"/>
              <a:gd name="connsiteY1" fmla="*/ 8441351 h 10811022"/>
              <a:gd name="connsiteX2" fmla="*/ 2013295 w 7366731"/>
              <a:gd name="connsiteY2" fmla="*/ 8384372 h 10811022"/>
              <a:gd name="connsiteX3" fmla="*/ 2983513 w 7366731"/>
              <a:gd name="connsiteY3" fmla="*/ 10583126 h 10811022"/>
              <a:gd name="connsiteX4" fmla="*/ 4051303 w 7366731"/>
              <a:gd name="connsiteY4" fmla="*/ 9723353 h 10811022"/>
              <a:gd name="connsiteX5" fmla="*/ 5255132 w 7366731"/>
              <a:gd name="connsiteY5" fmla="*/ 128825 h 10811022"/>
              <a:gd name="connsiteX6" fmla="*/ 6244057 w 7366731"/>
              <a:gd name="connsiteY6" fmla="*/ 1028 h 10811022"/>
              <a:gd name="connsiteX7" fmla="*/ 7366731 w 7366731"/>
              <a:gd name="connsiteY7" fmla="*/ 67749 h 10811022"/>
              <a:gd name="connsiteX0" fmla="*/ 0 w 7366731"/>
              <a:gd name="connsiteY0" fmla="*/ 9792310 h 10583365"/>
              <a:gd name="connsiteX1" fmla="*/ 1001872 w 7366731"/>
              <a:gd name="connsiteY1" fmla="*/ 8441351 h 10583365"/>
              <a:gd name="connsiteX2" fmla="*/ 2013295 w 7366731"/>
              <a:gd name="connsiteY2" fmla="*/ 8384372 h 10583365"/>
              <a:gd name="connsiteX3" fmla="*/ 2983513 w 7366731"/>
              <a:gd name="connsiteY3" fmla="*/ 10583126 h 10583365"/>
              <a:gd name="connsiteX4" fmla="*/ 4051303 w 7366731"/>
              <a:gd name="connsiteY4" fmla="*/ 9723353 h 10583365"/>
              <a:gd name="connsiteX5" fmla="*/ 5255132 w 7366731"/>
              <a:gd name="connsiteY5" fmla="*/ 128825 h 10583365"/>
              <a:gd name="connsiteX6" fmla="*/ 6244057 w 7366731"/>
              <a:gd name="connsiteY6" fmla="*/ 1028 h 10583365"/>
              <a:gd name="connsiteX7" fmla="*/ 7366731 w 7366731"/>
              <a:gd name="connsiteY7" fmla="*/ 67749 h 10583365"/>
              <a:gd name="connsiteX0" fmla="*/ 0 w 7366731"/>
              <a:gd name="connsiteY0" fmla="*/ 9792310 h 10711101"/>
              <a:gd name="connsiteX1" fmla="*/ 1001872 w 7366731"/>
              <a:gd name="connsiteY1" fmla="*/ 8441351 h 10711101"/>
              <a:gd name="connsiteX2" fmla="*/ 2013295 w 7366731"/>
              <a:gd name="connsiteY2" fmla="*/ 8384372 h 10711101"/>
              <a:gd name="connsiteX3" fmla="*/ 2983513 w 7366731"/>
              <a:gd name="connsiteY3" fmla="*/ 10583126 h 10711101"/>
              <a:gd name="connsiteX4" fmla="*/ 3975377 w 7366731"/>
              <a:gd name="connsiteY4" fmla="*/ 10474412 h 10711101"/>
              <a:gd name="connsiteX5" fmla="*/ 5255132 w 7366731"/>
              <a:gd name="connsiteY5" fmla="*/ 128825 h 10711101"/>
              <a:gd name="connsiteX6" fmla="*/ 6244057 w 7366731"/>
              <a:gd name="connsiteY6" fmla="*/ 1028 h 10711101"/>
              <a:gd name="connsiteX7" fmla="*/ 7366731 w 7366731"/>
              <a:gd name="connsiteY7" fmla="*/ 67749 h 10711101"/>
              <a:gd name="connsiteX0" fmla="*/ 0 w 7366731"/>
              <a:gd name="connsiteY0" fmla="*/ 9792310 h 10583590"/>
              <a:gd name="connsiteX1" fmla="*/ 1001872 w 7366731"/>
              <a:gd name="connsiteY1" fmla="*/ 8441351 h 10583590"/>
              <a:gd name="connsiteX2" fmla="*/ 2013295 w 7366731"/>
              <a:gd name="connsiteY2" fmla="*/ 8384372 h 10583590"/>
              <a:gd name="connsiteX3" fmla="*/ 2983513 w 7366731"/>
              <a:gd name="connsiteY3" fmla="*/ 10583126 h 10583590"/>
              <a:gd name="connsiteX4" fmla="*/ 4027942 w 7366731"/>
              <a:gd name="connsiteY4" fmla="*/ 9934589 h 10583590"/>
              <a:gd name="connsiteX5" fmla="*/ 5255132 w 7366731"/>
              <a:gd name="connsiteY5" fmla="*/ 128825 h 10583590"/>
              <a:gd name="connsiteX6" fmla="*/ 6244057 w 7366731"/>
              <a:gd name="connsiteY6" fmla="*/ 1028 h 10583590"/>
              <a:gd name="connsiteX7" fmla="*/ 7366731 w 7366731"/>
              <a:gd name="connsiteY7" fmla="*/ 67749 h 10583590"/>
              <a:gd name="connsiteX0" fmla="*/ 0 w 7366731"/>
              <a:gd name="connsiteY0" fmla="*/ 9791303 h 10589169"/>
              <a:gd name="connsiteX1" fmla="*/ 1001872 w 7366731"/>
              <a:gd name="connsiteY1" fmla="*/ 8440344 h 10589169"/>
              <a:gd name="connsiteX2" fmla="*/ 2013295 w 7366731"/>
              <a:gd name="connsiteY2" fmla="*/ 8383365 h 10589169"/>
              <a:gd name="connsiteX3" fmla="*/ 2983513 w 7366731"/>
              <a:gd name="connsiteY3" fmla="*/ 10582119 h 10589169"/>
              <a:gd name="connsiteX4" fmla="*/ 4027942 w 7366731"/>
              <a:gd name="connsiteY4" fmla="*/ 9933582 h 10589169"/>
              <a:gd name="connsiteX5" fmla="*/ 5056556 w 7366731"/>
              <a:gd name="connsiteY5" fmla="*/ 6206694 h 10589169"/>
              <a:gd name="connsiteX6" fmla="*/ 6244057 w 7366731"/>
              <a:gd name="connsiteY6" fmla="*/ 21 h 10589169"/>
              <a:gd name="connsiteX7" fmla="*/ 7366731 w 7366731"/>
              <a:gd name="connsiteY7" fmla="*/ 66742 h 10589169"/>
              <a:gd name="connsiteX0" fmla="*/ 0 w 7366731"/>
              <a:gd name="connsiteY0" fmla="*/ 9791294 h 10971210"/>
              <a:gd name="connsiteX1" fmla="*/ 1001872 w 7366731"/>
              <a:gd name="connsiteY1" fmla="*/ 8440335 h 10971210"/>
              <a:gd name="connsiteX2" fmla="*/ 2013295 w 7366731"/>
              <a:gd name="connsiteY2" fmla="*/ 8383356 h 10971210"/>
              <a:gd name="connsiteX3" fmla="*/ 2983513 w 7366731"/>
              <a:gd name="connsiteY3" fmla="*/ 10582110 h 10971210"/>
              <a:gd name="connsiteX4" fmla="*/ 4027942 w 7366731"/>
              <a:gd name="connsiteY4" fmla="*/ 9933573 h 10971210"/>
              <a:gd name="connsiteX5" fmla="*/ 5027354 w 7366731"/>
              <a:gd name="connsiteY5" fmla="*/ 10971210 h 10971210"/>
              <a:gd name="connsiteX6" fmla="*/ 6244057 w 7366731"/>
              <a:gd name="connsiteY6" fmla="*/ 12 h 10971210"/>
              <a:gd name="connsiteX7" fmla="*/ 7366731 w 7366731"/>
              <a:gd name="connsiteY7" fmla="*/ 66733 h 10971210"/>
              <a:gd name="connsiteX0" fmla="*/ 0 w 7366731"/>
              <a:gd name="connsiteY0" fmla="*/ 9724663 h 10904579"/>
              <a:gd name="connsiteX1" fmla="*/ 1001872 w 7366731"/>
              <a:gd name="connsiteY1" fmla="*/ 8373704 h 10904579"/>
              <a:gd name="connsiteX2" fmla="*/ 2013295 w 7366731"/>
              <a:gd name="connsiteY2" fmla="*/ 8316725 h 10904579"/>
              <a:gd name="connsiteX3" fmla="*/ 2983513 w 7366731"/>
              <a:gd name="connsiteY3" fmla="*/ 10515479 h 10904579"/>
              <a:gd name="connsiteX4" fmla="*/ 4027942 w 7366731"/>
              <a:gd name="connsiteY4" fmla="*/ 9866942 h 10904579"/>
              <a:gd name="connsiteX5" fmla="*/ 5027354 w 7366731"/>
              <a:gd name="connsiteY5" fmla="*/ 10904579 h 10904579"/>
              <a:gd name="connsiteX6" fmla="*/ 6022118 w 7366731"/>
              <a:gd name="connsiteY6" fmla="*/ 8288900 h 10904579"/>
              <a:gd name="connsiteX7" fmla="*/ 7366731 w 7366731"/>
              <a:gd name="connsiteY7" fmla="*/ 102 h 10904579"/>
              <a:gd name="connsiteX0" fmla="*/ 0 w 7080547"/>
              <a:gd name="connsiteY0" fmla="*/ 1572738 h 2752654"/>
              <a:gd name="connsiteX1" fmla="*/ 1001872 w 7080547"/>
              <a:gd name="connsiteY1" fmla="*/ 221779 h 2752654"/>
              <a:gd name="connsiteX2" fmla="*/ 2013295 w 7080547"/>
              <a:gd name="connsiteY2" fmla="*/ 164800 h 2752654"/>
              <a:gd name="connsiteX3" fmla="*/ 2983513 w 7080547"/>
              <a:gd name="connsiteY3" fmla="*/ 2363554 h 2752654"/>
              <a:gd name="connsiteX4" fmla="*/ 4027942 w 7080547"/>
              <a:gd name="connsiteY4" fmla="*/ 1715017 h 2752654"/>
              <a:gd name="connsiteX5" fmla="*/ 5027354 w 7080547"/>
              <a:gd name="connsiteY5" fmla="*/ 2752654 h 2752654"/>
              <a:gd name="connsiteX6" fmla="*/ 6022118 w 7080547"/>
              <a:gd name="connsiteY6" fmla="*/ 136975 h 2752654"/>
              <a:gd name="connsiteX7" fmla="*/ 7080547 w 7080547"/>
              <a:gd name="connsiteY7" fmla="*/ 1729284 h 2752654"/>
              <a:gd name="connsiteX0" fmla="*/ 0 w 7080547"/>
              <a:gd name="connsiteY0" fmla="*/ 1572738 h 2752654"/>
              <a:gd name="connsiteX1" fmla="*/ 1001872 w 7080547"/>
              <a:gd name="connsiteY1" fmla="*/ 221779 h 2752654"/>
              <a:gd name="connsiteX2" fmla="*/ 2013295 w 7080547"/>
              <a:gd name="connsiteY2" fmla="*/ 164800 h 2752654"/>
              <a:gd name="connsiteX3" fmla="*/ 2983513 w 7080547"/>
              <a:gd name="connsiteY3" fmla="*/ 2363554 h 2752654"/>
              <a:gd name="connsiteX4" fmla="*/ 4027942 w 7080547"/>
              <a:gd name="connsiteY4" fmla="*/ 1715017 h 2752654"/>
              <a:gd name="connsiteX5" fmla="*/ 5027354 w 7080547"/>
              <a:gd name="connsiteY5" fmla="*/ 2752654 h 2752654"/>
              <a:gd name="connsiteX6" fmla="*/ 6022118 w 7080547"/>
              <a:gd name="connsiteY6" fmla="*/ 136975 h 2752654"/>
              <a:gd name="connsiteX7" fmla="*/ 7080547 w 7080547"/>
              <a:gd name="connsiteY7" fmla="*/ 1729284 h 2752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80547" h="2752654">
                <a:moveTo>
                  <a:pt x="0" y="1572738"/>
                </a:moveTo>
                <a:cubicBezTo>
                  <a:pt x="201650" y="921122"/>
                  <a:pt x="666323" y="315611"/>
                  <a:pt x="1001872" y="221779"/>
                </a:cubicBezTo>
                <a:cubicBezTo>
                  <a:pt x="1337421" y="127947"/>
                  <a:pt x="1683022" y="-192162"/>
                  <a:pt x="2013295" y="164800"/>
                </a:cubicBezTo>
                <a:cubicBezTo>
                  <a:pt x="2343568" y="521762"/>
                  <a:pt x="2789713" y="2370918"/>
                  <a:pt x="2983513" y="2363554"/>
                </a:cubicBezTo>
                <a:cubicBezTo>
                  <a:pt x="3298840" y="2375242"/>
                  <a:pt x="3687302" y="1650167"/>
                  <a:pt x="4027942" y="1715017"/>
                </a:cubicBezTo>
                <a:cubicBezTo>
                  <a:pt x="4368582" y="1779867"/>
                  <a:pt x="4761650" y="2745159"/>
                  <a:pt x="5027354" y="2752654"/>
                </a:cubicBezTo>
                <a:cubicBezTo>
                  <a:pt x="5340080" y="2728090"/>
                  <a:pt x="5678358" y="123855"/>
                  <a:pt x="6022118" y="136975"/>
                </a:cubicBezTo>
                <a:cubicBezTo>
                  <a:pt x="6365878" y="150095"/>
                  <a:pt x="6892254" y="1531272"/>
                  <a:pt x="7080547" y="1729284"/>
                </a:cubicBezTo>
              </a:path>
            </a:pathLst>
          </a:custGeom>
          <a:noFill/>
          <a:ln w="136525" cap="rnd" cmpd="sng" algn="ctr">
            <a:solidFill>
              <a:srgbClr val="32E9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65135220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p:cNvPicPr>
            <a:picLocks noChangeAspect="1"/>
          </p:cNvPicPr>
          <p:nvPr/>
        </p:nvPicPr>
        <p:blipFill>
          <a:blip r:embed="rId3"/>
          <a:stretch>
            <a:fillRect/>
          </a:stretch>
        </p:blipFill>
        <p:spPr>
          <a:xfrm>
            <a:off x="7891492" y="5599950"/>
            <a:ext cx="1437075" cy="808355"/>
          </a:xfrm>
          <a:prstGeom prst="rect">
            <a:avLst/>
          </a:prstGeom>
        </p:spPr>
      </p:pic>
      <p:pic>
        <p:nvPicPr>
          <p:cNvPr id="15" name="図 14"/>
          <p:cNvPicPr>
            <a:picLocks noChangeAspect="1"/>
          </p:cNvPicPr>
          <p:nvPr/>
        </p:nvPicPr>
        <p:blipFill>
          <a:blip r:embed="rId4"/>
          <a:stretch>
            <a:fillRect/>
          </a:stretch>
        </p:blipFill>
        <p:spPr>
          <a:xfrm>
            <a:off x="9518071" y="5551317"/>
            <a:ext cx="1523534" cy="856988"/>
          </a:xfrm>
          <a:prstGeom prst="rect">
            <a:avLst/>
          </a:prstGeom>
        </p:spPr>
      </p:pic>
      <p:pic>
        <p:nvPicPr>
          <p:cNvPr id="14" name="図 13"/>
          <p:cNvPicPr>
            <a:picLocks noChangeAspect="1"/>
          </p:cNvPicPr>
          <p:nvPr/>
        </p:nvPicPr>
        <p:blipFill>
          <a:blip r:embed="rId5"/>
          <a:stretch>
            <a:fillRect/>
          </a:stretch>
        </p:blipFill>
        <p:spPr>
          <a:xfrm>
            <a:off x="711370" y="5600201"/>
            <a:ext cx="1436629" cy="808104"/>
          </a:xfrm>
          <a:prstGeom prst="rect">
            <a:avLst/>
          </a:prstGeom>
        </p:spPr>
      </p:pic>
      <p:pic>
        <p:nvPicPr>
          <p:cNvPr id="9" name="図 8"/>
          <p:cNvPicPr>
            <a:picLocks noChangeAspect="1"/>
          </p:cNvPicPr>
          <p:nvPr/>
        </p:nvPicPr>
        <p:blipFill>
          <a:blip r:embed="rId6"/>
          <a:stretch>
            <a:fillRect/>
          </a:stretch>
        </p:blipFill>
        <p:spPr>
          <a:xfrm>
            <a:off x="2476500" y="5599085"/>
            <a:ext cx="1438614" cy="809220"/>
          </a:xfrm>
          <a:prstGeom prst="rect">
            <a:avLst/>
          </a:prstGeom>
        </p:spPr>
      </p:pic>
      <p:pic>
        <p:nvPicPr>
          <p:cNvPr id="5" name="図 4"/>
          <p:cNvPicPr>
            <a:picLocks noChangeAspect="1"/>
          </p:cNvPicPr>
          <p:nvPr/>
        </p:nvPicPr>
        <p:blipFill>
          <a:blip r:embed="rId7"/>
          <a:stretch>
            <a:fillRect/>
          </a:stretch>
        </p:blipFill>
        <p:spPr>
          <a:xfrm>
            <a:off x="4272341" y="5599085"/>
            <a:ext cx="1438614" cy="809220"/>
          </a:xfrm>
          <a:prstGeom prst="rect">
            <a:avLst/>
          </a:prstGeom>
        </p:spPr>
      </p:pic>
      <p:pic>
        <p:nvPicPr>
          <p:cNvPr id="3" name="図 2"/>
          <p:cNvPicPr>
            <a:picLocks noChangeAspect="1"/>
          </p:cNvPicPr>
          <p:nvPr/>
        </p:nvPicPr>
        <p:blipFill>
          <a:blip r:embed="rId8"/>
          <a:stretch>
            <a:fillRect/>
          </a:stretch>
        </p:blipFill>
        <p:spPr>
          <a:xfrm>
            <a:off x="6039456" y="5551317"/>
            <a:ext cx="1523535" cy="856988"/>
          </a:xfrm>
          <a:prstGeom prst="rect">
            <a:avLst/>
          </a:prstGeom>
        </p:spPr>
      </p:pic>
      <p:sp>
        <p:nvSpPr>
          <p:cNvPr id="4" name="Title 3">
            <a:extLst>
              <a:ext uri="{FF2B5EF4-FFF2-40B4-BE49-F238E27FC236}">
                <a16:creationId xmlns:a16="http://schemas.microsoft.com/office/drawing/2014/main" id="{41215E16-71A8-45E3-8378-891224111554}"/>
              </a:ext>
            </a:extLst>
          </p:cNvPr>
          <p:cNvSpPr>
            <a:spLocks noGrp="1"/>
          </p:cNvSpPr>
          <p:nvPr>
            <p:ph type="title"/>
          </p:nvPr>
        </p:nvSpPr>
        <p:spPr/>
        <p:txBody>
          <a:bodyPr/>
          <a:lstStyle/>
          <a:p>
            <a:r>
              <a:rPr lang="en-US" b="1" dirty="0"/>
              <a:t>Summary of Engineering Capability Maturity Model (1 of 2)</a:t>
            </a:r>
            <a:br>
              <a:rPr lang="en-US" b="1" dirty="0"/>
            </a:br>
            <a:br>
              <a:rPr lang="en-US" b="1" dirty="0"/>
            </a:br>
            <a:endParaRPr lang="en-US" b="1" dirty="0"/>
          </a:p>
        </p:txBody>
      </p:sp>
      <p:sp>
        <p:nvSpPr>
          <p:cNvPr id="287" name="Text Box 28">
            <a:extLst>
              <a:ext uri="{FF2B5EF4-FFF2-40B4-BE49-F238E27FC236}">
                <a16:creationId xmlns:a16="http://schemas.microsoft.com/office/drawing/2014/main" id="{5C4EC280-4D4C-41F4-B7F6-6201CAE15672}"/>
              </a:ext>
            </a:extLst>
          </p:cNvPr>
          <p:cNvSpPr txBox="1">
            <a:spLocks noChangeArrowheads="1"/>
          </p:cNvSpPr>
          <p:nvPr/>
        </p:nvSpPr>
        <p:spPr bwMode="auto">
          <a:xfrm>
            <a:off x="232751" y="954777"/>
            <a:ext cx="850504" cy="236337"/>
          </a:xfrm>
          <a:prstGeom prst="rect">
            <a:avLst/>
          </a:prstGeom>
          <a:noFill/>
          <a:ln w="25400">
            <a:noFill/>
            <a:miter lim="800000"/>
            <a:headEnd/>
            <a:tailEnd type="none" w="med" len="lg"/>
          </a:ln>
        </p:spPr>
        <p:txBody>
          <a:bodyPr wrap="square" lIns="0" tIns="54859" rIns="109718" bIns="54859">
            <a:spAutoFit/>
          </a:bodyPr>
          <a:lstStyle/>
          <a:p>
            <a:pPr marL="274320" indent="-274320" algn="r" defTabSz="1082040" eaLnBrk="0" fontAlgn="base" hangingPunct="0">
              <a:lnSpc>
                <a:spcPct val="85000"/>
              </a:lnSpc>
              <a:spcBef>
                <a:spcPct val="0"/>
              </a:spcBef>
              <a:spcAft>
                <a:spcPct val="0"/>
              </a:spcAft>
              <a:buClr>
                <a:srgbClr val="8099CC"/>
              </a:buClr>
              <a:defRPr/>
            </a:pPr>
            <a:r>
              <a:rPr lang="en-US" altLang="en-US" sz="960" b="1" dirty="0">
                <a:solidFill>
                  <a:srgbClr val="000000"/>
                </a:solidFill>
                <a:latin typeface="Arial" charset="0"/>
                <a:cs typeface="Arial" charset="0"/>
              </a:rPr>
              <a:t>Maturity</a:t>
            </a:r>
          </a:p>
        </p:txBody>
      </p:sp>
      <p:sp>
        <p:nvSpPr>
          <p:cNvPr id="283" name="Text Box 11">
            <a:extLst>
              <a:ext uri="{FF2B5EF4-FFF2-40B4-BE49-F238E27FC236}">
                <a16:creationId xmlns:a16="http://schemas.microsoft.com/office/drawing/2014/main" id="{F2704C4C-126C-4696-AED7-B84CAF9A88C6}"/>
              </a:ext>
            </a:extLst>
          </p:cNvPr>
          <p:cNvSpPr txBox="1">
            <a:spLocks noChangeArrowheads="1"/>
          </p:cNvSpPr>
          <p:nvPr/>
        </p:nvSpPr>
        <p:spPr bwMode="auto">
          <a:xfrm rot="-5400000">
            <a:off x="91599" y="4355441"/>
            <a:ext cx="574558" cy="322882"/>
          </a:xfrm>
          <a:prstGeom prst="rect">
            <a:avLst/>
          </a:prstGeom>
          <a:noFill/>
          <a:ln w="12700" algn="ctr">
            <a:noFill/>
            <a:miter lim="800000"/>
            <a:headEnd/>
            <a:tailEnd/>
          </a:ln>
        </p:spPr>
        <p:txBody>
          <a:bodyPr lIns="0" tIns="0" rIns="0" bIns="0" anchor="b"/>
          <a:lstStyle/>
          <a:p>
            <a:pPr algn="ctr" defTabSz="1082040" eaLnBrk="0" fontAlgn="base" hangingPunct="0">
              <a:lnSpc>
                <a:spcPct val="90000"/>
              </a:lnSpc>
              <a:spcBef>
                <a:spcPct val="50000"/>
              </a:spcBef>
              <a:spcAft>
                <a:spcPct val="0"/>
              </a:spcAft>
              <a:buClr>
                <a:srgbClr val="8099CC"/>
              </a:buClr>
              <a:buSzPct val="100000"/>
              <a:defRPr/>
            </a:pPr>
            <a:r>
              <a:rPr lang="en-US" sz="960" b="1" dirty="0">
                <a:solidFill>
                  <a:srgbClr val="000000"/>
                </a:solidFill>
                <a:latin typeface="Arial" charset="0"/>
                <a:cs typeface="Arial" charset="0"/>
              </a:rPr>
              <a:t>Low</a:t>
            </a:r>
          </a:p>
        </p:txBody>
      </p:sp>
      <p:sp>
        <p:nvSpPr>
          <p:cNvPr id="284" name="Text Box 12">
            <a:extLst>
              <a:ext uri="{FF2B5EF4-FFF2-40B4-BE49-F238E27FC236}">
                <a16:creationId xmlns:a16="http://schemas.microsoft.com/office/drawing/2014/main" id="{DA3CC123-F8B1-4742-8E81-EE91DB5F0C8D}"/>
              </a:ext>
            </a:extLst>
          </p:cNvPr>
          <p:cNvSpPr txBox="1">
            <a:spLocks noChangeArrowheads="1"/>
          </p:cNvSpPr>
          <p:nvPr/>
        </p:nvSpPr>
        <p:spPr bwMode="auto">
          <a:xfrm rot="-5400000">
            <a:off x="139476" y="1652373"/>
            <a:ext cx="649841" cy="248914"/>
          </a:xfrm>
          <a:prstGeom prst="rect">
            <a:avLst/>
          </a:prstGeom>
          <a:noFill/>
          <a:ln w="12700" algn="ctr">
            <a:noFill/>
            <a:miter lim="800000"/>
            <a:headEnd/>
            <a:tailEnd/>
          </a:ln>
        </p:spPr>
        <p:txBody>
          <a:bodyPr wrap="square" lIns="0" rIns="0" anchor="b">
            <a:spAutoFit/>
          </a:bodyPr>
          <a:lstStyle/>
          <a:p>
            <a:pPr algn="ctr" defTabSz="1097280" eaLnBrk="0" fontAlgn="base" hangingPunct="0">
              <a:lnSpc>
                <a:spcPct val="106000"/>
              </a:lnSpc>
              <a:spcBef>
                <a:spcPct val="50000"/>
              </a:spcBef>
              <a:spcAft>
                <a:spcPct val="0"/>
              </a:spcAft>
              <a:buSzPct val="100000"/>
              <a:defRPr/>
            </a:pPr>
            <a:r>
              <a:rPr lang="en-US" sz="960" b="1" dirty="0">
                <a:solidFill>
                  <a:srgbClr val="000000"/>
                </a:solidFill>
                <a:latin typeface="Arial" charset="0"/>
                <a:cs typeface="Arial" charset="0"/>
              </a:rPr>
              <a:t>Advanced</a:t>
            </a:r>
          </a:p>
        </p:txBody>
      </p:sp>
      <p:sp>
        <p:nvSpPr>
          <p:cNvPr id="285" name="Text Box 13">
            <a:extLst>
              <a:ext uri="{FF2B5EF4-FFF2-40B4-BE49-F238E27FC236}">
                <a16:creationId xmlns:a16="http://schemas.microsoft.com/office/drawing/2014/main" id="{23336E94-9BC2-4EFE-A22D-6E2752DE1FC5}"/>
              </a:ext>
            </a:extLst>
          </p:cNvPr>
          <p:cNvSpPr txBox="1">
            <a:spLocks noChangeArrowheads="1"/>
          </p:cNvSpPr>
          <p:nvPr/>
        </p:nvSpPr>
        <p:spPr bwMode="auto">
          <a:xfrm rot="-5400000">
            <a:off x="196119" y="3020165"/>
            <a:ext cx="544176" cy="248914"/>
          </a:xfrm>
          <a:prstGeom prst="rect">
            <a:avLst/>
          </a:prstGeom>
          <a:noFill/>
          <a:ln w="12700" algn="ctr">
            <a:noFill/>
            <a:miter lim="800000"/>
            <a:headEnd/>
            <a:tailEnd/>
          </a:ln>
        </p:spPr>
        <p:txBody>
          <a:bodyPr wrap="square" lIns="0" rIns="0" anchor="b">
            <a:spAutoFit/>
          </a:bodyPr>
          <a:lstStyle/>
          <a:p>
            <a:pPr algn="ctr" defTabSz="1097280" eaLnBrk="0" fontAlgn="base" hangingPunct="0">
              <a:lnSpc>
                <a:spcPct val="106000"/>
              </a:lnSpc>
              <a:spcBef>
                <a:spcPct val="50000"/>
              </a:spcBef>
              <a:spcAft>
                <a:spcPct val="0"/>
              </a:spcAft>
              <a:buSzPct val="100000"/>
              <a:defRPr/>
            </a:pPr>
            <a:r>
              <a:rPr lang="en-US" sz="960" b="1" dirty="0">
                <a:solidFill>
                  <a:srgbClr val="000000"/>
                </a:solidFill>
                <a:latin typeface="Arial" charset="0"/>
                <a:cs typeface="Arial" charset="0"/>
              </a:rPr>
              <a:t>Basic</a:t>
            </a:r>
          </a:p>
        </p:txBody>
      </p:sp>
      <p:cxnSp>
        <p:nvCxnSpPr>
          <p:cNvPr id="48" name="AutoShape 6">
            <a:extLst>
              <a:ext uri="{FF2B5EF4-FFF2-40B4-BE49-F238E27FC236}">
                <a16:creationId xmlns:a16="http://schemas.microsoft.com/office/drawing/2014/main" id="{55C68EBF-7432-441C-8DE7-80FED76AEF67}"/>
              </a:ext>
            </a:extLst>
          </p:cNvPr>
          <p:cNvCxnSpPr>
            <a:cxnSpLocks noChangeShapeType="1"/>
          </p:cNvCxnSpPr>
          <p:nvPr/>
        </p:nvCxnSpPr>
        <p:spPr bwMode="auto">
          <a:xfrm flipV="1">
            <a:off x="1410801" y="2346828"/>
            <a:ext cx="0" cy="227799"/>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49" name="AutoShape 19">
            <a:extLst>
              <a:ext uri="{FF2B5EF4-FFF2-40B4-BE49-F238E27FC236}">
                <a16:creationId xmlns:a16="http://schemas.microsoft.com/office/drawing/2014/main" id="{A9E6B02F-E3A2-4EED-9992-FCDEF692E03B}"/>
              </a:ext>
            </a:extLst>
          </p:cNvPr>
          <p:cNvCxnSpPr>
            <a:cxnSpLocks noChangeShapeType="1"/>
          </p:cNvCxnSpPr>
          <p:nvPr/>
        </p:nvCxnSpPr>
        <p:spPr bwMode="auto">
          <a:xfrm flipV="1">
            <a:off x="1410801" y="3714618"/>
            <a:ext cx="0" cy="232268"/>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sp>
        <p:nvSpPr>
          <p:cNvPr id="50" name="Rectangle 43">
            <a:extLst>
              <a:ext uri="{FF2B5EF4-FFF2-40B4-BE49-F238E27FC236}">
                <a16:creationId xmlns:a16="http://schemas.microsoft.com/office/drawing/2014/main" id="{8281262A-2E6D-4D5F-8FDA-8D2E7D566FC7}"/>
              </a:ext>
            </a:extLst>
          </p:cNvPr>
          <p:cNvSpPr>
            <a:spLocks noChangeArrowheads="1"/>
          </p:cNvSpPr>
          <p:nvPr/>
        </p:nvSpPr>
        <p:spPr bwMode="auto">
          <a:xfrm>
            <a:off x="714801" y="3946886"/>
            <a:ext cx="1438614" cy="1139993"/>
          </a:xfrm>
          <a:prstGeom prst="roundRect">
            <a:avLst/>
          </a:prstGeom>
          <a:noFill/>
          <a:ln w="19050" algn="ctr">
            <a:solidFill>
              <a:schemeClr val="tx1"/>
            </a:solidFill>
            <a:miter lim="800000"/>
            <a:headEnd/>
            <a:tailEnd/>
          </a:ln>
        </p:spPr>
        <p:txBody>
          <a:bodyPr lIns="36000" tIns="0" rIns="36000" bIns="0" anchor="ctr"/>
          <a:lstStyle/>
          <a:p>
            <a:pPr algn="ctr" eaLnBrk="0" hangingPunct="0">
              <a:lnSpc>
                <a:spcPct val="80000"/>
              </a:lnSpc>
              <a:buClr>
                <a:srgbClr val="8099CC"/>
              </a:buClr>
            </a:pPr>
            <a:r>
              <a:rPr lang="en-US" altLang="en-US" sz="1000" dirty="0">
                <a:solidFill>
                  <a:prstClr val="black"/>
                </a:solidFill>
              </a:rPr>
              <a:t>Reliant on periodic review meetings, executive intuition, and inconsistent performance metrics</a:t>
            </a:r>
          </a:p>
        </p:txBody>
      </p:sp>
      <p:sp>
        <p:nvSpPr>
          <p:cNvPr id="51" name="Rectangle 47">
            <a:extLst>
              <a:ext uri="{FF2B5EF4-FFF2-40B4-BE49-F238E27FC236}">
                <a16:creationId xmlns:a16="http://schemas.microsoft.com/office/drawing/2014/main" id="{CCE25BD6-1F2F-41EA-8ABC-086F35D23CB0}"/>
              </a:ext>
            </a:extLst>
          </p:cNvPr>
          <p:cNvSpPr>
            <a:spLocks noChangeArrowheads="1"/>
          </p:cNvSpPr>
          <p:nvPr/>
        </p:nvSpPr>
        <p:spPr bwMode="auto">
          <a:xfrm>
            <a:off x="714801" y="1206834"/>
            <a:ext cx="1438614" cy="1139993"/>
          </a:xfrm>
          <a:prstGeom prst="flowChartAlternateProcess">
            <a:avLst/>
          </a:prstGeom>
          <a:noFill/>
          <a:ln w="19050" algn="ctr">
            <a:solidFill>
              <a:schemeClr val="tx1"/>
            </a:solidFill>
            <a:miter lim="800000"/>
            <a:headEnd/>
            <a:tailEnd/>
          </a:ln>
        </p:spPr>
        <p:txBody>
          <a:bodyPr lIns="36000" tIns="0" rIns="36000" bIns="0" anchor="ctr"/>
          <a:lstStyle/>
          <a:p>
            <a:pPr algn="ctr" eaLnBrk="0" hangingPunct="0">
              <a:lnSpc>
                <a:spcPct val="80000"/>
              </a:lnSpc>
              <a:buSzPct val="100000"/>
              <a:defRPr/>
            </a:pPr>
            <a:r>
              <a:rPr lang="en-US" altLang="en-US" sz="1000" kern="0" dirty="0">
                <a:solidFill>
                  <a:prstClr val="black"/>
                </a:solidFill>
              </a:rPr>
              <a:t>Integrated and automated framework with prototyping tools.  Top-down methodology, advanced  modeling techniques.</a:t>
            </a:r>
          </a:p>
        </p:txBody>
      </p:sp>
      <p:sp>
        <p:nvSpPr>
          <p:cNvPr id="53" name="Rectangle: Rounded Corners 52">
            <a:extLst>
              <a:ext uri="{FF2B5EF4-FFF2-40B4-BE49-F238E27FC236}">
                <a16:creationId xmlns:a16="http://schemas.microsoft.com/office/drawing/2014/main" id="{EECA1695-7779-40CE-9ABB-0848672062A8}"/>
              </a:ext>
            </a:extLst>
          </p:cNvPr>
          <p:cNvSpPr>
            <a:spLocks noChangeArrowheads="1"/>
          </p:cNvSpPr>
          <p:nvPr/>
        </p:nvSpPr>
        <p:spPr bwMode="auto">
          <a:xfrm>
            <a:off x="714801" y="2574626"/>
            <a:ext cx="1438614" cy="1139993"/>
          </a:xfrm>
          <a:prstGeom prst="roundRect">
            <a:avLst/>
          </a:prstGeom>
          <a:noFill/>
          <a:ln w="19050" algn="ctr">
            <a:solidFill>
              <a:schemeClr val="tx1"/>
            </a:solidFill>
            <a:miter lim="800000"/>
            <a:headEnd/>
            <a:tailEnd/>
          </a:ln>
        </p:spPr>
        <p:txBody>
          <a:bodyPr lIns="36000" tIns="0" rIns="36000" bIns="0" anchor="ctr"/>
          <a:lstStyle/>
          <a:p>
            <a:pPr algn="ctr" eaLnBrk="0" hangingPunct="0">
              <a:lnSpc>
                <a:spcPct val="80000"/>
              </a:lnSpc>
              <a:buClr>
                <a:srgbClr val="8099CC"/>
              </a:buClr>
            </a:pPr>
            <a:r>
              <a:rPr lang="en-US" altLang="en-US" sz="1000" dirty="0">
                <a:solidFill>
                  <a:prstClr val="black"/>
                </a:solidFill>
              </a:rPr>
              <a:t>Standalone, manual project planning, periodic snapshot reviews with established metrics.</a:t>
            </a:r>
          </a:p>
        </p:txBody>
      </p:sp>
      <p:sp>
        <p:nvSpPr>
          <p:cNvPr id="52" name="Rectangle 63">
            <a:hlinkClick r:id="" action="ppaction://noaction"/>
            <a:extLst>
              <a:ext uri="{FF2B5EF4-FFF2-40B4-BE49-F238E27FC236}">
                <a16:creationId xmlns:a16="http://schemas.microsoft.com/office/drawing/2014/main" id="{F918A5F8-3E12-47F0-B27C-0A1A8B396C7A}"/>
              </a:ext>
            </a:extLst>
          </p:cNvPr>
          <p:cNvSpPr>
            <a:spLocks noChangeArrowheads="1"/>
          </p:cNvSpPr>
          <p:nvPr/>
        </p:nvSpPr>
        <p:spPr bwMode="auto">
          <a:xfrm>
            <a:off x="714801" y="5310092"/>
            <a:ext cx="1438614" cy="389209"/>
          </a:xfrm>
          <a:prstGeom prst="roundRect">
            <a:avLst/>
          </a:prstGeom>
          <a:solidFill>
            <a:srgbClr val="FFFF00"/>
          </a:solidFill>
          <a:ln w="12700" algn="ctr">
            <a:solidFill>
              <a:schemeClr val="tx1"/>
            </a:solidFill>
            <a:miter lim="800000"/>
            <a:headEnd/>
            <a:tailEnd/>
          </a:ln>
        </p:spPr>
        <p:txBody>
          <a:bodyPr lIns="36000" tIns="0" rIns="36000" bIns="0" anchor="ctr"/>
          <a:lstStyle/>
          <a:p>
            <a:pPr algn="ctr" eaLnBrk="0" hangingPunct="0">
              <a:lnSpc>
                <a:spcPct val="90000"/>
              </a:lnSpc>
            </a:pPr>
            <a:r>
              <a:rPr lang="en-US" altLang="en-US" sz="900" b="1" dirty="0">
                <a:solidFill>
                  <a:prstClr val="black"/>
                </a:solidFill>
              </a:rPr>
              <a:t>Portfolio Management</a:t>
            </a:r>
            <a:endParaRPr lang="en-US" sz="900" b="1" dirty="0">
              <a:solidFill>
                <a:prstClr val="black"/>
              </a:solidFill>
            </a:endParaRPr>
          </a:p>
        </p:txBody>
      </p:sp>
      <p:sp>
        <p:nvSpPr>
          <p:cNvPr id="10" name="Rectangle 43">
            <a:extLst>
              <a:ext uri="{FF2B5EF4-FFF2-40B4-BE49-F238E27FC236}">
                <a16:creationId xmlns:a16="http://schemas.microsoft.com/office/drawing/2014/main" id="{F2C8B857-0C31-4B41-9049-4B6F2522A9AA}"/>
              </a:ext>
            </a:extLst>
          </p:cNvPr>
          <p:cNvSpPr>
            <a:spLocks noChangeArrowheads="1"/>
          </p:cNvSpPr>
          <p:nvPr/>
        </p:nvSpPr>
        <p:spPr bwMode="auto">
          <a:xfrm>
            <a:off x="2481917" y="3946096"/>
            <a:ext cx="1438614" cy="1139993"/>
          </a:xfrm>
          <a:prstGeom prst="roundRect">
            <a:avLst/>
          </a:prstGeom>
          <a:noFill/>
          <a:ln w="19050" algn="ctr">
            <a:solidFill>
              <a:schemeClr val="tx1"/>
            </a:solidFill>
            <a:miter lim="800000"/>
            <a:headEnd/>
            <a:tailEnd/>
          </a:ln>
        </p:spPr>
        <p:txBody>
          <a:bodyPr lIns="18288" tIns="0" rIns="18288" bIns="0" anchor="ctr"/>
          <a:lstStyle/>
          <a:p>
            <a:pPr algn="ctr" eaLnBrk="0" fontAlgn="base" hangingPunct="0">
              <a:lnSpc>
                <a:spcPct val="80000"/>
              </a:lnSpc>
              <a:spcBef>
                <a:spcPct val="0"/>
              </a:spcBef>
              <a:spcAft>
                <a:spcPct val="0"/>
              </a:spcAft>
              <a:buClr>
                <a:srgbClr val="8099CC"/>
              </a:buClr>
              <a:buFont typeface="Monotype Sorts"/>
              <a:buNone/>
            </a:pPr>
            <a:r>
              <a:rPr lang="en-US" altLang="en-US" sz="1000" dirty="0">
                <a:solidFill>
                  <a:prstClr val="black"/>
                </a:solidFill>
                <a:cs typeface="Arial" pitchFamily="34" charset="0"/>
              </a:rPr>
              <a:t>Non-integrated project plans; limited visibility to project risks and inconsistent performance metrics</a:t>
            </a:r>
          </a:p>
        </p:txBody>
      </p:sp>
      <p:sp>
        <p:nvSpPr>
          <p:cNvPr id="11" name="Rectangle 47">
            <a:extLst>
              <a:ext uri="{FF2B5EF4-FFF2-40B4-BE49-F238E27FC236}">
                <a16:creationId xmlns:a16="http://schemas.microsoft.com/office/drawing/2014/main" id="{96C406BB-EA06-4141-8642-0A530D7DD79F}"/>
              </a:ext>
            </a:extLst>
          </p:cNvPr>
          <p:cNvSpPr>
            <a:spLocks noChangeArrowheads="1"/>
          </p:cNvSpPr>
          <p:nvPr/>
        </p:nvSpPr>
        <p:spPr bwMode="auto">
          <a:xfrm>
            <a:off x="2481917" y="1206834"/>
            <a:ext cx="1438614" cy="1139993"/>
          </a:xfrm>
          <a:prstGeom prst="flowChartAlternateProcess">
            <a:avLst/>
          </a:prstGeom>
          <a:noFill/>
          <a:ln w="19050" algn="ctr">
            <a:solidFill>
              <a:schemeClr val="tx1"/>
            </a:solidFill>
            <a:miter lim="800000"/>
            <a:headEnd/>
            <a:tailEnd/>
          </a:ln>
        </p:spPr>
        <p:txBody>
          <a:bodyPr lIns="18288" tIns="0" rIns="18288" bIns="0" anchor="ctr"/>
          <a:lstStyle/>
          <a:p>
            <a:pPr algn="ctr" eaLnBrk="0" fontAlgn="base" hangingPunct="0">
              <a:lnSpc>
                <a:spcPct val="80000"/>
              </a:lnSpc>
              <a:spcBef>
                <a:spcPct val="0"/>
              </a:spcBef>
              <a:spcAft>
                <a:spcPct val="0"/>
              </a:spcAft>
              <a:buClr>
                <a:srgbClr val="8099CC"/>
              </a:buClr>
              <a:buFont typeface="Monotype Sorts"/>
              <a:buNone/>
            </a:pPr>
            <a:r>
              <a:rPr lang="en-US" altLang="en-US" sz="1000" dirty="0">
                <a:solidFill>
                  <a:prstClr val="black"/>
                </a:solidFill>
                <a:cs typeface="Arial" pitchFamily="34" charset="0"/>
              </a:rPr>
              <a:t>Integrated project and portfolio planning, standardized tools, and real-time dashboards across functions</a:t>
            </a:r>
          </a:p>
        </p:txBody>
      </p:sp>
      <p:sp>
        <p:nvSpPr>
          <p:cNvPr id="12" name="Rectangle 51">
            <a:extLst>
              <a:ext uri="{FF2B5EF4-FFF2-40B4-BE49-F238E27FC236}">
                <a16:creationId xmlns:a16="http://schemas.microsoft.com/office/drawing/2014/main" id="{68A16EB3-908C-4259-A79D-9DCD0E429D09}"/>
              </a:ext>
            </a:extLst>
          </p:cNvPr>
          <p:cNvSpPr>
            <a:spLocks noChangeArrowheads="1"/>
          </p:cNvSpPr>
          <p:nvPr/>
        </p:nvSpPr>
        <p:spPr bwMode="auto">
          <a:xfrm>
            <a:off x="2481917" y="2575111"/>
            <a:ext cx="1438614" cy="1139993"/>
          </a:xfrm>
          <a:prstGeom prst="roundRect">
            <a:avLst/>
          </a:prstGeom>
          <a:noFill/>
          <a:ln w="19050" algn="ctr">
            <a:solidFill>
              <a:schemeClr val="tx1"/>
            </a:solidFill>
            <a:miter lim="800000"/>
            <a:headEnd/>
            <a:tailEnd/>
          </a:ln>
        </p:spPr>
        <p:txBody>
          <a:bodyPr lIns="18288" tIns="0" rIns="18288" bIns="0" anchor="ctr"/>
          <a:lstStyle/>
          <a:p>
            <a:pPr algn="ctr" eaLnBrk="0" hangingPunct="0">
              <a:lnSpc>
                <a:spcPct val="80000"/>
              </a:lnSpc>
              <a:buClr>
                <a:srgbClr val="8099CC"/>
              </a:buClr>
            </a:pPr>
            <a:r>
              <a:rPr lang="en-US" altLang="en-US" sz="1000" dirty="0">
                <a:solidFill>
                  <a:prstClr val="black"/>
                </a:solidFill>
                <a:cs typeface="Arial" pitchFamily="34" charset="0"/>
              </a:rPr>
              <a:t>Standalone, manual project planning, periodic snapshot reviews with established metrics</a:t>
            </a:r>
          </a:p>
        </p:txBody>
      </p:sp>
      <p:cxnSp>
        <p:nvCxnSpPr>
          <p:cNvPr id="26" name="AutoShape 6">
            <a:extLst>
              <a:ext uri="{FF2B5EF4-FFF2-40B4-BE49-F238E27FC236}">
                <a16:creationId xmlns:a16="http://schemas.microsoft.com/office/drawing/2014/main" id="{A084BF4C-6059-4C1E-AC81-44E8D078617F}"/>
              </a:ext>
            </a:extLst>
          </p:cNvPr>
          <p:cNvCxnSpPr>
            <a:cxnSpLocks noChangeShapeType="1"/>
          </p:cNvCxnSpPr>
          <p:nvPr/>
        </p:nvCxnSpPr>
        <p:spPr bwMode="auto">
          <a:xfrm flipV="1">
            <a:off x="3177917" y="2346828"/>
            <a:ext cx="0" cy="228286"/>
          </a:xfrm>
          <a:prstGeom prst="straightConnector1">
            <a:avLst/>
          </a:prstGeom>
          <a:noFill/>
          <a:ln w="19050">
            <a:solidFill>
              <a:schemeClr val="tx1"/>
            </a:solidFill>
            <a:round/>
            <a:headEnd/>
            <a:tailEnd type="stealth" w="lg" len="lg"/>
          </a:ln>
        </p:spPr>
      </p:cxnSp>
      <p:cxnSp>
        <p:nvCxnSpPr>
          <p:cNvPr id="29" name="AutoShape 19">
            <a:extLst>
              <a:ext uri="{FF2B5EF4-FFF2-40B4-BE49-F238E27FC236}">
                <a16:creationId xmlns:a16="http://schemas.microsoft.com/office/drawing/2014/main" id="{AC8E252C-E74D-4E8F-9DEA-DE6109118F8A}"/>
              </a:ext>
            </a:extLst>
          </p:cNvPr>
          <p:cNvCxnSpPr>
            <a:cxnSpLocks noChangeShapeType="1"/>
          </p:cNvCxnSpPr>
          <p:nvPr/>
        </p:nvCxnSpPr>
        <p:spPr bwMode="auto">
          <a:xfrm flipV="1">
            <a:off x="3177917" y="3715106"/>
            <a:ext cx="0" cy="230991"/>
          </a:xfrm>
          <a:prstGeom prst="straightConnector1">
            <a:avLst/>
          </a:prstGeom>
          <a:noFill/>
          <a:ln w="19050">
            <a:solidFill>
              <a:schemeClr val="tx1"/>
            </a:solidFill>
            <a:round/>
            <a:headEnd/>
            <a:tailEnd type="stealth" w="lg" len="lg"/>
          </a:ln>
        </p:spPr>
      </p:cxnSp>
      <p:sp>
        <p:nvSpPr>
          <p:cNvPr id="13" name="Rectangle 63">
            <a:hlinkClick r:id="" action="ppaction://noaction"/>
            <a:extLst>
              <a:ext uri="{FF2B5EF4-FFF2-40B4-BE49-F238E27FC236}">
                <a16:creationId xmlns:a16="http://schemas.microsoft.com/office/drawing/2014/main" id="{70011976-2EEE-4556-997A-FA7D1E8480AF}"/>
              </a:ext>
            </a:extLst>
          </p:cNvPr>
          <p:cNvSpPr>
            <a:spLocks noChangeArrowheads="1"/>
          </p:cNvSpPr>
          <p:nvPr/>
        </p:nvSpPr>
        <p:spPr bwMode="auto">
          <a:xfrm>
            <a:off x="2481917" y="5310092"/>
            <a:ext cx="1438614" cy="389209"/>
          </a:xfrm>
          <a:prstGeom prst="roundRect">
            <a:avLst/>
          </a:prstGeom>
          <a:solidFill>
            <a:srgbClr val="145972"/>
          </a:solidFill>
          <a:ln w="12700" algn="ctr">
            <a:solidFill>
              <a:schemeClr val="tx1"/>
            </a:solidFill>
            <a:miter lim="800000"/>
            <a:headEnd/>
            <a:tailEnd/>
          </a:ln>
        </p:spPr>
        <p:txBody>
          <a:bodyPr lIns="18288" tIns="0" rIns="18288" bIns="0" anchor="ctr"/>
          <a:lstStyle/>
          <a:p>
            <a:pPr algn="ctr" eaLnBrk="0" fontAlgn="base" hangingPunct="0">
              <a:lnSpc>
                <a:spcPct val="90000"/>
              </a:lnSpc>
              <a:spcBef>
                <a:spcPct val="0"/>
              </a:spcBef>
              <a:spcAft>
                <a:spcPct val="0"/>
              </a:spcAft>
            </a:pPr>
            <a:r>
              <a:rPr lang="en-US" altLang="en-US" sz="900" b="1" dirty="0">
                <a:solidFill>
                  <a:schemeClr val="bg1"/>
                </a:solidFill>
                <a:cs typeface="Arial" pitchFamily="34" charset="0"/>
              </a:rPr>
              <a:t>Project Management</a:t>
            </a:r>
            <a:endParaRPr lang="en-US" sz="900" b="1" dirty="0">
              <a:solidFill>
                <a:schemeClr val="bg1"/>
              </a:solidFill>
              <a:cs typeface="Arial" pitchFamily="34" charset="0"/>
            </a:endParaRPr>
          </a:p>
        </p:txBody>
      </p:sp>
      <p:cxnSp>
        <p:nvCxnSpPr>
          <p:cNvPr id="27" name="AutoShape 8">
            <a:extLst>
              <a:ext uri="{FF2B5EF4-FFF2-40B4-BE49-F238E27FC236}">
                <a16:creationId xmlns:a16="http://schemas.microsoft.com/office/drawing/2014/main" id="{4F8A12ED-326D-42AA-A439-EAA32E5E41EE}"/>
              </a:ext>
            </a:extLst>
          </p:cNvPr>
          <p:cNvCxnSpPr>
            <a:cxnSpLocks noChangeShapeType="1"/>
          </p:cNvCxnSpPr>
          <p:nvPr/>
        </p:nvCxnSpPr>
        <p:spPr bwMode="auto">
          <a:xfrm flipV="1">
            <a:off x="8587493" y="2346828"/>
            <a:ext cx="0" cy="228286"/>
          </a:xfrm>
          <a:prstGeom prst="straightConnector1">
            <a:avLst/>
          </a:prstGeom>
          <a:noFill/>
          <a:ln w="19050">
            <a:solidFill>
              <a:schemeClr val="tx1"/>
            </a:solidFill>
            <a:round/>
            <a:headEnd/>
            <a:tailEnd type="stealth" w="lg" len="lg"/>
          </a:ln>
        </p:spPr>
      </p:cxnSp>
      <p:cxnSp>
        <p:nvCxnSpPr>
          <p:cNvPr id="30" name="AutoShape 21">
            <a:extLst>
              <a:ext uri="{FF2B5EF4-FFF2-40B4-BE49-F238E27FC236}">
                <a16:creationId xmlns:a16="http://schemas.microsoft.com/office/drawing/2014/main" id="{BE908C99-D218-4B52-9530-D7E8087D27E8}"/>
              </a:ext>
            </a:extLst>
          </p:cNvPr>
          <p:cNvCxnSpPr>
            <a:cxnSpLocks noChangeShapeType="1"/>
          </p:cNvCxnSpPr>
          <p:nvPr/>
        </p:nvCxnSpPr>
        <p:spPr bwMode="auto">
          <a:xfrm flipV="1">
            <a:off x="8587493" y="3715106"/>
            <a:ext cx="0" cy="230991"/>
          </a:xfrm>
          <a:prstGeom prst="straightConnector1">
            <a:avLst/>
          </a:prstGeom>
          <a:noFill/>
          <a:ln w="19050">
            <a:solidFill>
              <a:schemeClr val="tx1"/>
            </a:solidFill>
            <a:round/>
            <a:headEnd/>
            <a:tailEnd type="stealth" w="lg" len="lg"/>
          </a:ln>
        </p:spPr>
      </p:cxnSp>
      <p:sp>
        <p:nvSpPr>
          <p:cNvPr id="32" name="Rectangle 16">
            <a:extLst>
              <a:ext uri="{FF2B5EF4-FFF2-40B4-BE49-F238E27FC236}">
                <a16:creationId xmlns:a16="http://schemas.microsoft.com/office/drawing/2014/main" id="{B9CA3769-FBEF-4591-9919-B270B961D63A}"/>
              </a:ext>
            </a:extLst>
          </p:cNvPr>
          <p:cNvSpPr>
            <a:spLocks noChangeArrowheads="1"/>
          </p:cNvSpPr>
          <p:nvPr/>
        </p:nvSpPr>
        <p:spPr bwMode="auto">
          <a:xfrm>
            <a:off x="7891492" y="3946096"/>
            <a:ext cx="1438614" cy="1139993"/>
          </a:xfrm>
          <a:prstGeom prst="roundRect">
            <a:avLst/>
          </a:prstGeom>
          <a:noFill/>
          <a:ln w="19050">
            <a:solidFill>
              <a:schemeClr val="tx1"/>
            </a:solidFill>
            <a:miter lim="800000"/>
            <a:headEnd/>
            <a:tailEnd/>
          </a:ln>
        </p:spPr>
        <p:txBody>
          <a:bodyPr lIns="18288" tIns="0" rIns="18288" bIns="0" anchor="ctr"/>
          <a:lstStyle/>
          <a:p>
            <a:pPr algn="ctr" eaLnBrk="0" fontAlgn="base" hangingPunct="0">
              <a:lnSpc>
                <a:spcPct val="80000"/>
              </a:lnSpc>
              <a:spcBef>
                <a:spcPct val="0"/>
              </a:spcBef>
              <a:spcAft>
                <a:spcPct val="0"/>
              </a:spcAft>
              <a:buClr>
                <a:srgbClr val="8099CC"/>
              </a:buClr>
              <a:buFont typeface="Monotype Sorts"/>
              <a:buNone/>
            </a:pPr>
            <a:r>
              <a:rPr lang="en-US" altLang="en-US" sz="1000" dirty="0">
                <a:solidFill>
                  <a:prstClr val="black"/>
                </a:solidFill>
                <a:cs typeface="Arial" pitchFamily="34" charset="0"/>
              </a:rPr>
              <a:t>Engineer by engineer owned and managed; no traceability, flow-down, prioritization </a:t>
            </a:r>
            <a:endParaRPr lang="en-US" sz="1000" dirty="0">
              <a:solidFill>
                <a:prstClr val="black"/>
              </a:solidFill>
              <a:cs typeface="Arial" pitchFamily="34" charset="0"/>
            </a:endParaRPr>
          </a:p>
        </p:txBody>
      </p:sp>
      <p:sp>
        <p:nvSpPr>
          <p:cNvPr id="33" name="Rectangle 17">
            <a:extLst>
              <a:ext uri="{FF2B5EF4-FFF2-40B4-BE49-F238E27FC236}">
                <a16:creationId xmlns:a16="http://schemas.microsoft.com/office/drawing/2014/main" id="{5D55C869-8512-48F2-B849-8A1A343B2426}"/>
              </a:ext>
            </a:extLst>
          </p:cNvPr>
          <p:cNvSpPr>
            <a:spLocks noChangeArrowheads="1"/>
          </p:cNvSpPr>
          <p:nvPr/>
        </p:nvSpPr>
        <p:spPr bwMode="auto">
          <a:xfrm>
            <a:off x="7891492" y="1206834"/>
            <a:ext cx="1438614" cy="1139993"/>
          </a:xfrm>
          <a:prstGeom prst="flowChartAlternateProcess">
            <a:avLst/>
          </a:prstGeom>
          <a:noFill/>
          <a:ln w="19050" algn="ctr">
            <a:solidFill>
              <a:schemeClr val="tx1"/>
            </a:solidFill>
            <a:miter lim="800000"/>
            <a:headEnd/>
            <a:tailEnd/>
          </a:ln>
        </p:spPr>
        <p:txBody>
          <a:bodyPr lIns="18288" tIns="0" rIns="18288" bIns="0" anchor="ctr"/>
          <a:lstStyle/>
          <a:p>
            <a:pPr algn="ctr" eaLnBrk="0" fontAlgn="base" hangingPunct="0">
              <a:lnSpc>
                <a:spcPct val="80000"/>
              </a:lnSpc>
              <a:spcBef>
                <a:spcPct val="0"/>
              </a:spcBef>
              <a:spcAft>
                <a:spcPct val="0"/>
              </a:spcAft>
              <a:buClr>
                <a:srgbClr val="8099CC"/>
              </a:buClr>
              <a:buFont typeface="Monotype Sorts"/>
              <a:buNone/>
            </a:pPr>
            <a:r>
              <a:rPr lang="en-US" altLang="en-US" sz="1000" dirty="0">
                <a:solidFill>
                  <a:prstClr val="black"/>
                </a:solidFill>
                <a:cs typeface="Arial" pitchFamily="34" charset="0"/>
              </a:rPr>
              <a:t>Formal flow-down process across systems and functions.  Clear prioritization, metrics and reuse libraries</a:t>
            </a:r>
          </a:p>
        </p:txBody>
      </p:sp>
      <p:sp>
        <p:nvSpPr>
          <p:cNvPr id="34" name="Rectangle 27">
            <a:extLst>
              <a:ext uri="{FF2B5EF4-FFF2-40B4-BE49-F238E27FC236}">
                <a16:creationId xmlns:a16="http://schemas.microsoft.com/office/drawing/2014/main" id="{54FEA4FD-4278-4DC2-A572-B53FDF850731}"/>
              </a:ext>
            </a:extLst>
          </p:cNvPr>
          <p:cNvSpPr>
            <a:spLocks noChangeArrowheads="1"/>
          </p:cNvSpPr>
          <p:nvPr/>
        </p:nvSpPr>
        <p:spPr bwMode="auto">
          <a:xfrm>
            <a:off x="7891492" y="2575111"/>
            <a:ext cx="1438614" cy="1139993"/>
          </a:xfrm>
          <a:prstGeom prst="roundRect">
            <a:avLst/>
          </a:prstGeom>
          <a:noFill/>
          <a:ln w="19050">
            <a:solidFill>
              <a:schemeClr val="tx1"/>
            </a:solidFill>
            <a:miter lim="800000"/>
            <a:headEnd/>
            <a:tailEnd/>
          </a:ln>
        </p:spPr>
        <p:txBody>
          <a:bodyPr lIns="18288" tIns="0" rIns="18288" bIns="0" anchor="ctr"/>
          <a:lstStyle/>
          <a:p>
            <a:pPr algn="ctr" eaLnBrk="0" fontAlgn="base" hangingPunct="0">
              <a:lnSpc>
                <a:spcPct val="80000"/>
              </a:lnSpc>
              <a:spcBef>
                <a:spcPct val="0"/>
              </a:spcBef>
              <a:spcAft>
                <a:spcPct val="0"/>
              </a:spcAft>
              <a:buClr>
                <a:srgbClr val="8099CC"/>
              </a:buClr>
              <a:buFont typeface="Monotype Sorts"/>
              <a:buNone/>
            </a:pPr>
            <a:r>
              <a:rPr lang="en-US" sz="1000" dirty="0">
                <a:solidFill>
                  <a:prstClr val="black"/>
                </a:solidFill>
                <a:cs typeface="Arial" pitchFamily="34" charset="0"/>
              </a:rPr>
              <a:t>Cross-functional ownership, limited traceability, flow-down.  Some well-defined metrics and reuse</a:t>
            </a:r>
          </a:p>
        </p:txBody>
      </p:sp>
      <p:sp>
        <p:nvSpPr>
          <p:cNvPr id="35" name="Rectangle 53">
            <a:hlinkClick r:id="" action="ppaction://noaction"/>
            <a:extLst>
              <a:ext uri="{FF2B5EF4-FFF2-40B4-BE49-F238E27FC236}">
                <a16:creationId xmlns:a16="http://schemas.microsoft.com/office/drawing/2014/main" id="{389A42A5-6FC4-4E64-B61E-01178C3509C7}"/>
              </a:ext>
            </a:extLst>
          </p:cNvPr>
          <p:cNvSpPr>
            <a:spLocks noChangeArrowheads="1"/>
          </p:cNvSpPr>
          <p:nvPr/>
        </p:nvSpPr>
        <p:spPr bwMode="auto">
          <a:xfrm>
            <a:off x="7891492" y="5310092"/>
            <a:ext cx="1438614" cy="389209"/>
          </a:xfrm>
          <a:prstGeom prst="roundRect">
            <a:avLst/>
          </a:prstGeom>
          <a:solidFill>
            <a:srgbClr val="CC0000"/>
          </a:solidFill>
          <a:ln w="12700" algn="ctr">
            <a:solidFill>
              <a:schemeClr val="tx1"/>
            </a:solidFill>
            <a:miter lim="800000"/>
            <a:headEnd/>
            <a:tailEnd/>
          </a:ln>
        </p:spPr>
        <p:txBody>
          <a:bodyPr lIns="0" tIns="0" rIns="0" bIns="0" anchor="ctr"/>
          <a:lstStyle/>
          <a:p>
            <a:pPr algn="ctr" eaLnBrk="0" fontAlgn="base" hangingPunct="0">
              <a:lnSpc>
                <a:spcPct val="90000"/>
              </a:lnSpc>
              <a:spcBef>
                <a:spcPct val="0"/>
              </a:spcBef>
              <a:spcAft>
                <a:spcPct val="0"/>
              </a:spcAft>
            </a:pPr>
            <a:r>
              <a:rPr lang="en-US" altLang="en-US" sz="900" b="1" dirty="0">
                <a:solidFill>
                  <a:srgbClr val="FFFFFF"/>
                </a:solidFill>
                <a:cs typeface="Arial" pitchFamily="34" charset="0"/>
              </a:rPr>
              <a:t>Requirements </a:t>
            </a:r>
            <a:br>
              <a:rPr lang="en-US" altLang="en-US" sz="900" b="1" dirty="0">
                <a:solidFill>
                  <a:srgbClr val="FFFFFF"/>
                </a:solidFill>
                <a:cs typeface="Arial" pitchFamily="34" charset="0"/>
              </a:rPr>
            </a:br>
            <a:r>
              <a:rPr lang="en-US" altLang="en-US" sz="900" b="1" dirty="0">
                <a:solidFill>
                  <a:srgbClr val="FFFFFF"/>
                </a:solidFill>
                <a:cs typeface="Arial" pitchFamily="34" charset="0"/>
              </a:rPr>
              <a:t>Management &amp; Systems Eng</a:t>
            </a:r>
            <a:endParaRPr lang="en-US" sz="900" b="1" dirty="0">
              <a:solidFill>
                <a:srgbClr val="FFFFFF"/>
              </a:solidFill>
              <a:cs typeface="Arial" pitchFamily="34" charset="0"/>
            </a:endParaRPr>
          </a:p>
        </p:txBody>
      </p:sp>
      <p:grpSp>
        <p:nvGrpSpPr>
          <p:cNvPr id="311" name="Group 310">
            <a:extLst>
              <a:ext uri="{FF2B5EF4-FFF2-40B4-BE49-F238E27FC236}">
                <a16:creationId xmlns:a16="http://schemas.microsoft.com/office/drawing/2014/main" id="{E0C5804B-6E40-4CE9-9FE2-56EAD4A44633}"/>
              </a:ext>
            </a:extLst>
          </p:cNvPr>
          <p:cNvGrpSpPr/>
          <p:nvPr/>
        </p:nvGrpSpPr>
        <p:grpSpPr>
          <a:xfrm>
            <a:off x="602971" y="1211825"/>
            <a:ext cx="10750837" cy="4031777"/>
            <a:chOff x="1092839" y="1211825"/>
            <a:chExt cx="10290659" cy="4031777"/>
          </a:xfrm>
        </p:grpSpPr>
        <p:sp>
          <p:nvSpPr>
            <p:cNvPr id="312" name="Line 16">
              <a:extLst>
                <a:ext uri="{FF2B5EF4-FFF2-40B4-BE49-F238E27FC236}">
                  <a16:creationId xmlns:a16="http://schemas.microsoft.com/office/drawing/2014/main" id="{A4EF7CC7-C416-4B4F-AA0A-5B12C64324C6}"/>
                </a:ext>
              </a:extLst>
            </p:cNvPr>
            <p:cNvSpPr>
              <a:spLocks noChangeShapeType="1"/>
            </p:cNvSpPr>
            <p:nvPr/>
          </p:nvSpPr>
          <p:spPr bwMode="auto">
            <a:xfrm flipV="1">
              <a:off x="1092839" y="5243602"/>
              <a:ext cx="10290659" cy="0"/>
            </a:xfrm>
            <a:prstGeom prst="line">
              <a:avLst/>
            </a:prstGeom>
            <a:noFill/>
            <a:ln w="38100">
              <a:solidFill>
                <a:schemeClr val="tx1"/>
              </a:solidFill>
              <a:round/>
              <a:headEnd/>
              <a:tailEnd/>
            </a:ln>
          </p:spPr>
          <p:txBody>
            <a:bodyPr/>
            <a:lstStyle/>
            <a:p>
              <a:pPr defTabSz="1097280" fontAlgn="base">
                <a:spcBef>
                  <a:spcPct val="0"/>
                </a:spcBef>
                <a:spcAft>
                  <a:spcPct val="0"/>
                </a:spcAft>
                <a:defRPr/>
              </a:pPr>
              <a:endParaRPr lang="en-US" sz="960" dirty="0">
                <a:solidFill>
                  <a:srgbClr val="000000"/>
                </a:solidFill>
                <a:latin typeface="Arial" charset="0"/>
                <a:cs typeface="Arial" charset="0"/>
              </a:endParaRPr>
            </a:p>
          </p:txBody>
        </p:sp>
        <p:sp>
          <p:nvSpPr>
            <p:cNvPr id="313" name="Line 15">
              <a:extLst>
                <a:ext uri="{FF2B5EF4-FFF2-40B4-BE49-F238E27FC236}">
                  <a16:creationId xmlns:a16="http://schemas.microsoft.com/office/drawing/2014/main" id="{ACB4480C-ED1E-4C9E-A9F1-BFEBA7C02DEA}"/>
                </a:ext>
              </a:extLst>
            </p:cNvPr>
            <p:cNvSpPr>
              <a:spLocks noChangeShapeType="1"/>
            </p:cNvSpPr>
            <p:nvPr/>
          </p:nvSpPr>
          <p:spPr bwMode="auto">
            <a:xfrm flipV="1">
              <a:off x="1111657" y="1211825"/>
              <a:ext cx="0" cy="4031776"/>
            </a:xfrm>
            <a:prstGeom prst="line">
              <a:avLst/>
            </a:prstGeom>
            <a:noFill/>
            <a:ln w="38100">
              <a:solidFill>
                <a:srgbClr val="000066"/>
              </a:solidFill>
              <a:round/>
              <a:headEnd/>
              <a:tailEnd type="triangle" w="med" len="med"/>
            </a:ln>
          </p:spPr>
          <p:txBody>
            <a:bodyPr/>
            <a:lstStyle/>
            <a:p>
              <a:pPr defTabSz="1097280" eaLnBrk="0" hangingPunct="0">
                <a:lnSpc>
                  <a:spcPct val="106000"/>
                </a:lnSpc>
                <a:spcBef>
                  <a:spcPct val="50000"/>
                </a:spcBef>
                <a:buSzPct val="100000"/>
                <a:defRPr/>
              </a:pPr>
              <a:endParaRPr lang="en-US" sz="960" kern="0" dirty="0">
                <a:solidFill>
                  <a:srgbClr val="000000"/>
                </a:solidFill>
                <a:latin typeface="Arial"/>
                <a:cs typeface="Arial" charset="0"/>
              </a:endParaRPr>
            </a:p>
          </p:txBody>
        </p:sp>
      </p:grpSp>
      <p:sp>
        <p:nvSpPr>
          <p:cNvPr id="6" name="Rectangle 43">
            <a:extLst>
              <a:ext uri="{FF2B5EF4-FFF2-40B4-BE49-F238E27FC236}">
                <a16:creationId xmlns:a16="http://schemas.microsoft.com/office/drawing/2014/main" id="{DD61AB32-4763-406D-B820-EC8084F0DB43}"/>
              </a:ext>
            </a:extLst>
          </p:cNvPr>
          <p:cNvSpPr>
            <a:spLocks noChangeArrowheads="1"/>
          </p:cNvSpPr>
          <p:nvPr/>
        </p:nvSpPr>
        <p:spPr bwMode="auto">
          <a:xfrm>
            <a:off x="4272340" y="3946096"/>
            <a:ext cx="1438614" cy="1139993"/>
          </a:xfrm>
          <a:prstGeom prst="roundRect">
            <a:avLst/>
          </a:prstGeom>
          <a:noFill/>
          <a:ln w="19050" algn="ctr">
            <a:solidFill>
              <a:schemeClr val="tx1"/>
            </a:solidFill>
            <a:miter lim="800000"/>
            <a:headEnd/>
            <a:tailEnd/>
          </a:ln>
        </p:spPr>
        <p:txBody>
          <a:bodyPr lIns="18288" tIns="0" rIns="18288" bIns="0" anchor="ctr"/>
          <a:lstStyle/>
          <a:p>
            <a:pPr algn="ctr" eaLnBrk="0" fontAlgn="base" hangingPunct="0">
              <a:lnSpc>
                <a:spcPct val="80000"/>
              </a:lnSpc>
              <a:spcBef>
                <a:spcPct val="0"/>
              </a:spcBef>
              <a:spcAft>
                <a:spcPct val="0"/>
              </a:spcAft>
              <a:buClr>
                <a:srgbClr val="8099CC"/>
              </a:buClr>
            </a:pPr>
            <a:r>
              <a:rPr lang="en-US" altLang="en-US" sz="1000" dirty="0">
                <a:cs typeface="Arial" pitchFamily="34" charset="0"/>
              </a:rPr>
              <a:t>Limited understanding &amp; visibility of options handled via a non-standard / manual process </a:t>
            </a:r>
          </a:p>
        </p:txBody>
      </p:sp>
      <p:sp>
        <p:nvSpPr>
          <p:cNvPr id="7" name="Rectangle 47">
            <a:extLst>
              <a:ext uri="{FF2B5EF4-FFF2-40B4-BE49-F238E27FC236}">
                <a16:creationId xmlns:a16="http://schemas.microsoft.com/office/drawing/2014/main" id="{25C5AF7A-E4A9-4FE8-BC1A-C026B09A2CE9}"/>
              </a:ext>
            </a:extLst>
          </p:cNvPr>
          <p:cNvSpPr>
            <a:spLocks noChangeArrowheads="1"/>
          </p:cNvSpPr>
          <p:nvPr/>
        </p:nvSpPr>
        <p:spPr bwMode="auto">
          <a:xfrm>
            <a:off x="4272340" y="1206834"/>
            <a:ext cx="1438614" cy="1139993"/>
          </a:xfrm>
          <a:prstGeom prst="flowChartAlternateProcess">
            <a:avLst/>
          </a:prstGeom>
          <a:noFill/>
          <a:ln w="19050" algn="ctr">
            <a:solidFill>
              <a:schemeClr val="tx1"/>
            </a:solidFill>
            <a:miter lim="800000"/>
            <a:headEnd/>
            <a:tailEnd/>
          </a:ln>
        </p:spPr>
        <p:txBody>
          <a:bodyPr lIns="18288" tIns="0" rIns="18288" bIns="0" anchor="ctr"/>
          <a:lstStyle/>
          <a:p>
            <a:pPr algn="ctr" eaLnBrk="0" fontAlgn="base" hangingPunct="0">
              <a:lnSpc>
                <a:spcPct val="80000"/>
              </a:lnSpc>
              <a:spcBef>
                <a:spcPct val="0"/>
              </a:spcBef>
              <a:spcAft>
                <a:spcPct val="0"/>
              </a:spcAft>
              <a:buClr>
                <a:srgbClr val="8099CC"/>
              </a:buClr>
              <a:buFont typeface="Monotype Sorts"/>
              <a:buNone/>
            </a:pPr>
            <a:r>
              <a:rPr lang="en-US" altLang="en-US" sz="1000" dirty="0">
                <a:cs typeface="Arial" pitchFamily="34" charset="0"/>
              </a:rPr>
              <a:t>Programmed streamlined process for variant mgmt.. with regular assessment of effectiveness &amp; profitability of each </a:t>
            </a:r>
          </a:p>
        </p:txBody>
      </p:sp>
      <p:sp>
        <p:nvSpPr>
          <p:cNvPr id="8" name="Rectangle 51">
            <a:extLst>
              <a:ext uri="{FF2B5EF4-FFF2-40B4-BE49-F238E27FC236}">
                <a16:creationId xmlns:a16="http://schemas.microsoft.com/office/drawing/2014/main" id="{101F28E3-AFD4-48D6-BB43-9A7BF1503B4F}"/>
              </a:ext>
            </a:extLst>
          </p:cNvPr>
          <p:cNvSpPr>
            <a:spLocks noChangeArrowheads="1"/>
          </p:cNvSpPr>
          <p:nvPr/>
        </p:nvSpPr>
        <p:spPr bwMode="auto">
          <a:xfrm>
            <a:off x="4272340" y="2575111"/>
            <a:ext cx="1438614" cy="1139993"/>
          </a:xfrm>
          <a:prstGeom prst="roundRect">
            <a:avLst/>
          </a:prstGeom>
          <a:noFill/>
          <a:ln w="19050" algn="ctr">
            <a:solidFill>
              <a:schemeClr val="tx1"/>
            </a:solidFill>
            <a:miter lim="800000"/>
            <a:headEnd/>
            <a:tailEnd/>
          </a:ln>
        </p:spPr>
        <p:txBody>
          <a:bodyPr lIns="18288" tIns="0" rIns="18288" bIns="0" anchor="ctr"/>
          <a:lstStyle/>
          <a:p>
            <a:pPr algn="ctr" eaLnBrk="0" fontAlgn="base" hangingPunct="0">
              <a:lnSpc>
                <a:spcPct val="80000"/>
              </a:lnSpc>
              <a:spcBef>
                <a:spcPct val="0"/>
              </a:spcBef>
              <a:spcAft>
                <a:spcPct val="0"/>
              </a:spcAft>
              <a:buClr>
                <a:srgbClr val="8099CC"/>
              </a:buClr>
            </a:pPr>
            <a:r>
              <a:rPr lang="en-US" altLang="en-US" sz="1000" dirty="0">
                <a:cs typeface="Arial" pitchFamily="34" charset="0"/>
              </a:rPr>
              <a:t>Variant condition rules, BOM linkage, &amp; classification stored / maintained in multiple systems </a:t>
            </a:r>
          </a:p>
        </p:txBody>
      </p:sp>
      <p:cxnSp>
        <p:nvCxnSpPr>
          <p:cNvPr id="40" name="AutoShape 6">
            <a:extLst>
              <a:ext uri="{FF2B5EF4-FFF2-40B4-BE49-F238E27FC236}">
                <a16:creationId xmlns:a16="http://schemas.microsoft.com/office/drawing/2014/main" id="{05E917B5-3977-435B-92B2-15FC8023BBAF}"/>
              </a:ext>
            </a:extLst>
          </p:cNvPr>
          <p:cNvCxnSpPr>
            <a:cxnSpLocks noChangeShapeType="1"/>
          </p:cNvCxnSpPr>
          <p:nvPr/>
        </p:nvCxnSpPr>
        <p:spPr bwMode="auto">
          <a:xfrm flipV="1">
            <a:off x="4968340" y="2346828"/>
            <a:ext cx="0" cy="228286"/>
          </a:xfrm>
          <a:prstGeom prst="straightConnector1">
            <a:avLst/>
          </a:prstGeom>
          <a:noFill/>
          <a:ln w="19050">
            <a:solidFill>
              <a:schemeClr val="tx1"/>
            </a:solidFill>
            <a:round/>
            <a:headEnd/>
            <a:tailEnd type="stealth" w="lg" len="lg"/>
          </a:ln>
        </p:spPr>
      </p:cxnSp>
      <p:cxnSp>
        <p:nvCxnSpPr>
          <p:cNvPr id="41" name="AutoShape 19">
            <a:extLst>
              <a:ext uri="{FF2B5EF4-FFF2-40B4-BE49-F238E27FC236}">
                <a16:creationId xmlns:a16="http://schemas.microsoft.com/office/drawing/2014/main" id="{E4764C11-BCA9-4622-8AAD-D1013622052C}"/>
              </a:ext>
            </a:extLst>
          </p:cNvPr>
          <p:cNvCxnSpPr>
            <a:cxnSpLocks noChangeShapeType="1"/>
          </p:cNvCxnSpPr>
          <p:nvPr/>
        </p:nvCxnSpPr>
        <p:spPr bwMode="auto">
          <a:xfrm flipV="1">
            <a:off x="4968340" y="3715106"/>
            <a:ext cx="0" cy="230991"/>
          </a:xfrm>
          <a:prstGeom prst="straightConnector1">
            <a:avLst/>
          </a:prstGeom>
          <a:noFill/>
          <a:ln w="19050">
            <a:solidFill>
              <a:schemeClr val="tx1"/>
            </a:solidFill>
            <a:round/>
            <a:headEnd/>
            <a:tailEnd type="stealth" w="lg" len="lg"/>
          </a:ln>
        </p:spPr>
      </p:cxnSp>
      <p:sp>
        <p:nvSpPr>
          <p:cNvPr id="64" name="Rectangle 63">
            <a:hlinkClick r:id="" action="ppaction://noaction"/>
            <a:extLst>
              <a:ext uri="{FF2B5EF4-FFF2-40B4-BE49-F238E27FC236}">
                <a16:creationId xmlns:a16="http://schemas.microsoft.com/office/drawing/2014/main" id="{4616661A-8C35-4897-B2C7-FCF215DA2768}"/>
              </a:ext>
            </a:extLst>
          </p:cNvPr>
          <p:cNvSpPr>
            <a:spLocks noChangeArrowheads="1"/>
          </p:cNvSpPr>
          <p:nvPr/>
        </p:nvSpPr>
        <p:spPr bwMode="auto">
          <a:xfrm>
            <a:off x="4249033" y="5293996"/>
            <a:ext cx="1438614" cy="389209"/>
          </a:xfrm>
          <a:prstGeom prst="roundRect">
            <a:avLst/>
          </a:prstGeom>
          <a:solidFill>
            <a:srgbClr val="336600"/>
          </a:solidFill>
          <a:ln w="12700" algn="ctr">
            <a:solidFill>
              <a:schemeClr val="tx1"/>
            </a:solidFill>
            <a:miter lim="800000"/>
            <a:headEnd/>
            <a:tailEnd/>
          </a:ln>
        </p:spPr>
        <p:txBody>
          <a:bodyPr lIns="18288" tIns="0" rIns="18288" bIns="0" anchor="ctr"/>
          <a:lstStyle/>
          <a:p>
            <a:pPr algn="ctr" eaLnBrk="0" fontAlgn="base" hangingPunct="0">
              <a:lnSpc>
                <a:spcPct val="90000"/>
              </a:lnSpc>
              <a:spcBef>
                <a:spcPct val="0"/>
              </a:spcBef>
              <a:spcAft>
                <a:spcPct val="0"/>
              </a:spcAft>
            </a:pPr>
            <a:r>
              <a:rPr lang="en-US" sz="900" b="1" dirty="0">
                <a:solidFill>
                  <a:schemeClr val="bg1"/>
                </a:solidFill>
                <a:cs typeface="Arial" pitchFamily="34" charset="0"/>
              </a:rPr>
              <a:t>Variants Mgmt.</a:t>
            </a:r>
          </a:p>
        </p:txBody>
      </p:sp>
      <p:sp>
        <p:nvSpPr>
          <p:cNvPr id="67" name="Rectangle 63">
            <a:hlinkClick r:id="" action="ppaction://noaction"/>
            <a:extLst>
              <a:ext uri="{FF2B5EF4-FFF2-40B4-BE49-F238E27FC236}">
                <a16:creationId xmlns:a16="http://schemas.microsoft.com/office/drawing/2014/main" id="{2381CBA2-1DE6-449A-99A8-41921D7CD982}"/>
              </a:ext>
            </a:extLst>
          </p:cNvPr>
          <p:cNvSpPr>
            <a:spLocks noChangeArrowheads="1"/>
          </p:cNvSpPr>
          <p:nvPr/>
        </p:nvSpPr>
        <p:spPr bwMode="auto">
          <a:xfrm>
            <a:off x="6039456" y="5310093"/>
            <a:ext cx="1523534" cy="389209"/>
          </a:xfrm>
          <a:prstGeom prst="roundRect">
            <a:avLst/>
          </a:prstGeom>
          <a:solidFill>
            <a:srgbClr val="414141"/>
          </a:solidFill>
          <a:ln w="12700" algn="ctr">
            <a:noFill/>
            <a:miter lim="800000"/>
            <a:headEnd/>
            <a:tailEnd/>
          </a:ln>
        </p:spPr>
        <p:txBody>
          <a:bodyPr lIns="0" tIns="0" rIns="0" bIns="0" anchor="ctr"/>
          <a:lstStyle/>
          <a:p>
            <a:pPr algn="ctr" eaLnBrk="0" hangingPunct="0">
              <a:lnSpc>
                <a:spcPct val="90000"/>
              </a:lnSpc>
              <a:spcBef>
                <a:spcPct val="50000"/>
              </a:spcBef>
              <a:buClr>
                <a:srgbClr val="8099CC"/>
              </a:buClr>
              <a:buSzPct val="100000"/>
            </a:pPr>
            <a:r>
              <a:rPr lang="en-US" altLang="en-US" sz="1000" b="1" dirty="0">
                <a:solidFill>
                  <a:srgbClr val="FFFFFF"/>
                </a:solidFill>
                <a:cs typeface="Arial" pitchFamily="34" charset="0"/>
              </a:rPr>
              <a:t>Change Management</a:t>
            </a:r>
            <a:endParaRPr lang="en-US" sz="1000" b="1" dirty="0">
              <a:solidFill>
                <a:srgbClr val="FFFFFF"/>
              </a:solidFill>
              <a:cs typeface="Arial" pitchFamily="34" charset="0"/>
            </a:endParaRPr>
          </a:p>
        </p:txBody>
      </p:sp>
      <p:cxnSp>
        <p:nvCxnSpPr>
          <p:cNvPr id="68" name="AutoShape 6">
            <a:extLst>
              <a:ext uri="{FF2B5EF4-FFF2-40B4-BE49-F238E27FC236}">
                <a16:creationId xmlns:a16="http://schemas.microsoft.com/office/drawing/2014/main" id="{F9820E71-1318-4E23-AA6A-DE6BD0617367}"/>
              </a:ext>
            </a:extLst>
          </p:cNvPr>
          <p:cNvCxnSpPr>
            <a:cxnSpLocks noChangeShapeType="1"/>
          </p:cNvCxnSpPr>
          <p:nvPr/>
        </p:nvCxnSpPr>
        <p:spPr bwMode="auto">
          <a:xfrm flipV="1">
            <a:off x="6801223" y="2320587"/>
            <a:ext cx="0" cy="316602"/>
          </a:xfrm>
          <a:prstGeom prst="straightConnector1">
            <a:avLst/>
          </a:prstGeom>
          <a:noFill/>
          <a:ln w="19050">
            <a:solidFill>
              <a:schemeClr val="tx1"/>
            </a:solidFill>
            <a:round/>
            <a:headEnd/>
            <a:tailEnd type="stealth" w="lg" len="lg"/>
          </a:ln>
        </p:spPr>
      </p:cxnSp>
      <p:cxnSp>
        <p:nvCxnSpPr>
          <p:cNvPr id="69" name="AutoShape 19">
            <a:extLst>
              <a:ext uri="{FF2B5EF4-FFF2-40B4-BE49-F238E27FC236}">
                <a16:creationId xmlns:a16="http://schemas.microsoft.com/office/drawing/2014/main" id="{9DE0C14C-5ED0-4568-824D-5180D9F127FE}"/>
              </a:ext>
            </a:extLst>
          </p:cNvPr>
          <p:cNvCxnSpPr>
            <a:cxnSpLocks noChangeShapeType="1"/>
          </p:cNvCxnSpPr>
          <p:nvPr/>
        </p:nvCxnSpPr>
        <p:spPr bwMode="auto">
          <a:xfrm flipV="1">
            <a:off x="6801223" y="3750940"/>
            <a:ext cx="0" cy="222188"/>
          </a:xfrm>
          <a:prstGeom prst="straightConnector1">
            <a:avLst/>
          </a:prstGeom>
          <a:noFill/>
          <a:ln w="19050">
            <a:solidFill>
              <a:schemeClr val="tx1"/>
            </a:solidFill>
            <a:round/>
            <a:headEnd/>
            <a:tailEnd type="stealth" w="lg" len="lg"/>
          </a:ln>
        </p:spPr>
      </p:cxnSp>
      <p:sp>
        <p:nvSpPr>
          <p:cNvPr id="70" name="Rectangle 43">
            <a:extLst>
              <a:ext uri="{FF2B5EF4-FFF2-40B4-BE49-F238E27FC236}">
                <a16:creationId xmlns:a16="http://schemas.microsoft.com/office/drawing/2014/main" id="{CE216B11-DCD1-438B-8ED4-5FA070575CC3}"/>
              </a:ext>
            </a:extLst>
          </p:cNvPr>
          <p:cNvSpPr>
            <a:spLocks noChangeArrowheads="1"/>
          </p:cNvSpPr>
          <p:nvPr/>
        </p:nvSpPr>
        <p:spPr bwMode="auto">
          <a:xfrm>
            <a:off x="6039456" y="3973128"/>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80000"/>
              </a:lnSpc>
              <a:spcBef>
                <a:spcPct val="50000"/>
              </a:spcBef>
              <a:buClr>
                <a:srgbClr val="8099CC"/>
              </a:buClr>
              <a:buSzPct val="100000"/>
            </a:pPr>
            <a:r>
              <a:rPr lang="en-US" altLang="en-US" sz="1000" dirty="0">
                <a:solidFill>
                  <a:prstClr val="black"/>
                </a:solidFill>
                <a:cs typeface="Arial" pitchFamily="34" charset="0"/>
              </a:rPr>
              <a:t>Manual/paper-based Change Management process with limited collaboration</a:t>
            </a:r>
          </a:p>
        </p:txBody>
      </p:sp>
      <p:sp>
        <p:nvSpPr>
          <p:cNvPr id="71" name="Rectangle 47">
            <a:extLst>
              <a:ext uri="{FF2B5EF4-FFF2-40B4-BE49-F238E27FC236}">
                <a16:creationId xmlns:a16="http://schemas.microsoft.com/office/drawing/2014/main" id="{749AD345-1AD5-450E-A2EB-63F2CB9CC107}"/>
              </a:ext>
            </a:extLst>
          </p:cNvPr>
          <p:cNvSpPr>
            <a:spLocks noChangeArrowheads="1"/>
          </p:cNvSpPr>
          <p:nvPr/>
        </p:nvSpPr>
        <p:spPr bwMode="auto">
          <a:xfrm>
            <a:off x="6039456" y="1206834"/>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90000"/>
              </a:lnSpc>
              <a:buSzPct val="100000"/>
              <a:buFont typeface="Wingdings 2" pitchFamily="18" charset="2"/>
              <a:buNone/>
            </a:pPr>
            <a:r>
              <a:rPr lang="en-US" altLang="en-US" sz="1000" dirty="0">
                <a:solidFill>
                  <a:prstClr val="black"/>
                </a:solidFill>
              </a:rPr>
              <a:t> Global closed-loop process enabled via a workflow.  Collaboration across functions, dashboard to track metrics</a:t>
            </a:r>
          </a:p>
        </p:txBody>
      </p:sp>
      <p:sp>
        <p:nvSpPr>
          <p:cNvPr id="79" name="Rectangle 51">
            <a:extLst>
              <a:ext uri="{FF2B5EF4-FFF2-40B4-BE49-F238E27FC236}">
                <a16:creationId xmlns:a16="http://schemas.microsoft.com/office/drawing/2014/main" id="{F692575C-AC7C-48B8-A5A0-8B04E7095DE9}"/>
              </a:ext>
            </a:extLst>
          </p:cNvPr>
          <p:cNvSpPr>
            <a:spLocks noChangeArrowheads="1"/>
          </p:cNvSpPr>
          <p:nvPr/>
        </p:nvSpPr>
        <p:spPr bwMode="auto">
          <a:xfrm>
            <a:off x="6039456" y="2637188"/>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80000"/>
              </a:lnSpc>
              <a:spcBef>
                <a:spcPct val="50000"/>
              </a:spcBef>
              <a:buClr>
                <a:srgbClr val="8099CC"/>
              </a:buClr>
              <a:buSzPct val="100000"/>
            </a:pPr>
            <a:r>
              <a:rPr lang="en-US" altLang="en-US" sz="1000" dirty="0">
                <a:solidFill>
                  <a:prstClr val="black"/>
                </a:solidFill>
                <a:cs typeface="Arial" pitchFamily="34" charset="0"/>
              </a:rPr>
              <a:t>Multiple Change Management processes, ad-hoc communication and integration across systems and functions</a:t>
            </a:r>
          </a:p>
        </p:txBody>
      </p:sp>
      <p:sp>
        <p:nvSpPr>
          <p:cNvPr id="115" name="Rectangle 43">
            <a:extLst>
              <a:ext uri="{FF2B5EF4-FFF2-40B4-BE49-F238E27FC236}">
                <a16:creationId xmlns:a16="http://schemas.microsoft.com/office/drawing/2014/main" id="{194F75C4-EB54-4B41-9984-E92D8DB52BF9}"/>
              </a:ext>
            </a:extLst>
          </p:cNvPr>
          <p:cNvSpPr>
            <a:spLocks noChangeArrowheads="1"/>
          </p:cNvSpPr>
          <p:nvPr/>
        </p:nvSpPr>
        <p:spPr bwMode="auto">
          <a:xfrm>
            <a:off x="9518071" y="3962764"/>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80000"/>
              </a:lnSpc>
              <a:buClr>
                <a:srgbClr val="8099CC"/>
              </a:buClr>
            </a:pPr>
            <a:r>
              <a:rPr lang="en-US" altLang="en-US" sz="1000" dirty="0">
                <a:solidFill>
                  <a:prstClr val="black"/>
                </a:solidFill>
                <a:cs typeface="Arial" pitchFamily="34" charset="0"/>
              </a:rPr>
              <a:t>Limited processes to Design for X. Early designs rarely consider cost, manufacturability, quality, test, and serviceability </a:t>
            </a:r>
          </a:p>
        </p:txBody>
      </p:sp>
      <p:cxnSp>
        <p:nvCxnSpPr>
          <p:cNvPr id="116" name="AutoShape 6">
            <a:extLst>
              <a:ext uri="{FF2B5EF4-FFF2-40B4-BE49-F238E27FC236}">
                <a16:creationId xmlns:a16="http://schemas.microsoft.com/office/drawing/2014/main" id="{BF6C7512-6015-4986-BF12-B34B0148FECE}"/>
              </a:ext>
            </a:extLst>
          </p:cNvPr>
          <p:cNvCxnSpPr>
            <a:cxnSpLocks noChangeShapeType="1"/>
          </p:cNvCxnSpPr>
          <p:nvPr/>
        </p:nvCxnSpPr>
        <p:spPr bwMode="auto">
          <a:xfrm flipV="1">
            <a:off x="10279838" y="2310223"/>
            <a:ext cx="0" cy="316602"/>
          </a:xfrm>
          <a:prstGeom prst="straightConnector1">
            <a:avLst/>
          </a:prstGeom>
          <a:noFill/>
          <a:ln w="19050">
            <a:solidFill>
              <a:schemeClr val="tx1"/>
            </a:solidFill>
            <a:round/>
            <a:headEnd/>
            <a:tailEnd type="stealth" w="lg" len="lg"/>
          </a:ln>
        </p:spPr>
      </p:cxnSp>
      <p:cxnSp>
        <p:nvCxnSpPr>
          <p:cNvPr id="117" name="AutoShape 19">
            <a:extLst>
              <a:ext uri="{FF2B5EF4-FFF2-40B4-BE49-F238E27FC236}">
                <a16:creationId xmlns:a16="http://schemas.microsoft.com/office/drawing/2014/main" id="{A11798A6-2A5A-425D-8895-B97B0E6A8C4F}"/>
              </a:ext>
            </a:extLst>
          </p:cNvPr>
          <p:cNvCxnSpPr>
            <a:cxnSpLocks noChangeShapeType="1"/>
          </p:cNvCxnSpPr>
          <p:nvPr/>
        </p:nvCxnSpPr>
        <p:spPr bwMode="auto">
          <a:xfrm flipV="1">
            <a:off x="10279838" y="3740576"/>
            <a:ext cx="0" cy="222188"/>
          </a:xfrm>
          <a:prstGeom prst="straightConnector1">
            <a:avLst/>
          </a:prstGeom>
          <a:noFill/>
          <a:ln w="19050">
            <a:solidFill>
              <a:schemeClr val="tx1"/>
            </a:solidFill>
            <a:round/>
            <a:headEnd/>
            <a:tailEnd type="stealth" w="lg" len="lg"/>
          </a:ln>
        </p:spPr>
      </p:cxnSp>
      <p:sp>
        <p:nvSpPr>
          <p:cNvPr id="118" name="Rectangle 47">
            <a:extLst>
              <a:ext uri="{FF2B5EF4-FFF2-40B4-BE49-F238E27FC236}">
                <a16:creationId xmlns:a16="http://schemas.microsoft.com/office/drawing/2014/main" id="{EFB8CC3E-D120-4069-BFE4-5D21EFE04EC5}"/>
              </a:ext>
            </a:extLst>
          </p:cNvPr>
          <p:cNvSpPr>
            <a:spLocks noChangeArrowheads="1"/>
          </p:cNvSpPr>
          <p:nvPr/>
        </p:nvSpPr>
        <p:spPr bwMode="auto">
          <a:xfrm>
            <a:off x="9518071" y="1196470"/>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80000"/>
              </a:lnSpc>
              <a:buClr>
                <a:srgbClr val="8099CC"/>
              </a:buClr>
            </a:pPr>
            <a:r>
              <a:rPr lang="en-US" altLang="en-US" sz="1000" dirty="0">
                <a:solidFill>
                  <a:prstClr val="black"/>
                </a:solidFill>
                <a:cs typeface="Arial" pitchFamily="34" charset="0"/>
              </a:rPr>
              <a:t>Formal processes in place to Design for X. Designs incorporate input from multiple functions</a:t>
            </a:r>
          </a:p>
        </p:txBody>
      </p:sp>
      <p:sp>
        <p:nvSpPr>
          <p:cNvPr id="119" name="Rectangle 51">
            <a:extLst>
              <a:ext uri="{FF2B5EF4-FFF2-40B4-BE49-F238E27FC236}">
                <a16:creationId xmlns:a16="http://schemas.microsoft.com/office/drawing/2014/main" id="{B19CBDD9-B100-42E5-B6FE-3E3F7A5A5394}"/>
              </a:ext>
            </a:extLst>
          </p:cNvPr>
          <p:cNvSpPr>
            <a:spLocks noChangeArrowheads="1"/>
          </p:cNvSpPr>
          <p:nvPr/>
        </p:nvSpPr>
        <p:spPr bwMode="auto">
          <a:xfrm>
            <a:off x="9518071" y="2626824"/>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80000"/>
              </a:lnSpc>
              <a:buClr>
                <a:srgbClr val="8099CC"/>
              </a:buClr>
            </a:pPr>
            <a:r>
              <a:rPr lang="en-US" altLang="en-US" sz="1000" dirty="0">
                <a:solidFill>
                  <a:prstClr val="black"/>
                </a:solidFill>
                <a:cs typeface="Arial" pitchFamily="34" charset="0"/>
              </a:rPr>
              <a:t>Basic Design for X processes in place. Designs consider multiple factors</a:t>
            </a:r>
          </a:p>
        </p:txBody>
      </p:sp>
      <p:sp>
        <p:nvSpPr>
          <p:cNvPr id="120" name="Rectangle 63">
            <a:hlinkClick r:id="" action="ppaction://noaction"/>
            <a:extLst>
              <a:ext uri="{FF2B5EF4-FFF2-40B4-BE49-F238E27FC236}">
                <a16:creationId xmlns:a16="http://schemas.microsoft.com/office/drawing/2014/main" id="{3FEEBEB7-DBF7-4296-BA2B-23943F3C1F42}"/>
              </a:ext>
            </a:extLst>
          </p:cNvPr>
          <p:cNvSpPr>
            <a:spLocks noChangeArrowheads="1"/>
          </p:cNvSpPr>
          <p:nvPr/>
        </p:nvSpPr>
        <p:spPr bwMode="auto">
          <a:xfrm>
            <a:off x="9518071" y="5299427"/>
            <a:ext cx="1523534" cy="389209"/>
          </a:xfrm>
          <a:prstGeom prst="roundRect">
            <a:avLst/>
          </a:prstGeom>
          <a:solidFill>
            <a:srgbClr val="0000FF"/>
          </a:solidFill>
          <a:ln w="12700" algn="ctr">
            <a:solidFill>
              <a:schemeClr val="tx1"/>
            </a:solidFill>
            <a:miter lim="800000"/>
            <a:headEnd/>
            <a:tailEnd/>
          </a:ln>
        </p:spPr>
        <p:txBody>
          <a:bodyPr lIns="36000" tIns="0" rIns="36000" bIns="0" anchor="ctr"/>
          <a:lstStyle/>
          <a:p>
            <a:pPr algn="ctr" eaLnBrk="0" hangingPunct="0">
              <a:lnSpc>
                <a:spcPct val="90000"/>
              </a:lnSpc>
              <a:spcBef>
                <a:spcPct val="50000"/>
              </a:spcBef>
              <a:buClr>
                <a:srgbClr val="8099CC"/>
              </a:buClr>
              <a:buSzPct val="100000"/>
            </a:pPr>
            <a:r>
              <a:rPr lang="en-US" altLang="en-US" sz="1000" b="1" dirty="0">
                <a:solidFill>
                  <a:schemeClr val="bg1"/>
                </a:solidFill>
              </a:rPr>
              <a:t>Design for X Management</a:t>
            </a:r>
            <a:endParaRPr lang="en-US" sz="1000" b="1" dirty="0">
              <a:solidFill>
                <a:schemeClr val="bg1"/>
              </a:solidFill>
            </a:endParaRPr>
          </a:p>
        </p:txBody>
      </p:sp>
      <p:sp>
        <p:nvSpPr>
          <p:cNvPr id="113" name="Freeform: Shape 112">
            <a:extLst>
              <a:ext uri="{FF2B5EF4-FFF2-40B4-BE49-F238E27FC236}">
                <a16:creationId xmlns:a16="http://schemas.microsoft.com/office/drawing/2014/main" id="{2810F266-581F-4E54-8681-471CD19C341D}"/>
              </a:ext>
            </a:extLst>
          </p:cNvPr>
          <p:cNvSpPr/>
          <p:nvPr/>
        </p:nvSpPr>
        <p:spPr bwMode="gray">
          <a:xfrm flipV="1">
            <a:off x="1301645" y="1561565"/>
            <a:ext cx="8979680" cy="851333"/>
          </a:xfrm>
          <a:custGeom>
            <a:avLst/>
            <a:gdLst>
              <a:gd name="connsiteX0" fmla="*/ 0 w 9855200"/>
              <a:gd name="connsiteY0" fmla="*/ 2713159 h 3112619"/>
              <a:gd name="connsiteX1" fmla="*/ 939800 w 9855200"/>
              <a:gd name="connsiteY1" fmla="*/ 731959 h 3112619"/>
              <a:gd name="connsiteX2" fmla="*/ 1972733 w 9855200"/>
              <a:gd name="connsiteY2" fmla="*/ 1070626 h 3112619"/>
              <a:gd name="connsiteX3" fmla="*/ 2921000 w 9855200"/>
              <a:gd name="connsiteY3" fmla="*/ 1620959 h 3112619"/>
              <a:gd name="connsiteX4" fmla="*/ 3877733 w 9855200"/>
              <a:gd name="connsiteY4" fmla="*/ 706559 h 3112619"/>
              <a:gd name="connsiteX5" fmla="*/ 4910666 w 9855200"/>
              <a:gd name="connsiteY5" fmla="*/ 672692 h 3112619"/>
              <a:gd name="connsiteX6" fmla="*/ 5808133 w 9855200"/>
              <a:gd name="connsiteY6" fmla="*/ 173159 h 3112619"/>
              <a:gd name="connsiteX7" fmla="*/ 6874933 w 9855200"/>
              <a:gd name="connsiteY7" fmla="*/ 113892 h 3112619"/>
              <a:gd name="connsiteX8" fmla="*/ 7882466 w 9855200"/>
              <a:gd name="connsiteY8" fmla="*/ 1637892 h 3112619"/>
              <a:gd name="connsiteX9" fmla="*/ 8805333 w 9855200"/>
              <a:gd name="connsiteY9" fmla="*/ 2975626 h 3112619"/>
              <a:gd name="connsiteX10" fmla="*/ 9855200 w 9855200"/>
              <a:gd name="connsiteY10" fmla="*/ 3068759 h 3112619"/>
              <a:gd name="connsiteX11" fmla="*/ 9855200 w 9855200"/>
              <a:gd name="connsiteY11" fmla="*/ 3068759 h 3112619"/>
              <a:gd name="connsiteX0" fmla="*/ 0 w 9855200"/>
              <a:gd name="connsiteY0" fmla="*/ 2564478 h 2963938"/>
              <a:gd name="connsiteX1" fmla="*/ 939800 w 9855200"/>
              <a:gd name="connsiteY1" fmla="*/ 583278 h 2963938"/>
              <a:gd name="connsiteX2" fmla="*/ 1972733 w 9855200"/>
              <a:gd name="connsiteY2" fmla="*/ 921945 h 2963938"/>
              <a:gd name="connsiteX3" fmla="*/ 2921000 w 9855200"/>
              <a:gd name="connsiteY3" fmla="*/ 1472278 h 2963938"/>
              <a:gd name="connsiteX4" fmla="*/ 3877733 w 9855200"/>
              <a:gd name="connsiteY4" fmla="*/ 557878 h 2963938"/>
              <a:gd name="connsiteX5" fmla="*/ 4910666 w 9855200"/>
              <a:gd name="connsiteY5" fmla="*/ 524011 h 2963938"/>
              <a:gd name="connsiteX6" fmla="*/ 5808133 w 9855200"/>
              <a:gd name="connsiteY6" fmla="*/ 24478 h 2963938"/>
              <a:gd name="connsiteX7" fmla="*/ 6671569 w 9855200"/>
              <a:gd name="connsiteY7" fmla="*/ 1404544 h 2963938"/>
              <a:gd name="connsiteX8" fmla="*/ 7882466 w 9855200"/>
              <a:gd name="connsiteY8" fmla="*/ 1489211 h 2963938"/>
              <a:gd name="connsiteX9" fmla="*/ 8805333 w 9855200"/>
              <a:gd name="connsiteY9" fmla="*/ 2826945 h 2963938"/>
              <a:gd name="connsiteX10" fmla="*/ 9855200 w 9855200"/>
              <a:gd name="connsiteY10" fmla="*/ 2920078 h 2963938"/>
              <a:gd name="connsiteX11" fmla="*/ 9855200 w 9855200"/>
              <a:gd name="connsiteY11" fmla="*/ 2920078 h 2963938"/>
              <a:gd name="connsiteX0" fmla="*/ 0 w 9855200"/>
              <a:gd name="connsiteY0" fmla="*/ 2124213 h 2523673"/>
              <a:gd name="connsiteX1" fmla="*/ 939800 w 9855200"/>
              <a:gd name="connsiteY1" fmla="*/ 143013 h 2523673"/>
              <a:gd name="connsiteX2" fmla="*/ 1972733 w 9855200"/>
              <a:gd name="connsiteY2" fmla="*/ 481680 h 2523673"/>
              <a:gd name="connsiteX3" fmla="*/ 2921000 w 9855200"/>
              <a:gd name="connsiteY3" fmla="*/ 1032013 h 2523673"/>
              <a:gd name="connsiteX4" fmla="*/ 3877733 w 9855200"/>
              <a:gd name="connsiteY4" fmla="*/ 117613 h 2523673"/>
              <a:gd name="connsiteX5" fmla="*/ 4910666 w 9855200"/>
              <a:gd name="connsiteY5" fmla="*/ 83746 h 2523673"/>
              <a:gd name="connsiteX6" fmla="*/ 5850501 w 9855200"/>
              <a:gd name="connsiteY6" fmla="*/ 778013 h 2523673"/>
              <a:gd name="connsiteX7" fmla="*/ 6671569 w 9855200"/>
              <a:gd name="connsiteY7" fmla="*/ 964279 h 2523673"/>
              <a:gd name="connsiteX8" fmla="*/ 7882466 w 9855200"/>
              <a:gd name="connsiteY8" fmla="*/ 1048946 h 2523673"/>
              <a:gd name="connsiteX9" fmla="*/ 8805333 w 9855200"/>
              <a:gd name="connsiteY9" fmla="*/ 2386680 h 2523673"/>
              <a:gd name="connsiteX10" fmla="*/ 9855200 w 9855200"/>
              <a:gd name="connsiteY10" fmla="*/ 2479813 h 2523673"/>
              <a:gd name="connsiteX11" fmla="*/ 9855200 w 9855200"/>
              <a:gd name="connsiteY11" fmla="*/ 2479813 h 2523673"/>
              <a:gd name="connsiteX0" fmla="*/ 0 w 9855200"/>
              <a:gd name="connsiteY0" fmla="*/ 77721500 h 77721500"/>
              <a:gd name="connsiteX1" fmla="*/ 939800 w 9855200"/>
              <a:gd name="connsiteY1" fmla="*/ 5286241 h 77721500"/>
              <a:gd name="connsiteX2" fmla="*/ 1972733 w 9855200"/>
              <a:gd name="connsiteY2" fmla="*/ 5624908 h 77721500"/>
              <a:gd name="connsiteX3" fmla="*/ 2921000 w 9855200"/>
              <a:gd name="connsiteY3" fmla="*/ 6175241 h 77721500"/>
              <a:gd name="connsiteX4" fmla="*/ 3877733 w 9855200"/>
              <a:gd name="connsiteY4" fmla="*/ 5260841 h 77721500"/>
              <a:gd name="connsiteX5" fmla="*/ 4910666 w 9855200"/>
              <a:gd name="connsiteY5" fmla="*/ 5226974 h 77721500"/>
              <a:gd name="connsiteX6" fmla="*/ 5850501 w 9855200"/>
              <a:gd name="connsiteY6" fmla="*/ 5921241 h 77721500"/>
              <a:gd name="connsiteX7" fmla="*/ 6671569 w 9855200"/>
              <a:gd name="connsiteY7" fmla="*/ 6107507 h 77721500"/>
              <a:gd name="connsiteX8" fmla="*/ 7882466 w 9855200"/>
              <a:gd name="connsiteY8" fmla="*/ 6192174 h 77721500"/>
              <a:gd name="connsiteX9" fmla="*/ 8805333 w 9855200"/>
              <a:gd name="connsiteY9" fmla="*/ 7529908 h 77721500"/>
              <a:gd name="connsiteX10" fmla="*/ 9855200 w 9855200"/>
              <a:gd name="connsiteY10" fmla="*/ 7623041 h 77721500"/>
              <a:gd name="connsiteX11" fmla="*/ 9855200 w 9855200"/>
              <a:gd name="connsiteY11" fmla="*/ 7623041 h 77721500"/>
              <a:gd name="connsiteX0" fmla="*/ 0 w 9855200"/>
              <a:gd name="connsiteY0" fmla="*/ 84105671 h 177717882"/>
              <a:gd name="connsiteX1" fmla="*/ 994077 w 9855200"/>
              <a:gd name="connsiteY1" fmla="*/ 176764308 h 177717882"/>
              <a:gd name="connsiteX2" fmla="*/ 1972733 w 9855200"/>
              <a:gd name="connsiteY2" fmla="*/ 12009079 h 177717882"/>
              <a:gd name="connsiteX3" fmla="*/ 2921000 w 9855200"/>
              <a:gd name="connsiteY3" fmla="*/ 12559412 h 177717882"/>
              <a:gd name="connsiteX4" fmla="*/ 3877733 w 9855200"/>
              <a:gd name="connsiteY4" fmla="*/ 11645012 h 177717882"/>
              <a:gd name="connsiteX5" fmla="*/ 4910666 w 9855200"/>
              <a:gd name="connsiteY5" fmla="*/ 11611145 h 177717882"/>
              <a:gd name="connsiteX6" fmla="*/ 5850501 w 9855200"/>
              <a:gd name="connsiteY6" fmla="*/ 12305412 h 177717882"/>
              <a:gd name="connsiteX7" fmla="*/ 6671569 w 9855200"/>
              <a:gd name="connsiteY7" fmla="*/ 12491678 h 177717882"/>
              <a:gd name="connsiteX8" fmla="*/ 7882466 w 9855200"/>
              <a:gd name="connsiteY8" fmla="*/ 12576345 h 177717882"/>
              <a:gd name="connsiteX9" fmla="*/ 8805333 w 9855200"/>
              <a:gd name="connsiteY9" fmla="*/ 13914079 h 177717882"/>
              <a:gd name="connsiteX10" fmla="*/ 9855200 w 9855200"/>
              <a:gd name="connsiteY10" fmla="*/ 14007212 h 177717882"/>
              <a:gd name="connsiteX11" fmla="*/ 9855200 w 9855200"/>
              <a:gd name="connsiteY11" fmla="*/ 14007212 h 177717882"/>
              <a:gd name="connsiteX0" fmla="*/ 0 w 9855200"/>
              <a:gd name="connsiteY0" fmla="*/ 77896814 h 170594753"/>
              <a:gd name="connsiteX1" fmla="*/ 994077 w 9855200"/>
              <a:gd name="connsiteY1" fmla="*/ 170555451 h 170594753"/>
              <a:gd name="connsiteX2" fmla="*/ 1963687 w 9855200"/>
              <a:gd name="connsiteY2" fmla="*/ 88347158 h 170594753"/>
              <a:gd name="connsiteX3" fmla="*/ 2921000 w 9855200"/>
              <a:gd name="connsiteY3" fmla="*/ 6350555 h 170594753"/>
              <a:gd name="connsiteX4" fmla="*/ 3877733 w 9855200"/>
              <a:gd name="connsiteY4" fmla="*/ 5436155 h 170594753"/>
              <a:gd name="connsiteX5" fmla="*/ 4910666 w 9855200"/>
              <a:gd name="connsiteY5" fmla="*/ 5402288 h 170594753"/>
              <a:gd name="connsiteX6" fmla="*/ 5850501 w 9855200"/>
              <a:gd name="connsiteY6" fmla="*/ 6096555 h 170594753"/>
              <a:gd name="connsiteX7" fmla="*/ 6671569 w 9855200"/>
              <a:gd name="connsiteY7" fmla="*/ 6282821 h 170594753"/>
              <a:gd name="connsiteX8" fmla="*/ 7882466 w 9855200"/>
              <a:gd name="connsiteY8" fmla="*/ 6367488 h 170594753"/>
              <a:gd name="connsiteX9" fmla="*/ 8805333 w 9855200"/>
              <a:gd name="connsiteY9" fmla="*/ 7705222 h 170594753"/>
              <a:gd name="connsiteX10" fmla="*/ 9855200 w 9855200"/>
              <a:gd name="connsiteY10" fmla="*/ 7798355 h 170594753"/>
              <a:gd name="connsiteX11" fmla="*/ 9855200 w 9855200"/>
              <a:gd name="connsiteY11" fmla="*/ 7798355 h 170594753"/>
              <a:gd name="connsiteX0" fmla="*/ 0 w 9855200"/>
              <a:gd name="connsiteY0" fmla="*/ 83741850 h 176427921"/>
              <a:gd name="connsiteX1" fmla="*/ 994077 w 9855200"/>
              <a:gd name="connsiteY1" fmla="*/ 176400487 h 176427921"/>
              <a:gd name="connsiteX2" fmla="*/ 1963687 w 9855200"/>
              <a:gd name="connsiteY2" fmla="*/ 94192194 h 176427921"/>
              <a:gd name="connsiteX3" fmla="*/ 2957185 w 9855200"/>
              <a:gd name="connsiteY3" fmla="*/ 163093506 h 176427921"/>
              <a:gd name="connsiteX4" fmla="*/ 3877733 w 9855200"/>
              <a:gd name="connsiteY4" fmla="*/ 11281191 h 176427921"/>
              <a:gd name="connsiteX5" fmla="*/ 4910666 w 9855200"/>
              <a:gd name="connsiteY5" fmla="*/ 11247324 h 176427921"/>
              <a:gd name="connsiteX6" fmla="*/ 5850501 w 9855200"/>
              <a:gd name="connsiteY6" fmla="*/ 11941591 h 176427921"/>
              <a:gd name="connsiteX7" fmla="*/ 6671569 w 9855200"/>
              <a:gd name="connsiteY7" fmla="*/ 12127857 h 176427921"/>
              <a:gd name="connsiteX8" fmla="*/ 7882466 w 9855200"/>
              <a:gd name="connsiteY8" fmla="*/ 12212524 h 176427921"/>
              <a:gd name="connsiteX9" fmla="*/ 8805333 w 9855200"/>
              <a:gd name="connsiteY9" fmla="*/ 13550258 h 176427921"/>
              <a:gd name="connsiteX10" fmla="*/ 9855200 w 9855200"/>
              <a:gd name="connsiteY10" fmla="*/ 13643391 h 176427921"/>
              <a:gd name="connsiteX11" fmla="*/ 9855200 w 9855200"/>
              <a:gd name="connsiteY11" fmla="*/ 13643391 h 176427921"/>
              <a:gd name="connsiteX0" fmla="*/ 0 w 9855200"/>
              <a:gd name="connsiteY0" fmla="*/ 83127367 h 175813438"/>
              <a:gd name="connsiteX1" fmla="*/ 994077 w 9855200"/>
              <a:gd name="connsiteY1" fmla="*/ 175786004 h 175813438"/>
              <a:gd name="connsiteX2" fmla="*/ 1963687 w 9855200"/>
              <a:gd name="connsiteY2" fmla="*/ 93577711 h 175813438"/>
              <a:gd name="connsiteX3" fmla="*/ 2957185 w 9855200"/>
              <a:gd name="connsiteY3" fmla="*/ 162479023 h 175813438"/>
              <a:gd name="connsiteX4" fmla="*/ 3986287 w 9855200"/>
              <a:gd name="connsiteY4" fmla="*/ 156832650 h 175813438"/>
              <a:gd name="connsiteX5" fmla="*/ 4910666 w 9855200"/>
              <a:gd name="connsiteY5" fmla="*/ 10632841 h 175813438"/>
              <a:gd name="connsiteX6" fmla="*/ 5850501 w 9855200"/>
              <a:gd name="connsiteY6" fmla="*/ 11327108 h 175813438"/>
              <a:gd name="connsiteX7" fmla="*/ 6671569 w 9855200"/>
              <a:gd name="connsiteY7" fmla="*/ 11513374 h 175813438"/>
              <a:gd name="connsiteX8" fmla="*/ 7882466 w 9855200"/>
              <a:gd name="connsiteY8" fmla="*/ 11598041 h 175813438"/>
              <a:gd name="connsiteX9" fmla="*/ 8805333 w 9855200"/>
              <a:gd name="connsiteY9" fmla="*/ 12935775 h 175813438"/>
              <a:gd name="connsiteX10" fmla="*/ 9855200 w 9855200"/>
              <a:gd name="connsiteY10" fmla="*/ 13028908 h 175813438"/>
              <a:gd name="connsiteX11" fmla="*/ 9855200 w 9855200"/>
              <a:gd name="connsiteY11" fmla="*/ 13028908 h 175813438"/>
              <a:gd name="connsiteX0" fmla="*/ 0 w 9855200"/>
              <a:gd name="connsiteY0" fmla="*/ 83127367 h 175813438"/>
              <a:gd name="connsiteX1" fmla="*/ 994077 w 9855200"/>
              <a:gd name="connsiteY1" fmla="*/ 175786004 h 175813438"/>
              <a:gd name="connsiteX2" fmla="*/ 1963687 w 9855200"/>
              <a:gd name="connsiteY2" fmla="*/ 93577711 h 175813438"/>
              <a:gd name="connsiteX3" fmla="*/ 2957185 w 9855200"/>
              <a:gd name="connsiteY3" fmla="*/ 162479023 h 175813438"/>
              <a:gd name="connsiteX4" fmla="*/ 3986287 w 9855200"/>
              <a:gd name="connsiteY4" fmla="*/ 156832650 h 175813438"/>
              <a:gd name="connsiteX5" fmla="*/ 4910666 w 9855200"/>
              <a:gd name="connsiteY5" fmla="*/ 10632841 h 175813438"/>
              <a:gd name="connsiteX6" fmla="*/ 5850501 w 9855200"/>
              <a:gd name="connsiteY6" fmla="*/ 11327108 h 175813438"/>
              <a:gd name="connsiteX7" fmla="*/ 6671569 w 9855200"/>
              <a:gd name="connsiteY7" fmla="*/ 11513374 h 175813438"/>
              <a:gd name="connsiteX8" fmla="*/ 7882466 w 9855200"/>
              <a:gd name="connsiteY8" fmla="*/ 11598041 h 175813438"/>
              <a:gd name="connsiteX9" fmla="*/ 8805333 w 9855200"/>
              <a:gd name="connsiteY9" fmla="*/ 12935775 h 175813438"/>
              <a:gd name="connsiteX10" fmla="*/ 9855200 w 9855200"/>
              <a:gd name="connsiteY10" fmla="*/ 13028908 h 175813438"/>
              <a:gd name="connsiteX11" fmla="*/ 9855200 w 9855200"/>
              <a:gd name="connsiteY11" fmla="*/ 13028908 h 175813438"/>
              <a:gd name="connsiteX0" fmla="*/ 0 w 9855200"/>
              <a:gd name="connsiteY0" fmla="*/ 75280295 h 167966366"/>
              <a:gd name="connsiteX1" fmla="*/ 994077 w 9855200"/>
              <a:gd name="connsiteY1" fmla="*/ 167938932 h 167966366"/>
              <a:gd name="connsiteX2" fmla="*/ 1963687 w 9855200"/>
              <a:gd name="connsiteY2" fmla="*/ 85730639 h 167966366"/>
              <a:gd name="connsiteX3" fmla="*/ 2957185 w 9855200"/>
              <a:gd name="connsiteY3" fmla="*/ 154631951 h 167966366"/>
              <a:gd name="connsiteX4" fmla="*/ 3986287 w 9855200"/>
              <a:gd name="connsiteY4" fmla="*/ 148985578 h 167966366"/>
              <a:gd name="connsiteX5" fmla="*/ 4802111 w 9855200"/>
              <a:gd name="connsiteY5" fmla="*/ 51157218 h 167966366"/>
              <a:gd name="connsiteX6" fmla="*/ 5850501 w 9855200"/>
              <a:gd name="connsiteY6" fmla="*/ 3480036 h 167966366"/>
              <a:gd name="connsiteX7" fmla="*/ 6671569 w 9855200"/>
              <a:gd name="connsiteY7" fmla="*/ 3666302 h 167966366"/>
              <a:gd name="connsiteX8" fmla="*/ 7882466 w 9855200"/>
              <a:gd name="connsiteY8" fmla="*/ 3750969 h 167966366"/>
              <a:gd name="connsiteX9" fmla="*/ 8805333 w 9855200"/>
              <a:gd name="connsiteY9" fmla="*/ 5088703 h 167966366"/>
              <a:gd name="connsiteX10" fmla="*/ 9855200 w 9855200"/>
              <a:gd name="connsiteY10" fmla="*/ 5181836 h 167966366"/>
              <a:gd name="connsiteX11" fmla="*/ 9855200 w 9855200"/>
              <a:gd name="connsiteY11" fmla="*/ 5181836 h 167966366"/>
              <a:gd name="connsiteX0" fmla="*/ 0 w 9855200"/>
              <a:gd name="connsiteY0" fmla="*/ 78629479 h 171315550"/>
              <a:gd name="connsiteX1" fmla="*/ 994077 w 9855200"/>
              <a:gd name="connsiteY1" fmla="*/ 171288116 h 171315550"/>
              <a:gd name="connsiteX2" fmla="*/ 1963687 w 9855200"/>
              <a:gd name="connsiteY2" fmla="*/ 89079823 h 171315550"/>
              <a:gd name="connsiteX3" fmla="*/ 2957185 w 9855200"/>
              <a:gd name="connsiteY3" fmla="*/ 157981135 h 171315550"/>
              <a:gd name="connsiteX4" fmla="*/ 3986287 w 9855200"/>
              <a:gd name="connsiteY4" fmla="*/ 152334762 h 171315550"/>
              <a:gd name="connsiteX5" fmla="*/ 4892573 w 9855200"/>
              <a:gd name="connsiteY5" fmla="*/ 99723199 h 171315550"/>
              <a:gd name="connsiteX6" fmla="*/ 5850501 w 9855200"/>
              <a:gd name="connsiteY6" fmla="*/ 6829220 h 171315550"/>
              <a:gd name="connsiteX7" fmla="*/ 6671569 w 9855200"/>
              <a:gd name="connsiteY7" fmla="*/ 7015486 h 171315550"/>
              <a:gd name="connsiteX8" fmla="*/ 7882466 w 9855200"/>
              <a:gd name="connsiteY8" fmla="*/ 7100153 h 171315550"/>
              <a:gd name="connsiteX9" fmla="*/ 8805333 w 9855200"/>
              <a:gd name="connsiteY9" fmla="*/ 8437887 h 171315550"/>
              <a:gd name="connsiteX10" fmla="*/ 9855200 w 9855200"/>
              <a:gd name="connsiteY10" fmla="*/ 8531020 h 171315550"/>
              <a:gd name="connsiteX11" fmla="*/ 9855200 w 9855200"/>
              <a:gd name="connsiteY11" fmla="*/ 8531020 h 171315550"/>
              <a:gd name="connsiteX0" fmla="*/ 0 w 9855200"/>
              <a:gd name="connsiteY0" fmla="*/ 80893990 h 173580061"/>
              <a:gd name="connsiteX1" fmla="*/ 994077 w 9855200"/>
              <a:gd name="connsiteY1" fmla="*/ 173552627 h 173580061"/>
              <a:gd name="connsiteX2" fmla="*/ 1963687 w 9855200"/>
              <a:gd name="connsiteY2" fmla="*/ 91344334 h 173580061"/>
              <a:gd name="connsiteX3" fmla="*/ 2957185 w 9855200"/>
              <a:gd name="connsiteY3" fmla="*/ 160245646 h 173580061"/>
              <a:gd name="connsiteX4" fmla="*/ 3986287 w 9855200"/>
              <a:gd name="connsiteY4" fmla="*/ 154599273 h 173580061"/>
              <a:gd name="connsiteX5" fmla="*/ 4892573 w 9855200"/>
              <a:gd name="connsiteY5" fmla="*/ 101987710 h 173580061"/>
              <a:gd name="connsiteX6" fmla="*/ 5922871 w 9855200"/>
              <a:gd name="connsiteY6" fmla="*/ 134228614 h 173580061"/>
              <a:gd name="connsiteX7" fmla="*/ 6671569 w 9855200"/>
              <a:gd name="connsiteY7" fmla="*/ 9279997 h 173580061"/>
              <a:gd name="connsiteX8" fmla="*/ 7882466 w 9855200"/>
              <a:gd name="connsiteY8" fmla="*/ 9364664 h 173580061"/>
              <a:gd name="connsiteX9" fmla="*/ 8805333 w 9855200"/>
              <a:gd name="connsiteY9" fmla="*/ 10702398 h 173580061"/>
              <a:gd name="connsiteX10" fmla="*/ 9855200 w 9855200"/>
              <a:gd name="connsiteY10" fmla="*/ 10795531 h 173580061"/>
              <a:gd name="connsiteX11" fmla="*/ 9855200 w 9855200"/>
              <a:gd name="connsiteY11" fmla="*/ 10795531 h 173580061"/>
              <a:gd name="connsiteX0" fmla="*/ 0 w 9855200"/>
              <a:gd name="connsiteY0" fmla="*/ 80893990 h 173580061"/>
              <a:gd name="connsiteX1" fmla="*/ 994077 w 9855200"/>
              <a:gd name="connsiteY1" fmla="*/ 173552627 h 173580061"/>
              <a:gd name="connsiteX2" fmla="*/ 1963687 w 9855200"/>
              <a:gd name="connsiteY2" fmla="*/ 91344334 h 173580061"/>
              <a:gd name="connsiteX3" fmla="*/ 2957185 w 9855200"/>
              <a:gd name="connsiteY3" fmla="*/ 160245646 h 173580061"/>
              <a:gd name="connsiteX4" fmla="*/ 3986287 w 9855200"/>
              <a:gd name="connsiteY4" fmla="*/ 154599273 h 173580061"/>
              <a:gd name="connsiteX5" fmla="*/ 4892573 w 9855200"/>
              <a:gd name="connsiteY5" fmla="*/ 101987710 h 173580061"/>
              <a:gd name="connsiteX6" fmla="*/ 5922871 w 9855200"/>
              <a:gd name="connsiteY6" fmla="*/ 134228614 h 173580061"/>
              <a:gd name="connsiteX7" fmla="*/ 6671569 w 9855200"/>
              <a:gd name="connsiteY7" fmla="*/ 9279997 h 173580061"/>
              <a:gd name="connsiteX8" fmla="*/ 7882466 w 9855200"/>
              <a:gd name="connsiteY8" fmla="*/ 9364664 h 173580061"/>
              <a:gd name="connsiteX9" fmla="*/ 8805333 w 9855200"/>
              <a:gd name="connsiteY9" fmla="*/ 10702398 h 173580061"/>
              <a:gd name="connsiteX10" fmla="*/ 9855200 w 9855200"/>
              <a:gd name="connsiteY10" fmla="*/ 10795531 h 173580061"/>
              <a:gd name="connsiteX11" fmla="*/ 9855200 w 9855200"/>
              <a:gd name="connsiteY11" fmla="*/ 10795531 h 173580061"/>
              <a:gd name="connsiteX0" fmla="*/ 0 w 9855200"/>
              <a:gd name="connsiteY0" fmla="*/ 81088679 h 173774750"/>
              <a:gd name="connsiteX1" fmla="*/ 994077 w 9855200"/>
              <a:gd name="connsiteY1" fmla="*/ 173747316 h 173774750"/>
              <a:gd name="connsiteX2" fmla="*/ 1963687 w 9855200"/>
              <a:gd name="connsiteY2" fmla="*/ 91539023 h 173774750"/>
              <a:gd name="connsiteX3" fmla="*/ 2957185 w 9855200"/>
              <a:gd name="connsiteY3" fmla="*/ 160440335 h 173774750"/>
              <a:gd name="connsiteX4" fmla="*/ 3986287 w 9855200"/>
              <a:gd name="connsiteY4" fmla="*/ 154793962 h 173774750"/>
              <a:gd name="connsiteX5" fmla="*/ 4892573 w 9855200"/>
              <a:gd name="connsiteY5" fmla="*/ 102182399 h 173774750"/>
              <a:gd name="connsiteX6" fmla="*/ 5886687 w 9855200"/>
              <a:gd name="connsiteY6" fmla="*/ 137052186 h 173774750"/>
              <a:gd name="connsiteX7" fmla="*/ 6671569 w 9855200"/>
              <a:gd name="connsiteY7" fmla="*/ 9474686 h 173774750"/>
              <a:gd name="connsiteX8" fmla="*/ 7882466 w 9855200"/>
              <a:gd name="connsiteY8" fmla="*/ 9559353 h 173774750"/>
              <a:gd name="connsiteX9" fmla="*/ 8805333 w 9855200"/>
              <a:gd name="connsiteY9" fmla="*/ 10897087 h 173774750"/>
              <a:gd name="connsiteX10" fmla="*/ 9855200 w 9855200"/>
              <a:gd name="connsiteY10" fmla="*/ 10990220 h 173774750"/>
              <a:gd name="connsiteX11" fmla="*/ 9855200 w 9855200"/>
              <a:gd name="connsiteY11" fmla="*/ 10990220 h 173774750"/>
              <a:gd name="connsiteX0" fmla="*/ 0 w 9855200"/>
              <a:gd name="connsiteY0" fmla="*/ 76209968 h 168896039"/>
              <a:gd name="connsiteX1" fmla="*/ 994077 w 9855200"/>
              <a:gd name="connsiteY1" fmla="*/ 168868605 h 168896039"/>
              <a:gd name="connsiteX2" fmla="*/ 1963687 w 9855200"/>
              <a:gd name="connsiteY2" fmla="*/ 86660312 h 168896039"/>
              <a:gd name="connsiteX3" fmla="*/ 2957185 w 9855200"/>
              <a:gd name="connsiteY3" fmla="*/ 155561624 h 168896039"/>
              <a:gd name="connsiteX4" fmla="*/ 3986287 w 9855200"/>
              <a:gd name="connsiteY4" fmla="*/ 149915251 h 168896039"/>
              <a:gd name="connsiteX5" fmla="*/ 4892573 w 9855200"/>
              <a:gd name="connsiteY5" fmla="*/ 97303688 h 168896039"/>
              <a:gd name="connsiteX6" fmla="*/ 5886687 w 9855200"/>
              <a:gd name="connsiteY6" fmla="*/ 132173475 h 168896039"/>
              <a:gd name="connsiteX7" fmla="*/ 6843447 w 9855200"/>
              <a:gd name="connsiteY7" fmla="*/ 72946951 h 168896039"/>
              <a:gd name="connsiteX8" fmla="*/ 7882466 w 9855200"/>
              <a:gd name="connsiteY8" fmla="*/ 4680642 h 168896039"/>
              <a:gd name="connsiteX9" fmla="*/ 8805333 w 9855200"/>
              <a:gd name="connsiteY9" fmla="*/ 6018376 h 168896039"/>
              <a:gd name="connsiteX10" fmla="*/ 9855200 w 9855200"/>
              <a:gd name="connsiteY10" fmla="*/ 6111509 h 168896039"/>
              <a:gd name="connsiteX11" fmla="*/ 9855200 w 9855200"/>
              <a:gd name="connsiteY11" fmla="*/ 6111509 h 168896039"/>
              <a:gd name="connsiteX0" fmla="*/ 0 w 9855200"/>
              <a:gd name="connsiteY0" fmla="*/ 76209968 h 168896039"/>
              <a:gd name="connsiteX1" fmla="*/ 994077 w 9855200"/>
              <a:gd name="connsiteY1" fmla="*/ 168868605 h 168896039"/>
              <a:gd name="connsiteX2" fmla="*/ 1963687 w 9855200"/>
              <a:gd name="connsiteY2" fmla="*/ 86660312 h 168896039"/>
              <a:gd name="connsiteX3" fmla="*/ 2957185 w 9855200"/>
              <a:gd name="connsiteY3" fmla="*/ 155561624 h 168896039"/>
              <a:gd name="connsiteX4" fmla="*/ 3986287 w 9855200"/>
              <a:gd name="connsiteY4" fmla="*/ 149915251 h 168896039"/>
              <a:gd name="connsiteX5" fmla="*/ 4892573 w 9855200"/>
              <a:gd name="connsiteY5" fmla="*/ 97303688 h 168896039"/>
              <a:gd name="connsiteX6" fmla="*/ 5886687 w 9855200"/>
              <a:gd name="connsiteY6" fmla="*/ 132173475 h 168896039"/>
              <a:gd name="connsiteX7" fmla="*/ 6843447 w 9855200"/>
              <a:gd name="connsiteY7" fmla="*/ 72946951 h 168896039"/>
              <a:gd name="connsiteX8" fmla="*/ 7882466 w 9855200"/>
              <a:gd name="connsiteY8" fmla="*/ 4680642 h 168896039"/>
              <a:gd name="connsiteX9" fmla="*/ 8805333 w 9855200"/>
              <a:gd name="connsiteY9" fmla="*/ 6018376 h 168896039"/>
              <a:gd name="connsiteX10" fmla="*/ 9855200 w 9855200"/>
              <a:gd name="connsiteY10" fmla="*/ 6111509 h 168896039"/>
              <a:gd name="connsiteX11" fmla="*/ 9855200 w 9855200"/>
              <a:gd name="connsiteY11" fmla="*/ 6111509 h 168896039"/>
              <a:gd name="connsiteX0" fmla="*/ 0 w 9855200"/>
              <a:gd name="connsiteY0" fmla="*/ 76020357 h 168706428"/>
              <a:gd name="connsiteX1" fmla="*/ 994077 w 9855200"/>
              <a:gd name="connsiteY1" fmla="*/ 168678994 h 168706428"/>
              <a:gd name="connsiteX2" fmla="*/ 1963687 w 9855200"/>
              <a:gd name="connsiteY2" fmla="*/ 86470701 h 168706428"/>
              <a:gd name="connsiteX3" fmla="*/ 2957185 w 9855200"/>
              <a:gd name="connsiteY3" fmla="*/ 155372013 h 168706428"/>
              <a:gd name="connsiteX4" fmla="*/ 3986287 w 9855200"/>
              <a:gd name="connsiteY4" fmla="*/ 149725640 h 168706428"/>
              <a:gd name="connsiteX5" fmla="*/ 4892573 w 9855200"/>
              <a:gd name="connsiteY5" fmla="*/ 97114077 h 168706428"/>
              <a:gd name="connsiteX6" fmla="*/ 5886687 w 9855200"/>
              <a:gd name="connsiteY6" fmla="*/ 131983864 h 168706428"/>
              <a:gd name="connsiteX7" fmla="*/ 6843447 w 9855200"/>
              <a:gd name="connsiteY7" fmla="*/ 72757340 h 168706428"/>
              <a:gd name="connsiteX8" fmla="*/ 7918651 w 9855200"/>
              <a:gd name="connsiteY8" fmla="*/ 84934880 h 168706428"/>
              <a:gd name="connsiteX9" fmla="*/ 8805333 w 9855200"/>
              <a:gd name="connsiteY9" fmla="*/ 5828765 h 168706428"/>
              <a:gd name="connsiteX10" fmla="*/ 9855200 w 9855200"/>
              <a:gd name="connsiteY10" fmla="*/ 5921898 h 168706428"/>
              <a:gd name="connsiteX11" fmla="*/ 9855200 w 9855200"/>
              <a:gd name="connsiteY11" fmla="*/ 5921898 h 168706428"/>
              <a:gd name="connsiteX0" fmla="*/ 0 w 9855200"/>
              <a:gd name="connsiteY0" fmla="*/ 76020357 h 168706428"/>
              <a:gd name="connsiteX1" fmla="*/ 994077 w 9855200"/>
              <a:gd name="connsiteY1" fmla="*/ 168678994 h 168706428"/>
              <a:gd name="connsiteX2" fmla="*/ 1963687 w 9855200"/>
              <a:gd name="connsiteY2" fmla="*/ 86470701 h 168706428"/>
              <a:gd name="connsiteX3" fmla="*/ 2957185 w 9855200"/>
              <a:gd name="connsiteY3" fmla="*/ 155372013 h 168706428"/>
              <a:gd name="connsiteX4" fmla="*/ 3986287 w 9855200"/>
              <a:gd name="connsiteY4" fmla="*/ 149725640 h 168706428"/>
              <a:gd name="connsiteX5" fmla="*/ 4892573 w 9855200"/>
              <a:gd name="connsiteY5" fmla="*/ 97114077 h 168706428"/>
              <a:gd name="connsiteX6" fmla="*/ 5886687 w 9855200"/>
              <a:gd name="connsiteY6" fmla="*/ 131983864 h 168706428"/>
              <a:gd name="connsiteX7" fmla="*/ 6843447 w 9855200"/>
              <a:gd name="connsiteY7" fmla="*/ 72757340 h 168706428"/>
              <a:gd name="connsiteX8" fmla="*/ 7918651 w 9855200"/>
              <a:gd name="connsiteY8" fmla="*/ 84934880 h 168706428"/>
              <a:gd name="connsiteX9" fmla="*/ 8805333 w 9855200"/>
              <a:gd name="connsiteY9" fmla="*/ 5828765 h 168706428"/>
              <a:gd name="connsiteX10" fmla="*/ 9855200 w 9855200"/>
              <a:gd name="connsiteY10" fmla="*/ 5921898 h 168706428"/>
              <a:gd name="connsiteX11" fmla="*/ 9855200 w 9855200"/>
              <a:gd name="connsiteY11" fmla="*/ 5921898 h 168706428"/>
              <a:gd name="connsiteX0" fmla="*/ 0 w 9855200"/>
              <a:gd name="connsiteY0" fmla="*/ 75163548 h 167849619"/>
              <a:gd name="connsiteX1" fmla="*/ 994077 w 9855200"/>
              <a:gd name="connsiteY1" fmla="*/ 167822185 h 167849619"/>
              <a:gd name="connsiteX2" fmla="*/ 1963687 w 9855200"/>
              <a:gd name="connsiteY2" fmla="*/ 85613892 h 167849619"/>
              <a:gd name="connsiteX3" fmla="*/ 2957185 w 9855200"/>
              <a:gd name="connsiteY3" fmla="*/ 154515204 h 167849619"/>
              <a:gd name="connsiteX4" fmla="*/ 3986287 w 9855200"/>
              <a:gd name="connsiteY4" fmla="*/ 148868831 h 167849619"/>
              <a:gd name="connsiteX5" fmla="*/ 4892573 w 9855200"/>
              <a:gd name="connsiteY5" fmla="*/ 96257268 h 167849619"/>
              <a:gd name="connsiteX6" fmla="*/ 5886687 w 9855200"/>
              <a:gd name="connsiteY6" fmla="*/ 131127055 h 167849619"/>
              <a:gd name="connsiteX7" fmla="*/ 6843447 w 9855200"/>
              <a:gd name="connsiteY7" fmla="*/ 71900531 h 167849619"/>
              <a:gd name="connsiteX8" fmla="*/ 7891512 w 9855200"/>
              <a:gd name="connsiteY8" fmla="*/ 72510984 h 167849619"/>
              <a:gd name="connsiteX9" fmla="*/ 8805333 w 9855200"/>
              <a:gd name="connsiteY9" fmla="*/ 4971956 h 167849619"/>
              <a:gd name="connsiteX10" fmla="*/ 9855200 w 9855200"/>
              <a:gd name="connsiteY10" fmla="*/ 5065089 h 167849619"/>
              <a:gd name="connsiteX11" fmla="*/ 9855200 w 9855200"/>
              <a:gd name="connsiteY11" fmla="*/ 5065089 h 167849619"/>
              <a:gd name="connsiteX0" fmla="*/ 0 w 9855200"/>
              <a:gd name="connsiteY0" fmla="*/ 75436179 h 168122250"/>
              <a:gd name="connsiteX1" fmla="*/ 994077 w 9855200"/>
              <a:gd name="connsiteY1" fmla="*/ 168094816 h 168122250"/>
              <a:gd name="connsiteX2" fmla="*/ 1963687 w 9855200"/>
              <a:gd name="connsiteY2" fmla="*/ 85886523 h 168122250"/>
              <a:gd name="connsiteX3" fmla="*/ 2957185 w 9855200"/>
              <a:gd name="connsiteY3" fmla="*/ 154787835 h 168122250"/>
              <a:gd name="connsiteX4" fmla="*/ 3986287 w 9855200"/>
              <a:gd name="connsiteY4" fmla="*/ 149141462 h 168122250"/>
              <a:gd name="connsiteX5" fmla="*/ 4892573 w 9855200"/>
              <a:gd name="connsiteY5" fmla="*/ 96529899 h 168122250"/>
              <a:gd name="connsiteX6" fmla="*/ 5886687 w 9855200"/>
              <a:gd name="connsiteY6" fmla="*/ 131399686 h 168122250"/>
              <a:gd name="connsiteX7" fmla="*/ 6843447 w 9855200"/>
              <a:gd name="connsiteY7" fmla="*/ 72173162 h 168122250"/>
              <a:gd name="connsiteX8" fmla="*/ 7891512 w 9855200"/>
              <a:gd name="connsiteY8" fmla="*/ 76464052 h 168122250"/>
              <a:gd name="connsiteX9" fmla="*/ 8805333 w 9855200"/>
              <a:gd name="connsiteY9" fmla="*/ 5244587 h 168122250"/>
              <a:gd name="connsiteX10" fmla="*/ 9855200 w 9855200"/>
              <a:gd name="connsiteY10" fmla="*/ 5337720 h 168122250"/>
              <a:gd name="connsiteX11" fmla="*/ 9855200 w 9855200"/>
              <a:gd name="connsiteY11" fmla="*/ 5337720 h 168122250"/>
              <a:gd name="connsiteX0" fmla="*/ 0 w 9855200"/>
              <a:gd name="connsiteY0" fmla="*/ 70098483 h 162784554"/>
              <a:gd name="connsiteX1" fmla="*/ 994077 w 9855200"/>
              <a:gd name="connsiteY1" fmla="*/ 162757120 h 162784554"/>
              <a:gd name="connsiteX2" fmla="*/ 1963687 w 9855200"/>
              <a:gd name="connsiteY2" fmla="*/ 80548827 h 162784554"/>
              <a:gd name="connsiteX3" fmla="*/ 2957185 w 9855200"/>
              <a:gd name="connsiteY3" fmla="*/ 149450139 h 162784554"/>
              <a:gd name="connsiteX4" fmla="*/ 3986287 w 9855200"/>
              <a:gd name="connsiteY4" fmla="*/ 143803766 h 162784554"/>
              <a:gd name="connsiteX5" fmla="*/ 4892573 w 9855200"/>
              <a:gd name="connsiteY5" fmla="*/ 91192203 h 162784554"/>
              <a:gd name="connsiteX6" fmla="*/ 5886687 w 9855200"/>
              <a:gd name="connsiteY6" fmla="*/ 126061990 h 162784554"/>
              <a:gd name="connsiteX7" fmla="*/ 6843447 w 9855200"/>
              <a:gd name="connsiteY7" fmla="*/ 66835466 h 162784554"/>
              <a:gd name="connsiteX8" fmla="*/ 7891512 w 9855200"/>
              <a:gd name="connsiteY8" fmla="*/ 71126356 h 162784554"/>
              <a:gd name="connsiteX9" fmla="*/ 8850564 w 9855200"/>
              <a:gd name="connsiteY9" fmla="*/ 122412852 h 162784554"/>
              <a:gd name="connsiteX10" fmla="*/ 9855200 w 9855200"/>
              <a:gd name="connsiteY10" fmla="*/ 24 h 162784554"/>
              <a:gd name="connsiteX11" fmla="*/ 9855200 w 9855200"/>
              <a:gd name="connsiteY11" fmla="*/ 24 h 162784554"/>
              <a:gd name="connsiteX0" fmla="*/ 0 w 9855200"/>
              <a:gd name="connsiteY0" fmla="*/ 70098483 h 162784554"/>
              <a:gd name="connsiteX1" fmla="*/ 994077 w 9855200"/>
              <a:gd name="connsiteY1" fmla="*/ 162757120 h 162784554"/>
              <a:gd name="connsiteX2" fmla="*/ 1963687 w 9855200"/>
              <a:gd name="connsiteY2" fmla="*/ 80548827 h 162784554"/>
              <a:gd name="connsiteX3" fmla="*/ 2957185 w 9855200"/>
              <a:gd name="connsiteY3" fmla="*/ 149450139 h 162784554"/>
              <a:gd name="connsiteX4" fmla="*/ 3986287 w 9855200"/>
              <a:gd name="connsiteY4" fmla="*/ 143803766 h 162784554"/>
              <a:gd name="connsiteX5" fmla="*/ 4892573 w 9855200"/>
              <a:gd name="connsiteY5" fmla="*/ 91192203 h 162784554"/>
              <a:gd name="connsiteX6" fmla="*/ 5886687 w 9855200"/>
              <a:gd name="connsiteY6" fmla="*/ 126061990 h 162784554"/>
              <a:gd name="connsiteX7" fmla="*/ 6843447 w 9855200"/>
              <a:gd name="connsiteY7" fmla="*/ 66835466 h 162784554"/>
              <a:gd name="connsiteX8" fmla="*/ 7891512 w 9855200"/>
              <a:gd name="connsiteY8" fmla="*/ 71126356 h 162784554"/>
              <a:gd name="connsiteX9" fmla="*/ 8850564 w 9855200"/>
              <a:gd name="connsiteY9" fmla="*/ 122412852 h 162784554"/>
              <a:gd name="connsiteX10" fmla="*/ 9855200 w 9855200"/>
              <a:gd name="connsiteY10" fmla="*/ 24 h 162784554"/>
              <a:gd name="connsiteX11" fmla="*/ 9855200 w 9855200"/>
              <a:gd name="connsiteY11" fmla="*/ 24 h 162784554"/>
              <a:gd name="connsiteX0" fmla="*/ 0 w 9873292"/>
              <a:gd name="connsiteY0" fmla="*/ 70098483 h 162784554"/>
              <a:gd name="connsiteX1" fmla="*/ 994077 w 9873292"/>
              <a:gd name="connsiteY1" fmla="*/ 162757120 h 162784554"/>
              <a:gd name="connsiteX2" fmla="*/ 1963687 w 9873292"/>
              <a:gd name="connsiteY2" fmla="*/ 80548827 h 162784554"/>
              <a:gd name="connsiteX3" fmla="*/ 2957185 w 9873292"/>
              <a:gd name="connsiteY3" fmla="*/ 149450139 h 162784554"/>
              <a:gd name="connsiteX4" fmla="*/ 3986287 w 9873292"/>
              <a:gd name="connsiteY4" fmla="*/ 143803766 h 162784554"/>
              <a:gd name="connsiteX5" fmla="*/ 4892573 w 9873292"/>
              <a:gd name="connsiteY5" fmla="*/ 91192203 h 162784554"/>
              <a:gd name="connsiteX6" fmla="*/ 5886687 w 9873292"/>
              <a:gd name="connsiteY6" fmla="*/ 126061990 h 162784554"/>
              <a:gd name="connsiteX7" fmla="*/ 6843447 w 9873292"/>
              <a:gd name="connsiteY7" fmla="*/ 66835466 h 162784554"/>
              <a:gd name="connsiteX8" fmla="*/ 7891512 w 9873292"/>
              <a:gd name="connsiteY8" fmla="*/ 71126356 h 162784554"/>
              <a:gd name="connsiteX9" fmla="*/ 8850564 w 9873292"/>
              <a:gd name="connsiteY9" fmla="*/ 122412852 h 162784554"/>
              <a:gd name="connsiteX10" fmla="*/ 9855200 w 9873292"/>
              <a:gd name="connsiteY10" fmla="*/ 24 h 162784554"/>
              <a:gd name="connsiteX11" fmla="*/ 9873292 w 9873292"/>
              <a:gd name="connsiteY11" fmla="*/ 45742574 h 162784554"/>
              <a:gd name="connsiteX0" fmla="*/ 0 w 9873292"/>
              <a:gd name="connsiteY0" fmla="*/ 24355909 h 117041980"/>
              <a:gd name="connsiteX1" fmla="*/ 994077 w 9873292"/>
              <a:gd name="connsiteY1" fmla="*/ 117014546 h 117041980"/>
              <a:gd name="connsiteX2" fmla="*/ 1963687 w 9873292"/>
              <a:gd name="connsiteY2" fmla="*/ 34806253 h 117041980"/>
              <a:gd name="connsiteX3" fmla="*/ 2957185 w 9873292"/>
              <a:gd name="connsiteY3" fmla="*/ 103707565 h 117041980"/>
              <a:gd name="connsiteX4" fmla="*/ 3986287 w 9873292"/>
              <a:gd name="connsiteY4" fmla="*/ 98061192 h 117041980"/>
              <a:gd name="connsiteX5" fmla="*/ 4892573 w 9873292"/>
              <a:gd name="connsiteY5" fmla="*/ 45449629 h 117041980"/>
              <a:gd name="connsiteX6" fmla="*/ 5886687 w 9873292"/>
              <a:gd name="connsiteY6" fmla="*/ 80319416 h 117041980"/>
              <a:gd name="connsiteX7" fmla="*/ 6843447 w 9873292"/>
              <a:gd name="connsiteY7" fmla="*/ 21092892 h 117041980"/>
              <a:gd name="connsiteX8" fmla="*/ 7891512 w 9873292"/>
              <a:gd name="connsiteY8" fmla="*/ 25383782 h 117041980"/>
              <a:gd name="connsiteX9" fmla="*/ 8850564 w 9873292"/>
              <a:gd name="connsiteY9" fmla="*/ 76670278 h 117041980"/>
              <a:gd name="connsiteX10" fmla="*/ 9873292 w 9873292"/>
              <a:gd name="connsiteY10" fmla="*/ 0 h 117041980"/>
              <a:gd name="connsiteX0" fmla="*/ 0 w 8850564"/>
              <a:gd name="connsiteY0" fmla="*/ 8378535 h 101064606"/>
              <a:gd name="connsiteX1" fmla="*/ 994077 w 8850564"/>
              <a:gd name="connsiteY1" fmla="*/ 101037172 h 101064606"/>
              <a:gd name="connsiteX2" fmla="*/ 1963687 w 8850564"/>
              <a:gd name="connsiteY2" fmla="*/ 18828879 h 101064606"/>
              <a:gd name="connsiteX3" fmla="*/ 2957185 w 8850564"/>
              <a:gd name="connsiteY3" fmla="*/ 87730191 h 101064606"/>
              <a:gd name="connsiteX4" fmla="*/ 3986287 w 8850564"/>
              <a:gd name="connsiteY4" fmla="*/ 82083818 h 101064606"/>
              <a:gd name="connsiteX5" fmla="*/ 4892573 w 8850564"/>
              <a:gd name="connsiteY5" fmla="*/ 29472255 h 101064606"/>
              <a:gd name="connsiteX6" fmla="*/ 5886687 w 8850564"/>
              <a:gd name="connsiteY6" fmla="*/ 64342042 h 101064606"/>
              <a:gd name="connsiteX7" fmla="*/ 6843447 w 8850564"/>
              <a:gd name="connsiteY7" fmla="*/ 5115518 h 101064606"/>
              <a:gd name="connsiteX8" fmla="*/ 7891512 w 8850564"/>
              <a:gd name="connsiteY8" fmla="*/ 9406408 h 101064606"/>
              <a:gd name="connsiteX9" fmla="*/ 8850564 w 8850564"/>
              <a:gd name="connsiteY9" fmla="*/ 60692904 h 101064606"/>
              <a:gd name="connsiteX0" fmla="*/ 0 w 7891512"/>
              <a:gd name="connsiteY0" fmla="*/ 8378535 h 101064606"/>
              <a:gd name="connsiteX1" fmla="*/ 994077 w 7891512"/>
              <a:gd name="connsiteY1" fmla="*/ 101037172 h 101064606"/>
              <a:gd name="connsiteX2" fmla="*/ 1963687 w 7891512"/>
              <a:gd name="connsiteY2" fmla="*/ 18828879 h 101064606"/>
              <a:gd name="connsiteX3" fmla="*/ 2957185 w 7891512"/>
              <a:gd name="connsiteY3" fmla="*/ 87730191 h 101064606"/>
              <a:gd name="connsiteX4" fmla="*/ 3986287 w 7891512"/>
              <a:gd name="connsiteY4" fmla="*/ 82083818 h 101064606"/>
              <a:gd name="connsiteX5" fmla="*/ 4892573 w 7891512"/>
              <a:gd name="connsiteY5" fmla="*/ 29472255 h 101064606"/>
              <a:gd name="connsiteX6" fmla="*/ 5886687 w 7891512"/>
              <a:gd name="connsiteY6" fmla="*/ 64342042 h 101064606"/>
              <a:gd name="connsiteX7" fmla="*/ 6843447 w 7891512"/>
              <a:gd name="connsiteY7" fmla="*/ 5115518 h 101064606"/>
              <a:gd name="connsiteX8" fmla="*/ 7891512 w 7891512"/>
              <a:gd name="connsiteY8" fmla="*/ 9406408 h 101064606"/>
              <a:gd name="connsiteX0" fmla="*/ 0 w 6843447"/>
              <a:gd name="connsiteY0" fmla="*/ 3263017 h 95949088"/>
              <a:gd name="connsiteX1" fmla="*/ 994077 w 6843447"/>
              <a:gd name="connsiteY1" fmla="*/ 95921654 h 95949088"/>
              <a:gd name="connsiteX2" fmla="*/ 1963687 w 6843447"/>
              <a:gd name="connsiteY2" fmla="*/ 13713361 h 95949088"/>
              <a:gd name="connsiteX3" fmla="*/ 2957185 w 6843447"/>
              <a:gd name="connsiteY3" fmla="*/ 82614673 h 95949088"/>
              <a:gd name="connsiteX4" fmla="*/ 3986287 w 6843447"/>
              <a:gd name="connsiteY4" fmla="*/ 76968300 h 95949088"/>
              <a:gd name="connsiteX5" fmla="*/ 4892573 w 6843447"/>
              <a:gd name="connsiteY5" fmla="*/ 24356737 h 95949088"/>
              <a:gd name="connsiteX6" fmla="*/ 5886687 w 6843447"/>
              <a:gd name="connsiteY6" fmla="*/ 59226524 h 95949088"/>
              <a:gd name="connsiteX7" fmla="*/ 6843447 w 6843447"/>
              <a:gd name="connsiteY7" fmla="*/ 0 h 95949088"/>
              <a:gd name="connsiteX0" fmla="*/ 0 w 6843447"/>
              <a:gd name="connsiteY0" fmla="*/ 3263017 h 95949088"/>
              <a:gd name="connsiteX1" fmla="*/ 994077 w 6843447"/>
              <a:gd name="connsiteY1" fmla="*/ 95921654 h 95949088"/>
              <a:gd name="connsiteX2" fmla="*/ 1963687 w 6843447"/>
              <a:gd name="connsiteY2" fmla="*/ 13713361 h 95949088"/>
              <a:gd name="connsiteX3" fmla="*/ 2957185 w 6843447"/>
              <a:gd name="connsiteY3" fmla="*/ 82614673 h 95949088"/>
              <a:gd name="connsiteX4" fmla="*/ 3986287 w 6843447"/>
              <a:gd name="connsiteY4" fmla="*/ 76968300 h 95949088"/>
              <a:gd name="connsiteX5" fmla="*/ 4892573 w 6843447"/>
              <a:gd name="connsiteY5" fmla="*/ 24356737 h 95949088"/>
              <a:gd name="connsiteX6" fmla="*/ 6843447 w 6843447"/>
              <a:gd name="connsiteY6" fmla="*/ 0 h 95949088"/>
              <a:gd name="connsiteX0" fmla="*/ 0 w 4892573"/>
              <a:gd name="connsiteY0" fmla="*/ 5906 h 92691977"/>
              <a:gd name="connsiteX1" fmla="*/ 994077 w 4892573"/>
              <a:gd name="connsiteY1" fmla="*/ 92664543 h 92691977"/>
              <a:gd name="connsiteX2" fmla="*/ 1963687 w 4892573"/>
              <a:gd name="connsiteY2" fmla="*/ 10456250 h 92691977"/>
              <a:gd name="connsiteX3" fmla="*/ 2957185 w 4892573"/>
              <a:gd name="connsiteY3" fmla="*/ 79357562 h 92691977"/>
              <a:gd name="connsiteX4" fmla="*/ 3986287 w 4892573"/>
              <a:gd name="connsiteY4" fmla="*/ 73711189 h 92691977"/>
              <a:gd name="connsiteX5" fmla="*/ 4892573 w 4892573"/>
              <a:gd name="connsiteY5" fmla="*/ 21099626 h 92691977"/>
              <a:gd name="connsiteX0" fmla="*/ 0 w 8729853"/>
              <a:gd name="connsiteY0" fmla="*/ 5906 h 92691977"/>
              <a:gd name="connsiteX1" fmla="*/ 994077 w 8729853"/>
              <a:gd name="connsiteY1" fmla="*/ 92664543 h 92691977"/>
              <a:gd name="connsiteX2" fmla="*/ 1963687 w 8729853"/>
              <a:gd name="connsiteY2" fmla="*/ 10456250 h 92691977"/>
              <a:gd name="connsiteX3" fmla="*/ 2957185 w 8729853"/>
              <a:gd name="connsiteY3" fmla="*/ 79357562 h 92691977"/>
              <a:gd name="connsiteX4" fmla="*/ 3986287 w 8729853"/>
              <a:gd name="connsiteY4" fmla="*/ 73711189 h 92691977"/>
              <a:gd name="connsiteX5" fmla="*/ 8729853 w 8729853"/>
              <a:gd name="connsiteY5" fmla="*/ 45163088 h 92691977"/>
              <a:gd name="connsiteX0" fmla="*/ 0 w 9285248"/>
              <a:gd name="connsiteY0" fmla="*/ 5906 h 92691977"/>
              <a:gd name="connsiteX1" fmla="*/ 994077 w 9285248"/>
              <a:gd name="connsiteY1" fmla="*/ 92664543 h 92691977"/>
              <a:gd name="connsiteX2" fmla="*/ 1963687 w 9285248"/>
              <a:gd name="connsiteY2" fmla="*/ 10456250 h 92691977"/>
              <a:gd name="connsiteX3" fmla="*/ 2957185 w 9285248"/>
              <a:gd name="connsiteY3" fmla="*/ 79357562 h 92691977"/>
              <a:gd name="connsiteX4" fmla="*/ 3986287 w 9285248"/>
              <a:gd name="connsiteY4" fmla="*/ 73711189 h 92691977"/>
              <a:gd name="connsiteX5" fmla="*/ 9285248 w 9285248"/>
              <a:gd name="connsiteY5" fmla="*/ 51032246 h 92691977"/>
              <a:gd name="connsiteX0" fmla="*/ 0 w 9285248"/>
              <a:gd name="connsiteY0" fmla="*/ 5906 h 92691977"/>
              <a:gd name="connsiteX1" fmla="*/ 994077 w 9285248"/>
              <a:gd name="connsiteY1" fmla="*/ 92664543 h 92691977"/>
              <a:gd name="connsiteX2" fmla="*/ 1963687 w 9285248"/>
              <a:gd name="connsiteY2" fmla="*/ 10456250 h 92691977"/>
              <a:gd name="connsiteX3" fmla="*/ 2957185 w 9285248"/>
              <a:gd name="connsiteY3" fmla="*/ 79357562 h 92691977"/>
              <a:gd name="connsiteX4" fmla="*/ 7278270 w 9285248"/>
              <a:gd name="connsiteY4" fmla="*/ 61972928 h 92691977"/>
              <a:gd name="connsiteX5" fmla="*/ 9285248 w 9285248"/>
              <a:gd name="connsiteY5" fmla="*/ 51032246 h 92691977"/>
              <a:gd name="connsiteX0" fmla="*/ 0 w 9285248"/>
              <a:gd name="connsiteY0" fmla="*/ 5906 h 92692639"/>
              <a:gd name="connsiteX1" fmla="*/ 994077 w 9285248"/>
              <a:gd name="connsiteY1" fmla="*/ 92664543 h 92692639"/>
              <a:gd name="connsiteX2" fmla="*/ 1963687 w 9285248"/>
              <a:gd name="connsiteY2" fmla="*/ 10456250 h 92692639"/>
              <a:gd name="connsiteX3" fmla="*/ 5633183 w 9285248"/>
              <a:gd name="connsiteY3" fmla="*/ 67619300 h 92692639"/>
              <a:gd name="connsiteX4" fmla="*/ 7278270 w 9285248"/>
              <a:gd name="connsiteY4" fmla="*/ 61972928 h 92692639"/>
              <a:gd name="connsiteX5" fmla="*/ 9285248 w 9285248"/>
              <a:gd name="connsiteY5" fmla="*/ 51032246 h 92692639"/>
              <a:gd name="connsiteX0" fmla="*/ 0 w 9285248"/>
              <a:gd name="connsiteY0" fmla="*/ 6624 h 95155868"/>
              <a:gd name="connsiteX1" fmla="*/ 994077 w 9285248"/>
              <a:gd name="connsiteY1" fmla="*/ 92665261 h 95155868"/>
              <a:gd name="connsiteX2" fmla="*/ 3771247 w 9285248"/>
              <a:gd name="connsiteY2" fmla="*/ 68561393 h 95155868"/>
              <a:gd name="connsiteX3" fmla="*/ 5633183 w 9285248"/>
              <a:gd name="connsiteY3" fmla="*/ 67620018 h 95155868"/>
              <a:gd name="connsiteX4" fmla="*/ 7278270 w 9285248"/>
              <a:gd name="connsiteY4" fmla="*/ 61973646 h 95155868"/>
              <a:gd name="connsiteX5" fmla="*/ 9285248 w 9285248"/>
              <a:gd name="connsiteY5" fmla="*/ 51032964 h 95155868"/>
              <a:gd name="connsiteX0" fmla="*/ 0 w 9285248"/>
              <a:gd name="connsiteY0" fmla="*/ 9605 h 72376572"/>
              <a:gd name="connsiteX1" fmla="*/ 2195751 w 9285248"/>
              <a:gd name="connsiteY1" fmla="*/ 66844076 h 72376572"/>
              <a:gd name="connsiteX2" fmla="*/ 3771247 w 9285248"/>
              <a:gd name="connsiteY2" fmla="*/ 68564374 h 72376572"/>
              <a:gd name="connsiteX3" fmla="*/ 5633183 w 9285248"/>
              <a:gd name="connsiteY3" fmla="*/ 67622999 h 72376572"/>
              <a:gd name="connsiteX4" fmla="*/ 7278270 w 9285248"/>
              <a:gd name="connsiteY4" fmla="*/ 61976627 h 72376572"/>
              <a:gd name="connsiteX5" fmla="*/ 9285248 w 9285248"/>
              <a:gd name="connsiteY5" fmla="*/ 51035945 h 72376572"/>
              <a:gd name="connsiteX0" fmla="*/ 0 w 9285248"/>
              <a:gd name="connsiteY0" fmla="*/ 9605 h 72376572"/>
              <a:gd name="connsiteX1" fmla="*/ 2195751 w 9285248"/>
              <a:gd name="connsiteY1" fmla="*/ 66844076 h 72376572"/>
              <a:gd name="connsiteX2" fmla="*/ 3771247 w 9285248"/>
              <a:gd name="connsiteY2" fmla="*/ 68564374 h 72376572"/>
              <a:gd name="connsiteX3" fmla="*/ 5633183 w 9285248"/>
              <a:gd name="connsiteY3" fmla="*/ 67622999 h 72376572"/>
              <a:gd name="connsiteX4" fmla="*/ 7004027 w 9285248"/>
              <a:gd name="connsiteY4" fmla="*/ 38953126 h 72376572"/>
              <a:gd name="connsiteX5" fmla="*/ 9285248 w 9285248"/>
              <a:gd name="connsiteY5" fmla="*/ 51035945 h 72376572"/>
              <a:gd name="connsiteX0" fmla="*/ 0 w 9285248"/>
              <a:gd name="connsiteY0" fmla="*/ 9605 h 74710193"/>
              <a:gd name="connsiteX1" fmla="*/ 2195751 w 9285248"/>
              <a:gd name="connsiteY1" fmla="*/ 66844076 h 74710193"/>
              <a:gd name="connsiteX2" fmla="*/ 3771247 w 9285248"/>
              <a:gd name="connsiteY2" fmla="*/ 68564374 h 74710193"/>
              <a:gd name="connsiteX3" fmla="*/ 5237054 w 9285248"/>
              <a:gd name="connsiteY3" fmla="*/ 23347080 h 74710193"/>
              <a:gd name="connsiteX4" fmla="*/ 7004027 w 9285248"/>
              <a:gd name="connsiteY4" fmla="*/ 38953126 h 74710193"/>
              <a:gd name="connsiteX5" fmla="*/ 9285248 w 9285248"/>
              <a:gd name="connsiteY5" fmla="*/ 51035945 h 74710193"/>
              <a:gd name="connsiteX0" fmla="*/ 0 w 9285248"/>
              <a:gd name="connsiteY0" fmla="*/ 9605 h 74710193"/>
              <a:gd name="connsiteX1" fmla="*/ 2195751 w 9285248"/>
              <a:gd name="connsiteY1" fmla="*/ 66844076 h 74710193"/>
              <a:gd name="connsiteX2" fmla="*/ 3771247 w 9285248"/>
              <a:gd name="connsiteY2" fmla="*/ 68564374 h 74710193"/>
              <a:gd name="connsiteX3" fmla="*/ 5237054 w 9285248"/>
              <a:gd name="connsiteY3" fmla="*/ 23347080 h 74710193"/>
              <a:gd name="connsiteX4" fmla="*/ 7004027 w 9285248"/>
              <a:gd name="connsiteY4" fmla="*/ 38953126 h 74710193"/>
              <a:gd name="connsiteX5" fmla="*/ 9285248 w 9285248"/>
              <a:gd name="connsiteY5" fmla="*/ 51035945 h 74710193"/>
              <a:gd name="connsiteX0" fmla="*/ 0 w 9285248"/>
              <a:gd name="connsiteY0" fmla="*/ 9605 h 74180221"/>
              <a:gd name="connsiteX1" fmla="*/ 2195751 w 9285248"/>
              <a:gd name="connsiteY1" fmla="*/ 66844076 h 74180221"/>
              <a:gd name="connsiteX2" fmla="*/ 3771247 w 9285248"/>
              <a:gd name="connsiteY2" fmla="*/ 68564374 h 74180221"/>
              <a:gd name="connsiteX3" fmla="*/ 5267525 w 9285248"/>
              <a:gd name="connsiteY3" fmla="*/ 32202264 h 74180221"/>
              <a:gd name="connsiteX4" fmla="*/ 7004027 w 9285248"/>
              <a:gd name="connsiteY4" fmla="*/ 38953126 h 74180221"/>
              <a:gd name="connsiteX5" fmla="*/ 9285248 w 9285248"/>
              <a:gd name="connsiteY5" fmla="*/ 51035945 h 74180221"/>
              <a:gd name="connsiteX0" fmla="*/ 0 w 9178598"/>
              <a:gd name="connsiteY0" fmla="*/ 14093796 h 39583672"/>
              <a:gd name="connsiteX1" fmla="*/ 2089101 w 9178598"/>
              <a:gd name="connsiteY1" fmla="*/ 34881268 h 39583672"/>
              <a:gd name="connsiteX2" fmla="*/ 3664597 w 9178598"/>
              <a:gd name="connsiteY2" fmla="*/ 36601566 h 39583672"/>
              <a:gd name="connsiteX3" fmla="*/ 5160875 w 9178598"/>
              <a:gd name="connsiteY3" fmla="*/ 239456 h 39583672"/>
              <a:gd name="connsiteX4" fmla="*/ 6897377 w 9178598"/>
              <a:gd name="connsiteY4" fmla="*/ 6990318 h 39583672"/>
              <a:gd name="connsiteX5" fmla="*/ 9178598 w 9178598"/>
              <a:gd name="connsiteY5" fmla="*/ 19073137 h 39583672"/>
              <a:gd name="connsiteX0" fmla="*/ 0 w 9178598"/>
              <a:gd name="connsiteY0" fmla="*/ 25848838 h 47073603"/>
              <a:gd name="connsiteX1" fmla="*/ 2089101 w 9178598"/>
              <a:gd name="connsiteY1" fmla="*/ 46636310 h 47073603"/>
              <a:gd name="connsiteX2" fmla="*/ 3359883 w 9178598"/>
              <a:gd name="connsiteY2" fmla="*/ 1424151 h 47073603"/>
              <a:gd name="connsiteX3" fmla="*/ 5160875 w 9178598"/>
              <a:gd name="connsiteY3" fmla="*/ 11994498 h 47073603"/>
              <a:gd name="connsiteX4" fmla="*/ 6897377 w 9178598"/>
              <a:gd name="connsiteY4" fmla="*/ 18745360 h 47073603"/>
              <a:gd name="connsiteX5" fmla="*/ 9178598 w 9178598"/>
              <a:gd name="connsiteY5" fmla="*/ 30828179 h 47073603"/>
              <a:gd name="connsiteX0" fmla="*/ 0 w 9178598"/>
              <a:gd name="connsiteY0" fmla="*/ 24983859 h 46208624"/>
              <a:gd name="connsiteX1" fmla="*/ 2089101 w 9178598"/>
              <a:gd name="connsiteY1" fmla="*/ 45771331 h 46208624"/>
              <a:gd name="connsiteX2" fmla="*/ 3359883 w 9178598"/>
              <a:gd name="connsiteY2" fmla="*/ 559172 h 46208624"/>
              <a:gd name="connsiteX3" fmla="*/ 5160875 w 9178598"/>
              <a:gd name="connsiteY3" fmla="*/ 11129519 h 46208624"/>
              <a:gd name="connsiteX4" fmla="*/ 6897377 w 9178598"/>
              <a:gd name="connsiteY4" fmla="*/ 17880381 h 46208624"/>
              <a:gd name="connsiteX5" fmla="*/ 9178598 w 9178598"/>
              <a:gd name="connsiteY5" fmla="*/ 29963200 h 46208624"/>
              <a:gd name="connsiteX0" fmla="*/ 0 w 9178598"/>
              <a:gd name="connsiteY0" fmla="*/ 24792758 h 33782575"/>
              <a:gd name="connsiteX1" fmla="*/ 1904558 w 9178598"/>
              <a:gd name="connsiteY1" fmla="*/ 25390406 h 33782575"/>
              <a:gd name="connsiteX2" fmla="*/ 3359883 w 9178598"/>
              <a:gd name="connsiteY2" fmla="*/ 368071 h 33782575"/>
              <a:gd name="connsiteX3" fmla="*/ 5160875 w 9178598"/>
              <a:gd name="connsiteY3" fmla="*/ 10938418 h 33782575"/>
              <a:gd name="connsiteX4" fmla="*/ 6897377 w 9178598"/>
              <a:gd name="connsiteY4" fmla="*/ 17689280 h 33782575"/>
              <a:gd name="connsiteX5" fmla="*/ 9178598 w 9178598"/>
              <a:gd name="connsiteY5" fmla="*/ 29772099 h 33782575"/>
              <a:gd name="connsiteX0" fmla="*/ 0 w 9178598"/>
              <a:gd name="connsiteY0" fmla="*/ 14162795 h 23152612"/>
              <a:gd name="connsiteX1" fmla="*/ 1904558 w 9178598"/>
              <a:gd name="connsiteY1" fmla="*/ 14760443 h 23152612"/>
              <a:gd name="connsiteX2" fmla="*/ 3370738 w 9178598"/>
              <a:gd name="connsiteY2" fmla="*/ 16868187 h 23152612"/>
              <a:gd name="connsiteX3" fmla="*/ 5160875 w 9178598"/>
              <a:gd name="connsiteY3" fmla="*/ 308455 h 23152612"/>
              <a:gd name="connsiteX4" fmla="*/ 6897377 w 9178598"/>
              <a:gd name="connsiteY4" fmla="*/ 7059317 h 23152612"/>
              <a:gd name="connsiteX5" fmla="*/ 9178598 w 9178598"/>
              <a:gd name="connsiteY5" fmla="*/ 19142136 h 23152612"/>
              <a:gd name="connsiteX0" fmla="*/ 0 w 9178598"/>
              <a:gd name="connsiteY0" fmla="*/ 7609713 h 16599530"/>
              <a:gd name="connsiteX1" fmla="*/ 1904558 w 9178598"/>
              <a:gd name="connsiteY1" fmla="*/ 8207361 h 16599530"/>
              <a:gd name="connsiteX2" fmla="*/ 3370738 w 9178598"/>
              <a:gd name="connsiteY2" fmla="*/ 10315105 h 16599530"/>
              <a:gd name="connsiteX3" fmla="*/ 5171731 w 9178598"/>
              <a:gd name="connsiteY3" fmla="*/ 11421471 h 16599530"/>
              <a:gd name="connsiteX4" fmla="*/ 6897377 w 9178598"/>
              <a:gd name="connsiteY4" fmla="*/ 506235 h 16599530"/>
              <a:gd name="connsiteX5" fmla="*/ 9178598 w 9178598"/>
              <a:gd name="connsiteY5" fmla="*/ 12589054 h 16599530"/>
              <a:gd name="connsiteX0" fmla="*/ 0 w 9178598"/>
              <a:gd name="connsiteY0" fmla="*/ 425864 h 10681189"/>
              <a:gd name="connsiteX1" fmla="*/ 1904558 w 9178598"/>
              <a:gd name="connsiteY1" fmla="*/ 1023512 h 10681189"/>
              <a:gd name="connsiteX2" fmla="*/ 3370738 w 9178598"/>
              <a:gd name="connsiteY2" fmla="*/ 3131256 h 10681189"/>
              <a:gd name="connsiteX3" fmla="*/ 5171731 w 9178598"/>
              <a:gd name="connsiteY3" fmla="*/ 4237622 h 10681189"/>
              <a:gd name="connsiteX4" fmla="*/ 6897377 w 9178598"/>
              <a:gd name="connsiteY4" fmla="*/ 893572 h 10681189"/>
              <a:gd name="connsiteX5" fmla="*/ 9178598 w 9178598"/>
              <a:gd name="connsiteY5" fmla="*/ 5405205 h 10681189"/>
              <a:gd name="connsiteX0" fmla="*/ 0 w 9178598"/>
              <a:gd name="connsiteY0" fmla="*/ 13823428 h 252346009"/>
              <a:gd name="connsiteX1" fmla="*/ 1904558 w 9178598"/>
              <a:gd name="connsiteY1" fmla="*/ 14421076 h 252346009"/>
              <a:gd name="connsiteX2" fmla="*/ 3370738 w 9178598"/>
              <a:gd name="connsiteY2" fmla="*/ 16528820 h 252346009"/>
              <a:gd name="connsiteX3" fmla="*/ 5171731 w 9178598"/>
              <a:gd name="connsiteY3" fmla="*/ 17635186 h 252346009"/>
              <a:gd name="connsiteX4" fmla="*/ 6931434 w 9178598"/>
              <a:gd name="connsiteY4" fmla="*/ 252313330 h 252346009"/>
              <a:gd name="connsiteX5" fmla="*/ 9178598 w 9178598"/>
              <a:gd name="connsiteY5" fmla="*/ 18802769 h 252346009"/>
              <a:gd name="connsiteX0" fmla="*/ 0 w 9178598"/>
              <a:gd name="connsiteY0" fmla="*/ 13823428 h 252313331"/>
              <a:gd name="connsiteX1" fmla="*/ 1904558 w 9178598"/>
              <a:gd name="connsiteY1" fmla="*/ 14421076 h 252313331"/>
              <a:gd name="connsiteX2" fmla="*/ 3370738 w 9178598"/>
              <a:gd name="connsiteY2" fmla="*/ 16528820 h 252313331"/>
              <a:gd name="connsiteX3" fmla="*/ 5171731 w 9178598"/>
              <a:gd name="connsiteY3" fmla="*/ 17635186 h 252313331"/>
              <a:gd name="connsiteX4" fmla="*/ 6931434 w 9178598"/>
              <a:gd name="connsiteY4" fmla="*/ 252313330 h 252313331"/>
              <a:gd name="connsiteX5" fmla="*/ 9178598 w 9178598"/>
              <a:gd name="connsiteY5" fmla="*/ 18802769 h 252313331"/>
              <a:gd name="connsiteX0" fmla="*/ 0 w 9178598"/>
              <a:gd name="connsiteY0" fmla="*/ 13823428 h 252313331"/>
              <a:gd name="connsiteX1" fmla="*/ 1904558 w 9178598"/>
              <a:gd name="connsiteY1" fmla="*/ 14421076 h 252313331"/>
              <a:gd name="connsiteX2" fmla="*/ 3370738 w 9178598"/>
              <a:gd name="connsiteY2" fmla="*/ 16528820 h 252313331"/>
              <a:gd name="connsiteX3" fmla="*/ 5171731 w 9178598"/>
              <a:gd name="connsiteY3" fmla="*/ 17635186 h 252313331"/>
              <a:gd name="connsiteX4" fmla="*/ 6931434 w 9178598"/>
              <a:gd name="connsiteY4" fmla="*/ 252313330 h 252313331"/>
              <a:gd name="connsiteX5" fmla="*/ 9178598 w 9178598"/>
              <a:gd name="connsiteY5" fmla="*/ 18802769 h 252313331"/>
              <a:gd name="connsiteX0" fmla="*/ 0 w 9178598"/>
              <a:gd name="connsiteY0" fmla="*/ 13823428 h 252313331"/>
              <a:gd name="connsiteX1" fmla="*/ 1904558 w 9178598"/>
              <a:gd name="connsiteY1" fmla="*/ 14421076 h 252313331"/>
              <a:gd name="connsiteX2" fmla="*/ 3370738 w 9178598"/>
              <a:gd name="connsiteY2" fmla="*/ 16528820 h 252313331"/>
              <a:gd name="connsiteX3" fmla="*/ 5171731 w 9178598"/>
              <a:gd name="connsiteY3" fmla="*/ 17635186 h 252313331"/>
              <a:gd name="connsiteX4" fmla="*/ 6931434 w 9178598"/>
              <a:gd name="connsiteY4" fmla="*/ 252313330 h 252313331"/>
              <a:gd name="connsiteX5" fmla="*/ 9178598 w 9178598"/>
              <a:gd name="connsiteY5" fmla="*/ 18802769 h 252313331"/>
              <a:gd name="connsiteX0" fmla="*/ 0 w 9178598"/>
              <a:gd name="connsiteY0" fmla="*/ 16061664 h 279062809"/>
              <a:gd name="connsiteX1" fmla="*/ 1904558 w 9178598"/>
              <a:gd name="connsiteY1" fmla="*/ 16659312 h 279062809"/>
              <a:gd name="connsiteX2" fmla="*/ 3370738 w 9178598"/>
              <a:gd name="connsiteY2" fmla="*/ 18767056 h 279062809"/>
              <a:gd name="connsiteX3" fmla="*/ 5188760 w 9178598"/>
              <a:gd name="connsiteY3" fmla="*/ 263833831 h 279062809"/>
              <a:gd name="connsiteX4" fmla="*/ 6931434 w 9178598"/>
              <a:gd name="connsiteY4" fmla="*/ 254551566 h 279062809"/>
              <a:gd name="connsiteX5" fmla="*/ 9178598 w 9178598"/>
              <a:gd name="connsiteY5" fmla="*/ 21041005 h 279062809"/>
              <a:gd name="connsiteX0" fmla="*/ 0 w 9178598"/>
              <a:gd name="connsiteY0" fmla="*/ 16061664 h 263834162"/>
              <a:gd name="connsiteX1" fmla="*/ 1904558 w 9178598"/>
              <a:gd name="connsiteY1" fmla="*/ 16659312 h 263834162"/>
              <a:gd name="connsiteX2" fmla="*/ 3370738 w 9178598"/>
              <a:gd name="connsiteY2" fmla="*/ 18767056 h 263834162"/>
              <a:gd name="connsiteX3" fmla="*/ 5188760 w 9178598"/>
              <a:gd name="connsiteY3" fmla="*/ 263833831 h 263834162"/>
              <a:gd name="connsiteX4" fmla="*/ 6931434 w 9178598"/>
              <a:gd name="connsiteY4" fmla="*/ 254551566 h 263834162"/>
              <a:gd name="connsiteX5" fmla="*/ 9178598 w 9178598"/>
              <a:gd name="connsiteY5" fmla="*/ 21041005 h 263834162"/>
              <a:gd name="connsiteX0" fmla="*/ 0 w 9178598"/>
              <a:gd name="connsiteY0" fmla="*/ 16061664 h 263834162"/>
              <a:gd name="connsiteX1" fmla="*/ 1904558 w 9178598"/>
              <a:gd name="connsiteY1" fmla="*/ 16659312 h 263834162"/>
              <a:gd name="connsiteX2" fmla="*/ 3370738 w 9178598"/>
              <a:gd name="connsiteY2" fmla="*/ 18767056 h 263834162"/>
              <a:gd name="connsiteX3" fmla="*/ 5188760 w 9178598"/>
              <a:gd name="connsiteY3" fmla="*/ 263833831 h 263834162"/>
              <a:gd name="connsiteX4" fmla="*/ 6931434 w 9178598"/>
              <a:gd name="connsiteY4" fmla="*/ 254551566 h 263834162"/>
              <a:gd name="connsiteX5" fmla="*/ 9178598 w 9178598"/>
              <a:gd name="connsiteY5" fmla="*/ 21041005 h 263834162"/>
              <a:gd name="connsiteX0" fmla="*/ 0 w 9178598"/>
              <a:gd name="connsiteY0" fmla="*/ 16061664 h 263834162"/>
              <a:gd name="connsiteX1" fmla="*/ 1904558 w 9178598"/>
              <a:gd name="connsiteY1" fmla="*/ 16659312 h 263834162"/>
              <a:gd name="connsiteX2" fmla="*/ 3370738 w 9178598"/>
              <a:gd name="connsiteY2" fmla="*/ 18767056 h 263834162"/>
              <a:gd name="connsiteX3" fmla="*/ 5188760 w 9178598"/>
              <a:gd name="connsiteY3" fmla="*/ 263833831 h 263834162"/>
              <a:gd name="connsiteX4" fmla="*/ 6931434 w 9178598"/>
              <a:gd name="connsiteY4" fmla="*/ 254551566 h 263834162"/>
              <a:gd name="connsiteX5" fmla="*/ 9178598 w 9178598"/>
              <a:gd name="connsiteY5" fmla="*/ 21041005 h 263834162"/>
              <a:gd name="connsiteX0" fmla="*/ 0 w 9178598"/>
              <a:gd name="connsiteY0" fmla="*/ 2207 h 248722759"/>
              <a:gd name="connsiteX1" fmla="*/ 1758295 w 9178598"/>
              <a:gd name="connsiteY1" fmla="*/ 248722152 h 248722759"/>
              <a:gd name="connsiteX2" fmla="*/ 3370738 w 9178598"/>
              <a:gd name="connsiteY2" fmla="*/ 2707599 h 248722759"/>
              <a:gd name="connsiteX3" fmla="*/ 5188760 w 9178598"/>
              <a:gd name="connsiteY3" fmla="*/ 247774374 h 248722759"/>
              <a:gd name="connsiteX4" fmla="*/ 6931434 w 9178598"/>
              <a:gd name="connsiteY4" fmla="*/ 238492109 h 248722759"/>
              <a:gd name="connsiteX5" fmla="*/ 9178598 w 9178598"/>
              <a:gd name="connsiteY5" fmla="*/ 4981548 h 248722759"/>
              <a:gd name="connsiteX0" fmla="*/ 0 w 9178598"/>
              <a:gd name="connsiteY0" fmla="*/ 2207 h 248722152"/>
              <a:gd name="connsiteX1" fmla="*/ 1758295 w 9178598"/>
              <a:gd name="connsiteY1" fmla="*/ 248722152 h 248722152"/>
              <a:gd name="connsiteX2" fmla="*/ 3370738 w 9178598"/>
              <a:gd name="connsiteY2" fmla="*/ 2707599 h 248722152"/>
              <a:gd name="connsiteX3" fmla="*/ 5188760 w 9178598"/>
              <a:gd name="connsiteY3" fmla="*/ 247774374 h 248722152"/>
              <a:gd name="connsiteX4" fmla="*/ 6931434 w 9178598"/>
              <a:gd name="connsiteY4" fmla="*/ 238492109 h 248722152"/>
              <a:gd name="connsiteX5" fmla="*/ 9178598 w 9178598"/>
              <a:gd name="connsiteY5" fmla="*/ 4981548 h 248722152"/>
              <a:gd name="connsiteX0" fmla="*/ 0 w 9178598"/>
              <a:gd name="connsiteY0" fmla="*/ 2152 h 255097823"/>
              <a:gd name="connsiteX1" fmla="*/ 1758295 w 9178598"/>
              <a:gd name="connsiteY1" fmla="*/ 255097823 h 255097823"/>
              <a:gd name="connsiteX2" fmla="*/ 3370738 w 9178598"/>
              <a:gd name="connsiteY2" fmla="*/ 2707544 h 255097823"/>
              <a:gd name="connsiteX3" fmla="*/ 5188760 w 9178598"/>
              <a:gd name="connsiteY3" fmla="*/ 247774319 h 255097823"/>
              <a:gd name="connsiteX4" fmla="*/ 6931434 w 9178598"/>
              <a:gd name="connsiteY4" fmla="*/ 238492054 h 255097823"/>
              <a:gd name="connsiteX5" fmla="*/ 9178598 w 9178598"/>
              <a:gd name="connsiteY5" fmla="*/ 4981493 h 255097823"/>
              <a:gd name="connsiteX0" fmla="*/ 0 w 9123750"/>
              <a:gd name="connsiteY0" fmla="*/ 246484137 h 269073217"/>
              <a:gd name="connsiteX1" fmla="*/ 1703447 w 9123750"/>
              <a:gd name="connsiteY1" fmla="*/ 252394806 h 269073217"/>
              <a:gd name="connsiteX2" fmla="*/ 3315890 w 9123750"/>
              <a:gd name="connsiteY2" fmla="*/ 4527 h 269073217"/>
              <a:gd name="connsiteX3" fmla="*/ 5133912 w 9123750"/>
              <a:gd name="connsiteY3" fmla="*/ 245071302 h 269073217"/>
              <a:gd name="connsiteX4" fmla="*/ 6876586 w 9123750"/>
              <a:gd name="connsiteY4" fmla="*/ 235789037 h 269073217"/>
              <a:gd name="connsiteX5" fmla="*/ 9123750 w 9123750"/>
              <a:gd name="connsiteY5" fmla="*/ 2278476 h 269073217"/>
              <a:gd name="connsiteX0" fmla="*/ 0 w 9123750"/>
              <a:gd name="connsiteY0" fmla="*/ 246484137 h 252441229"/>
              <a:gd name="connsiteX1" fmla="*/ 1703447 w 9123750"/>
              <a:gd name="connsiteY1" fmla="*/ 252394806 h 252441229"/>
              <a:gd name="connsiteX2" fmla="*/ 3315890 w 9123750"/>
              <a:gd name="connsiteY2" fmla="*/ 4527 h 252441229"/>
              <a:gd name="connsiteX3" fmla="*/ 5133912 w 9123750"/>
              <a:gd name="connsiteY3" fmla="*/ 245071302 h 252441229"/>
              <a:gd name="connsiteX4" fmla="*/ 6876586 w 9123750"/>
              <a:gd name="connsiteY4" fmla="*/ 235789037 h 252441229"/>
              <a:gd name="connsiteX5" fmla="*/ 9123750 w 9123750"/>
              <a:gd name="connsiteY5" fmla="*/ 2278476 h 252441229"/>
              <a:gd name="connsiteX0" fmla="*/ 0 w 9215165"/>
              <a:gd name="connsiteY0" fmla="*/ 249140676 h 269867595"/>
              <a:gd name="connsiteX1" fmla="*/ 1794862 w 9215165"/>
              <a:gd name="connsiteY1" fmla="*/ 252394806 h 269867595"/>
              <a:gd name="connsiteX2" fmla="*/ 3407305 w 9215165"/>
              <a:gd name="connsiteY2" fmla="*/ 4527 h 269867595"/>
              <a:gd name="connsiteX3" fmla="*/ 5225327 w 9215165"/>
              <a:gd name="connsiteY3" fmla="*/ 245071302 h 269867595"/>
              <a:gd name="connsiteX4" fmla="*/ 6968001 w 9215165"/>
              <a:gd name="connsiteY4" fmla="*/ 235789037 h 269867595"/>
              <a:gd name="connsiteX5" fmla="*/ 9215165 w 9215165"/>
              <a:gd name="connsiteY5" fmla="*/ 2278476 h 269867595"/>
              <a:gd name="connsiteX0" fmla="*/ 0 w 9215165"/>
              <a:gd name="connsiteY0" fmla="*/ 249140676 h 252395413"/>
              <a:gd name="connsiteX1" fmla="*/ 1794862 w 9215165"/>
              <a:gd name="connsiteY1" fmla="*/ 252394806 h 252395413"/>
              <a:gd name="connsiteX2" fmla="*/ 3407305 w 9215165"/>
              <a:gd name="connsiteY2" fmla="*/ 4527 h 252395413"/>
              <a:gd name="connsiteX3" fmla="*/ 5225327 w 9215165"/>
              <a:gd name="connsiteY3" fmla="*/ 245071302 h 252395413"/>
              <a:gd name="connsiteX4" fmla="*/ 6968001 w 9215165"/>
              <a:gd name="connsiteY4" fmla="*/ 235789037 h 252395413"/>
              <a:gd name="connsiteX5" fmla="*/ 9215165 w 9215165"/>
              <a:gd name="connsiteY5" fmla="*/ 2278476 h 252395413"/>
              <a:gd name="connsiteX0" fmla="*/ 0 w 9215165"/>
              <a:gd name="connsiteY0" fmla="*/ 249138413 h 250267908"/>
              <a:gd name="connsiteX1" fmla="*/ 1794862 w 9215165"/>
              <a:gd name="connsiteY1" fmla="*/ 250267301 h 250267908"/>
              <a:gd name="connsiteX2" fmla="*/ 3407305 w 9215165"/>
              <a:gd name="connsiteY2" fmla="*/ 2264 h 250267908"/>
              <a:gd name="connsiteX3" fmla="*/ 5225327 w 9215165"/>
              <a:gd name="connsiteY3" fmla="*/ 245069039 h 250267908"/>
              <a:gd name="connsiteX4" fmla="*/ 6968001 w 9215165"/>
              <a:gd name="connsiteY4" fmla="*/ 235786774 h 250267908"/>
              <a:gd name="connsiteX5" fmla="*/ 9215165 w 9215165"/>
              <a:gd name="connsiteY5" fmla="*/ 2276213 h 250267908"/>
              <a:gd name="connsiteX0" fmla="*/ 0 w 9215165"/>
              <a:gd name="connsiteY0" fmla="*/ 246862200 h 250596401"/>
              <a:gd name="connsiteX1" fmla="*/ 1794862 w 9215165"/>
              <a:gd name="connsiteY1" fmla="*/ 247991088 h 250596401"/>
              <a:gd name="connsiteX2" fmla="*/ 3462154 w 9215165"/>
              <a:gd name="connsiteY2" fmla="*/ 206000046 h 250596401"/>
              <a:gd name="connsiteX3" fmla="*/ 5225327 w 9215165"/>
              <a:gd name="connsiteY3" fmla="*/ 242792826 h 250596401"/>
              <a:gd name="connsiteX4" fmla="*/ 6968001 w 9215165"/>
              <a:gd name="connsiteY4" fmla="*/ 233510561 h 250596401"/>
              <a:gd name="connsiteX5" fmla="*/ 9215165 w 9215165"/>
              <a:gd name="connsiteY5" fmla="*/ 0 h 250596401"/>
              <a:gd name="connsiteX0" fmla="*/ 0 w 9215165"/>
              <a:gd name="connsiteY0" fmla="*/ 246862200 h 250867321"/>
              <a:gd name="connsiteX1" fmla="*/ 1794862 w 9215165"/>
              <a:gd name="connsiteY1" fmla="*/ 247991088 h 250867321"/>
              <a:gd name="connsiteX2" fmla="*/ 3471295 w 9215165"/>
              <a:gd name="connsiteY2" fmla="*/ 202280858 h 250867321"/>
              <a:gd name="connsiteX3" fmla="*/ 5225327 w 9215165"/>
              <a:gd name="connsiteY3" fmla="*/ 242792826 h 250867321"/>
              <a:gd name="connsiteX4" fmla="*/ 6968001 w 9215165"/>
              <a:gd name="connsiteY4" fmla="*/ 233510561 h 250867321"/>
              <a:gd name="connsiteX5" fmla="*/ 9215165 w 9215165"/>
              <a:gd name="connsiteY5" fmla="*/ 0 h 250867321"/>
              <a:gd name="connsiteX0" fmla="*/ 0 w 9215165"/>
              <a:gd name="connsiteY0" fmla="*/ 246862200 h 249260238"/>
              <a:gd name="connsiteX1" fmla="*/ 1794862 w 9215165"/>
              <a:gd name="connsiteY1" fmla="*/ 247991088 h 249260238"/>
              <a:gd name="connsiteX2" fmla="*/ 3471295 w 9215165"/>
              <a:gd name="connsiteY2" fmla="*/ 202280858 h 249260238"/>
              <a:gd name="connsiteX3" fmla="*/ 5225327 w 9215165"/>
              <a:gd name="connsiteY3" fmla="*/ 242792826 h 249260238"/>
              <a:gd name="connsiteX4" fmla="*/ 6968001 w 9215165"/>
              <a:gd name="connsiteY4" fmla="*/ 233510561 h 249260238"/>
              <a:gd name="connsiteX5" fmla="*/ 9215165 w 9215165"/>
              <a:gd name="connsiteY5" fmla="*/ 0 h 249260238"/>
              <a:gd name="connsiteX0" fmla="*/ 0 w 9215165"/>
              <a:gd name="connsiteY0" fmla="*/ 246862200 h 249260238"/>
              <a:gd name="connsiteX1" fmla="*/ 1794862 w 9215165"/>
              <a:gd name="connsiteY1" fmla="*/ 247991088 h 249260238"/>
              <a:gd name="connsiteX2" fmla="*/ 3471295 w 9215165"/>
              <a:gd name="connsiteY2" fmla="*/ 202280858 h 249260238"/>
              <a:gd name="connsiteX3" fmla="*/ 5225327 w 9215165"/>
              <a:gd name="connsiteY3" fmla="*/ 242792826 h 249260238"/>
              <a:gd name="connsiteX4" fmla="*/ 6968001 w 9215165"/>
              <a:gd name="connsiteY4" fmla="*/ 233510561 h 249260238"/>
              <a:gd name="connsiteX5" fmla="*/ 9215165 w 9215165"/>
              <a:gd name="connsiteY5" fmla="*/ 0 h 249260238"/>
              <a:gd name="connsiteX0" fmla="*/ 0 w 8544101"/>
              <a:gd name="connsiteY0" fmla="*/ 44963931 h 47361969"/>
              <a:gd name="connsiteX1" fmla="*/ 1794862 w 8544101"/>
              <a:gd name="connsiteY1" fmla="*/ 46092819 h 47361969"/>
              <a:gd name="connsiteX2" fmla="*/ 3471295 w 8544101"/>
              <a:gd name="connsiteY2" fmla="*/ 382589 h 47361969"/>
              <a:gd name="connsiteX3" fmla="*/ 5225327 w 8544101"/>
              <a:gd name="connsiteY3" fmla="*/ 40894557 h 47361969"/>
              <a:gd name="connsiteX4" fmla="*/ 6968001 w 8544101"/>
              <a:gd name="connsiteY4" fmla="*/ 31612292 h 47361969"/>
              <a:gd name="connsiteX5" fmla="*/ 8544101 w 8544101"/>
              <a:gd name="connsiteY5" fmla="*/ 0 h 47361969"/>
              <a:gd name="connsiteX0" fmla="*/ 0 w 8528311"/>
              <a:gd name="connsiteY0" fmla="*/ 44595252 h 46993290"/>
              <a:gd name="connsiteX1" fmla="*/ 1794862 w 8528311"/>
              <a:gd name="connsiteY1" fmla="*/ 45724140 h 46993290"/>
              <a:gd name="connsiteX2" fmla="*/ 3471295 w 8528311"/>
              <a:gd name="connsiteY2" fmla="*/ 13910 h 46993290"/>
              <a:gd name="connsiteX3" fmla="*/ 5225327 w 8528311"/>
              <a:gd name="connsiteY3" fmla="*/ 40525878 h 46993290"/>
              <a:gd name="connsiteX4" fmla="*/ 6968001 w 8528311"/>
              <a:gd name="connsiteY4" fmla="*/ 31243613 h 46993290"/>
              <a:gd name="connsiteX5" fmla="*/ 8528311 w 8528311"/>
              <a:gd name="connsiteY5" fmla="*/ 4678778 h 4699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28311" h="46993290">
                <a:moveTo>
                  <a:pt x="0" y="44595252"/>
                </a:moveTo>
                <a:cubicBezTo>
                  <a:pt x="305505" y="43741529"/>
                  <a:pt x="1234596" y="49435158"/>
                  <a:pt x="1794862" y="45724140"/>
                </a:cubicBezTo>
                <a:cubicBezTo>
                  <a:pt x="2355128" y="42013122"/>
                  <a:pt x="2899551" y="880287"/>
                  <a:pt x="3471295" y="13910"/>
                </a:cubicBezTo>
                <a:cubicBezTo>
                  <a:pt x="4043039" y="-852467"/>
                  <a:pt x="4697391" y="39040125"/>
                  <a:pt x="5225327" y="40525878"/>
                </a:cubicBezTo>
                <a:cubicBezTo>
                  <a:pt x="5753263" y="42011631"/>
                  <a:pt x="6519747" y="36022248"/>
                  <a:pt x="6968001" y="31243613"/>
                </a:cubicBezTo>
                <a:cubicBezTo>
                  <a:pt x="7424769" y="23990710"/>
                  <a:pt x="8052118" y="17506828"/>
                  <a:pt x="8528311" y="4678778"/>
                </a:cubicBezTo>
              </a:path>
            </a:pathLst>
          </a:custGeom>
          <a:noFill/>
          <a:ln w="136525" cap="rnd" algn="ctr">
            <a:solidFill>
              <a:srgbClr val="A1D794">
                <a:alpha val="70000"/>
              </a:srgbClr>
            </a:solidFill>
            <a:round/>
            <a:headEnd/>
            <a:tailEnd/>
          </a:ln>
        </p:spPr>
        <p:txBody>
          <a:bodyPr rtlCol="0" anchor="ctr"/>
          <a:lstStyle/>
          <a:p>
            <a:pPr algn="ctr"/>
            <a:endParaRPr lang="en-US" b="1" dirty="0"/>
          </a:p>
        </p:txBody>
      </p:sp>
      <p:sp>
        <p:nvSpPr>
          <p:cNvPr id="91" name="Freeform: Shape 90">
            <a:extLst>
              <a:ext uri="{FF2B5EF4-FFF2-40B4-BE49-F238E27FC236}">
                <a16:creationId xmlns:a16="http://schemas.microsoft.com/office/drawing/2014/main" id="{495FB534-4004-4861-9B5A-A5C505218BA1}"/>
              </a:ext>
            </a:extLst>
          </p:cNvPr>
          <p:cNvSpPr/>
          <p:nvPr/>
        </p:nvSpPr>
        <p:spPr bwMode="gray">
          <a:xfrm flipV="1">
            <a:off x="1357575" y="3355600"/>
            <a:ext cx="8991054" cy="743431"/>
          </a:xfrm>
          <a:custGeom>
            <a:avLst/>
            <a:gdLst>
              <a:gd name="connsiteX0" fmla="*/ 0 w 9855200"/>
              <a:gd name="connsiteY0" fmla="*/ 2713159 h 3112619"/>
              <a:gd name="connsiteX1" fmla="*/ 939800 w 9855200"/>
              <a:gd name="connsiteY1" fmla="*/ 731959 h 3112619"/>
              <a:gd name="connsiteX2" fmla="*/ 1972733 w 9855200"/>
              <a:gd name="connsiteY2" fmla="*/ 1070626 h 3112619"/>
              <a:gd name="connsiteX3" fmla="*/ 2921000 w 9855200"/>
              <a:gd name="connsiteY3" fmla="*/ 1620959 h 3112619"/>
              <a:gd name="connsiteX4" fmla="*/ 3877733 w 9855200"/>
              <a:gd name="connsiteY4" fmla="*/ 706559 h 3112619"/>
              <a:gd name="connsiteX5" fmla="*/ 4910666 w 9855200"/>
              <a:gd name="connsiteY5" fmla="*/ 672692 h 3112619"/>
              <a:gd name="connsiteX6" fmla="*/ 5808133 w 9855200"/>
              <a:gd name="connsiteY6" fmla="*/ 173159 h 3112619"/>
              <a:gd name="connsiteX7" fmla="*/ 6874933 w 9855200"/>
              <a:gd name="connsiteY7" fmla="*/ 113892 h 3112619"/>
              <a:gd name="connsiteX8" fmla="*/ 7882466 w 9855200"/>
              <a:gd name="connsiteY8" fmla="*/ 1637892 h 3112619"/>
              <a:gd name="connsiteX9" fmla="*/ 8805333 w 9855200"/>
              <a:gd name="connsiteY9" fmla="*/ 2975626 h 3112619"/>
              <a:gd name="connsiteX10" fmla="*/ 9855200 w 9855200"/>
              <a:gd name="connsiteY10" fmla="*/ 3068759 h 3112619"/>
              <a:gd name="connsiteX11" fmla="*/ 9855200 w 9855200"/>
              <a:gd name="connsiteY11" fmla="*/ 3068759 h 3112619"/>
              <a:gd name="connsiteX0" fmla="*/ 0 w 9855200"/>
              <a:gd name="connsiteY0" fmla="*/ 2564478 h 2963938"/>
              <a:gd name="connsiteX1" fmla="*/ 939800 w 9855200"/>
              <a:gd name="connsiteY1" fmla="*/ 583278 h 2963938"/>
              <a:gd name="connsiteX2" fmla="*/ 1972733 w 9855200"/>
              <a:gd name="connsiteY2" fmla="*/ 921945 h 2963938"/>
              <a:gd name="connsiteX3" fmla="*/ 2921000 w 9855200"/>
              <a:gd name="connsiteY3" fmla="*/ 1472278 h 2963938"/>
              <a:gd name="connsiteX4" fmla="*/ 3877733 w 9855200"/>
              <a:gd name="connsiteY4" fmla="*/ 557878 h 2963938"/>
              <a:gd name="connsiteX5" fmla="*/ 4910666 w 9855200"/>
              <a:gd name="connsiteY5" fmla="*/ 524011 h 2963938"/>
              <a:gd name="connsiteX6" fmla="*/ 5808133 w 9855200"/>
              <a:gd name="connsiteY6" fmla="*/ 24478 h 2963938"/>
              <a:gd name="connsiteX7" fmla="*/ 6671569 w 9855200"/>
              <a:gd name="connsiteY7" fmla="*/ 1404544 h 2963938"/>
              <a:gd name="connsiteX8" fmla="*/ 7882466 w 9855200"/>
              <a:gd name="connsiteY8" fmla="*/ 1489211 h 2963938"/>
              <a:gd name="connsiteX9" fmla="*/ 8805333 w 9855200"/>
              <a:gd name="connsiteY9" fmla="*/ 2826945 h 2963938"/>
              <a:gd name="connsiteX10" fmla="*/ 9855200 w 9855200"/>
              <a:gd name="connsiteY10" fmla="*/ 2920078 h 2963938"/>
              <a:gd name="connsiteX11" fmla="*/ 9855200 w 9855200"/>
              <a:gd name="connsiteY11" fmla="*/ 2920078 h 2963938"/>
              <a:gd name="connsiteX0" fmla="*/ 0 w 9855200"/>
              <a:gd name="connsiteY0" fmla="*/ 2124213 h 2523673"/>
              <a:gd name="connsiteX1" fmla="*/ 939800 w 9855200"/>
              <a:gd name="connsiteY1" fmla="*/ 143013 h 2523673"/>
              <a:gd name="connsiteX2" fmla="*/ 1972733 w 9855200"/>
              <a:gd name="connsiteY2" fmla="*/ 481680 h 2523673"/>
              <a:gd name="connsiteX3" fmla="*/ 2921000 w 9855200"/>
              <a:gd name="connsiteY3" fmla="*/ 1032013 h 2523673"/>
              <a:gd name="connsiteX4" fmla="*/ 3877733 w 9855200"/>
              <a:gd name="connsiteY4" fmla="*/ 117613 h 2523673"/>
              <a:gd name="connsiteX5" fmla="*/ 4910666 w 9855200"/>
              <a:gd name="connsiteY5" fmla="*/ 83746 h 2523673"/>
              <a:gd name="connsiteX6" fmla="*/ 5850501 w 9855200"/>
              <a:gd name="connsiteY6" fmla="*/ 778013 h 2523673"/>
              <a:gd name="connsiteX7" fmla="*/ 6671569 w 9855200"/>
              <a:gd name="connsiteY7" fmla="*/ 964279 h 2523673"/>
              <a:gd name="connsiteX8" fmla="*/ 7882466 w 9855200"/>
              <a:gd name="connsiteY8" fmla="*/ 1048946 h 2523673"/>
              <a:gd name="connsiteX9" fmla="*/ 8805333 w 9855200"/>
              <a:gd name="connsiteY9" fmla="*/ 2386680 h 2523673"/>
              <a:gd name="connsiteX10" fmla="*/ 9855200 w 9855200"/>
              <a:gd name="connsiteY10" fmla="*/ 2479813 h 2523673"/>
              <a:gd name="connsiteX11" fmla="*/ 9855200 w 9855200"/>
              <a:gd name="connsiteY11" fmla="*/ 2479813 h 2523673"/>
              <a:gd name="connsiteX0" fmla="*/ 0 w 9855200"/>
              <a:gd name="connsiteY0" fmla="*/ 77721500 h 77721500"/>
              <a:gd name="connsiteX1" fmla="*/ 939800 w 9855200"/>
              <a:gd name="connsiteY1" fmla="*/ 5286241 h 77721500"/>
              <a:gd name="connsiteX2" fmla="*/ 1972733 w 9855200"/>
              <a:gd name="connsiteY2" fmla="*/ 5624908 h 77721500"/>
              <a:gd name="connsiteX3" fmla="*/ 2921000 w 9855200"/>
              <a:gd name="connsiteY3" fmla="*/ 6175241 h 77721500"/>
              <a:gd name="connsiteX4" fmla="*/ 3877733 w 9855200"/>
              <a:gd name="connsiteY4" fmla="*/ 5260841 h 77721500"/>
              <a:gd name="connsiteX5" fmla="*/ 4910666 w 9855200"/>
              <a:gd name="connsiteY5" fmla="*/ 5226974 h 77721500"/>
              <a:gd name="connsiteX6" fmla="*/ 5850501 w 9855200"/>
              <a:gd name="connsiteY6" fmla="*/ 5921241 h 77721500"/>
              <a:gd name="connsiteX7" fmla="*/ 6671569 w 9855200"/>
              <a:gd name="connsiteY7" fmla="*/ 6107507 h 77721500"/>
              <a:gd name="connsiteX8" fmla="*/ 7882466 w 9855200"/>
              <a:gd name="connsiteY8" fmla="*/ 6192174 h 77721500"/>
              <a:gd name="connsiteX9" fmla="*/ 8805333 w 9855200"/>
              <a:gd name="connsiteY9" fmla="*/ 7529908 h 77721500"/>
              <a:gd name="connsiteX10" fmla="*/ 9855200 w 9855200"/>
              <a:gd name="connsiteY10" fmla="*/ 7623041 h 77721500"/>
              <a:gd name="connsiteX11" fmla="*/ 9855200 w 9855200"/>
              <a:gd name="connsiteY11" fmla="*/ 7623041 h 77721500"/>
              <a:gd name="connsiteX0" fmla="*/ 0 w 9855200"/>
              <a:gd name="connsiteY0" fmla="*/ 84105671 h 177717882"/>
              <a:gd name="connsiteX1" fmla="*/ 994077 w 9855200"/>
              <a:gd name="connsiteY1" fmla="*/ 176764308 h 177717882"/>
              <a:gd name="connsiteX2" fmla="*/ 1972733 w 9855200"/>
              <a:gd name="connsiteY2" fmla="*/ 12009079 h 177717882"/>
              <a:gd name="connsiteX3" fmla="*/ 2921000 w 9855200"/>
              <a:gd name="connsiteY3" fmla="*/ 12559412 h 177717882"/>
              <a:gd name="connsiteX4" fmla="*/ 3877733 w 9855200"/>
              <a:gd name="connsiteY4" fmla="*/ 11645012 h 177717882"/>
              <a:gd name="connsiteX5" fmla="*/ 4910666 w 9855200"/>
              <a:gd name="connsiteY5" fmla="*/ 11611145 h 177717882"/>
              <a:gd name="connsiteX6" fmla="*/ 5850501 w 9855200"/>
              <a:gd name="connsiteY6" fmla="*/ 12305412 h 177717882"/>
              <a:gd name="connsiteX7" fmla="*/ 6671569 w 9855200"/>
              <a:gd name="connsiteY7" fmla="*/ 12491678 h 177717882"/>
              <a:gd name="connsiteX8" fmla="*/ 7882466 w 9855200"/>
              <a:gd name="connsiteY8" fmla="*/ 12576345 h 177717882"/>
              <a:gd name="connsiteX9" fmla="*/ 8805333 w 9855200"/>
              <a:gd name="connsiteY9" fmla="*/ 13914079 h 177717882"/>
              <a:gd name="connsiteX10" fmla="*/ 9855200 w 9855200"/>
              <a:gd name="connsiteY10" fmla="*/ 14007212 h 177717882"/>
              <a:gd name="connsiteX11" fmla="*/ 9855200 w 9855200"/>
              <a:gd name="connsiteY11" fmla="*/ 14007212 h 177717882"/>
              <a:gd name="connsiteX0" fmla="*/ 0 w 9855200"/>
              <a:gd name="connsiteY0" fmla="*/ 77896814 h 170594753"/>
              <a:gd name="connsiteX1" fmla="*/ 994077 w 9855200"/>
              <a:gd name="connsiteY1" fmla="*/ 170555451 h 170594753"/>
              <a:gd name="connsiteX2" fmla="*/ 1963687 w 9855200"/>
              <a:gd name="connsiteY2" fmla="*/ 88347158 h 170594753"/>
              <a:gd name="connsiteX3" fmla="*/ 2921000 w 9855200"/>
              <a:gd name="connsiteY3" fmla="*/ 6350555 h 170594753"/>
              <a:gd name="connsiteX4" fmla="*/ 3877733 w 9855200"/>
              <a:gd name="connsiteY4" fmla="*/ 5436155 h 170594753"/>
              <a:gd name="connsiteX5" fmla="*/ 4910666 w 9855200"/>
              <a:gd name="connsiteY5" fmla="*/ 5402288 h 170594753"/>
              <a:gd name="connsiteX6" fmla="*/ 5850501 w 9855200"/>
              <a:gd name="connsiteY6" fmla="*/ 6096555 h 170594753"/>
              <a:gd name="connsiteX7" fmla="*/ 6671569 w 9855200"/>
              <a:gd name="connsiteY7" fmla="*/ 6282821 h 170594753"/>
              <a:gd name="connsiteX8" fmla="*/ 7882466 w 9855200"/>
              <a:gd name="connsiteY8" fmla="*/ 6367488 h 170594753"/>
              <a:gd name="connsiteX9" fmla="*/ 8805333 w 9855200"/>
              <a:gd name="connsiteY9" fmla="*/ 7705222 h 170594753"/>
              <a:gd name="connsiteX10" fmla="*/ 9855200 w 9855200"/>
              <a:gd name="connsiteY10" fmla="*/ 7798355 h 170594753"/>
              <a:gd name="connsiteX11" fmla="*/ 9855200 w 9855200"/>
              <a:gd name="connsiteY11" fmla="*/ 7798355 h 170594753"/>
              <a:gd name="connsiteX0" fmla="*/ 0 w 9855200"/>
              <a:gd name="connsiteY0" fmla="*/ 83741850 h 176427921"/>
              <a:gd name="connsiteX1" fmla="*/ 994077 w 9855200"/>
              <a:gd name="connsiteY1" fmla="*/ 176400487 h 176427921"/>
              <a:gd name="connsiteX2" fmla="*/ 1963687 w 9855200"/>
              <a:gd name="connsiteY2" fmla="*/ 94192194 h 176427921"/>
              <a:gd name="connsiteX3" fmla="*/ 2957185 w 9855200"/>
              <a:gd name="connsiteY3" fmla="*/ 163093506 h 176427921"/>
              <a:gd name="connsiteX4" fmla="*/ 3877733 w 9855200"/>
              <a:gd name="connsiteY4" fmla="*/ 11281191 h 176427921"/>
              <a:gd name="connsiteX5" fmla="*/ 4910666 w 9855200"/>
              <a:gd name="connsiteY5" fmla="*/ 11247324 h 176427921"/>
              <a:gd name="connsiteX6" fmla="*/ 5850501 w 9855200"/>
              <a:gd name="connsiteY6" fmla="*/ 11941591 h 176427921"/>
              <a:gd name="connsiteX7" fmla="*/ 6671569 w 9855200"/>
              <a:gd name="connsiteY7" fmla="*/ 12127857 h 176427921"/>
              <a:gd name="connsiteX8" fmla="*/ 7882466 w 9855200"/>
              <a:gd name="connsiteY8" fmla="*/ 12212524 h 176427921"/>
              <a:gd name="connsiteX9" fmla="*/ 8805333 w 9855200"/>
              <a:gd name="connsiteY9" fmla="*/ 13550258 h 176427921"/>
              <a:gd name="connsiteX10" fmla="*/ 9855200 w 9855200"/>
              <a:gd name="connsiteY10" fmla="*/ 13643391 h 176427921"/>
              <a:gd name="connsiteX11" fmla="*/ 9855200 w 9855200"/>
              <a:gd name="connsiteY11" fmla="*/ 13643391 h 176427921"/>
              <a:gd name="connsiteX0" fmla="*/ 0 w 9855200"/>
              <a:gd name="connsiteY0" fmla="*/ 83127367 h 175813438"/>
              <a:gd name="connsiteX1" fmla="*/ 994077 w 9855200"/>
              <a:gd name="connsiteY1" fmla="*/ 175786004 h 175813438"/>
              <a:gd name="connsiteX2" fmla="*/ 1963687 w 9855200"/>
              <a:gd name="connsiteY2" fmla="*/ 93577711 h 175813438"/>
              <a:gd name="connsiteX3" fmla="*/ 2957185 w 9855200"/>
              <a:gd name="connsiteY3" fmla="*/ 162479023 h 175813438"/>
              <a:gd name="connsiteX4" fmla="*/ 3986287 w 9855200"/>
              <a:gd name="connsiteY4" fmla="*/ 156832650 h 175813438"/>
              <a:gd name="connsiteX5" fmla="*/ 4910666 w 9855200"/>
              <a:gd name="connsiteY5" fmla="*/ 10632841 h 175813438"/>
              <a:gd name="connsiteX6" fmla="*/ 5850501 w 9855200"/>
              <a:gd name="connsiteY6" fmla="*/ 11327108 h 175813438"/>
              <a:gd name="connsiteX7" fmla="*/ 6671569 w 9855200"/>
              <a:gd name="connsiteY7" fmla="*/ 11513374 h 175813438"/>
              <a:gd name="connsiteX8" fmla="*/ 7882466 w 9855200"/>
              <a:gd name="connsiteY8" fmla="*/ 11598041 h 175813438"/>
              <a:gd name="connsiteX9" fmla="*/ 8805333 w 9855200"/>
              <a:gd name="connsiteY9" fmla="*/ 12935775 h 175813438"/>
              <a:gd name="connsiteX10" fmla="*/ 9855200 w 9855200"/>
              <a:gd name="connsiteY10" fmla="*/ 13028908 h 175813438"/>
              <a:gd name="connsiteX11" fmla="*/ 9855200 w 9855200"/>
              <a:gd name="connsiteY11" fmla="*/ 13028908 h 175813438"/>
              <a:gd name="connsiteX0" fmla="*/ 0 w 9855200"/>
              <a:gd name="connsiteY0" fmla="*/ 83127367 h 175813438"/>
              <a:gd name="connsiteX1" fmla="*/ 994077 w 9855200"/>
              <a:gd name="connsiteY1" fmla="*/ 175786004 h 175813438"/>
              <a:gd name="connsiteX2" fmla="*/ 1963687 w 9855200"/>
              <a:gd name="connsiteY2" fmla="*/ 93577711 h 175813438"/>
              <a:gd name="connsiteX3" fmla="*/ 2957185 w 9855200"/>
              <a:gd name="connsiteY3" fmla="*/ 162479023 h 175813438"/>
              <a:gd name="connsiteX4" fmla="*/ 3986287 w 9855200"/>
              <a:gd name="connsiteY4" fmla="*/ 156832650 h 175813438"/>
              <a:gd name="connsiteX5" fmla="*/ 4910666 w 9855200"/>
              <a:gd name="connsiteY5" fmla="*/ 10632841 h 175813438"/>
              <a:gd name="connsiteX6" fmla="*/ 5850501 w 9855200"/>
              <a:gd name="connsiteY6" fmla="*/ 11327108 h 175813438"/>
              <a:gd name="connsiteX7" fmla="*/ 6671569 w 9855200"/>
              <a:gd name="connsiteY7" fmla="*/ 11513374 h 175813438"/>
              <a:gd name="connsiteX8" fmla="*/ 7882466 w 9855200"/>
              <a:gd name="connsiteY8" fmla="*/ 11598041 h 175813438"/>
              <a:gd name="connsiteX9" fmla="*/ 8805333 w 9855200"/>
              <a:gd name="connsiteY9" fmla="*/ 12935775 h 175813438"/>
              <a:gd name="connsiteX10" fmla="*/ 9855200 w 9855200"/>
              <a:gd name="connsiteY10" fmla="*/ 13028908 h 175813438"/>
              <a:gd name="connsiteX11" fmla="*/ 9855200 w 9855200"/>
              <a:gd name="connsiteY11" fmla="*/ 13028908 h 175813438"/>
              <a:gd name="connsiteX0" fmla="*/ 0 w 9855200"/>
              <a:gd name="connsiteY0" fmla="*/ 75280295 h 167966366"/>
              <a:gd name="connsiteX1" fmla="*/ 994077 w 9855200"/>
              <a:gd name="connsiteY1" fmla="*/ 167938932 h 167966366"/>
              <a:gd name="connsiteX2" fmla="*/ 1963687 w 9855200"/>
              <a:gd name="connsiteY2" fmla="*/ 85730639 h 167966366"/>
              <a:gd name="connsiteX3" fmla="*/ 2957185 w 9855200"/>
              <a:gd name="connsiteY3" fmla="*/ 154631951 h 167966366"/>
              <a:gd name="connsiteX4" fmla="*/ 3986287 w 9855200"/>
              <a:gd name="connsiteY4" fmla="*/ 148985578 h 167966366"/>
              <a:gd name="connsiteX5" fmla="*/ 4802111 w 9855200"/>
              <a:gd name="connsiteY5" fmla="*/ 51157218 h 167966366"/>
              <a:gd name="connsiteX6" fmla="*/ 5850501 w 9855200"/>
              <a:gd name="connsiteY6" fmla="*/ 3480036 h 167966366"/>
              <a:gd name="connsiteX7" fmla="*/ 6671569 w 9855200"/>
              <a:gd name="connsiteY7" fmla="*/ 3666302 h 167966366"/>
              <a:gd name="connsiteX8" fmla="*/ 7882466 w 9855200"/>
              <a:gd name="connsiteY8" fmla="*/ 3750969 h 167966366"/>
              <a:gd name="connsiteX9" fmla="*/ 8805333 w 9855200"/>
              <a:gd name="connsiteY9" fmla="*/ 5088703 h 167966366"/>
              <a:gd name="connsiteX10" fmla="*/ 9855200 w 9855200"/>
              <a:gd name="connsiteY10" fmla="*/ 5181836 h 167966366"/>
              <a:gd name="connsiteX11" fmla="*/ 9855200 w 9855200"/>
              <a:gd name="connsiteY11" fmla="*/ 5181836 h 167966366"/>
              <a:gd name="connsiteX0" fmla="*/ 0 w 9855200"/>
              <a:gd name="connsiteY0" fmla="*/ 78629479 h 171315550"/>
              <a:gd name="connsiteX1" fmla="*/ 994077 w 9855200"/>
              <a:gd name="connsiteY1" fmla="*/ 171288116 h 171315550"/>
              <a:gd name="connsiteX2" fmla="*/ 1963687 w 9855200"/>
              <a:gd name="connsiteY2" fmla="*/ 89079823 h 171315550"/>
              <a:gd name="connsiteX3" fmla="*/ 2957185 w 9855200"/>
              <a:gd name="connsiteY3" fmla="*/ 157981135 h 171315550"/>
              <a:gd name="connsiteX4" fmla="*/ 3986287 w 9855200"/>
              <a:gd name="connsiteY4" fmla="*/ 152334762 h 171315550"/>
              <a:gd name="connsiteX5" fmla="*/ 4892573 w 9855200"/>
              <a:gd name="connsiteY5" fmla="*/ 99723199 h 171315550"/>
              <a:gd name="connsiteX6" fmla="*/ 5850501 w 9855200"/>
              <a:gd name="connsiteY6" fmla="*/ 6829220 h 171315550"/>
              <a:gd name="connsiteX7" fmla="*/ 6671569 w 9855200"/>
              <a:gd name="connsiteY7" fmla="*/ 7015486 h 171315550"/>
              <a:gd name="connsiteX8" fmla="*/ 7882466 w 9855200"/>
              <a:gd name="connsiteY8" fmla="*/ 7100153 h 171315550"/>
              <a:gd name="connsiteX9" fmla="*/ 8805333 w 9855200"/>
              <a:gd name="connsiteY9" fmla="*/ 8437887 h 171315550"/>
              <a:gd name="connsiteX10" fmla="*/ 9855200 w 9855200"/>
              <a:gd name="connsiteY10" fmla="*/ 8531020 h 171315550"/>
              <a:gd name="connsiteX11" fmla="*/ 9855200 w 9855200"/>
              <a:gd name="connsiteY11" fmla="*/ 8531020 h 171315550"/>
              <a:gd name="connsiteX0" fmla="*/ 0 w 9855200"/>
              <a:gd name="connsiteY0" fmla="*/ 80893990 h 173580061"/>
              <a:gd name="connsiteX1" fmla="*/ 994077 w 9855200"/>
              <a:gd name="connsiteY1" fmla="*/ 173552627 h 173580061"/>
              <a:gd name="connsiteX2" fmla="*/ 1963687 w 9855200"/>
              <a:gd name="connsiteY2" fmla="*/ 91344334 h 173580061"/>
              <a:gd name="connsiteX3" fmla="*/ 2957185 w 9855200"/>
              <a:gd name="connsiteY3" fmla="*/ 160245646 h 173580061"/>
              <a:gd name="connsiteX4" fmla="*/ 3986287 w 9855200"/>
              <a:gd name="connsiteY4" fmla="*/ 154599273 h 173580061"/>
              <a:gd name="connsiteX5" fmla="*/ 4892573 w 9855200"/>
              <a:gd name="connsiteY5" fmla="*/ 101987710 h 173580061"/>
              <a:gd name="connsiteX6" fmla="*/ 5922871 w 9855200"/>
              <a:gd name="connsiteY6" fmla="*/ 134228614 h 173580061"/>
              <a:gd name="connsiteX7" fmla="*/ 6671569 w 9855200"/>
              <a:gd name="connsiteY7" fmla="*/ 9279997 h 173580061"/>
              <a:gd name="connsiteX8" fmla="*/ 7882466 w 9855200"/>
              <a:gd name="connsiteY8" fmla="*/ 9364664 h 173580061"/>
              <a:gd name="connsiteX9" fmla="*/ 8805333 w 9855200"/>
              <a:gd name="connsiteY9" fmla="*/ 10702398 h 173580061"/>
              <a:gd name="connsiteX10" fmla="*/ 9855200 w 9855200"/>
              <a:gd name="connsiteY10" fmla="*/ 10795531 h 173580061"/>
              <a:gd name="connsiteX11" fmla="*/ 9855200 w 9855200"/>
              <a:gd name="connsiteY11" fmla="*/ 10795531 h 173580061"/>
              <a:gd name="connsiteX0" fmla="*/ 0 w 9855200"/>
              <a:gd name="connsiteY0" fmla="*/ 80893990 h 173580061"/>
              <a:gd name="connsiteX1" fmla="*/ 994077 w 9855200"/>
              <a:gd name="connsiteY1" fmla="*/ 173552627 h 173580061"/>
              <a:gd name="connsiteX2" fmla="*/ 1963687 w 9855200"/>
              <a:gd name="connsiteY2" fmla="*/ 91344334 h 173580061"/>
              <a:gd name="connsiteX3" fmla="*/ 2957185 w 9855200"/>
              <a:gd name="connsiteY3" fmla="*/ 160245646 h 173580061"/>
              <a:gd name="connsiteX4" fmla="*/ 3986287 w 9855200"/>
              <a:gd name="connsiteY4" fmla="*/ 154599273 h 173580061"/>
              <a:gd name="connsiteX5" fmla="*/ 4892573 w 9855200"/>
              <a:gd name="connsiteY5" fmla="*/ 101987710 h 173580061"/>
              <a:gd name="connsiteX6" fmla="*/ 5922871 w 9855200"/>
              <a:gd name="connsiteY6" fmla="*/ 134228614 h 173580061"/>
              <a:gd name="connsiteX7" fmla="*/ 6671569 w 9855200"/>
              <a:gd name="connsiteY7" fmla="*/ 9279997 h 173580061"/>
              <a:gd name="connsiteX8" fmla="*/ 7882466 w 9855200"/>
              <a:gd name="connsiteY8" fmla="*/ 9364664 h 173580061"/>
              <a:gd name="connsiteX9" fmla="*/ 8805333 w 9855200"/>
              <a:gd name="connsiteY9" fmla="*/ 10702398 h 173580061"/>
              <a:gd name="connsiteX10" fmla="*/ 9855200 w 9855200"/>
              <a:gd name="connsiteY10" fmla="*/ 10795531 h 173580061"/>
              <a:gd name="connsiteX11" fmla="*/ 9855200 w 9855200"/>
              <a:gd name="connsiteY11" fmla="*/ 10795531 h 173580061"/>
              <a:gd name="connsiteX0" fmla="*/ 0 w 9855200"/>
              <a:gd name="connsiteY0" fmla="*/ 81088679 h 173774750"/>
              <a:gd name="connsiteX1" fmla="*/ 994077 w 9855200"/>
              <a:gd name="connsiteY1" fmla="*/ 173747316 h 173774750"/>
              <a:gd name="connsiteX2" fmla="*/ 1963687 w 9855200"/>
              <a:gd name="connsiteY2" fmla="*/ 91539023 h 173774750"/>
              <a:gd name="connsiteX3" fmla="*/ 2957185 w 9855200"/>
              <a:gd name="connsiteY3" fmla="*/ 160440335 h 173774750"/>
              <a:gd name="connsiteX4" fmla="*/ 3986287 w 9855200"/>
              <a:gd name="connsiteY4" fmla="*/ 154793962 h 173774750"/>
              <a:gd name="connsiteX5" fmla="*/ 4892573 w 9855200"/>
              <a:gd name="connsiteY5" fmla="*/ 102182399 h 173774750"/>
              <a:gd name="connsiteX6" fmla="*/ 5886687 w 9855200"/>
              <a:gd name="connsiteY6" fmla="*/ 137052186 h 173774750"/>
              <a:gd name="connsiteX7" fmla="*/ 6671569 w 9855200"/>
              <a:gd name="connsiteY7" fmla="*/ 9474686 h 173774750"/>
              <a:gd name="connsiteX8" fmla="*/ 7882466 w 9855200"/>
              <a:gd name="connsiteY8" fmla="*/ 9559353 h 173774750"/>
              <a:gd name="connsiteX9" fmla="*/ 8805333 w 9855200"/>
              <a:gd name="connsiteY9" fmla="*/ 10897087 h 173774750"/>
              <a:gd name="connsiteX10" fmla="*/ 9855200 w 9855200"/>
              <a:gd name="connsiteY10" fmla="*/ 10990220 h 173774750"/>
              <a:gd name="connsiteX11" fmla="*/ 9855200 w 9855200"/>
              <a:gd name="connsiteY11" fmla="*/ 10990220 h 173774750"/>
              <a:gd name="connsiteX0" fmla="*/ 0 w 9855200"/>
              <a:gd name="connsiteY0" fmla="*/ 76209968 h 168896039"/>
              <a:gd name="connsiteX1" fmla="*/ 994077 w 9855200"/>
              <a:gd name="connsiteY1" fmla="*/ 168868605 h 168896039"/>
              <a:gd name="connsiteX2" fmla="*/ 1963687 w 9855200"/>
              <a:gd name="connsiteY2" fmla="*/ 86660312 h 168896039"/>
              <a:gd name="connsiteX3" fmla="*/ 2957185 w 9855200"/>
              <a:gd name="connsiteY3" fmla="*/ 155561624 h 168896039"/>
              <a:gd name="connsiteX4" fmla="*/ 3986287 w 9855200"/>
              <a:gd name="connsiteY4" fmla="*/ 149915251 h 168896039"/>
              <a:gd name="connsiteX5" fmla="*/ 4892573 w 9855200"/>
              <a:gd name="connsiteY5" fmla="*/ 97303688 h 168896039"/>
              <a:gd name="connsiteX6" fmla="*/ 5886687 w 9855200"/>
              <a:gd name="connsiteY6" fmla="*/ 132173475 h 168896039"/>
              <a:gd name="connsiteX7" fmla="*/ 6843447 w 9855200"/>
              <a:gd name="connsiteY7" fmla="*/ 72946951 h 168896039"/>
              <a:gd name="connsiteX8" fmla="*/ 7882466 w 9855200"/>
              <a:gd name="connsiteY8" fmla="*/ 4680642 h 168896039"/>
              <a:gd name="connsiteX9" fmla="*/ 8805333 w 9855200"/>
              <a:gd name="connsiteY9" fmla="*/ 6018376 h 168896039"/>
              <a:gd name="connsiteX10" fmla="*/ 9855200 w 9855200"/>
              <a:gd name="connsiteY10" fmla="*/ 6111509 h 168896039"/>
              <a:gd name="connsiteX11" fmla="*/ 9855200 w 9855200"/>
              <a:gd name="connsiteY11" fmla="*/ 6111509 h 168896039"/>
              <a:gd name="connsiteX0" fmla="*/ 0 w 9855200"/>
              <a:gd name="connsiteY0" fmla="*/ 76209968 h 168896039"/>
              <a:gd name="connsiteX1" fmla="*/ 994077 w 9855200"/>
              <a:gd name="connsiteY1" fmla="*/ 168868605 h 168896039"/>
              <a:gd name="connsiteX2" fmla="*/ 1963687 w 9855200"/>
              <a:gd name="connsiteY2" fmla="*/ 86660312 h 168896039"/>
              <a:gd name="connsiteX3" fmla="*/ 2957185 w 9855200"/>
              <a:gd name="connsiteY3" fmla="*/ 155561624 h 168896039"/>
              <a:gd name="connsiteX4" fmla="*/ 3986287 w 9855200"/>
              <a:gd name="connsiteY4" fmla="*/ 149915251 h 168896039"/>
              <a:gd name="connsiteX5" fmla="*/ 4892573 w 9855200"/>
              <a:gd name="connsiteY5" fmla="*/ 97303688 h 168896039"/>
              <a:gd name="connsiteX6" fmla="*/ 5886687 w 9855200"/>
              <a:gd name="connsiteY6" fmla="*/ 132173475 h 168896039"/>
              <a:gd name="connsiteX7" fmla="*/ 6843447 w 9855200"/>
              <a:gd name="connsiteY7" fmla="*/ 72946951 h 168896039"/>
              <a:gd name="connsiteX8" fmla="*/ 7882466 w 9855200"/>
              <a:gd name="connsiteY8" fmla="*/ 4680642 h 168896039"/>
              <a:gd name="connsiteX9" fmla="*/ 8805333 w 9855200"/>
              <a:gd name="connsiteY9" fmla="*/ 6018376 h 168896039"/>
              <a:gd name="connsiteX10" fmla="*/ 9855200 w 9855200"/>
              <a:gd name="connsiteY10" fmla="*/ 6111509 h 168896039"/>
              <a:gd name="connsiteX11" fmla="*/ 9855200 w 9855200"/>
              <a:gd name="connsiteY11" fmla="*/ 6111509 h 168896039"/>
              <a:gd name="connsiteX0" fmla="*/ 0 w 9855200"/>
              <a:gd name="connsiteY0" fmla="*/ 76020357 h 168706428"/>
              <a:gd name="connsiteX1" fmla="*/ 994077 w 9855200"/>
              <a:gd name="connsiteY1" fmla="*/ 168678994 h 168706428"/>
              <a:gd name="connsiteX2" fmla="*/ 1963687 w 9855200"/>
              <a:gd name="connsiteY2" fmla="*/ 86470701 h 168706428"/>
              <a:gd name="connsiteX3" fmla="*/ 2957185 w 9855200"/>
              <a:gd name="connsiteY3" fmla="*/ 155372013 h 168706428"/>
              <a:gd name="connsiteX4" fmla="*/ 3986287 w 9855200"/>
              <a:gd name="connsiteY4" fmla="*/ 149725640 h 168706428"/>
              <a:gd name="connsiteX5" fmla="*/ 4892573 w 9855200"/>
              <a:gd name="connsiteY5" fmla="*/ 97114077 h 168706428"/>
              <a:gd name="connsiteX6" fmla="*/ 5886687 w 9855200"/>
              <a:gd name="connsiteY6" fmla="*/ 131983864 h 168706428"/>
              <a:gd name="connsiteX7" fmla="*/ 6843447 w 9855200"/>
              <a:gd name="connsiteY7" fmla="*/ 72757340 h 168706428"/>
              <a:gd name="connsiteX8" fmla="*/ 7918651 w 9855200"/>
              <a:gd name="connsiteY8" fmla="*/ 84934880 h 168706428"/>
              <a:gd name="connsiteX9" fmla="*/ 8805333 w 9855200"/>
              <a:gd name="connsiteY9" fmla="*/ 5828765 h 168706428"/>
              <a:gd name="connsiteX10" fmla="*/ 9855200 w 9855200"/>
              <a:gd name="connsiteY10" fmla="*/ 5921898 h 168706428"/>
              <a:gd name="connsiteX11" fmla="*/ 9855200 w 9855200"/>
              <a:gd name="connsiteY11" fmla="*/ 5921898 h 168706428"/>
              <a:gd name="connsiteX0" fmla="*/ 0 w 9855200"/>
              <a:gd name="connsiteY0" fmla="*/ 76020357 h 168706428"/>
              <a:gd name="connsiteX1" fmla="*/ 994077 w 9855200"/>
              <a:gd name="connsiteY1" fmla="*/ 168678994 h 168706428"/>
              <a:gd name="connsiteX2" fmla="*/ 1963687 w 9855200"/>
              <a:gd name="connsiteY2" fmla="*/ 86470701 h 168706428"/>
              <a:gd name="connsiteX3" fmla="*/ 2957185 w 9855200"/>
              <a:gd name="connsiteY3" fmla="*/ 155372013 h 168706428"/>
              <a:gd name="connsiteX4" fmla="*/ 3986287 w 9855200"/>
              <a:gd name="connsiteY4" fmla="*/ 149725640 h 168706428"/>
              <a:gd name="connsiteX5" fmla="*/ 4892573 w 9855200"/>
              <a:gd name="connsiteY5" fmla="*/ 97114077 h 168706428"/>
              <a:gd name="connsiteX6" fmla="*/ 5886687 w 9855200"/>
              <a:gd name="connsiteY6" fmla="*/ 131983864 h 168706428"/>
              <a:gd name="connsiteX7" fmla="*/ 6843447 w 9855200"/>
              <a:gd name="connsiteY7" fmla="*/ 72757340 h 168706428"/>
              <a:gd name="connsiteX8" fmla="*/ 7918651 w 9855200"/>
              <a:gd name="connsiteY8" fmla="*/ 84934880 h 168706428"/>
              <a:gd name="connsiteX9" fmla="*/ 8805333 w 9855200"/>
              <a:gd name="connsiteY9" fmla="*/ 5828765 h 168706428"/>
              <a:gd name="connsiteX10" fmla="*/ 9855200 w 9855200"/>
              <a:gd name="connsiteY10" fmla="*/ 5921898 h 168706428"/>
              <a:gd name="connsiteX11" fmla="*/ 9855200 w 9855200"/>
              <a:gd name="connsiteY11" fmla="*/ 5921898 h 168706428"/>
              <a:gd name="connsiteX0" fmla="*/ 0 w 9855200"/>
              <a:gd name="connsiteY0" fmla="*/ 75163548 h 167849619"/>
              <a:gd name="connsiteX1" fmla="*/ 994077 w 9855200"/>
              <a:gd name="connsiteY1" fmla="*/ 167822185 h 167849619"/>
              <a:gd name="connsiteX2" fmla="*/ 1963687 w 9855200"/>
              <a:gd name="connsiteY2" fmla="*/ 85613892 h 167849619"/>
              <a:gd name="connsiteX3" fmla="*/ 2957185 w 9855200"/>
              <a:gd name="connsiteY3" fmla="*/ 154515204 h 167849619"/>
              <a:gd name="connsiteX4" fmla="*/ 3986287 w 9855200"/>
              <a:gd name="connsiteY4" fmla="*/ 148868831 h 167849619"/>
              <a:gd name="connsiteX5" fmla="*/ 4892573 w 9855200"/>
              <a:gd name="connsiteY5" fmla="*/ 96257268 h 167849619"/>
              <a:gd name="connsiteX6" fmla="*/ 5886687 w 9855200"/>
              <a:gd name="connsiteY6" fmla="*/ 131127055 h 167849619"/>
              <a:gd name="connsiteX7" fmla="*/ 6843447 w 9855200"/>
              <a:gd name="connsiteY7" fmla="*/ 71900531 h 167849619"/>
              <a:gd name="connsiteX8" fmla="*/ 7891512 w 9855200"/>
              <a:gd name="connsiteY8" fmla="*/ 72510984 h 167849619"/>
              <a:gd name="connsiteX9" fmla="*/ 8805333 w 9855200"/>
              <a:gd name="connsiteY9" fmla="*/ 4971956 h 167849619"/>
              <a:gd name="connsiteX10" fmla="*/ 9855200 w 9855200"/>
              <a:gd name="connsiteY10" fmla="*/ 5065089 h 167849619"/>
              <a:gd name="connsiteX11" fmla="*/ 9855200 w 9855200"/>
              <a:gd name="connsiteY11" fmla="*/ 5065089 h 167849619"/>
              <a:gd name="connsiteX0" fmla="*/ 0 w 9855200"/>
              <a:gd name="connsiteY0" fmla="*/ 75436179 h 168122250"/>
              <a:gd name="connsiteX1" fmla="*/ 994077 w 9855200"/>
              <a:gd name="connsiteY1" fmla="*/ 168094816 h 168122250"/>
              <a:gd name="connsiteX2" fmla="*/ 1963687 w 9855200"/>
              <a:gd name="connsiteY2" fmla="*/ 85886523 h 168122250"/>
              <a:gd name="connsiteX3" fmla="*/ 2957185 w 9855200"/>
              <a:gd name="connsiteY3" fmla="*/ 154787835 h 168122250"/>
              <a:gd name="connsiteX4" fmla="*/ 3986287 w 9855200"/>
              <a:gd name="connsiteY4" fmla="*/ 149141462 h 168122250"/>
              <a:gd name="connsiteX5" fmla="*/ 4892573 w 9855200"/>
              <a:gd name="connsiteY5" fmla="*/ 96529899 h 168122250"/>
              <a:gd name="connsiteX6" fmla="*/ 5886687 w 9855200"/>
              <a:gd name="connsiteY6" fmla="*/ 131399686 h 168122250"/>
              <a:gd name="connsiteX7" fmla="*/ 6843447 w 9855200"/>
              <a:gd name="connsiteY7" fmla="*/ 72173162 h 168122250"/>
              <a:gd name="connsiteX8" fmla="*/ 7891512 w 9855200"/>
              <a:gd name="connsiteY8" fmla="*/ 76464052 h 168122250"/>
              <a:gd name="connsiteX9" fmla="*/ 8805333 w 9855200"/>
              <a:gd name="connsiteY9" fmla="*/ 5244587 h 168122250"/>
              <a:gd name="connsiteX10" fmla="*/ 9855200 w 9855200"/>
              <a:gd name="connsiteY10" fmla="*/ 5337720 h 168122250"/>
              <a:gd name="connsiteX11" fmla="*/ 9855200 w 9855200"/>
              <a:gd name="connsiteY11" fmla="*/ 5337720 h 168122250"/>
              <a:gd name="connsiteX0" fmla="*/ 0 w 9855200"/>
              <a:gd name="connsiteY0" fmla="*/ 70098483 h 162784554"/>
              <a:gd name="connsiteX1" fmla="*/ 994077 w 9855200"/>
              <a:gd name="connsiteY1" fmla="*/ 162757120 h 162784554"/>
              <a:gd name="connsiteX2" fmla="*/ 1963687 w 9855200"/>
              <a:gd name="connsiteY2" fmla="*/ 80548827 h 162784554"/>
              <a:gd name="connsiteX3" fmla="*/ 2957185 w 9855200"/>
              <a:gd name="connsiteY3" fmla="*/ 149450139 h 162784554"/>
              <a:gd name="connsiteX4" fmla="*/ 3986287 w 9855200"/>
              <a:gd name="connsiteY4" fmla="*/ 143803766 h 162784554"/>
              <a:gd name="connsiteX5" fmla="*/ 4892573 w 9855200"/>
              <a:gd name="connsiteY5" fmla="*/ 91192203 h 162784554"/>
              <a:gd name="connsiteX6" fmla="*/ 5886687 w 9855200"/>
              <a:gd name="connsiteY6" fmla="*/ 126061990 h 162784554"/>
              <a:gd name="connsiteX7" fmla="*/ 6843447 w 9855200"/>
              <a:gd name="connsiteY7" fmla="*/ 66835466 h 162784554"/>
              <a:gd name="connsiteX8" fmla="*/ 7891512 w 9855200"/>
              <a:gd name="connsiteY8" fmla="*/ 71126356 h 162784554"/>
              <a:gd name="connsiteX9" fmla="*/ 8850564 w 9855200"/>
              <a:gd name="connsiteY9" fmla="*/ 122412852 h 162784554"/>
              <a:gd name="connsiteX10" fmla="*/ 9855200 w 9855200"/>
              <a:gd name="connsiteY10" fmla="*/ 24 h 162784554"/>
              <a:gd name="connsiteX11" fmla="*/ 9855200 w 9855200"/>
              <a:gd name="connsiteY11" fmla="*/ 24 h 162784554"/>
              <a:gd name="connsiteX0" fmla="*/ 0 w 9855200"/>
              <a:gd name="connsiteY0" fmla="*/ 70098483 h 162784554"/>
              <a:gd name="connsiteX1" fmla="*/ 994077 w 9855200"/>
              <a:gd name="connsiteY1" fmla="*/ 162757120 h 162784554"/>
              <a:gd name="connsiteX2" fmla="*/ 1963687 w 9855200"/>
              <a:gd name="connsiteY2" fmla="*/ 80548827 h 162784554"/>
              <a:gd name="connsiteX3" fmla="*/ 2957185 w 9855200"/>
              <a:gd name="connsiteY3" fmla="*/ 149450139 h 162784554"/>
              <a:gd name="connsiteX4" fmla="*/ 3986287 w 9855200"/>
              <a:gd name="connsiteY4" fmla="*/ 143803766 h 162784554"/>
              <a:gd name="connsiteX5" fmla="*/ 4892573 w 9855200"/>
              <a:gd name="connsiteY5" fmla="*/ 91192203 h 162784554"/>
              <a:gd name="connsiteX6" fmla="*/ 5886687 w 9855200"/>
              <a:gd name="connsiteY6" fmla="*/ 126061990 h 162784554"/>
              <a:gd name="connsiteX7" fmla="*/ 6843447 w 9855200"/>
              <a:gd name="connsiteY7" fmla="*/ 66835466 h 162784554"/>
              <a:gd name="connsiteX8" fmla="*/ 7891512 w 9855200"/>
              <a:gd name="connsiteY8" fmla="*/ 71126356 h 162784554"/>
              <a:gd name="connsiteX9" fmla="*/ 8850564 w 9855200"/>
              <a:gd name="connsiteY9" fmla="*/ 122412852 h 162784554"/>
              <a:gd name="connsiteX10" fmla="*/ 9855200 w 9855200"/>
              <a:gd name="connsiteY10" fmla="*/ 24 h 162784554"/>
              <a:gd name="connsiteX11" fmla="*/ 9855200 w 9855200"/>
              <a:gd name="connsiteY11" fmla="*/ 24 h 162784554"/>
              <a:gd name="connsiteX0" fmla="*/ 0 w 9873292"/>
              <a:gd name="connsiteY0" fmla="*/ 70098483 h 162784554"/>
              <a:gd name="connsiteX1" fmla="*/ 994077 w 9873292"/>
              <a:gd name="connsiteY1" fmla="*/ 162757120 h 162784554"/>
              <a:gd name="connsiteX2" fmla="*/ 1963687 w 9873292"/>
              <a:gd name="connsiteY2" fmla="*/ 80548827 h 162784554"/>
              <a:gd name="connsiteX3" fmla="*/ 2957185 w 9873292"/>
              <a:gd name="connsiteY3" fmla="*/ 149450139 h 162784554"/>
              <a:gd name="connsiteX4" fmla="*/ 3986287 w 9873292"/>
              <a:gd name="connsiteY4" fmla="*/ 143803766 h 162784554"/>
              <a:gd name="connsiteX5" fmla="*/ 4892573 w 9873292"/>
              <a:gd name="connsiteY5" fmla="*/ 91192203 h 162784554"/>
              <a:gd name="connsiteX6" fmla="*/ 5886687 w 9873292"/>
              <a:gd name="connsiteY6" fmla="*/ 126061990 h 162784554"/>
              <a:gd name="connsiteX7" fmla="*/ 6843447 w 9873292"/>
              <a:gd name="connsiteY7" fmla="*/ 66835466 h 162784554"/>
              <a:gd name="connsiteX8" fmla="*/ 7891512 w 9873292"/>
              <a:gd name="connsiteY8" fmla="*/ 71126356 h 162784554"/>
              <a:gd name="connsiteX9" fmla="*/ 8850564 w 9873292"/>
              <a:gd name="connsiteY9" fmla="*/ 122412852 h 162784554"/>
              <a:gd name="connsiteX10" fmla="*/ 9855200 w 9873292"/>
              <a:gd name="connsiteY10" fmla="*/ 24 h 162784554"/>
              <a:gd name="connsiteX11" fmla="*/ 9873292 w 9873292"/>
              <a:gd name="connsiteY11" fmla="*/ 45742574 h 162784554"/>
              <a:gd name="connsiteX0" fmla="*/ 0 w 9873292"/>
              <a:gd name="connsiteY0" fmla="*/ 24355909 h 117041980"/>
              <a:gd name="connsiteX1" fmla="*/ 994077 w 9873292"/>
              <a:gd name="connsiteY1" fmla="*/ 117014546 h 117041980"/>
              <a:gd name="connsiteX2" fmla="*/ 1963687 w 9873292"/>
              <a:gd name="connsiteY2" fmla="*/ 34806253 h 117041980"/>
              <a:gd name="connsiteX3" fmla="*/ 2957185 w 9873292"/>
              <a:gd name="connsiteY3" fmla="*/ 103707565 h 117041980"/>
              <a:gd name="connsiteX4" fmla="*/ 3986287 w 9873292"/>
              <a:gd name="connsiteY4" fmla="*/ 98061192 h 117041980"/>
              <a:gd name="connsiteX5" fmla="*/ 4892573 w 9873292"/>
              <a:gd name="connsiteY5" fmla="*/ 45449629 h 117041980"/>
              <a:gd name="connsiteX6" fmla="*/ 5886687 w 9873292"/>
              <a:gd name="connsiteY6" fmla="*/ 80319416 h 117041980"/>
              <a:gd name="connsiteX7" fmla="*/ 6843447 w 9873292"/>
              <a:gd name="connsiteY7" fmla="*/ 21092892 h 117041980"/>
              <a:gd name="connsiteX8" fmla="*/ 7891512 w 9873292"/>
              <a:gd name="connsiteY8" fmla="*/ 25383782 h 117041980"/>
              <a:gd name="connsiteX9" fmla="*/ 8850564 w 9873292"/>
              <a:gd name="connsiteY9" fmla="*/ 76670278 h 117041980"/>
              <a:gd name="connsiteX10" fmla="*/ 9873292 w 9873292"/>
              <a:gd name="connsiteY10" fmla="*/ 0 h 117041980"/>
              <a:gd name="connsiteX0" fmla="*/ 0 w 8850564"/>
              <a:gd name="connsiteY0" fmla="*/ 8378535 h 101064606"/>
              <a:gd name="connsiteX1" fmla="*/ 994077 w 8850564"/>
              <a:gd name="connsiteY1" fmla="*/ 101037172 h 101064606"/>
              <a:gd name="connsiteX2" fmla="*/ 1963687 w 8850564"/>
              <a:gd name="connsiteY2" fmla="*/ 18828879 h 101064606"/>
              <a:gd name="connsiteX3" fmla="*/ 2957185 w 8850564"/>
              <a:gd name="connsiteY3" fmla="*/ 87730191 h 101064606"/>
              <a:gd name="connsiteX4" fmla="*/ 3986287 w 8850564"/>
              <a:gd name="connsiteY4" fmla="*/ 82083818 h 101064606"/>
              <a:gd name="connsiteX5" fmla="*/ 4892573 w 8850564"/>
              <a:gd name="connsiteY5" fmla="*/ 29472255 h 101064606"/>
              <a:gd name="connsiteX6" fmla="*/ 5886687 w 8850564"/>
              <a:gd name="connsiteY6" fmla="*/ 64342042 h 101064606"/>
              <a:gd name="connsiteX7" fmla="*/ 6843447 w 8850564"/>
              <a:gd name="connsiteY7" fmla="*/ 5115518 h 101064606"/>
              <a:gd name="connsiteX8" fmla="*/ 7891512 w 8850564"/>
              <a:gd name="connsiteY8" fmla="*/ 9406408 h 101064606"/>
              <a:gd name="connsiteX9" fmla="*/ 8850564 w 8850564"/>
              <a:gd name="connsiteY9" fmla="*/ 60692904 h 101064606"/>
              <a:gd name="connsiteX0" fmla="*/ 0 w 7891512"/>
              <a:gd name="connsiteY0" fmla="*/ 8378535 h 101064606"/>
              <a:gd name="connsiteX1" fmla="*/ 994077 w 7891512"/>
              <a:gd name="connsiteY1" fmla="*/ 101037172 h 101064606"/>
              <a:gd name="connsiteX2" fmla="*/ 1963687 w 7891512"/>
              <a:gd name="connsiteY2" fmla="*/ 18828879 h 101064606"/>
              <a:gd name="connsiteX3" fmla="*/ 2957185 w 7891512"/>
              <a:gd name="connsiteY3" fmla="*/ 87730191 h 101064606"/>
              <a:gd name="connsiteX4" fmla="*/ 3986287 w 7891512"/>
              <a:gd name="connsiteY4" fmla="*/ 82083818 h 101064606"/>
              <a:gd name="connsiteX5" fmla="*/ 4892573 w 7891512"/>
              <a:gd name="connsiteY5" fmla="*/ 29472255 h 101064606"/>
              <a:gd name="connsiteX6" fmla="*/ 5886687 w 7891512"/>
              <a:gd name="connsiteY6" fmla="*/ 64342042 h 101064606"/>
              <a:gd name="connsiteX7" fmla="*/ 6843447 w 7891512"/>
              <a:gd name="connsiteY7" fmla="*/ 5115518 h 101064606"/>
              <a:gd name="connsiteX8" fmla="*/ 7891512 w 7891512"/>
              <a:gd name="connsiteY8" fmla="*/ 9406408 h 101064606"/>
              <a:gd name="connsiteX0" fmla="*/ 0 w 6843447"/>
              <a:gd name="connsiteY0" fmla="*/ 3263017 h 95949088"/>
              <a:gd name="connsiteX1" fmla="*/ 994077 w 6843447"/>
              <a:gd name="connsiteY1" fmla="*/ 95921654 h 95949088"/>
              <a:gd name="connsiteX2" fmla="*/ 1963687 w 6843447"/>
              <a:gd name="connsiteY2" fmla="*/ 13713361 h 95949088"/>
              <a:gd name="connsiteX3" fmla="*/ 2957185 w 6843447"/>
              <a:gd name="connsiteY3" fmla="*/ 82614673 h 95949088"/>
              <a:gd name="connsiteX4" fmla="*/ 3986287 w 6843447"/>
              <a:gd name="connsiteY4" fmla="*/ 76968300 h 95949088"/>
              <a:gd name="connsiteX5" fmla="*/ 4892573 w 6843447"/>
              <a:gd name="connsiteY5" fmla="*/ 24356737 h 95949088"/>
              <a:gd name="connsiteX6" fmla="*/ 5886687 w 6843447"/>
              <a:gd name="connsiteY6" fmla="*/ 59226524 h 95949088"/>
              <a:gd name="connsiteX7" fmla="*/ 6843447 w 6843447"/>
              <a:gd name="connsiteY7" fmla="*/ 0 h 95949088"/>
              <a:gd name="connsiteX0" fmla="*/ 0 w 6843447"/>
              <a:gd name="connsiteY0" fmla="*/ 3263017 h 95949088"/>
              <a:gd name="connsiteX1" fmla="*/ 994077 w 6843447"/>
              <a:gd name="connsiteY1" fmla="*/ 95921654 h 95949088"/>
              <a:gd name="connsiteX2" fmla="*/ 1963687 w 6843447"/>
              <a:gd name="connsiteY2" fmla="*/ 13713361 h 95949088"/>
              <a:gd name="connsiteX3" fmla="*/ 2957185 w 6843447"/>
              <a:gd name="connsiteY3" fmla="*/ 82614673 h 95949088"/>
              <a:gd name="connsiteX4" fmla="*/ 3986287 w 6843447"/>
              <a:gd name="connsiteY4" fmla="*/ 76968300 h 95949088"/>
              <a:gd name="connsiteX5" fmla="*/ 4892573 w 6843447"/>
              <a:gd name="connsiteY5" fmla="*/ 24356737 h 95949088"/>
              <a:gd name="connsiteX6" fmla="*/ 6843447 w 6843447"/>
              <a:gd name="connsiteY6" fmla="*/ 0 h 95949088"/>
              <a:gd name="connsiteX0" fmla="*/ 0 w 4892573"/>
              <a:gd name="connsiteY0" fmla="*/ 5906 h 92691977"/>
              <a:gd name="connsiteX1" fmla="*/ 994077 w 4892573"/>
              <a:gd name="connsiteY1" fmla="*/ 92664543 h 92691977"/>
              <a:gd name="connsiteX2" fmla="*/ 1963687 w 4892573"/>
              <a:gd name="connsiteY2" fmla="*/ 10456250 h 92691977"/>
              <a:gd name="connsiteX3" fmla="*/ 2957185 w 4892573"/>
              <a:gd name="connsiteY3" fmla="*/ 79357562 h 92691977"/>
              <a:gd name="connsiteX4" fmla="*/ 3986287 w 4892573"/>
              <a:gd name="connsiteY4" fmla="*/ 73711189 h 92691977"/>
              <a:gd name="connsiteX5" fmla="*/ 4892573 w 4892573"/>
              <a:gd name="connsiteY5" fmla="*/ 21099626 h 92691977"/>
              <a:gd name="connsiteX0" fmla="*/ 0 w 8729853"/>
              <a:gd name="connsiteY0" fmla="*/ 5906 h 92691977"/>
              <a:gd name="connsiteX1" fmla="*/ 994077 w 8729853"/>
              <a:gd name="connsiteY1" fmla="*/ 92664543 h 92691977"/>
              <a:gd name="connsiteX2" fmla="*/ 1963687 w 8729853"/>
              <a:gd name="connsiteY2" fmla="*/ 10456250 h 92691977"/>
              <a:gd name="connsiteX3" fmla="*/ 2957185 w 8729853"/>
              <a:gd name="connsiteY3" fmla="*/ 79357562 h 92691977"/>
              <a:gd name="connsiteX4" fmla="*/ 3986287 w 8729853"/>
              <a:gd name="connsiteY4" fmla="*/ 73711189 h 92691977"/>
              <a:gd name="connsiteX5" fmla="*/ 8729853 w 8729853"/>
              <a:gd name="connsiteY5" fmla="*/ 45163088 h 92691977"/>
              <a:gd name="connsiteX0" fmla="*/ 0 w 9285248"/>
              <a:gd name="connsiteY0" fmla="*/ 5906 h 92691977"/>
              <a:gd name="connsiteX1" fmla="*/ 994077 w 9285248"/>
              <a:gd name="connsiteY1" fmla="*/ 92664543 h 92691977"/>
              <a:gd name="connsiteX2" fmla="*/ 1963687 w 9285248"/>
              <a:gd name="connsiteY2" fmla="*/ 10456250 h 92691977"/>
              <a:gd name="connsiteX3" fmla="*/ 2957185 w 9285248"/>
              <a:gd name="connsiteY3" fmla="*/ 79357562 h 92691977"/>
              <a:gd name="connsiteX4" fmla="*/ 3986287 w 9285248"/>
              <a:gd name="connsiteY4" fmla="*/ 73711189 h 92691977"/>
              <a:gd name="connsiteX5" fmla="*/ 9285248 w 9285248"/>
              <a:gd name="connsiteY5" fmla="*/ 51032246 h 92691977"/>
              <a:gd name="connsiteX0" fmla="*/ 0 w 9285248"/>
              <a:gd name="connsiteY0" fmla="*/ 5906 h 92691977"/>
              <a:gd name="connsiteX1" fmla="*/ 994077 w 9285248"/>
              <a:gd name="connsiteY1" fmla="*/ 92664543 h 92691977"/>
              <a:gd name="connsiteX2" fmla="*/ 1963687 w 9285248"/>
              <a:gd name="connsiteY2" fmla="*/ 10456250 h 92691977"/>
              <a:gd name="connsiteX3" fmla="*/ 2957185 w 9285248"/>
              <a:gd name="connsiteY3" fmla="*/ 79357562 h 92691977"/>
              <a:gd name="connsiteX4" fmla="*/ 7278270 w 9285248"/>
              <a:gd name="connsiteY4" fmla="*/ 61972928 h 92691977"/>
              <a:gd name="connsiteX5" fmla="*/ 9285248 w 9285248"/>
              <a:gd name="connsiteY5" fmla="*/ 51032246 h 92691977"/>
              <a:gd name="connsiteX0" fmla="*/ 0 w 9285248"/>
              <a:gd name="connsiteY0" fmla="*/ 5906 h 92692639"/>
              <a:gd name="connsiteX1" fmla="*/ 994077 w 9285248"/>
              <a:gd name="connsiteY1" fmla="*/ 92664543 h 92692639"/>
              <a:gd name="connsiteX2" fmla="*/ 1963687 w 9285248"/>
              <a:gd name="connsiteY2" fmla="*/ 10456250 h 92692639"/>
              <a:gd name="connsiteX3" fmla="*/ 5633183 w 9285248"/>
              <a:gd name="connsiteY3" fmla="*/ 67619300 h 92692639"/>
              <a:gd name="connsiteX4" fmla="*/ 7278270 w 9285248"/>
              <a:gd name="connsiteY4" fmla="*/ 61972928 h 92692639"/>
              <a:gd name="connsiteX5" fmla="*/ 9285248 w 9285248"/>
              <a:gd name="connsiteY5" fmla="*/ 51032246 h 92692639"/>
              <a:gd name="connsiteX0" fmla="*/ 0 w 9285248"/>
              <a:gd name="connsiteY0" fmla="*/ 6624 h 95155868"/>
              <a:gd name="connsiteX1" fmla="*/ 994077 w 9285248"/>
              <a:gd name="connsiteY1" fmla="*/ 92665261 h 95155868"/>
              <a:gd name="connsiteX2" fmla="*/ 3771247 w 9285248"/>
              <a:gd name="connsiteY2" fmla="*/ 68561393 h 95155868"/>
              <a:gd name="connsiteX3" fmla="*/ 5633183 w 9285248"/>
              <a:gd name="connsiteY3" fmla="*/ 67620018 h 95155868"/>
              <a:gd name="connsiteX4" fmla="*/ 7278270 w 9285248"/>
              <a:gd name="connsiteY4" fmla="*/ 61973646 h 95155868"/>
              <a:gd name="connsiteX5" fmla="*/ 9285248 w 9285248"/>
              <a:gd name="connsiteY5" fmla="*/ 51032964 h 95155868"/>
              <a:gd name="connsiteX0" fmla="*/ 0 w 9285248"/>
              <a:gd name="connsiteY0" fmla="*/ 9605 h 72376572"/>
              <a:gd name="connsiteX1" fmla="*/ 2195751 w 9285248"/>
              <a:gd name="connsiteY1" fmla="*/ 66844076 h 72376572"/>
              <a:gd name="connsiteX2" fmla="*/ 3771247 w 9285248"/>
              <a:gd name="connsiteY2" fmla="*/ 68564374 h 72376572"/>
              <a:gd name="connsiteX3" fmla="*/ 5633183 w 9285248"/>
              <a:gd name="connsiteY3" fmla="*/ 67622999 h 72376572"/>
              <a:gd name="connsiteX4" fmla="*/ 7278270 w 9285248"/>
              <a:gd name="connsiteY4" fmla="*/ 61976627 h 72376572"/>
              <a:gd name="connsiteX5" fmla="*/ 9285248 w 9285248"/>
              <a:gd name="connsiteY5" fmla="*/ 51035945 h 72376572"/>
              <a:gd name="connsiteX0" fmla="*/ 0 w 9285248"/>
              <a:gd name="connsiteY0" fmla="*/ 9605 h 72376572"/>
              <a:gd name="connsiteX1" fmla="*/ 2195751 w 9285248"/>
              <a:gd name="connsiteY1" fmla="*/ 66844076 h 72376572"/>
              <a:gd name="connsiteX2" fmla="*/ 3771247 w 9285248"/>
              <a:gd name="connsiteY2" fmla="*/ 68564374 h 72376572"/>
              <a:gd name="connsiteX3" fmla="*/ 5633183 w 9285248"/>
              <a:gd name="connsiteY3" fmla="*/ 67622999 h 72376572"/>
              <a:gd name="connsiteX4" fmla="*/ 7004027 w 9285248"/>
              <a:gd name="connsiteY4" fmla="*/ 38953126 h 72376572"/>
              <a:gd name="connsiteX5" fmla="*/ 9285248 w 9285248"/>
              <a:gd name="connsiteY5" fmla="*/ 51035945 h 72376572"/>
              <a:gd name="connsiteX0" fmla="*/ 0 w 9285248"/>
              <a:gd name="connsiteY0" fmla="*/ 9605 h 74710193"/>
              <a:gd name="connsiteX1" fmla="*/ 2195751 w 9285248"/>
              <a:gd name="connsiteY1" fmla="*/ 66844076 h 74710193"/>
              <a:gd name="connsiteX2" fmla="*/ 3771247 w 9285248"/>
              <a:gd name="connsiteY2" fmla="*/ 68564374 h 74710193"/>
              <a:gd name="connsiteX3" fmla="*/ 5237054 w 9285248"/>
              <a:gd name="connsiteY3" fmla="*/ 23347080 h 74710193"/>
              <a:gd name="connsiteX4" fmla="*/ 7004027 w 9285248"/>
              <a:gd name="connsiteY4" fmla="*/ 38953126 h 74710193"/>
              <a:gd name="connsiteX5" fmla="*/ 9285248 w 9285248"/>
              <a:gd name="connsiteY5" fmla="*/ 51035945 h 74710193"/>
              <a:gd name="connsiteX0" fmla="*/ 0 w 9285248"/>
              <a:gd name="connsiteY0" fmla="*/ 9605 h 74710193"/>
              <a:gd name="connsiteX1" fmla="*/ 2195751 w 9285248"/>
              <a:gd name="connsiteY1" fmla="*/ 66844076 h 74710193"/>
              <a:gd name="connsiteX2" fmla="*/ 3771247 w 9285248"/>
              <a:gd name="connsiteY2" fmla="*/ 68564374 h 74710193"/>
              <a:gd name="connsiteX3" fmla="*/ 5237054 w 9285248"/>
              <a:gd name="connsiteY3" fmla="*/ 23347080 h 74710193"/>
              <a:gd name="connsiteX4" fmla="*/ 7004027 w 9285248"/>
              <a:gd name="connsiteY4" fmla="*/ 38953126 h 74710193"/>
              <a:gd name="connsiteX5" fmla="*/ 9285248 w 9285248"/>
              <a:gd name="connsiteY5" fmla="*/ 51035945 h 74710193"/>
              <a:gd name="connsiteX0" fmla="*/ 0 w 9285248"/>
              <a:gd name="connsiteY0" fmla="*/ 9605 h 74180221"/>
              <a:gd name="connsiteX1" fmla="*/ 2195751 w 9285248"/>
              <a:gd name="connsiteY1" fmla="*/ 66844076 h 74180221"/>
              <a:gd name="connsiteX2" fmla="*/ 3771247 w 9285248"/>
              <a:gd name="connsiteY2" fmla="*/ 68564374 h 74180221"/>
              <a:gd name="connsiteX3" fmla="*/ 5267525 w 9285248"/>
              <a:gd name="connsiteY3" fmla="*/ 32202264 h 74180221"/>
              <a:gd name="connsiteX4" fmla="*/ 7004027 w 9285248"/>
              <a:gd name="connsiteY4" fmla="*/ 38953126 h 74180221"/>
              <a:gd name="connsiteX5" fmla="*/ 9285248 w 9285248"/>
              <a:gd name="connsiteY5" fmla="*/ 51035945 h 74180221"/>
              <a:gd name="connsiteX0" fmla="*/ 0 w 9178598"/>
              <a:gd name="connsiteY0" fmla="*/ 14093796 h 39583672"/>
              <a:gd name="connsiteX1" fmla="*/ 2089101 w 9178598"/>
              <a:gd name="connsiteY1" fmla="*/ 34881268 h 39583672"/>
              <a:gd name="connsiteX2" fmla="*/ 3664597 w 9178598"/>
              <a:gd name="connsiteY2" fmla="*/ 36601566 h 39583672"/>
              <a:gd name="connsiteX3" fmla="*/ 5160875 w 9178598"/>
              <a:gd name="connsiteY3" fmla="*/ 239456 h 39583672"/>
              <a:gd name="connsiteX4" fmla="*/ 6897377 w 9178598"/>
              <a:gd name="connsiteY4" fmla="*/ 6990318 h 39583672"/>
              <a:gd name="connsiteX5" fmla="*/ 9178598 w 9178598"/>
              <a:gd name="connsiteY5" fmla="*/ 19073137 h 39583672"/>
              <a:gd name="connsiteX0" fmla="*/ 0 w 9178598"/>
              <a:gd name="connsiteY0" fmla="*/ 25848838 h 47073603"/>
              <a:gd name="connsiteX1" fmla="*/ 2089101 w 9178598"/>
              <a:gd name="connsiteY1" fmla="*/ 46636310 h 47073603"/>
              <a:gd name="connsiteX2" fmla="*/ 3359883 w 9178598"/>
              <a:gd name="connsiteY2" fmla="*/ 1424151 h 47073603"/>
              <a:gd name="connsiteX3" fmla="*/ 5160875 w 9178598"/>
              <a:gd name="connsiteY3" fmla="*/ 11994498 h 47073603"/>
              <a:gd name="connsiteX4" fmla="*/ 6897377 w 9178598"/>
              <a:gd name="connsiteY4" fmla="*/ 18745360 h 47073603"/>
              <a:gd name="connsiteX5" fmla="*/ 9178598 w 9178598"/>
              <a:gd name="connsiteY5" fmla="*/ 30828179 h 47073603"/>
              <a:gd name="connsiteX0" fmla="*/ 0 w 9178598"/>
              <a:gd name="connsiteY0" fmla="*/ 24983859 h 46208624"/>
              <a:gd name="connsiteX1" fmla="*/ 2089101 w 9178598"/>
              <a:gd name="connsiteY1" fmla="*/ 45771331 h 46208624"/>
              <a:gd name="connsiteX2" fmla="*/ 3359883 w 9178598"/>
              <a:gd name="connsiteY2" fmla="*/ 559172 h 46208624"/>
              <a:gd name="connsiteX3" fmla="*/ 5160875 w 9178598"/>
              <a:gd name="connsiteY3" fmla="*/ 11129519 h 46208624"/>
              <a:gd name="connsiteX4" fmla="*/ 6897377 w 9178598"/>
              <a:gd name="connsiteY4" fmla="*/ 17880381 h 46208624"/>
              <a:gd name="connsiteX5" fmla="*/ 9178598 w 9178598"/>
              <a:gd name="connsiteY5" fmla="*/ 29963200 h 46208624"/>
              <a:gd name="connsiteX0" fmla="*/ 0 w 9178598"/>
              <a:gd name="connsiteY0" fmla="*/ 24792758 h 33782575"/>
              <a:gd name="connsiteX1" fmla="*/ 1904558 w 9178598"/>
              <a:gd name="connsiteY1" fmla="*/ 25390406 h 33782575"/>
              <a:gd name="connsiteX2" fmla="*/ 3359883 w 9178598"/>
              <a:gd name="connsiteY2" fmla="*/ 368071 h 33782575"/>
              <a:gd name="connsiteX3" fmla="*/ 5160875 w 9178598"/>
              <a:gd name="connsiteY3" fmla="*/ 10938418 h 33782575"/>
              <a:gd name="connsiteX4" fmla="*/ 6897377 w 9178598"/>
              <a:gd name="connsiteY4" fmla="*/ 17689280 h 33782575"/>
              <a:gd name="connsiteX5" fmla="*/ 9178598 w 9178598"/>
              <a:gd name="connsiteY5" fmla="*/ 29772099 h 33782575"/>
              <a:gd name="connsiteX0" fmla="*/ 0 w 9178598"/>
              <a:gd name="connsiteY0" fmla="*/ 14162795 h 23152612"/>
              <a:gd name="connsiteX1" fmla="*/ 1904558 w 9178598"/>
              <a:gd name="connsiteY1" fmla="*/ 14760443 h 23152612"/>
              <a:gd name="connsiteX2" fmla="*/ 3370738 w 9178598"/>
              <a:gd name="connsiteY2" fmla="*/ 16868187 h 23152612"/>
              <a:gd name="connsiteX3" fmla="*/ 5160875 w 9178598"/>
              <a:gd name="connsiteY3" fmla="*/ 308455 h 23152612"/>
              <a:gd name="connsiteX4" fmla="*/ 6897377 w 9178598"/>
              <a:gd name="connsiteY4" fmla="*/ 7059317 h 23152612"/>
              <a:gd name="connsiteX5" fmla="*/ 9178598 w 9178598"/>
              <a:gd name="connsiteY5" fmla="*/ 19142136 h 23152612"/>
              <a:gd name="connsiteX0" fmla="*/ 0 w 9178598"/>
              <a:gd name="connsiteY0" fmla="*/ 7609713 h 16599530"/>
              <a:gd name="connsiteX1" fmla="*/ 1904558 w 9178598"/>
              <a:gd name="connsiteY1" fmla="*/ 8207361 h 16599530"/>
              <a:gd name="connsiteX2" fmla="*/ 3370738 w 9178598"/>
              <a:gd name="connsiteY2" fmla="*/ 10315105 h 16599530"/>
              <a:gd name="connsiteX3" fmla="*/ 5171731 w 9178598"/>
              <a:gd name="connsiteY3" fmla="*/ 11421471 h 16599530"/>
              <a:gd name="connsiteX4" fmla="*/ 6897377 w 9178598"/>
              <a:gd name="connsiteY4" fmla="*/ 506235 h 16599530"/>
              <a:gd name="connsiteX5" fmla="*/ 9178598 w 9178598"/>
              <a:gd name="connsiteY5" fmla="*/ 12589054 h 16599530"/>
              <a:gd name="connsiteX0" fmla="*/ 0 w 9178598"/>
              <a:gd name="connsiteY0" fmla="*/ 425864 h 10681189"/>
              <a:gd name="connsiteX1" fmla="*/ 1904558 w 9178598"/>
              <a:gd name="connsiteY1" fmla="*/ 1023512 h 10681189"/>
              <a:gd name="connsiteX2" fmla="*/ 3370738 w 9178598"/>
              <a:gd name="connsiteY2" fmla="*/ 3131256 h 10681189"/>
              <a:gd name="connsiteX3" fmla="*/ 5171731 w 9178598"/>
              <a:gd name="connsiteY3" fmla="*/ 4237622 h 10681189"/>
              <a:gd name="connsiteX4" fmla="*/ 6897377 w 9178598"/>
              <a:gd name="connsiteY4" fmla="*/ 893572 h 10681189"/>
              <a:gd name="connsiteX5" fmla="*/ 9178598 w 9178598"/>
              <a:gd name="connsiteY5" fmla="*/ 5405205 h 10681189"/>
              <a:gd name="connsiteX0" fmla="*/ 0 w 9178598"/>
              <a:gd name="connsiteY0" fmla="*/ 7739708 h 164136128"/>
              <a:gd name="connsiteX1" fmla="*/ 1904558 w 9178598"/>
              <a:gd name="connsiteY1" fmla="*/ 8337356 h 164136128"/>
              <a:gd name="connsiteX2" fmla="*/ 3370738 w 9178598"/>
              <a:gd name="connsiteY2" fmla="*/ 10445100 h 164136128"/>
              <a:gd name="connsiteX3" fmla="*/ 5171731 w 9178598"/>
              <a:gd name="connsiteY3" fmla="*/ 11551466 h 164136128"/>
              <a:gd name="connsiteX4" fmla="*/ 6744124 w 9178598"/>
              <a:gd name="connsiteY4" fmla="*/ 164084736 h 164136128"/>
              <a:gd name="connsiteX5" fmla="*/ 9178598 w 9178598"/>
              <a:gd name="connsiteY5" fmla="*/ 12719049 h 164136128"/>
              <a:gd name="connsiteX0" fmla="*/ 0 w 9178598"/>
              <a:gd name="connsiteY0" fmla="*/ 7739708 h 164084737"/>
              <a:gd name="connsiteX1" fmla="*/ 1904558 w 9178598"/>
              <a:gd name="connsiteY1" fmla="*/ 8337356 h 164084737"/>
              <a:gd name="connsiteX2" fmla="*/ 3370738 w 9178598"/>
              <a:gd name="connsiteY2" fmla="*/ 10445100 h 164084737"/>
              <a:gd name="connsiteX3" fmla="*/ 5171731 w 9178598"/>
              <a:gd name="connsiteY3" fmla="*/ 11551466 h 164084737"/>
              <a:gd name="connsiteX4" fmla="*/ 6744124 w 9178598"/>
              <a:gd name="connsiteY4" fmla="*/ 164084736 h 164084737"/>
              <a:gd name="connsiteX5" fmla="*/ 9178598 w 9178598"/>
              <a:gd name="connsiteY5" fmla="*/ 12719049 h 164084737"/>
              <a:gd name="connsiteX0" fmla="*/ 0 w 9178598"/>
              <a:gd name="connsiteY0" fmla="*/ 7739708 h 164084737"/>
              <a:gd name="connsiteX1" fmla="*/ 1904558 w 9178598"/>
              <a:gd name="connsiteY1" fmla="*/ 8337356 h 164084737"/>
              <a:gd name="connsiteX2" fmla="*/ 3370738 w 9178598"/>
              <a:gd name="connsiteY2" fmla="*/ 10445100 h 164084737"/>
              <a:gd name="connsiteX3" fmla="*/ 5171731 w 9178598"/>
              <a:gd name="connsiteY3" fmla="*/ 11551466 h 164084737"/>
              <a:gd name="connsiteX4" fmla="*/ 6744124 w 9178598"/>
              <a:gd name="connsiteY4" fmla="*/ 164084736 h 164084737"/>
              <a:gd name="connsiteX5" fmla="*/ 9178598 w 9178598"/>
              <a:gd name="connsiteY5" fmla="*/ 12719049 h 164084737"/>
              <a:gd name="connsiteX0" fmla="*/ 0 w 9178598"/>
              <a:gd name="connsiteY0" fmla="*/ 7824163 h 164633366"/>
              <a:gd name="connsiteX1" fmla="*/ 1904558 w 9178598"/>
              <a:gd name="connsiteY1" fmla="*/ 8421811 h 164633366"/>
              <a:gd name="connsiteX2" fmla="*/ 3370738 w 9178598"/>
              <a:gd name="connsiteY2" fmla="*/ 10529555 h 164633366"/>
              <a:gd name="connsiteX3" fmla="*/ 5001449 w 9178598"/>
              <a:gd name="connsiteY3" fmla="*/ 144255419 h 164633366"/>
              <a:gd name="connsiteX4" fmla="*/ 6744124 w 9178598"/>
              <a:gd name="connsiteY4" fmla="*/ 164169191 h 164633366"/>
              <a:gd name="connsiteX5" fmla="*/ 9178598 w 9178598"/>
              <a:gd name="connsiteY5" fmla="*/ 12803504 h 164633366"/>
              <a:gd name="connsiteX0" fmla="*/ 0 w 9178598"/>
              <a:gd name="connsiteY0" fmla="*/ 7824163 h 164169192"/>
              <a:gd name="connsiteX1" fmla="*/ 1904558 w 9178598"/>
              <a:gd name="connsiteY1" fmla="*/ 8421811 h 164169192"/>
              <a:gd name="connsiteX2" fmla="*/ 3370738 w 9178598"/>
              <a:gd name="connsiteY2" fmla="*/ 10529555 h 164169192"/>
              <a:gd name="connsiteX3" fmla="*/ 5001449 w 9178598"/>
              <a:gd name="connsiteY3" fmla="*/ 144255419 h 164169192"/>
              <a:gd name="connsiteX4" fmla="*/ 6744124 w 9178598"/>
              <a:gd name="connsiteY4" fmla="*/ 164169191 h 164169192"/>
              <a:gd name="connsiteX5" fmla="*/ 9178598 w 9178598"/>
              <a:gd name="connsiteY5" fmla="*/ 12803504 h 164169192"/>
              <a:gd name="connsiteX0" fmla="*/ 0 w 9178598"/>
              <a:gd name="connsiteY0" fmla="*/ 3310 h 163714512"/>
              <a:gd name="connsiteX1" fmla="*/ 1602890 w 9178598"/>
              <a:gd name="connsiteY1" fmla="*/ 163713519 h 163714512"/>
              <a:gd name="connsiteX2" fmla="*/ 3370738 w 9178598"/>
              <a:gd name="connsiteY2" fmla="*/ 2708702 h 163714512"/>
              <a:gd name="connsiteX3" fmla="*/ 5001449 w 9178598"/>
              <a:gd name="connsiteY3" fmla="*/ 136434566 h 163714512"/>
              <a:gd name="connsiteX4" fmla="*/ 6744124 w 9178598"/>
              <a:gd name="connsiteY4" fmla="*/ 156348338 h 163714512"/>
              <a:gd name="connsiteX5" fmla="*/ 9178598 w 9178598"/>
              <a:gd name="connsiteY5" fmla="*/ 4982651 h 163714512"/>
              <a:gd name="connsiteX0" fmla="*/ 0 w 9178598"/>
              <a:gd name="connsiteY0" fmla="*/ 3255 h 166370940"/>
              <a:gd name="connsiteX1" fmla="*/ 1584608 w 9178598"/>
              <a:gd name="connsiteY1" fmla="*/ 166370002 h 166370940"/>
              <a:gd name="connsiteX2" fmla="*/ 3370738 w 9178598"/>
              <a:gd name="connsiteY2" fmla="*/ 2708647 h 166370940"/>
              <a:gd name="connsiteX3" fmla="*/ 5001449 w 9178598"/>
              <a:gd name="connsiteY3" fmla="*/ 136434511 h 166370940"/>
              <a:gd name="connsiteX4" fmla="*/ 6744124 w 9178598"/>
              <a:gd name="connsiteY4" fmla="*/ 156348283 h 166370940"/>
              <a:gd name="connsiteX5" fmla="*/ 9178598 w 9178598"/>
              <a:gd name="connsiteY5" fmla="*/ 4982596 h 166370940"/>
              <a:gd name="connsiteX0" fmla="*/ 0 w 9352285"/>
              <a:gd name="connsiteY0" fmla="*/ 155244621 h 173297007"/>
              <a:gd name="connsiteX1" fmla="*/ 1758295 w 9352285"/>
              <a:gd name="connsiteY1" fmla="*/ 163811939 h 173297007"/>
              <a:gd name="connsiteX2" fmla="*/ 3544425 w 9352285"/>
              <a:gd name="connsiteY2" fmla="*/ 150584 h 173297007"/>
              <a:gd name="connsiteX3" fmla="*/ 5175136 w 9352285"/>
              <a:gd name="connsiteY3" fmla="*/ 133876448 h 173297007"/>
              <a:gd name="connsiteX4" fmla="*/ 6917811 w 9352285"/>
              <a:gd name="connsiteY4" fmla="*/ 153790220 h 173297007"/>
              <a:gd name="connsiteX5" fmla="*/ 9352285 w 9352285"/>
              <a:gd name="connsiteY5" fmla="*/ 2424533 h 173297007"/>
              <a:gd name="connsiteX0" fmla="*/ 0 w 9352285"/>
              <a:gd name="connsiteY0" fmla="*/ 155244621 h 173919052"/>
              <a:gd name="connsiteX1" fmla="*/ 1758295 w 9352285"/>
              <a:gd name="connsiteY1" fmla="*/ 163811939 h 173919052"/>
              <a:gd name="connsiteX2" fmla="*/ 3544425 w 9352285"/>
              <a:gd name="connsiteY2" fmla="*/ 150584 h 173919052"/>
              <a:gd name="connsiteX3" fmla="*/ 5175136 w 9352285"/>
              <a:gd name="connsiteY3" fmla="*/ 133876448 h 173919052"/>
              <a:gd name="connsiteX4" fmla="*/ 6917811 w 9352285"/>
              <a:gd name="connsiteY4" fmla="*/ 153790220 h 173919052"/>
              <a:gd name="connsiteX5" fmla="*/ 9352285 w 9352285"/>
              <a:gd name="connsiteY5" fmla="*/ 2424533 h 173919052"/>
              <a:gd name="connsiteX0" fmla="*/ 0 w 9352285"/>
              <a:gd name="connsiteY0" fmla="*/ 155244621 h 173644544"/>
              <a:gd name="connsiteX1" fmla="*/ 1758295 w 9352285"/>
              <a:gd name="connsiteY1" fmla="*/ 163811939 h 173644544"/>
              <a:gd name="connsiteX2" fmla="*/ 3544425 w 9352285"/>
              <a:gd name="connsiteY2" fmla="*/ 150584 h 173644544"/>
              <a:gd name="connsiteX3" fmla="*/ 5175136 w 9352285"/>
              <a:gd name="connsiteY3" fmla="*/ 133876448 h 173644544"/>
              <a:gd name="connsiteX4" fmla="*/ 6917811 w 9352285"/>
              <a:gd name="connsiteY4" fmla="*/ 153790220 h 173644544"/>
              <a:gd name="connsiteX5" fmla="*/ 9352285 w 9352285"/>
              <a:gd name="connsiteY5" fmla="*/ 2424533 h 173644544"/>
              <a:gd name="connsiteX0" fmla="*/ 0 w 9352285"/>
              <a:gd name="connsiteY0" fmla="*/ 155244621 h 163965670"/>
              <a:gd name="connsiteX1" fmla="*/ 1758295 w 9352285"/>
              <a:gd name="connsiteY1" fmla="*/ 163811939 h 163965670"/>
              <a:gd name="connsiteX2" fmla="*/ 3544425 w 9352285"/>
              <a:gd name="connsiteY2" fmla="*/ 150584 h 163965670"/>
              <a:gd name="connsiteX3" fmla="*/ 5175136 w 9352285"/>
              <a:gd name="connsiteY3" fmla="*/ 133876448 h 163965670"/>
              <a:gd name="connsiteX4" fmla="*/ 6917811 w 9352285"/>
              <a:gd name="connsiteY4" fmla="*/ 153790220 h 163965670"/>
              <a:gd name="connsiteX5" fmla="*/ 9352285 w 9352285"/>
              <a:gd name="connsiteY5" fmla="*/ 2424533 h 163965670"/>
              <a:gd name="connsiteX0" fmla="*/ 0 w 9352285"/>
              <a:gd name="connsiteY0" fmla="*/ 152820086 h 162176097"/>
              <a:gd name="connsiteX1" fmla="*/ 1758295 w 9352285"/>
              <a:gd name="connsiteY1" fmla="*/ 161387404 h 162176097"/>
              <a:gd name="connsiteX2" fmla="*/ 3443870 w 9352285"/>
              <a:gd name="connsiteY2" fmla="*/ 130022572 h 162176097"/>
              <a:gd name="connsiteX3" fmla="*/ 5175136 w 9352285"/>
              <a:gd name="connsiteY3" fmla="*/ 131451913 h 162176097"/>
              <a:gd name="connsiteX4" fmla="*/ 6917811 w 9352285"/>
              <a:gd name="connsiteY4" fmla="*/ 151365685 h 162176097"/>
              <a:gd name="connsiteX5" fmla="*/ 9352285 w 9352285"/>
              <a:gd name="connsiteY5" fmla="*/ -2 h 162176097"/>
              <a:gd name="connsiteX0" fmla="*/ 0 w 9352285"/>
              <a:gd name="connsiteY0" fmla="*/ 152820086 h 162176097"/>
              <a:gd name="connsiteX1" fmla="*/ 1758295 w 9352285"/>
              <a:gd name="connsiteY1" fmla="*/ 161387404 h 162176097"/>
              <a:gd name="connsiteX2" fmla="*/ 3443870 w 9352285"/>
              <a:gd name="connsiteY2" fmla="*/ 130022572 h 162176097"/>
              <a:gd name="connsiteX3" fmla="*/ 5175136 w 9352285"/>
              <a:gd name="connsiteY3" fmla="*/ 131451913 h 162176097"/>
              <a:gd name="connsiteX4" fmla="*/ 6917811 w 9352285"/>
              <a:gd name="connsiteY4" fmla="*/ 151365685 h 162176097"/>
              <a:gd name="connsiteX5" fmla="*/ 9352285 w 9352285"/>
              <a:gd name="connsiteY5" fmla="*/ -2 h 162176097"/>
              <a:gd name="connsiteX0" fmla="*/ 0 w 8539112"/>
              <a:gd name="connsiteY0" fmla="*/ 31681126 h 41037137"/>
              <a:gd name="connsiteX1" fmla="*/ 1758295 w 8539112"/>
              <a:gd name="connsiteY1" fmla="*/ 40248444 h 41037137"/>
              <a:gd name="connsiteX2" fmla="*/ 3443870 w 8539112"/>
              <a:gd name="connsiteY2" fmla="*/ 8883612 h 41037137"/>
              <a:gd name="connsiteX3" fmla="*/ 5175136 w 8539112"/>
              <a:gd name="connsiteY3" fmla="*/ 10312953 h 41037137"/>
              <a:gd name="connsiteX4" fmla="*/ 6917811 w 8539112"/>
              <a:gd name="connsiteY4" fmla="*/ 30226725 h 41037137"/>
              <a:gd name="connsiteX5" fmla="*/ 8539112 w 8539112"/>
              <a:gd name="connsiteY5" fmla="*/ 0 h 41037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39112" h="41037137">
                <a:moveTo>
                  <a:pt x="0" y="31681126"/>
                </a:moveTo>
                <a:cubicBezTo>
                  <a:pt x="332929" y="32952651"/>
                  <a:pt x="1184317" y="44048030"/>
                  <a:pt x="1758295" y="40248444"/>
                </a:cubicBezTo>
                <a:cubicBezTo>
                  <a:pt x="2332273" y="36448858"/>
                  <a:pt x="2984094" y="12278887"/>
                  <a:pt x="3443870" y="8883612"/>
                </a:cubicBezTo>
                <a:cubicBezTo>
                  <a:pt x="3903646" y="5488337"/>
                  <a:pt x="4596146" y="6755767"/>
                  <a:pt x="5175136" y="10312953"/>
                </a:cubicBezTo>
                <a:cubicBezTo>
                  <a:pt x="5754126" y="13870139"/>
                  <a:pt x="6478072" y="30056877"/>
                  <a:pt x="6917811" y="30226725"/>
                </a:cubicBezTo>
                <a:cubicBezTo>
                  <a:pt x="7451206" y="28912036"/>
                  <a:pt x="8062919" y="12828050"/>
                  <a:pt x="8539112" y="0"/>
                </a:cubicBezTo>
              </a:path>
            </a:pathLst>
          </a:custGeom>
          <a:noFill/>
          <a:ln w="136525" cap="rnd" algn="ctr">
            <a:solidFill>
              <a:srgbClr val="FFCD00"/>
            </a:solidFill>
            <a:round/>
            <a:headEnd/>
            <a:tailEnd/>
          </a:ln>
        </p:spPr>
        <p:txBody>
          <a:bodyPr rtlCol="0" anchor="ctr"/>
          <a:lstStyle/>
          <a:p>
            <a:pPr algn="ctr"/>
            <a:endParaRPr lang="en-US" b="1" dirty="0"/>
          </a:p>
        </p:txBody>
      </p:sp>
      <p:sp>
        <p:nvSpPr>
          <p:cNvPr id="92" name="Freeform: Shape 91">
            <a:extLst>
              <a:ext uri="{FF2B5EF4-FFF2-40B4-BE49-F238E27FC236}">
                <a16:creationId xmlns:a16="http://schemas.microsoft.com/office/drawing/2014/main" id="{F3CB72AE-A6D2-4A77-8686-4A42215E0BDA}"/>
              </a:ext>
            </a:extLst>
          </p:cNvPr>
          <p:cNvSpPr/>
          <p:nvPr/>
        </p:nvSpPr>
        <p:spPr bwMode="gray">
          <a:xfrm flipV="1">
            <a:off x="1365595" y="2990255"/>
            <a:ext cx="8927615" cy="1668430"/>
          </a:xfrm>
          <a:custGeom>
            <a:avLst/>
            <a:gdLst>
              <a:gd name="connsiteX0" fmla="*/ 0 w 9855200"/>
              <a:gd name="connsiteY0" fmla="*/ 2713159 h 3112619"/>
              <a:gd name="connsiteX1" fmla="*/ 939800 w 9855200"/>
              <a:gd name="connsiteY1" fmla="*/ 731959 h 3112619"/>
              <a:gd name="connsiteX2" fmla="*/ 1972733 w 9855200"/>
              <a:gd name="connsiteY2" fmla="*/ 1070626 h 3112619"/>
              <a:gd name="connsiteX3" fmla="*/ 2921000 w 9855200"/>
              <a:gd name="connsiteY3" fmla="*/ 1620959 h 3112619"/>
              <a:gd name="connsiteX4" fmla="*/ 3877733 w 9855200"/>
              <a:gd name="connsiteY4" fmla="*/ 706559 h 3112619"/>
              <a:gd name="connsiteX5" fmla="*/ 4910666 w 9855200"/>
              <a:gd name="connsiteY5" fmla="*/ 672692 h 3112619"/>
              <a:gd name="connsiteX6" fmla="*/ 5808133 w 9855200"/>
              <a:gd name="connsiteY6" fmla="*/ 173159 h 3112619"/>
              <a:gd name="connsiteX7" fmla="*/ 6874933 w 9855200"/>
              <a:gd name="connsiteY7" fmla="*/ 113892 h 3112619"/>
              <a:gd name="connsiteX8" fmla="*/ 7882466 w 9855200"/>
              <a:gd name="connsiteY8" fmla="*/ 1637892 h 3112619"/>
              <a:gd name="connsiteX9" fmla="*/ 8805333 w 9855200"/>
              <a:gd name="connsiteY9" fmla="*/ 2975626 h 3112619"/>
              <a:gd name="connsiteX10" fmla="*/ 9855200 w 9855200"/>
              <a:gd name="connsiteY10" fmla="*/ 3068759 h 3112619"/>
              <a:gd name="connsiteX11" fmla="*/ 9855200 w 9855200"/>
              <a:gd name="connsiteY11" fmla="*/ 3068759 h 3112619"/>
              <a:gd name="connsiteX0" fmla="*/ 0 w 9855200"/>
              <a:gd name="connsiteY0" fmla="*/ 2564478 h 2963938"/>
              <a:gd name="connsiteX1" fmla="*/ 939800 w 9855200"/>
              <a:gd name="connsiteY1" fmla="*/ 583278 h 2963938"/>
              <a:gd name="connsiteX2" fmla="*/ 1972733 w 9855200"/>
              <a:gd name="connsiteY2" fmla="*/ 921945 h 2963938"/>
              <a:gd name="connsiteX3" fmla="*/ 2921000 w 9855200"/>
              <a:gd name="connsiteY3" fmla="*/ 1472278 h 2963938"/>
              <a:gd name="connsiteX4" fmla="*/ 3877733 w 9855200"/>
              <a:gd name="connsiteY4" fmla="*/ 557878 h 2963938"/>
              <a:gd name="connsiteX5" fmla="*/ 4910666 w 9855200"/>
              <a:gd name="connsiteY5" fmla="*/ 524011 h 2963938"/>
              <a:gd name="connsiteX6" fmla="*/ 5808133 w 9855200"/>
              <a:gd name="connsiteY6" fmla="*/ 24478 h 2963938"/>
              <a:gd name="connsiteX7" fmla="*/ 6671569 w 9855200"/>
              <a:gd name="connsiteY7" fmla="*/ 1404544 h 2963938"/>
              <a:gd name="connsiteX8" fmla="*/ 7882466 w 9855200"/>
              <a:gd name="connsiteY8" fmla="*/ 1489211 h 2963938"/>
              <a:gd name="connsiteX9" fmla="*/ 8805333 w 9855200"/>
              <a:gd name="connsiteY9" fmla="*/ 2826945 h 2963938"/>
              <a:gd name="connsiteX10" fmla="*/ 9855200 w 9855200"/>
              <a:gd name="connsiteY10" fmla="*/ 2920078 h 2963938"/>
              <a:gd name="connsiteX11" fmla="*/ 9855200 w 9855200"/>
              <a:gd name="connsiteY11" fmla="*/ 2920078 h 2963938"/>
              <a:gd name="connsiteX0" fmla="*/ 0 w 9855200"/>
              <a:gd name="connsiteY0" fmla="*/ 2124213 h 2523673"/>
              <a:gd name="connsiteX1" fmla="*/ 939800 w 9855200"/>
              <a:gd name="connsiteY1" fmla="*/ 143013 h 2523673"/>
              <a:gd name="connsiteX2" fmla="*/ 1972733 w 9855200"/>
              <a:gd name="connsiteY2" fmla="*/ 481680 h 2523673"/>
              <a:gd name="connsiteX3" fmla="*/ 2921000 w 9855200"/>
              <a:gd name="connsiteY3" fmla="*/ 1032013 h 2523673"/>
              <a:gd name="connsiteX4" fmla="*/ 3877733 w 9855200"/>
              <a:gd name="connsiteY4" fmla="*/ 117613 h 2523673"/>
              <a:gd name="connsiteX5" fmla="*/ 4910666 w 9855200"/>
              <a:gd name="connsiteY5" fmla="*/ 83746 h 2523673"/>
              <a:gd name="connsiteX6" fmla="*/ 5850501 w 9855200"/>
              <a:gd name="connsiteY6" fmla="*/ 778013 h 2523673"/>
              <a:gd name="connsiteX7" fmla="*/ 6671569 w 9855200"/>
              <a:gd name="connsiteY7" fmla="*/ 964279 h 2523673"/>
              <a:gd name="connsiteX8" fmla="*/ 7882466 w 9855200"/>
              <a:gd name="connsiteY8" fmla="*/ 1048946 h 2523673"/>
              <a:gd name="connsiteX9" fmla="*/ 8805333 w 9855200"/>
              <a:gd name="connsiteY9" fmla="*/ 2386680 h 2523673"/>
              <a:gd name="connsiteX10" fmla="*/ 9855200 w 9855200"/>
              <a:gd name="connsiteY10" fmla="*/ 2479813 h 2523673"/>
              <a:gd name="connsiteX11" fmla="*/ 9855200 w 9855200"/>
              <a:gd name="connsiteY11" fmla="*/ 2479813 h 2523673"/>
              <a:gd name="connsiteX0" fmla="*/ 0 w 9855200"/>
              <a:gd name="connsiteY0" fmla="*/ 77721500 h 77721500"/>
              <a:gd name="connsiteX1" fmla="*/ 939800 w 9855200"/>
              <a:gd name="connsiteY1" fmla="*/ 5286241 h 77721500"/>
              <a:gd name="connsiteX2" fmla="*/ 1972733 w 9855200"/>
              <a:gd name="connsiteY2" fmla="*/ 5624908 h 77721500"/>
              <a:gd name="connsiteX3" fmla="*/ 2921000 w 9855200"/>
              <a:gd name="connsiteY3" fmla="*/ 6175241 h 77721500"/>
              <a:gd name="connsiteX4" fmla="*/ 3877733 w 9855200"/>
              <a:gd name="connsiteY4" fmla="*/ 5260841 h 77721500"/>
              <a:gd name="connsiteX5" fmla="*/ 4910666 w 9855200"/>
              <a:gd name="connsiteY5" fmla="*/ 5226974 h 77721500"/>
              <a:gd name="connsiteX6" fmla="*/ 5850501 w 9855200"/>
              <a:gd name="connsiteY6" fmla="*/ 5921241 h 77721500"/>
              <a:gd name="connsiteX7" fmla="*/ 6671569 w 9855200"/>
              <a:gd name="connsiteY7" fmla="*/ 6107507 h 77721500"/>
              <a:gd name="connsiteX8" fmla="*/ 7882466 w 9855200"/>
              <a:gd name="connsiteY8" fmla="*/ 6192174 h 77721500"/>
              <a:gd name="connsiteX9" fmla="*/ 8805333 w 9855200"/>
              <a:gd name="connsiteY9" fmla="*/ 7529908 h 77721500"/>
              <a:gd name="connsiteX10" fmla="*/ 9855200 w 9855200"/>
              <a:gd name="connsiteY10" fmla="*/ 7623041 h 77721500"/>
              <a:gd name="connsiteX11" fmla="*/ 9855200 w 9855200"/>
              <a:gd name="connsiteY11" fmla="*/ 7623041 h 77721500"/>
              <a:gd name="connsiteX0" fmla="*/ 0 w 9855200"/>
              <a:gd name="connsiteY0" fmla="*/ 84105671 h 177717882"/>
              <a:gd name="connsiteX1" fmla="*/ 994077 w 9855200"/>
              <a:gd name="connsiteY1" fmla="*/ 176764308 h 177717882"/>
              <a:gd name="connsiteX2" fmla="*/ 1972733 w 9855200"/>
              <a:gd name="connsiteY2" fmla="*/ 12009079 h 177717882"/>
              <a:gd name="connsiteX3" fmla="*/ 2921000 w 9855200"/>
              <a:gd name="connsiteY3" fmla="*/ 12559412 h 177717882"/>
              <a:gd name="connsiteX4" fmla="*/ 3877733 w 9855200"/>
              <a:gd name="connsiteY4" fmla="*/ 11645012 h 177717882"/>
              <a:gd name="connsiteX5" fmla="*/ 4910666 w 9855200"/>
              <a:gd name="connsiteY5" fmla="*/ 11611145 h 177717882"/>
              <a:gd name="connsiteX6" fmla="*/ 5850501 w 9855200"/>
              <a:gd name="connsiteY6" fmla="*/ 12305412 h 177717882"/>
              <a:gd name="connsiteX7" fmla="*/ 6671569 w 9855200"/>
              <a:gd name="connsiteY7" fmla="*/ 12491678 h 177717882"/>
              <a:gd name="connsiteX8" fmla="*/ 7882466 w 9855200"/>
              <a:gd name="connsiteY8" fmla="*/ 12576345 h 177717882"/>
              <a:gd name="connsiteX9" fmla="*/ 8805333 w 9855200"/>
              <a:gd name="connsiteY9" fmla="*/ 13914079 h 177717882"/>
              <a:gd name="connsiteX10" fmla="*/ 9855200 w 9855200"/>
              <a:gd name="connsiteY10" fmla="*/ 14007212 h 177717882"/>
              <a:gd name="connsiteX11" fmla="*/ 9855200 w 9855200"/>
              <a:gd name="connsiteY11" fmla="*/ 14007212 h 177717882"/>
              <a:gd name="connsiteX0" fmla="*/ 0 w 9855200"/>
              <a:gd name="connsiteY0" fmla="*/ 77896814 h 170594753"/>
              <a:gd name="connsiteX1" fmla="*/ 994077 w 9855200"/>
              <a:gd name="connsiteY1" fmla="*/ 170555451 h 170594753"/>
              <a:gd name="connsiteX2" fmla="*/ 1963687 w 9855200"/>
              <a:gd name="connsiteY2" fmla="*/ 88347158 h 170594753"/>
              <a:gd name="connsiteX3" fmla="*/ 2921000 w 9855200"/>
              <a:gd name="connsiteY3" fmla="*/ 6350555 h 170594753"/>
              <a:gd name="connsiteX4" fmla="*/ 3877733 w 9855200"/>
              <a:gd name="connsiteY4" fmla="*/ 5436155 h 170594753"/>
              <a:gd name="connsiteX5" fmla="*/ 4910666 w 9855200"/>
              <a:gd name="connsiteY5" fmla="*/ 5402288 h 170594753"/>
              <a:gd name="connsiteX6" fmla="*/ 5850501 w 9855200"/>
              <a:gd name="connsiteY6" fmla="*/ 6096555 h 170594753"/>
              <a:gd name="connsiteX7" fmla="*/ 6671569 w 9855200"/>
              <a:gd name="connsiteY7" fmla="*/ 6282821 h 170594753"/>
              <a:gd name="connsiteX8" fmla="*/ 7882466 w 9855200"/>
              <a:gd name="connsiteY8" fmla="*/ 6367488 h 170594753"/>
              <a:gd name="connsiteX9" fmla="*/ 8805333 w 9855200"/>
              <a:gd name="connsiteY9" fmla="*/ 7705222 h 170594753"/>
              <a:gd name="connsiteX10" fmla="*/ 9855200 w 9855200"/>
              <a:gd name="connsiteY10" fmla="*/ 7798355 h 170594753"/>
              <a:gd name="connsiteX11" fmla="*/ 9855200 w 9855200"/>
              <a:gd name="connsiteY11" fmla="*/ 7798355 h 170594753"/>
              <a:gd name="connsiteX0" fmla="*/ 0 w 9855200"/>
              <a:gd name="connsiteY0" fmla="*/ 83741850 h 176427921"/>
              <a:gd name="connsiteX1" fmla="*/ 994077 w 9855200"/>
              <a:gd name="connsiteY1" fmla="*/ 176400487 h 176427921"/>
              <a:gd name="connsiteX2" fmla="*/ 1963687 w 9855200"/>
              <a:gd name="connsiteY2" fmla="*/ 94192194 h 176427921"/>
              <a:gd name="connsiteX3" fmla="*/ 2957185 w 9855200"/>
              <a:gd name="connsiteY3" fmla="*/ 163093506 h 176427921"/>
              <a:gd name="connsiteX4" fmla="*/ 3877733 w 9855200"/>
              <a:gd name="connsiteY4" fmla="*/ 11281191 h 176427921"/>
              <a:gd name="connsiteX5" fmla="*/ 4910666 w 9855200"/>
              <a:gd name="connsiteY5" fmla="*/ 11247324 h 176427921"/>
              <a:gd name="connsiteX6" fmla="*/ 5850501 w 9855200"/>
              <a:gd name="connsiteY6" fmla="*/ 11941591 h 176427921"/>
              <a:gd name="connsiteX7" fmla="*/ 6671569 w 9855200"/>
              <a:gd name="connsiteY7" fmla="*/ 12127857 h 176427921"/>
              <a:gd name="connsiteX8" fmla="*/ 7882466 w 9855200"/>
              <a:gd name="connsiteY8" fmla="*/ 12212524 h 176427921"/>
              <a:gd name="connsiteX9" fmla="*/ 8805333 w 9855200"/>
              <a:gd name="connsiteY9" fmla="*/ 13550258 h 176427921"/>
              <a:gd name="connsiteX10" fmla="*/ 9855200 w 9855200"/>
              <a:gd name="connsiteY10" fmla="*/ 13643391 h 176427921"/>
              <a:gd name="connsiteX11" fmla="*/ 9855200 w 9855200"/>
              <a:gd name="connsiteY11" fmla="*/ 13643391 h 176427921"/>
              <a:gd name="connsiteX0" fmla="*/ 0 w 9855200"/>
              <a:gd name="connsiteY0" fmla="*/ 83127367 h 175813438"/>
              <a:gd name="connsiteX1" fmla="*/ 994077 w 9855200"/>
              <a:gd name="connsiteY1" fmla="*/ 175786004 h 175813438"/>
              <a:gd name="connsiteX2" fmla="*/ 1963687 w 9855200"/>
              <a:gd name="connsiteY2" fmla="*/ 93577711 h 175813438"/>
              <a:gd name="connsiteX3" fmla="*/ 2957185 w 9855200"/>
              <a:gd name="connsiteY3" fmla="*/ 162479023 h 175813438"/>
              <a:gd name="connsiteX4" fmla="*/ 3986287 w 9855200"/>
              <a:gd name="connsiteY4" fmla="*/ 156832650 h 175813438"/>
              <a:gd name="connsiteX5" fmla="*/ 4910666 w 9855200"/>
              <a:gd name="connsiteY5" fmla="*/ 10632841 h 175813438"/>
              <a:gd name="connsiteX6" fmla="*/ 5850501 w 9855200"/>
              <a:gd name="connsiteY6" fmla="*/ 11327108 h 175813438"/>
              <a:gd name="connsiteX7" fmla="*/ 6671569 w 9855200"/>
              <a:gd name="connsiteY7" fmla="*/ 11513374 h 175813438"/>
              <a:gd name="connsiteX8" fmla="*/ 7882466 w 9855200"/>
              <a:gd name="connsiteY8" fmla="*/ 11598041 h 175813438"/>
              <a:gd name="connsiteX9" fmla="*/ 8805333 w 9855200"/>
              <a:gd name="connsiteY9" fmla="*/ 12935775 h 175813438"/>
              <a:gd name="connsiteX10" fmla="*/ 9855200 w 9855200"/>
              <a:gd name="connsiteY10" fmla="*/ 13028908 h 175813438"/>
              <a:gd name="connsiteX11" fmla="*/ 9855200 w 9855200"/>
              <a:gd name="connsiteY11" fmla="*/ 13028908 h 175813438"/>
              <a:gd name="connsiteX0" fmla="*/ 0 w 9855200"/>
              <a:gd name="connsiteY0" fmla="*/ 83127367 h 175813438"/>
              <a:gd name="connsiteX1" fmla="*/ 994077 w 9855200"/>
              <a:gd name="connsiteY1" fmla="*/ 175786004 h 175813438"/>
              <a:gd name="connsiteX2" fmla="*/ 1963687 w 9855200"/>
              <a:gd name="connsiteY2" fmla="*/ 93577711 h 175813438"/>
              <a:gd name="connsiteX3" fmla="*/ 2957185 w 9855200"/>
              <a:gd name="connsiteY3" fmla="*/ 162479023 h 175813438"/>
              <a:gd name="connsiteX4" fmla="*/ 3986287 w 9855200"/>
              <a:gd name="connsiteY4" fmla="*/ 156832650 h 175813438"/>
              <a:gd name="connsiteX5" fmla="*/ 4910666 w 9855200"/>
              <a:gd name="connsiteY5" fmla="*/ 10632841 h 175813438"/>
              <a:gd name="connsiteX6" fmla="*/ 5850501 w 9855200"/>
              <a:gd name="connsiteY6" fmla="*/ 11327108 h 175813438"/>
              <a:gd name="connsiteX7" fmla="*/ 6671569 w 9855200"/>
              <a:gd name="connsiteY7" fmla="*/ 11513374 h 175813438"/>
              <a:gd name="connsiteX8" fmla="*/ 7882466 w 9855200"/>
              <a:gd name="connsiteY8" fmla="*/ 11598041 h 175813438"/>
              <a:gd name="connsiteX9" fmla="*/ 8805333 w 9855200"/>
              <a:gd name="connsiteY9" fmla="*/ 12935775 h 175813438"/>
              <a:gd name="connsiteX10" fmla="*/ 9855200 w 9855200"/>
              <a:gd name="connsiteY10" fmla="*/ 13028908 h 175813438"/>
              <a:gd name="connsiteX11" fmla="*/ 9855200 w 9855200"/>
              <a:gd name="connsiteY11" fmla="*/ 13028908 h 175813438"/>
              <a:gd name="connsiteX0" fmla="*/ 0 w 9855200"/>
              <a:gd name="connsiteY0" fmla="*/ 75280295 h 167966366"/>
              <a:gd name="connsiteX1" fmla="*/ 994077 w 9855200"/>
              <a:gd name="connsiteY1" fmla="*/ 167938932 h 167966366"/>
              <a:gd name="connsiteX2" fmla="*/ 1963687 w 9855200"/>
              <a:gd name="connsiteY2" fmla="*/ 85730639 h 167966366"/>
              <a:gd name="connsiteX3" fmla="*/ 2957185 w 9855200"/>
              <a:gd name="connsiteY3" fmla="*/ 154631951 h 167966366"/>
              <a:gd name="connsiteX4" fmla="*/ 3986287 w 9855200"/>
              <a:gd name="connsiteY4" fmla="*/ 148985578 h 167966366"/>
              <a:gd name="connsiteX5" fmla="*/ 4802111 w 9855200"/>
              <a:gd name="connsiteY5" fmla="*/ 51157218 h 167966366"/>
              <a:gd name="connsiteX6" fmla="*/ 5850501 w 9855200"/>
              <a:gd name="connsiteY6" fmla="*/ 3480036 h 167966366"/>
              <a:gd name="connsiteX7" fmla="*/ 6671569 w 9855200"/>
              <a:gd name="connsiteY7" fmla="*/ 3666302 h 167966366"/>
              <a:gd name="connsiteX8" fmla="*/ 7882466 w 9855200"/>
              <a:gd name="connsiteY8" fmla="*/ 3750969 h 167966366"/>
              <a:gd name="connsiteX9" fmla="*/ 8805333 w 9855200"/>
              <a:gd name="connsiteY9" fmla="*/ 5088703 h 167966366"/>
              <a:gd name="connsiteX10" fmla="*/ 9855200 w 9855200"/>
              <a:gd name="connsiteY10" fmla="*/ 5181836 h 167966366"/>
              <a:gd name="connsiteX11" fmla="*/ 9855200 w 9855200"/>
              <a:gd name="connsiteY11" fmla="*/ 5181836 h 167966366"/>
              <a:gd name="connsiteX0" fmla="*/ 0 w 9855200"/>
              <a:gd name="connsiteY0" fmla="*/ 78629479 h 171315550"/>
              <a:gd name="connsiteX1" fmla="*/ 994077 w 9855200"/>
              <a:gd name="connsiteY1" fmla="*/ 171288116 h 171315550"/>
              <a:gd name="connsiteX2" fmla="*/ 1963687 w 9855200"/>
              <a:gd name="connsiteY2" fmla="*/ 89079823 h 171315550"/>
              <a:gd name="connsiteX3" fmla="*/ 2957185 w 9855200"/>
              <a:gd name="connsiteY3" fmla="*/ 157981135 h 171315550"/>
              <a:gd name="connsiteX4" fmla="*/ 3986287 w 9855200"/>
              <a:gd name="connsiteY4" fmla="*/ 152334762 h 171315550"/>
              <a:gd name="connsiteX5" fmla="*/ 4892573 w 9855200"/>
              <a:gd name="connsiteY5" fmla="*/ 99723199 h 171315550"/>
              <a:gd name="connsiteX6" fmla="*/ 5850501 w 9855200"/>
              <a:gd name="connsiteY6" fmla="*/ 6829220 h 171315550"/>
              <a:gd name="connsiteX7" fmla="*/ 6671569 w 9855200"/>
              <a:gd name="connsiteY7" fmla="*/ 7015486 h 171315550"/>
              <a:gd name="connsiteX8" fmla="*/ 7882466 w 9855200"/>
              <a:gd name="connsiteY8" fmla="*/ 7100153 h 171315550"/>
              <a:gd name="connsiteX9" fmla="*/ 8805333 w 9855200"/>
              <a:gd name="connsiteY9" fmla="*/ 8437887 h 171315550"/>
              <a:gd name="connsiteX10" fmla="*/ 9855200 w 9855200"/>
              <a:gd name="connsiteY10" fmla="*/ 8531020 h 171315550"/>
              <a:gd name="connsiteX11" fmla="*/ 9855200 w 9855200"/>
              <a:gd name="connsiteY11" fmla="*/ 8531020 h 171315550"/>
              <a:gd name="connsiteX0" fmla="*/ 0 w 9855200"/>
              <a:gd name="connsiteY0" fmla="*/ 80893990 h 173580061"/>
              <a:gd name="connsiteX1" fmla="*/ 994077 w 9855200"/>
              <a:gd name="connsiteY1" fmla="*/ 173552627 h 173580061"/>
              <a:gd name="connsiteX2" fmla="*/ 1963687 w 9855200"/>
              <a:gd name="connsiteY2" fmla="*/ 91344334 h 173580061"/>
              <a:gd name="connsiteX3" fmla="*/ 2957185 w 9855200"/>
              <a:gd name="connsiteY3" fmla="*/ 160245646 h 173580061"/>
              <a:gd name="connsiteX4" fmla="*/ 3986287 w 9855200"/>
              <a:gd name="connsiteY4" fmla="*/ 154599273 h 173580061"/>
              <a:gd name="connsiteX5" fmla="*/ 4892573 w 9855200"/>
              <a:gd name="connsiteY5" fmla="*/ 101987710 h 173580061"/>
              <a:gd name="connsiteX6" fmla="*/ 5922871 w 9855200"/>
              <a:gd name="connsiteY6" fmla="*/ 134228614 h 173580061"/>
              <a:gd name="connsiteX7" fmla="*/ 6671569 w 9855200"/>
              <a:gd name="connsiteY7" fmla="*/ 9279997 h 173580061"/>
              <a:gd name="connsiteX8" fmla="*/ 7882466 w 9855200"/>
              <a:gd name="connsiteY8" fmla="*/ 9364664 h 173580061"/>
              <a:gd name="connsiteX9" fmla="*/ 8805333 w 9855200"/>
              <a:gd name="connsiteY9" fmla="*/ 10702398 h 173580061"/>
              <a:gd name="connsiteX10" fmla="*/ 9855200 w 9855200"/>
              <a:gd name="connsiteY10" fmla="*/ 10795531 h 173580061"/>
              <a:gd name="connsiteX11" fmla="*/ 9855200 w 9855200"/>
              <a:gd name="connsiteY11" fmla="*/ 10795531 h 173580061"/>
              <a:gd name="connsiteX0" fmla="*/ 0 w 9855200"/>
              <a:gd name="connsiteY0" fmla="*/ 80893990 h 173580061"/>
              <a:gd name="connsiteX1" fmla="*/ 994077 w 9855200"/>
              <a:gd name="connsiteY1" fmla="*/ 173552627 h 173580061"/>
              <a:gd name="connsiteX2" fmla="*/ 1963687 w 9855200"/>
              <a:gd name="connsiteY2" fmla="*/ 91344334 h 173580061"/>
              <a:gd name="connsiteX3" fmla="*/ 2957185 w 9855200"/>
              <a:gd name="connsiteY3" fmla="*/ 160245646 h 173580061"/>
              <a:gd name="connsiteX4" fmla="*/ 3986287 w 9855200"/>
              <a:gd name="connsiteY4" fmla="*/ 154599273 h 173580061"/>
              <a:gd name="connsiteX5" fmla="*/ 4892573 w 9855200"/>
              <a:gd name="connsiteY5" fmla="*/ 101987710 h 173580061"/>
              <a:gd name="connsiteX6" fmla="*/ 5922871 w 9855200"/>
              <a:gd name="connsiteY6" fmla="*/ 134228614 h 173580061"/>
              <a:gd name="connsiteX7" fmla="*/ 6671569 w 9855200"/>
              <a:gd name="connsiteY7" fmla="*/ 9279997 h 173580061"/>
              <a:gd name="connsiteX8" fmla="*/ 7882466 w 9855200"/>
              <a:gd name="connsiteY8" fmla="*/ 9364664 h 173580061"/>
              <a:gd name="connsiteX9" fmla="*/ 8805333 w 9855200"/>
              <a:gd name="connsiteY9" fmla="*/ 10702398 h 173580061"/>
              <a:gd name="connsiteX10" fmla="*/ 9855200 w 9855200"/>
              <a:gd name="connsiteY10" fmla="*/ 10795531 h 173580061"/>
              <a:gd name="connsiteX11" fmla="*/ 9855200 w 9855200"/>
              <a:gd name="connsiteY11" fmla="*/ 10795531 h 173580061"/>
              <a:gd name="connsiteX0" fmla="*/ 0 w 9855200"/>
              <a:gd name="connsiteY0" fmla="*/ 81088679 h 173774750"/>
              <a:gd name="connsiteX1" fmla="*/ 994077 w 9855200"/>
              <a:gd name="connsiteY1" fmla="*/ 173747316 h 173774750"/>
              <a:gd name="connsiteX2" fmla="*/ 1963687 w 9855200"/>
              <a:gd name="connsiteY2" fmla="*/ 91539023 h 173774750"/>
              <a:gd name="connsiteX3" fmla="*/ 2957185 w 9855200"/>
              <a:gd name="connsiteY3" fmla="*/ 160440335 h 173774750"/>
              <a:gd name="connsiteX4" fmla="*/ 3986287 w 9855200"/>
              <a:gd name="connsiteY4" fmla="*/ 154793962 h 173774750"/>
              <a:gd name="connsiteX5" fmla="*/ 4892573 w 9855200"/>
              <a:gd name="connsiteY5" fmla="*/ 102182399 h 173774750"/>
              <a:gd name="connsiteX6" fmla="*/ 5886687 w 9855200"/>
              <a:gd name="connsiteY6" fmla="*/ 137052186 h 173774750"/>
              <a:gd name="connsiteX7" fmla="*/ 6671569 w 9855200"/>
              <a:gd name="connsiteY7" fmla="*/ 9474686 h 173774750"/>
              <a:gd name="connsiteX8" fmla="*/ 7882466 w 9855200"/>
              <a:gd name="connsiteY8" fmla="*/ 9559353 h 173774750"/>
              <a:gd name="connsiteX9" fmla="*/ 8805333 w 9855200"/>
              <a:gd name="connsiteY9" fmla="*/ 10897087 h 173774750"/>
              <a:gd name="connsiteX10" fmla="*/ 9855200 w 9855200"/>
              <a:gd name="connsiteY10" fmla="*/ 10990220 h 173774750"/>
              <a:gd name="connsiteX11" fmla="*/ 9855200 w 9855200"/>
              <a:gd name="connsiteY11" fmla="*/ 10990220 h 173774750"/>
              <a:gd name="connsiteX0" fmla="*/ 0 w 9855200"/>
              <a:gd name="connsiteY0" fmla="*/ 76209968 h 168896039"/>
              <a:gd name="connsiteX1" fmla="*/ 994077 w 9855200"/>
              <a:gd name="connsiteY1" fmla="*/ 168868605 h 168896039"/>
              <a:gd name="connsiteX2" fmla="*/ 1963687 w 9855200"/>
              <a:gd name="connsiteY2" fmla="*/ 86660312 h 168896039"/>
              <a:gd name="connsiteX3" fmla="*/ 2957185 w 9855200"/>
              <a:gd name="connsiteY3" fmla="*/ 155561624 h 168896039"/>
              <a:gd name="connsiteX4" fmla="*/ 3986287 w 9855200"/>
              <a:gd name="connsiteY4" fmla="*/ 149915251 h 168896039"/>
              <a:gd name="connsiteX5" fmla="*/ 4892573 w 9855200"/>
              <a:gd name="connsiteY5" fmla="*/ 97303688 h 168896039"/>
              <a:gd name="connsiteX6" fmla="*/ 5886687 w 9855200"/>
              <a:gd name="connsiteY6" fmla="*/ 132173475 h 168896039"/>
              <a:gd name="connsiteX7" fmla="*/ 6843447 w 9855200"/>
              <a:gd name="connsiteY7" fmla="*/ 72946951 h 168896039"/>
              <a:gd name="connsiteX8" fmla="*/ 7882466 w 9855200"/>
              <a:gd name="connsiteY8" fmla="*/ 4680642 h 168896039"/>
              <a:gd name="connsiteX9" fmla="*/ 8805333 w 9855200"/>
              <a:gd name="connsiteY9" fmla="*/ 6018376 h 168896039"/>
              <a:gd name="connsiteX10" fmla="*/ 9855200 w 9855200"/>
              <a:gd name="connsiteY10" fmla="*/ 6111509 h 168896039"/>
              <a:gd name="connsiteX11" fmla="*/ 9855200 w 9855200"/>
              <a:gd name="connsiteY11" fmla="*/ 6111509 h 168896039"/>
              <a:gd name="connsiteX0" fmla="*/ 0 w 9855200"/>
              <a:gd name="connsiteY0" fmla="*/ 76209968 h 168896039"/>
              <a:gd name="connsiteX1" fmla="*/ 994077 w 9855200"/>
              <a:gd name="connsiteY1" fmla="*/ 168868605 h 168896039"/>
              <a:gd name="connsiteX2" fmla="*/ 1963687 w 9855200"/>
              <a:gd name="connsiteY2" fmla="*/ 86660312 h 168896039"/>
              <a:gd name="connsiteX3" fmla="*/ 2957185 w 9855200"/>
              <a:gd name="connsiteY3" fmla="*/ 155561624 h 168896039"/>
              <a:gd name="connsiteX4" fmla="*/ 3986287 w 9855200"/>
              <a:gd name="connsiteY4" fmla="*/ 149915251 h 168896039"/>
              <a:gd name="connsiteX5" fmla="*/ 4892573 w 9855200"/>
              <a:gd name="connsiteY5" fmla="*/ 97303688 h 168896039"/>
              <a:gd name="connsiteX6" fmla="*/ 5886687 w 9855200"/>
              <a:gd name="connsiteY6" fmla="*/ 132173475 h 168896039"/>
              <a:gd name="connsiteX7" fmla="*/ 6843447 w 9855200"/>
              <a:gd name="connsiteY7" fmla="*/ 72946951 h 168896039"/>
              <a:gd name="connsiteX8" fmla="*/ 7882466 w 9855200"/>
              <a:gd name="connsiteY8" fmla="*/ 4680642 h 168896039"/>
              <a:gd name="connsiteX9" fmla="*/ 8805333 w 9855200"/>
              <a:gd name="connsiteY9" fmla="*/ 6018376 h 168896039"/>
              <a:gd name="connsiteX10" fmla="*/ 9855200 w 9855200"/>
              <a:gd name="connsiteY10" fmla="*/ 6111509 h 168896039"/>
              <a:gd name="connsiteX11" fmla="*/ 9855200 w 9855200"/>
              <a:gd name="connsiteY11" fmla="*/ 6111509 h 168896039"/>
              <a:gd name="connsiteX0" fmla="*/ 0 w 9855200"/>
              <a:gd name="connsiteY0" fmla="*/ 76020357 h 168706428"/>
              <a:gd name="connsiteX1" fmla="*/ 994077 w 9855200"/>
              <a:gd name="connsiteY1" fmla="*/ 168678994 h 168706428"/>
              <a:gd name="connsiteX2" fmla="*/ 1963687 w 9855200"/>
              <a:gd name="connsiteY2" fmla="*/ 86470701 h 168706428"/>
              <a:gd name="connsiteX3" fmla="*/ 2957185 w 9855200"/>
              <a:gd name="connsiteY3" fmla="*/ 155372013 h 168706428"/>
              <a:gd name="connsiteX4" fmla="*/ 3986287 w 9855200"/>
              <a:gd name="connsiteY4" fmla="*/ 149725640 h 168706428"/>
              <a:gd name="connsiteX5" fmla="*/ 4892573 w 9855200"/>
              <a:gd name="connsiteY5" fmla="*/ 97114077 h 168706428"/>
              <a:gd name="connsiteX6" fmla="*/ 5886687 w 9855200"/>
              <a:gd name="connsiteY6" fmla="*/ 131983864 h 168706428"/>
              <a:gd name="connsiteX7" fmla="*/ 6843447 w 9855200"/>
              <a:gd name="connsiteY7" fmla="*/ 72757340 h 168706428"/>
              <a:gd name="connsiteX8" fmla="*/ 7918651 w 9855200"/>
              <a:gd name="connsiteY8" fmla="*/ 84934880 h 168706428"/>
              <a:gd name="connsiteX9" fmla="*/ 8805333 w 9855200"/>
              <a:gd name="connsiteY9" fmla="*/ 5828765 h 168706428"/>
              <a:gd name="connsiteX10" fmla="*/ 9855200 w 9855200"/>
              <a:gd name="connsiteY10" fmla="*/ 5921898 h 168706428"/>
              <a:gd name="connsiteX11" fmla="*/ 9855200 w 9855200"/>
              <a:gd name="connsiteY11" fmla="*/ 5921898 h 168706428"/>
              <a:gd name="connsiteX0" fmla="*/ 0 w 9855200"/>
              <a:gd name="connsiteY0" fmla="*/ 76020357 h 168706428"/>
              <a:gd name="connsiteX1" fmla="*/ 994077 w 9855200"/>
              <a:gd name="connsiteY1" fmla="*/ 168678994 h 168706428"/>
              <a:gd name="connsiteX2" fmla="*/ 1963687 w 9855200"/>
              <a:gd name="connsiteY2" fmla="*/ 86470701 h 168706428"/>
              <a:gd name="connsiteX3" fmla="*/ 2957185 w 9855200"/>
              <a:gd name="connsiteY3" fmla="*/ 155372013 h 168706428"/>
              <a:gd name="connsiteX4" fmla="*/ 3986287 w 9855200"/>
              <a:gd name="connsiteY4" fmla="*/ 149725640 h 168706428"/>
              <a:gd name="connsiteX5" fmla="*/ 4892573 w 9855200"/>
              <a:gd name="connsiteY5" fmla="*/ 97114077 h 168706428"/>
              <a:gd name="connsiteX6" fmla="*/ 5886687 w 9855200"/>
              <a:gd name="connsiteY6" fmla="*/ 131983864 h 168706428"/>
              <a:gd name="connsiteX7" fmla="*/ 6843447 w 9855200"/>
              <a:gd name="connsiteY7" fmla="*/ 72757340 h 168706428"/>
              <a:gd name="connsiteX8" fmla="*/ 7918651 w 9855200"/>
              <a:gd name="connsiteY8" fmla="*/ 84934880 h 168706428"/>
              <a:gd name="connsiteX9" fmla="*/ 8805333 w 9855200"/>
              <a:gd name="connsiteY9" fmla="*/ 5828765 h 168706428"/>
              <a:gd name="connsiteX10" fmla="*/ 9855200 w 9855200"/>
              <a:gd name="connsiteY10" fmla="*/ 5921898 h 168706428"/>
              <a:gd name="connsiteX11" fmla="*/ 9855200 w 9855200"/>
              <a:gd name="connsiteY11" fmla="*/ 5921898 h 168706428"/>
              <a:gd name="connsiteX0" fmla="*/ 0 w 9855200"/>
              <a:gd name="connsiteY0" fmla="*/ 75163548 h 167849619"/>
              <a:gd name="connsiteX1" fmla="*/ 994077 w 9855200"/>
              <a:gd name="connsiteY1" fmla="*/ 167822185 h 167849619"/>
              <a:gd name="connsiteX2" fmla="*/ 1963687 w 9855200"/>
              <a:gd name="connsiteY2" fmla="*/ 85613892 h 167849619"/>
              <a:gd name="connsiteX3" fmla="*/ 2957185 w 9855200"/>
              <a:gd name="connsiteY3" fmla="*/ 154515204 h 167849619"/>
              <a:gd name="connsiteX4" fmla="*/ 3986287 w 9855200"/>
              <a:gd name="connsiteY4" fmla="*/ 148868831 h 167849619"/>
              <a:gd name="connsiteX5" fmla="*/ 4892573 w 9855200"/>
              <a:gd name="connsiteY5" fmla="*/ 96257268 h 167849619"/>
              <a:gd name="connsiteX6" fmla="*/ 5886687 w 9855200"/>
              <a:gd name="connsiteY6" fmla="*/ 131127055 h 167849619"/>
              <a:gd name="connsiteX7" fmla="*/ 6843447 w 9855200"/>
              <a:gd name="connsiteY7" fmla="*/ 71900531 h 167849619"/>
              <a:gd name="connsiteX8" fmla="*/ 7891512 w 9855200"/>
              <a:gd name="connsiteY8" fmla="*/ 72510984 h 167849619"/>
              <a:gd name="connsiteX9" fmla="*/ 8805333 w 9855200"/>
              <a:gd name="connsiteY9" fmla="*/ 4971956 h 167849619"/>
              <a:gd name="connsiteX10" fmla="*/ 9855200 w 9855200"/>
              <a:gd name="connsiteY10" fmla="*/ 5065089 h 167849619"/>
              <a:gd name="connsiteX11" fmla="*/ 9855200 w 9855200"/>
              <a:gd name="connsiteY11" fmla="*/ 5065089 h 167849619"/>
              <a:gd name="connsiteX0" fmla="*/ 0 w 9855200"/>
              <a:gd name="connsiteY0" fmla="*/ 75436179 h 168122250"/>
              <a:gd name="connsiteX1" fmla="*/ 994077 w 9855200"/>
              <a:gd name="connsiteY1" fmla="*/ 168094816 h 168122250"/>
              <a:gd name="connsiteX2" fmla="*/ 1963687 w 9855200"/>
              <a:gd name="connsiteY2" fmla="*/ 85886523 h 168122250"/>
              <a:gd name="connsiteX3" fmla="*/ 2957185 w 9855200"/>
              <a:gd name="connsiteY3" fmla="*/ 154787835 h 168122250"/>
              <a:gd name="connsiteX4" fmla="*/ 3986287 w 9855200"/>
              <a:gd name="connsiteY4" fmla="*/ 149141462 h 168122250"/>
              <a:gd name="connsiteX5" fmla="*/ 4892573 w 9855200"/>
              <a:gd name="connsiteY5" fmla="*/ 96529899 h 168122250"/>
              <a:gd name="connsiteX6" fmla="*/ 5886687 w 9855200"/>
              <a:gd name="connsiteY6" fmla="*/ 131399686 h 168122250"/>
              <a:gd name="connsiteX7" fmla="*/ 6843447 w 9855200"/>
              <a:gd name="connsiteY7" fmla="*/ 72173162 h 168122250"/>
              <a:gd name="connsiteX8" fmla="*/ 7891512 w 9855200"/>
              <a:gd name="connsiteY8" fmla="*/ 76464052 h 168122250"/>
              <a:gd name="connsiteX9" fmla="*/ 8805333 w 9855200"/>
              <a:gd name="connsiteY9" fmla="*/ 5244587 h 168122250"/>
              <a:gd name="connsiteX10" fmla="*/ 9855200 w 9855200"/>
              <a:gd name="connsiteY10" fmla="*/ 5337720 h 168122250"/>
              <a:gd name="connsiteX11" fmla="*/ 9855200 w 9855200"/>
              <a:gd name="connsiteY11" fmla="*/ 5337720 h 168122250"/>
              <a:gd name="connsiteX0" fmla="*/ 0 w 9855200"/>
              <a:gd name="connsiteY0" fmla="*/ 70098483 h 162784554"/>
              <a:gd name="connsiteX1" fmla="*/ 994077 w 9855200"/>
              <a:gd name="connsiteY1" fmla="*/ 162757120 h 162784554"/>
              <a:gd name="connsiteX2" fmla="*/ 1963687 w 9855200"/>
              <a:gd name="connsiteY2" fmla="*/ 80548827 h 162784554"/>
              <a:gd name="connsiteX3" fmla="*/ 2957185 w 9855200"/>
              <a:gd name="connsiteY3" fmla="*/ 149450139 h 162784554"/>
              <a:gd name="connsiteX4" fmla="*/ 3986287 w 9855200"/>
              <a:gd name="connsiteY4" fmla="*/ 143803766 h 162784554"/>
              <a:gd name="connsiteX5" fmla="*/ 4892573 w 9855200"/>
              <a:gd name="connsiteY5" fmla="*/ 91192203 h 162784554"/>
              <a:gd name="connsiteX6" fmla="*/ 5886687 w 9855200"/>
              <a:gd name="connsiteY6" fmla="*/ 126061990 h 162784554"/>
              <a:gd name="connsiteX7" fmla="*/ 6843447 w 9855200"/>
              <a:gd name="connsiteY7" fmla="*/ 66835466 h 162784554"/>
              <a:gd name="connsiteX8" fmla="*/ 7891512 w 9855200"/>
              <a:gd name="connsiteY8" fmla="*/ 71126356 h 162784554"/>
              <a:gd name="connsiteX9" fmla="*/ 8850564 w 9855200"/>
              <a:gd name="connsiteY9" fmla="*/ 122412852 h 162784554"/>
              <a:gd name="connsiteX10" fmla="*/ 9855200 w 9855200"/>
              <a:gd name="connsiteY10" fmla="*/ 24 h 162784554"/>
              <a:gd name="connsiteX11" fmla="*/ 9855200 w 9855200"/>
              <a:gd name="connsiteY11" fmla="*/ 24 h 162784554"/>
              <a:gd name="connsiteX0" fmla="*/ 0 w 9855200"/>
              <a:gd name="connsiteY0" fmla="*/ 70098483 h 162784554"/>
              <a:gd name="connsiteX1" fmla="*/ 994077 w 9855200"/>
              <a:gd name="connsiteY1" fmla="*/ 162757120 h 162784554"/>
              <a:gd name="connsiteX2" fmla="*/ 1963687 w 9855200"/>
              <a:gd name="connsiteY2" fmla="*/ 80548827 h 162784554"/>
              <a:gd name="connsiteX3" fmla="*/ 2957185 w 9855200"/>
              <a:gd name="connsiteY3" fmla="*/ 149450139 h 162784554"/>
              <a:gd name="connsiteX4" fmla="*/ 3986287 w 9855200"/>
              <a:gd name="connsiteY4" fmla="*/ 143803766 h 162784554"/>
              <a:gd name="connsiteX5" fmla="*/ 4892573 w 9855200"/>
              <a:gd name="connsiteY5" fmla="*/ 91192203 h 162784554"/>
              <a:gd name="connsiteX6" fmla="*/ 5886687 w 9855200"/>
              <a:gd name="connsiteY6" fmla="*/ 126061990 h 162784554"/>
              <a:gd name="connsiteX7" fmla="*/ 6843447 w 9855200"/>
              <a:gd name="connsiteY7" fmla="*/ 66835466 h 162784554"/>
              <a:gd name="connsiteX8" fmla="*/ 7891512 w 9855200"/>
              <a:gd name="connsiteY8" fmla="*/ 71126356 h 162784554"/>
              <a:gd name="connsiteX9" fmla="*/ 8850564 w 9855200"/>
              <a:gd name="connsiteY9" fmla="*/ 122412852 h 162784554"/>
              <a:gd name="connsiteX10" fmla="*/ 9855200 w 9855200"/>
              <a:gd name="connsiteY10" fmla="*/ 24 h 162784554"/>
              <a:gd name="connsiteX11" fmla="*/ 9855200 w 9855200"/>
              <a:gd name="connsiteY11" fmla="*/ 24 h 162784554"/>
              <a:gd name="connsiteX0" fmla="*/ 0 w 9873292"/>
              <a:gd name="connsiteY0" fmla="*/ 70098483 h 162784554"/>
              <a:gd name="connsiteX1" fmla="*/ 994077 w 9873292"/>
              <a:gd name="connsiteY1" fmla="*/ 162757120 h 162784554"/>
              <a:gd name="connsiteX2" fmla="*/ 1963687 w 9873292"/>
              <a:gd name="connsiteY2" fmla="*/ 80548827 h 162784554"/>
              <a:gd name="connsiteX3" fmla="*/ 2957185 w 9873292"/>
              <a:gd name="connsiteY3" fmla="*/ 149450139 h 162784554"/>
              <a:gd name="connsiteX4" fmla="*/ 3986287 w 9873292"/>
              <a:gd name="connsiteY4" fmla="*/ 143803766 h 162784554"/>
              <a:gd name="connsiteX5" fmla="*/ 4892573 w 9873292"/>
              <a:gd name="connsiteY5" fmla="*/ 91192203 h 162784554"/>
              <a:gd name="connsiteX6" fmla="*/ 5886687 w 9873292"/>
              <a:gd name="connsiteY6" fmla="*/ 126061990 h 162784554"/>
              <a:gd name="connsiteX7" fmla="*/ 6843447 w 9873292"/>
              <a:gd name="connsiteY7" fmla="*/ 66835466 h 162784554"/>
              <a:gd name="connsiteX8" fmla="*/ 7891512 w 9873292"/>
              <a:gd name="connsiteY8" fmla="*/ 71126356 h 162784554"/>
              <a:gd name="connsiteX9" fmla="*/ 8850564 w 9873292"/>
              <a:gd name="connsiteY9" fmla="*/ 122412852 h 162784554"/>
              <a:gd name="connsiteX10" fmla="*/ 9855200 w 9873292"/>
              <a:gd name="connsiteY10" fmla="*/ 24 h 162784554"/>
              <a:gd name="connsiteX11" fmla="*/ 9873292 w 9873292"/>
              <a:gd name="connsiteY11" fmla="*/ 45742574 h 162784554"/>
              <a:gd name="connsiteX0" fmla="*/ 0 w 9873292"/>
              <a:gd name="connsiteY0" fmla="*/ 24355909 h 117041980"/>
              <a:gd name="connsiteX1" fmla="*/ 994077 w 9873292"/>
              <a:gd name="connsiteY1" fmla="*/ 117014546 h 117041980"/>
              <a:gd name="connsiteX2" fmla="*/ 1963687 w 9873292"/>
              <a:gd name="connsiteY2" fmla="*/ 34806253 h 117041980"/>
              <a:gd name="connsiteX3" fmla="*/ 2957185 w 9873292"/>
              <a:gd name="connsiteY3" fmla="*/ 103707565 h 117041980"/>
              <a:gd name="connsiteX4" fmla="*/ 3986287 w 9873292"/>
              <a:gd name="connsiteY4" fmla="*/ 98061192 h 117041980"/>
              <a:gd name="connsiteX5" fmla="*/ 4892573 w 9873292"/>
              <a:gd name="connsiteY5" fmla="*/ 45449629 h 117041980"/>
              <a:gd name="connsiteX6" fmla="*/ 5886687 w 9873292"/>
              <a:gd name="connsiteY6" fmla="*/ 80319416 h 117041980"/>
              <a:gd name="connsiteX7" fmla="*/ 6843447 w 9873292"/>
              <a:gd name="connsiteY7" fmla="*/ 21092892 h 117041980"/>
              <a:gd name="connsiteX8" fmla="*/ 7891512 w 9873292"/>
              <a:gd name="connsiteY8" fmla="*/ 25383782 h 117041980"/>
              <a:gd name="connsiteX9" fmla="*/ 8850564 w 9873292"/>
              <a:gd name="connsiteY9" fmla="*/ 76670278 h 117041980"/>
              <a:gd name="connsiteX10" fmla="*/ 9873292 w 9873292"/>
              <a:gd name="connsiteY10" fmla="*/ 0 h 117041980"/>
              <a:gd name="connsiteX0" fmla="*/ 0 w 8850564"/>
              <a:gd name="connsiteY0" fmla="*/ 8378535 h 101064606"/>
              <a:gd name="connsiteX1" fmla="*/ 994077 w 8850564"/>
              <a:gd name="connsiteY1" fmla="*/ 101037172 h 101064606"/>
              <a:gd name="connsiteX2" fmla="*/ 1963687 w 8850564"/>
              <a:gd name="connsiteY2" fmla="*/ 18828879 h 101064606"/>
              <a:gd name="connsiteX3" fmla="*/ 2957185 w 8850564"/>
              <a:gd name="connsiteY3" fmla="*/ 87730191 h 101064606"/>
              <a:gd name="connsiteX4" fmla="*/ 3986287 w 8850564"/>
              <a:gd name="connsiteY4" fmla="*/ 82083818 h 101064606"/>
              <a:gd name="connsiteX5" fmla="*/ 4892573 w 8850564"/>
              <a:gd name="connsiteY5" fmla="*/ 29472255 h 101064606"/>
              <a:gd name="connsiteX6" fmla="*/ 5886687 w 8850564"/>
              <a:gd name="connsiteY6" fmla="*/ 64342042 h 101064606"/>
              <a:gd name="connsiteX7" fmla="*/ 6843447 w 8850564"/>
              <a:gd name="connsiteY7" fmla="*/ 5115518 h 101064606"/>
              <a:gd name="connsiteX8" fmla="*/ 7891512 w 8850564"/>
              <a:gd name="connsiteY8" fmla="*/ 9406408 h 101064606"/>
              <a:gd name="connsiteX9" fmla="*/ 8850564 w 8850564"/>
              <a:gd name="connsiteY9" fmla="*/ 60692904 h 101064606"/>
              <a:gd name="connsiteX0" fmla="*/ 0 w 7891512"/>
              <a:gd name="connsiteY0" fmla="*/ 8378535 h 101064606"/>
              <a:gd name="connsiteX1" fmla="*/ 994077 w 7891512"/>
              <a:gd name="connsiteY1" fmla="*/ 101037172 h 101064606"/>
              <a:gd name="connsiteX2" fmla="*/ 1963687 w 7891512"/>
              <a:gd name="connsiteY2" fmla="*/ 18828879 h 101064606"/>
              <a:gd name="connsiteX3" fmla="*/ 2957185 w 7891512"/>
              <a:gd name="connsiteY3" fmla="*/ 87730191 h 101064606"/>
              <a:gd name="connsiteX4" fmla="*/ 3986287 w 7891512"/>
              <a:gd name="connsiteY4" fmla="*/ 82083818 h 101064606"/>
              <a:gd name="connsiteX5" fmla="*/ 4892573 w 7891512"/>
              <a:gd name="connsiteY5" fmla="*/ 29472255 h 101064606"/>
              <a:gd name="connsiteX6" fmla="*/ 5886687 w 7891512"/>
              <a:gd name="connsiteY6" fmla="*/ 64342042 h 101064606"/>
              <a:gd name="connsiteX7" fmla="*/ 6843447 w 7891512"/>
              <a:gd name="connsiteY7" fmla="*/ 5115518 h 101064606"/>
              <a:gd name="connsiteX8" fmla="*/ 7891512 w 7891512"/>
              <a:gd name="connsiteY8" fmla="*/ 9406408 h 101064606"/>
              <a:gd name="connsiteX0" fmla="*/ 0 w 6843447"/>
              <a:gd name="connsiteY0" fmla="*/ 3263017 h 95949088"/>
              <a:gd name="connsiteX1" fmla="*/ 994077 w 6843447"/>
              <a:gd name="connsiteY1" fmla="*/ 95921654 h 95949088"/>
              <a:gd name="connsiteX2" fmla="*/ 1963687 w 6843447"/>
              <a:gd name="connsiteY2" fmla="*/ 13713361 h 95949088"/>
              <a:gd name="connsiteX3" fmla="*/ 2957185 w 6843447"/>
              <a:gd name="connsiteY3" fmla="*/ 82614673 h 95949088"/>
              <a:gd name="connsiteX4" fmla="*/ 3986287 w 6843447"/>
              <a:gd name="connsiteY4" fmla="*/ 76968300 h 95949088"/>
              <a:gd name="connsiteX5" fmla="*/ 4892573 w 6843447"/>
              <a:gd name="connsiteY5" fmla="*/ 24356737 h 95949088"/>
              <a:gd name="connsiteX6" fmla="*/ 5886687 w 6843447"/>
              <a:gd name="connsiteY6" fmla="*/ 59226524 h 95949088"/>
              <a:gd name="connsiteX7" fmla="*/ 6843447 w 6843447"/>
              <a:gd name="connsiteY7" fmla="*/ 0 h 95949088"/>
              <a:gd name="connsiteX0" fmla="*/ 0 w 6843447"/>
              <a:gd name="connsiteY0" fmla="*/ 3263017 h 95949088"/>
              <a:gd name="connsiteX1" fmla="*/ 994077 w 6843447"/>
              <a:gd name="connsiteY1" fmla="*/ 95921654 h 95949088"/>
              <a:gd name="connsiteX2" fmla="*/ 1963687 w 6843447"/>
              <a:gd name="connsiteY2" fmla="*/ 13713361 h 95949088"/>
              <a:gd name="connsiteX3" fmla="*/ 2957185 w 6843447"/>
              <a:gd name="connsiteY3" fmla="*/ 82614673 h 95949088"/>
              <a:gd name="connsiteX4" fmla="*/ 3986287 w 6843447"/>
              <a:gd name="connsiteY4" fmla="*/ 76968300 h 95949088"/>
              <a:gd name="connsiteX5" fmla="*/ 4892573 w 6843447"/>
              <a:gd name="connsiteY5" fmla="*/ 24356737 h 95949088"/>
              <a:gd name="connsiteX6" fmla="*/ 6843447 w 6843447"/>
              <a:gd name="connsiteY6" fmla="*/ 0 h 95949088"/>
              <a:gd name="connsiteX0" fmla="*/ 0 w 4892573"/>
              <a:gd name="connsiteY0" fmla="*/ 5906 h 92691977"/>
              <a:gd name="connsiteX1" fmla="*/ 994077 w 4892573"/>
              <a:gd name="connsiteY1" fmla="*/ 92664543 h 92691977"/>
              <a:gd name="connsiteX2" fmla="*/ 1963687 w 4892573"/>
              <a:gd name="connsiteY2" fmla="*/ 10456250 h 92691977"/>
              <a:gd name="connsiteX3" fmla="*/ 2957185 w 4892573"/>
              <a:gd name="connsiteY3" fmla="*/ 79357562 h 92691977"/>
              <a:gd name="connsiteX4" fmla="*/ 3986287 w 4892573"/>
              <a:gd name="connsiteY4" fmla="*/ 73711189 h 92691977"/>
              <a:gd name="connsiteX5" fmla="*/ 4892573 w 4892573"/>
              <a:gd name="connsiteY5" fmla="*/ 21099626 h 92691977"/>
              <a:gd name="connsiteX0" fmla="*/ 0 w 8729853"/>
              <a:gd name="connsiteY0" fmla="*/ 5906 h 92691977"/>
              <a:gd name="connsiteX1" fmla="*/ 994077 w 8729853"/>
              <a:gd name="connsiteY1" fmla="*/ 92664543 h 92691977"/>
              <a:gd name="connsiteX2" fmla="*/ 1963687 w 8729853"/>
              <a:gd name="connsiteY2" fmla="*/ 10456250 h 92691977"/>
              <a:gd name="connsiteX3" fmla="*/ 2957185 w 8729853"/>
              <a:gd name="connsiteY3" fmla="*/ 79357562 h 92691977"/>
              <a:gd name="connsiteX4" fmla="*/ 3986287 w 8729853"/>
              <a:gd name="connsiteY4" fmla="*/ 73711189 h 92691977"/>
              <a:gd name="connsiteX5" fmla="*/ 8729853 w 8729853"/>
              <a:gd name="connsiteY5" fmla="*/ 45163088 h 92691977"/>
              <a:gd name="connsiteX0" fmla="*/ 0 w 9285248"/>
              <a:gd name="connsiteY0" fmla="*/ 5906 h 92691977"/>
              <a:gd name="connsiteX1" fmla="*/ 994077 w 9285248"/>
              <a:gd name="connsiteY1" fmla="*/ 92664543 h 92691977"/>
              <a:gd name="connsiteX2" fmla="*/ 1963687 w 9285248"/>
              <a:gd name="connsiteY2" fmla="*/ 10456250 h 92691977"/>
              <a:gd name="connsiteX3" fmla="*/ 2957185 w 9285248"/>
              <a:gd name="connsiteY3" fmla="*/ 79357562 h 92691977"/>
              <a:gd name="connsiteX4" fmla="*/ 3986287 w 9285248"/>
              <a:gd name="connsiteY4" fmla="*/ 73711189 h 92691977"/>
              <a:gd name="connsiteX5" fmla="*/ 9285248 w 9285248"/>
              <a:gd name="connsiteY5" fmla="*/ 51032246 h 92691977"/>
              <a:gd name="connsiteX0" fmla="*/ 0 w 9285248"/>
              <a:gd name="connsiteY0" fmla="*/ 5906 h 92691977"/>
              <a:gd name="connsiteX1" fmla="*/ 994077 w 9285248"/>
              <a:gd name="connsiteY1" fmla="*/ 92664543 h 92691977"/>
              <a:gd name="connsiteX2" fmla="*/ 1963687 w 9285248"/>
              <a:gd name="connsiteY2" fmla="*/ 10456250 h 92691977"/>
              <a:gd name="connsiteX3" fmla="*/ 2957185 w 9285248"/>
              <a:gd name="connsiteY3" fmla="*/ 79357562 h 92691977"/>
              <a:gd name="connsiteX4" fmla="*/ 7278270 w 9285248"/>
              <a:gd name="connsiteY4" fmla="*/ 61972928 h 92691977"/>
              <a:gd name="connsiteX5" fmla="*/ 9285248 w 9285248"/>
              <a:gd name="connsiteY5" fmla="*/ 51032246 h 92691977"/>
              <a:gd name="connsiteX0" fmla="*/ 0 w 9285248"/>
              <a:gd name="connsiteY0" fmla="*/ 5906 h 92692639"/>
              <a:gd name="connsiteX1" fmla="*/ 994077 w 9285248"/>
              <a:gd name="connsiteY1" fmla="*/ 92664543 h 92692639"/>
              <a:gd name="connsiteX2" fmla="*/ 1963687 w 9285248"/>
              <a:gd name="connsiteY2" fmla="*/ 10456250 h 92692639"/>
              <a:gd name="connsiteX3" fmla="*/ 5633183 w 9285248"/>
              <a:gd name="connsiteY3" fmla="*/ 67619300 h 92692639"/>
              <a:gd name="connsiteX4" fmla="*/ 7278270 w 9285248"/>
              <a:gd name="connsiteY4" fmla="*/ 61972928 h 92692639"/>
              <a:gd name="connsiteX5" fmla="*/ 9285248 w 9285248"/>
              <a:gd name="connsiteY5" fmla="*/ 51032246 h 92692639"/>
              <a:gd name="connsiteX0" fmla="*/ 0 w 9285248"/>
              <a:gd name="connsiteY0" fmla="*/ 6624 h 95155868"/>
              <a:gd name="connsiteX1" fmla="*/ 994077 w 9285248"/>
              <a:gd name="connsiteY1" fmla="*/ 92665261 h 95155868"/>
              <a:gd name="connsiteX2" fmla="*/ 3771247 w 9285248"/>
              <a:gd name="connsiteY2" fmla="*/ 68561393 h 95155868"/>
              <a:gd name="connsiteX3" fmla="*/ 5633183 w 9285248"/>
              <a:gd name="connsiteY3" fmla="*/ 67620018 h 95155868"/>
              <a:gd name="connsiteX4" fmla="*/ 7278270 w 9285248"/>
              <a:gd name="connsiteY4" fmla="*/ 61973646 h 95155868"/>
              <a:gd name="connsiteX5" fmla="*/ 9285248 w 9285248"/>
              <a:gd name="connsiteY5" fmla="*/ 51032964 h 95155868"/>
              <a:gd name="connsiteX0" fmla="*/ 0 w 9285248"/>
              <a:gd name="connsiteY0" fmla="*/ 9605 h 72376572"/>
              <a:gd name="connsiteX1" fmla="*/ 2195751 w 9285248"/>
              <a:gd name="connsiteY1" fmla="*/ 66844076 h 72376572"/>
              <a:gd name="connsiteX2" fmla="*/ 3771247 w 9285248"/>
              <a:gd name="connsiteY2" fmla="*/ 68564374 h 72376572"/>
              <a:gd name="connsiteX3" fmla="*/ 5633183 w 9285248"/>
              <a:gd name="connsiteY3" fmla="*/ 67622999 h 72376572"/>
              <a:gd name="connsiteX4" fmla="*/ 7278270 w 9285248"/>
              <a:gd name="connsiteY4" fmla="*/ 61976627 h 72376572"/>
              <a:gd name="connsiteX5" fmla="*/ 9285248 w 9285248"/>
              <a:gd name="connsiteY5" fmla="*/ 51035945 h 72376572"/>
              <a:gd name="connsiteX0" fmla="*/ 0 w 9285248"/>
              <a:gd name="connsiteY0" fmla="*/ 9605 h 72376572"/>
              <a:gd name="connsiteX1" fmla="*/ 2195751 w 9285248"/>
              <a:gd name="connsiteY1" fmla="*/ 66844076 h 72376572"/>
              <a:gd name="connsiteX2" fmla="*/ 3771247 w 9285248"/>
              <a:gd name="connsiteY2" fmla="*/ 68564374 h 72376572"/>
              <a:gd name="connsiteX3" fmla="*/ 5633183 w 9285248"/>
              <a:gd name="connsiteY3" fmla="*/ 67622999 h 72376572"/>
              <a:gd name="connsiteX4" fmla="*/ 7004027 w 9285248"/>
              <a:gd name="connsiteY4" fmla="*/ 38953126 h 72376572"/>
              <a:gd name="connsiteX5" fmla="*/ 9285248 w 9285248"/>
              <a:gd name="connsiteY5" fmla="*/ 51035945 h 72376572"/>
              <a:gd name="connsiteX0" fmla="*/ 0 w 9285248"/>
              <a:gd name="connsiteY0" fmla="*/ 9605 h 74710193"/>
              <a:gd name="connsiteX1" fmla="*/ 2195751 w 9285248"/>
              <a:gd name="connsiteY1" fmla="*/ 66844076 h 74710193"/>
              <a:gd name="connsiteX2" fmla="*/ 3771247 w 9285248"/>
              <a:gd name="connsiteY2" fmla="*/ 68564374 h 74710193"/>
              <a:gd name="connsiteX3" fmla="*/ 5237054 w 9285248"/>
              <a:gd name="connsiteY3" fmla="*/ 23347080 h 74710193"/>
              <a:gd name="connsiteX4" fmla="*/ 7004027 w 9285248"/>
              <a:gd name="connsiteY4" fmla="*/ 38953126 h 74710193"/>
              <a:gd name="connsiteX5" fmla="*/ 9285248 w 9285248"/>
              <a:gd name="connsiteY5" fmla="*/ 51035945 h 74710193"/>
              <a:gd name="connsiteX0" fmla="*/ 0 w 9285248"/>
              <a:gd name="connsiteY0" fmla="*/ 9605 h 74710193"/>
              <a:gd name="connsiteX1" fmla="*/ 2195751 w 9285248"/>
              <a:gd name="connsiteY1" fmla="*/ 66844076 h 74710193"/>
              <a:gd name="connsiteX2" fmla="*/ 3771247 w 9285248"/>
              <a:gd name="connsiteY2" fmla="*/ 68564374 h 74710193"/>
              <a:gd name="connsiteX3" fmla="*/ 5237054 w 9285248"/>
              <a:gd name="connsiteY3" fmla="*/ 23347080 h 74710193"/>
              <a:gd name="connsiteX4" fmla="*/ 7004027 w 9285248"/>
              <a:gd name="connsiteY4" fmla="*/ 38953126 h 74710193"/>
              <a:gd name="connsiteX5" fmla="*/ 9285248 w 9285248"/>
              <a:gd name="connsiteY5" fmla="*/ 51035945 h 74710193"/>
              <a:gd name="connsiteX0" fmla="*/ 0 w 9285248"/>
              <a:gd name="connsiteY0" fmla="*/ 9605 h 74180221"/>
              <a:gd name="connsiteX1" fmla="*/ 2195751 w 9285248"/>
              <a:gd name="connsiteY1" fmla="*/ 66844076 h 74180221"/>
              <a:gd name="connsiteX2" fmla="*/ 3771247 w 9285248"/>
              <a:gd name="connsiteY2" fmla="*/ 68564374 h 74180221"/>
              <a:gd name="connsiteX3" fmla="*/ 5267525 w 9285248"/>
              <a:gd name="connsiteY3" fmla="*/ 32202264 h 74180221"/>
              <a:gd name="connsiteX4" fmla="*/ 7004027 w 9285248"/>
              <a:gd name="connsiteY4" fmla="*/ 38953126 h 74180221"/>
              <a:gd name="connsiteX5" fmla="*/ 9285248 w 9285248"/>
              <a:gd name="connsiteY5" fmla="*/ 51035945 h 74180221"/>
              <a:gd name="connsiteX0" fmla="*/ 0 w 9178598"/>
              <a:gd name="connsiteY0" fmla="*/ 14093796 h 39583672"/>
              <a:gd name="connsiteX1" fmla="*/ 2089101 w 9178598"/>
              <a:gd name="connsiteY1" fmla="*/ 34881268 h 39583672"/>
              <a:gd name="connsiteX2" fmla="*/ 3664597 w 9178598"/>
              <a:gd name="connsiteY2" fmla="*/ 36601566 h 39583672"/>
              <a:gd name="connsiteX3" fmla="*/ 5160875 w 9178598"/>
              <a:gd name="connsiteY3" fmla="*/ 239456 h 39583672"/>
              <a:gd name="connsiteX4" fmla="*/ 6897377 w 9178598"/>
              <a:gd name="connsiteY4" fmla="*/ 6990318 h 39583672"/>
              <a:gd name="connsiteX5" fmla="*/ 9178598 w 9178598"/>
              <a:gd name="connsiteY5" fmla="*/ 19073137 h 39583672"/>
              <a:gd name="connsiteX0" fmla="*/ 0 w 9178598"/>
              <a:gd name="connsiteY0" fmla="*/ 25848838 h 47073603"/>
              <a:gd name="connsiteX1" fmla="*/ 2089101 w 9178598"/>
              <a:gd name="connsiteY1" fmla="*/ 46636310 h 47073603"/>
              <a:gd name="connsiteX2" fmla="*/ 3359883 w 9178598"/>
              <a:gd name="connsiteY2" fmla="*/ 1424151 h 47073603"/>
              <a:gd name="connsiteX3" fmla="*/ 5160875 w 9178598"/>
              <a:gd name="connsiteY3" fmla="*/ 11994498 h 47073603"/>
              <a:gd name="connsiteX4" fmla="*/ 6897377 w 9178598"/>
              <a:gd name="connsiteY4" fmla="*/ 18745360 h 47073603"/>
              <a:gd name="connsiteX5" fmla="*/ 9178598 w 9178598"/>
              <a:gd name="connsiteY5" fmla="*/ 30828179 h 47073603"/>
              <a:gd name="connsiteX0" fmla="*/ 0 w 9178598"/>
              <a:gd name="connsiteY0" fmla="*/ 24983859 h 46208624"/>
              <a:gd name="connsiteX1" fmla="*/ 2089101 w 9178598"/>
              <a:gd name="connsiteY1" fmla="*/ 45771331 h 46208624"/>
              <a:gd name="connsiteX2" fmla="*/ 3359883 w 9178598"/>
              <a:gd name="connsiteY2" fmla="*/ 559172 h 46208624"/>
              <a:gd name="connsiteX3" fmla="*/ 5160875 w 9178598"/>
              <a:gd name="connsiteY3" fmla="*/ 11129519 h 46208624"/>
              <a:gd name="connsiteX4" fmla="*/ 6897377 w 9178598"/>
              <a:gd name="connsiteY4" fmla="*/ 17880381 h 46208624"/>
              <a:gd name="connsiteX5" fmla="*/ 9178598 w 9178598"/>
              <a:gd name="connsiteY5" fmla="*/ 29963200 h 46208624"/>
              <a:gd name="connsiteX0" fmla="*/ 0 w 9178598"/>
              <a:gd name="connsiteY0" fmla="*/ 24792758 h 33782575"/>
              <a:gd name="connsiteX1" fmla="*/ 1904558 w 9178598"/>
              <a:gd name="connsiteY1" fmla="*/ 25390406 h 33782575"/>
              <a:gd name="connsiteX2" fmla="*/ 3359883 w 9178598"/>
              <a:gd name="connsiteY2" fmla="*/ 368071 h 33782575"/>
              <a:gd name="connsiteX3" fmla="*/ 5160875 w 9178598"/>
              <a:gd name="connsiteY3" fmla="*/ 10938418 h 33782575"/>
              <a:gd name="connsiteX4" fmla="*/ 6897377 w 9178598"/>
              <a:gd name="connsiteY4" fmla="*/ 17689280 h 33782575"/>
              <a:gd name="connsiteX5" fmla="*/ 9178598 w 9178598"/>
              <a:gd name="connsiteY5" fmla="*/ 29772099 h 33782575"/>
              <a:gd name="connsiteX0" fmla="*/ 0 w 9178598"/>
              <a:gd name="connsiteY0" fmla="*/ 14162795 h 23152612"/>
              <a:gd name="connsiteX1" fmla="*/ 1904558 w 9178598"/>
              <a:gd name="connsiteY1" fmla="*/ 14760443 h 23152612"/>
              <a:gd name="connsiteX2" fmla="*/ 3370738 w 9178598"/>
              <a:gd name="connsiteY2" fmla="*/ 16868187 h 23152612"/>
              <a:gd name="connsiteX3" fmla="*/ 5160875 w 9178598"/>
              <a:gd name="connsiteY3" fmla="*/ 308455 h 23152612"/>
              <a:gd name="connsiteX4" fmla="*/ 6897377 w 9178598"/>
              <a:gd name="connsiteY4" fmla="*/ 7059317 h 23152612"/>
              <a:gd name="connsiteX5" fmla="*/ 9178598 w 9178598"/>
              <a:gd name="connsiteY5" fmla="*/ 19142136 h 23152612"/>
              <a:gd name="connsiteX0" fmla="*/ 0 w 9178598"/>
              <a:gd name="connsiteY0" fmla="*/ 7609713 h 16599530"/>
              <a:gd name="connsiteX1" fmla="*/ 1904558 w 9178598"/>
              <a:gd name="connsiteY1" fmla="*/ 8207361 h 16599530"/>
              <a:gd name="connsiteX2" fmla="*/ 3370738 w 9178598"/>
              <a:gd name="connsiteY2" fmla="*/ 10315105 h 16599530"/>
              <a:gd name="connsiteX3" fmla="*/ 5171731 w 9178598"/>
              <a:gd name="connsiteY3" fmla="*/ 11421471 h 16599530"/>
              <a:gd name="connsiteX4" fmla="*/ 6897377 w 9178598"/>
              <a:gd name="connsiteY4" fmla="*/ 506235 h 16599530"/>
              <a:gd name="connsiteX5" fmla="*/ 9178598 w 9178598"/>
              <a:gd name="connsiteY5" fmla="*/ 12589054 h 16599530"/>
              <a:gd name="connsiteX0" fmla="*/ 0 w 9178598"/>
              <a:gd name="connsiteY0" fmla="*/ 425864 h 10681189"/>
              <a:gd name="connsiteX1" fmla="*/ 1904558 w 9178598"/>
              <a:gd name="connsiteY1" fmla="*/ 1023512 h 10681189"/>
              <a:gd name="connsiteX2" fmla="*/ 3370738 w 9178598"/>
              <a:gd name="connsiteY2" fmla="*/ 3131256 h 10681189"/>
              <a:gd name="connsiteX3" fmla="*/ 5171731 w 9178598"/>
              <a:gd name="connsiteY3" fmla="*/ 4237622 h 10681189"/>
              <a:gd name="connsiteX4" fmla="*/ 6897377 w 9178598"/>
              <a:gd name="connsiteY4" fmla="*/ 893572 h 10681189"/>
              <a:gd name="connsiteX5" fmla="*/ 9178598 w 9178598"/>
              <a:gd name="connsiteY5" fmla="*/ 5405205 h 10681189"/>
              <a:gd name="connsiteX0" fmla="*/ 0 w 9178598"/>
              <a:gd name="connsiteY0" fmla="*/ 8326039 h 172637316"/>
              <a:gd name="connsiteX1" fmla="*/ 1904558 w 9178598"/>
              <a:gd name="connsiteY1" fmla="*/ 8923687 h 172637316"/>
              <a:gd name="connsiteX2" fmla="*/ 3370738 w 9178598"/>
              <a:gd name="connsiteY2" fmla="*/ 11031431 h 172637316"/>
              <a:gd name="connsiteX3" fmla="*/ 5171731 w 9178598"/>
              <a:gd name="connsiteY3" fmla="*/ 12137797 h 172637316"/>
              <a:gd name="connsiteX4" fmla="*/ 6624926 w 9178598"/>
              <a:gd name="connsiteY4" fmla="*/ 172588630 h 172637316"/>
              <a:gd name="connsiteX5" fmla="*/ 9178598 w 9178598"/>
              <a:gd name="connsiteY5" fmla="*/ 13305380 h 172637316"/>
              <a:gd name="connsiteX0" fmla="*/ 0 w 9178598"/>
              <a:gd name="connsiteY0" fmla="*/ 8326039 h 172588630"/>
              <a:gd name="connsiteX1" fmla="*/ 1904558 w 9178598"/>
              <a:gd name="connsiteY1" fmla="*/ 8923687 h 172588630"/>
              <a:gd name="connsiteX2" fmla="*/ 3370738 w 9178598"/>
              <a:gd name="connsiteY2" fmla="*/ 11031431 h 172588630"/>
              <a:gd name="connsiteX3" fmla="*/ 5171731 w 9178598"/>
              <a:gd name="connsiteY3" fmla="*/ 12137797 h 172588630"/>
              <a:gd name="connsiteX4" fmla="*/ 6624926 w 9178598"/>
              <a:gd name="connsiteY4" fmla="*/ 172588630 h 172588630"/>
              <a:gd name="connsiteX5" fmla="*/ 9178598 w 9178598"/>
              <a:gd name="connsiteY5" fmla="*/ 13305380 h 172588630"/>
              <a:gd name="connsiteX0" fmla="*/ 0 w 9178598"/>
              <a:gd name="connsiteY0" fmla="*/ 8326039 h 172588630"/>
              <a:gd name="connsiteX1" fmla="*/ 1904558 w 9178598"/>
              <a:gd name="connsiteY1" fmla="*/ 8923687 h 172588630"/>
              <a:gd name="connsiteX2" fmla="*/ 3370738 w 9178598"/>
              <a:gd name="connsiteY2" fmla="*/ 11031431 h 172588630"/>
              <a:gd name="connsiteX3" fmla="*/ 5171731 w 9178598"/>
              <a:gd name="connsiteY3" fmla="*/ 12137797 h 172588630"/>
              <a:gd name="connsiteX4" fmla="*/ 6624926 w 9178598"/>
              <a:gd name="connsiteY4" fmla="*/ 172588630 h 172588630"/>
              <a:gd name="connsiteX5" fmla="*/ 9178598 w 9178598"/>
              <a:gd name="connsiteY5" fmla="*/ 13305380 h 172588630"/>
              <a:gd name="connsiteX0" fmla="*/ 0 w 9178598"/>
              <a:gd name="connsiteY0" fmla="*/ 9141117 h 178428367"/>
              <a:gd name="connsiteX1" fmla="*/ 1904558 w 9178598"/>
              <a:gd name="connsiteY1" fmla="*/ 9738765 h 178428367"/>
              <a:gd name="connsiteX2" fmla="*/ 3370738 w 9178598"/>
              <a:gd name="connsiteY2" fmla="*/ 11846509 h 178428367"/>
              <a:gd name="connsiteX3" fmla="*/ 4865224 w 9178598"/>
              <a:gd name="connsiteY3" fmla="*/ 163386847 h 178428367"/>
              <a:gd name="connsiteX4" fmla="*/ 6624926 w 9178598"/>
              <a:gd name="connsiteY4" fmla="*/ 173403708 h 178428367"/>
              <a:gd name="connsiteX5" fmla="*/ 9178598 w 9178598"/>
              <a:gd name="connsiteY5" fmla="*/ 14120458 h 178428367"/>
              <a:gd name="connsiteX0" fmla="*/ 0 w 9178598"/>
              <a:gd name="connsiteY0" fmla="*/ 9141117 h 173926228"/>
              <a:gd name="connsiteX1" fmla="*/ 1904558 w 9178598"/>
              <a:gd name="connsiteY1" fmla="*/ 9738765 h 173926228"/>
              <a:gd name="connsiteX2" fmla="*/ 3370738 w 9178598"/>
              <a:gd name="connsiteY2" fmla="*/ 11846509 h 173926228"/>
              <a:gd name="connsiteX3" fmla="*/ 4865224 w 9178598"/>
              <a:gd name="connsiteY3" fmla="*/ 163386847 h 173926228"/>
              <a:gd name="connsiteX4" fmla="*/ 6624926 w 9178598"/>
              <a:gd name="connsiteY4" fmla="*/ 173403708 h 173926228"/>
              <a:gd name="connsiteX5" fmla="*/ 9178598 w 9178598"/>
              <a:gd name="connsiteY5" fmla="*/ 14120458 h 173926228"/>
              <a:gd name="connsiteX0" fmla="*/ 0 w 9178598"/>
              <a:gd name="connsiteY0" fmla="*/ 9616828 h 177873059"/>
              <a:gd name="connsiteX1" fmla="*/ 1904558 w 9178598"/>
              <a:gd name="connsiteY1" fmla="*/ 10214476 h 177873059"/>
              <a:gd name="connsiteX2" fmla="*/ 3370738 w 9178598"/>
              <a:gd name="connsiteY2" fmla="*/ 12322220 h 177873059"/>
              <a:gd name="connsiteX3" fmla="*/ 4890766 w 9178598"/>
              <a:gd name="connsiteY3" fmla="*/ 170295581 h 177873059"/>
              <a:gd name="connsiteX4" fmla="*/ 6624926 w 9178598"/>
              <a:gd name="connsiteY4" fmla="*/ 173879419 h 177873059"/>
              <a:gd name="connsiteX5" fmla="*/ 9178598 w 9178598"/>
              <a:gd name="connsiteY5" fmla="*/ 14596169 h 177873059"/>
              <a:gd name="connsiteX0" fmla="*/ 0 w 9178598"/>
              <a:gd name="connsiteY0" fmla="*/ 9616828 h 175948799"/>
              <a:gd name="connsiteX1" fmla="*/ 1904558 w 9178598"/>
              <a:gd name="connsiteY1" fmla="*/ 10214476 h 175948799"/>
              <a:gd name="connsiteX2" fmla="*/ 3370738 w 9178598"/>
              <a:gd name="connsiteY2" fmla="*/ 12322220 h 175948799"/>
              <a:gd name="connsiteX3" fmla="*/ 4890766 w 9178598"/>
              <a:gd name="connsiteY3" fmla="*/ 170295581 h 175948799"/>
              <a:gd name="connsiteX4" fmla="*/ 6624926 w 9178598"/>
              <a:gd name="connsiteY4" fmla="*/ 173879419 h 175948799"/>
              <a:gd name="connsiteX5" fmla="*/ 9178598 w 9178598"/>
              <a:gd name="connsiteY5" fmla="*/ 14596169 h 175948799"/>
              <a:gd name="connsiteX0" fmla="*/ 0 w 9178598"/>
              <a:gd name="connsiteY0" fmla="*/ 9616828 h 174914357"/>
              <a:gd name="connsiteX1" fmla="*/ 1904558 w 9178598"/>
              <a:gd name="connsiteY1" fmla="*/ 10214476 h 174914357"/>
              <a:gd name="connsiteX2" fmla="*/ 3370738 w 9178598"/>
              <a:gd name="connsiteY2" fmla="*/ 12322220 h 174914357"/>
              <a:gd name="connsiteX3" fmla="*/ 4890766 w 9178598"/>
              <a:gd name="connsiteY3" fmla="*/ 170295581 h 174914357"/>
              <a:gd name="connsiteX4" fmla="*/ 6624926 w 9178598"/>
              <a:gd name="connsiteY4" fmla="*/ 173879419 h 174914357"/>
              <a:gd name="connsiteX5" fmla="*/ 9178598 w 9178598"/>
              <a:gd name="connsiteY5" fmla="*/ 14596169 h 174914357"/>
              <a:gd name="connsiteX0" fmla="*/ 0 w 9178598"/>
              <a:gd name="connsiteY0" fmla="*/ 2869 h 188685512"/>
              <a:gd name="connsiteX1" fmla="*/ 1429203 w 9178598"/>
              <a:gd name="connsiteY1" fmla="*/ 188684684 h 188685512"/>
              <a:gd name="connsiteX2" fmla="*/ 3370738 w 9178598"/>
              <a:gd name="connsiteY2" fmla="*/ 2708261 h 188685512"/>
              <a:gd name="connsiteX3" fmla="*/ 4890766 w 9178598"/>
              <a:gd name="connsiteY3" fmla="*/ 160681622 h 188685512"/>
              <a:gd name="connsiteX4" fmla="*/ 6624926 w 9178598"/>
              <a:gd name="connsiteY4" fmla="*/ 164265460 h 188685512"/>
              <a:gd name="connsiteX5" fmla="*/ 9178598 w 9178598"/>
              <a:gd name="connsiteY5" fmla="*/ 4982210 h 188685512"/>
              <a:gd name="connsiteX0" fmla="*/ 0 w 9178598"/>
              <a:gd name="connsiteY0" fmla="*/ 2869 h 188689818"/>
              <a:gd name="connsiteX1" fmla="*/ 1429203 w 9178598"/>
              <a:gd name="connsiteY1" fmla="*/ 188684684 h 188689818"/>
              <a:gd name="connsiteX2" fmla="*/ 3370738 w 9178598"/>
              <a:gd name="connsiteY2" fmla="*/ 2708261 h 188689818"/>
              <a:gd name="connsiteX3" fmla="*/ 4890766 w 9178598"/>
              <a:gd name="connsiteY3" fmla="*/ 160681622 h 188689818"/>
              <a:gd name="connsiteX4" fmla="*/ 6624926 w 9178598"/>
              <a:gd name="connsiteY4" fmla="*/ 164265460 h 188689818"/>
              <a:gd name="connsiteX5" fmla="*/ 9178598 w 9178598"/>
              <a:gd name="connsiteY5" fmla="*/ 4982210 h 188689818"/>
              <a:gd name="connsiteX0" fmla="*/ 0 w 9178598"/>
              <a:gd name="connsiteY0" fmla="*/ 2759 h 195596565"/>
              <a:gd name="connsiteX1" fmla="*/ 1429203 w 9178598"/>
              <a:gd name="connsiteY1" fmla="*/ 195591652 h 195596565"/>
              <a:gd name="connsiteX2" fmla="*/ 3370738 w 9178598"/>
              <a:gd name="connsiteY2" fmla="*/ 2708151 h 195596565"/>
              <a:gd name="connsiteX3" fmla="*/ 4890766 w 9178598"/>
              <a:gd name="connsiteY3" fmla="*/ 160681512 h 195596565"/>
              <a:gd name="connsiteX4" fmla="*/ 6624926 w 9178598"/>
              <a:gd name="connsiteY4" fmla="*/ 164265350 h 195596565"/>
              <a:gd name="connsiteX5" fmla="*/ 9178598 w 9178598"/>
              <a:gd name="connsiteY5" fmla="*/ 4982100 h 195596565"/>
              <a:gd name="connsiteX0" fmla="*/ 0 w 9489407"/>
              <a:gd name="connsiteY0" fmla="*/ 178099543 h 203100738"/>
              <a:gd name="connsiteX1" fmla="*/ 1740012 w 9489407"/>
              <a:gd name="connsiteY1" fmla="*/ 193042587 h 203100738"/>
              <a:gd name="connsiteX2" fmla="*/ 3681547 w 9489407"/>
              <a:gd name="connsiteY2" fmla="*/ 159086 h 203100738"/>
              <a:gd name="connsiteX3" fmla="*/ 5201575 w 9489407"/>
              <a:gd name="connsiteY3" fmla="*/ 158132447 h 203100738"/>
              <a:gd name="connsiteX4" fmla="*/ 6935735 w 9489407"/>
              <a:gd name="connsiteY4" fmla="*/ 161716285 h 203100738"/>
              <a:gd name="connsiteX5" fmla="*/ 9489407 w 9489407"/>
              <a:gd name="connsiteY5" fmla="*/ 2433035 h 203100738"/>
              <a:gd name="connsiteX0" fmla="*/ 0 w 9489407"/>
              <a:gd name="connsiteY0" fmla="*/ 178099543 h 203714834"/>
              <a:gd name="connsiteX1" fmla="*/ 1740012 w 9489407"/>
              <a:gd name="connsiteY1" fmla="*/ 193042587 h 203714834"/>
              <a:gd name="connsiteX2" fmla="*/ 3681547 w 9489407"/>
              <a:gd name="connsiteY2" fmla="*/ 159086 h 203714834"/>
              <a:gd name="connsiteX3" fmla="*/ 5201575 w 9489407"/>
              <a:gd name="connsiteY3" fmla="*/ 158132447 h 203714834"/>
              <a:gd name="connsiteX4" fmla="*/ 6935735 w 9489407"/>
              <a:gd name="connsiteY4" fmla="*/ 161716285 h 203714834"/>
              <a:gd name="connsiteX5" fmla="*/ 9489407 w 9489407"/>
              <a:gd name="connsiteY5" fmla="*/ 2433035 h 203714834"/>
              <a:gd name="connsiteX0" fmla="*/ 0 w 9489407"/>
              <a:gd name="connsiteY0" fmla="*/ 178099543 h 193095579"/>
              <a:gd name="connsiteX1" fmla="*/ 1740012 w 9489407"/>
              <a:gd name="connsiteY1" fmla="*/ 193042587 h 193095579"/>
              <a:gd name="connsiteX2" fmla="*/ 3681547 w 9489407"/>
              <a:gd name="connsiteY2" fmla="*/ 159086 h 193095579"/>
              <a:gd name="connsiteX3" fmla="*/ 5201575 w 9489407"/>
              <a:gd name="connsiteY3" fmla="*/ 158132447 h 193095579"/>
              <a:gd name="connsiteX4" fmla="*/ 6935735 w 9489407"/>
              <a:gd name="connsiteY4" fmla="*/ 161716285 h 193095579"/>
              <a:gd name="connsiteX5" fmla="*/ 9489407 w 9489407"/>
              <a:gd name="connsiteY5" fmla="*/ 2433035 h 193095579"/>
              <a:gd name="connsiteX0" fmla="*/ 0 w 9489407"/>
              <a:gd name="connsiteY0" fmla="*/ 175666508 h 194345741"/>
              <a:gd name="connsiteX1" fmla="*/ 1740012 w 9489407"/>
              <a:gd name="connsiteY1" fmla="*/ 190609552 h 194345741"/>
              <a:gd name="connsiteX2" fmla="*/ 3398163 w 9489407"/>
              <a:gd name="connsiteY2" fmla="*/ 98143888 h 194345741"/>
              <a:gd name="connsiteX3" fmla="*/ 5201575 w 9489407"/>
              <a:gd name="connsiteY3" fmla="*/ 155699412 h 194345741"/>
              <a:gd name="connsiteX4" fmla="*/ 6935735 w 9489407"/>
              <a:gd name="connsiteY4" fmla="*/ 159283250 h 194345741"/>
              <a:gd name="connsiteX5" fmla="*/ 9489407 w 9489407"/>
              <a:gd name="connsiteY5" fmla="*/ 0 h 194345741"/>
              <a:gd name="connsiteX0" fmla="*/ 0 w 9489407"/>
              <a:gd name="connsiteY0" fmla="*/ 175666508 h 194345741"/>
              <a:gd name="connsiteX1" fmla="*/ 1740012 w 9489407"/>
              <a:gd name="connsiteY1" fmla="*/ 190609552 h 194345741"/>
              <a:gd name="connsiteX2" fmla="*/ 3398163 w 9489407"/>
              <a:gd name="connsiteY2" fmla="*/ 98143888 h 194345741"/>
              <a:gd name="connsiteX3" fmla="*/ 5201575 w 9489407"/>
              <a:gd name="connsiteY3" fmla="*/ 155699412 h 194345741"/>
              <a:gd name="connsiteX4" fmla="*/ 6935735 w 9489407"/>
              <a:gd name="connsiteY4" fmla="*/ 159283250 h 194345741"/>
              <a:gd name="connsiteX5" fmla="*/ 9489407 w 9489407"/>
              <a:gd name="connsiteY5" fmla="*/ 0 h 194345741"/>
              <a:gd name="connsiteX0" fmla="*/ 0 w 9489407"/>
              <a:gd name="connsiteY0" fmla="*/ 175666508 h 194311241"/>
              <a:gd name="connsiteX1" fmla="*/ 1740012 w 9489407"/>
              <a:gd name="connsiteY1" fmla="*/ 190609552 h 194311241"/>
              <a:gd name="connsiteX2" fmla="*/ 3453012 w 9489407"/>
              <a:gd name="connsiteY2" fmla="*/ 98675240 h 194311241"/>
              <a:gd name="connsiteX3" fmla="*/ 5201575 w 9489407"/>
              <a:gd name="connsiteY3" fmla="*/ 155699412 h 194311241"/>
              <a:gd name="connsiteX4" fmla="*/ 6935735 w 9489407"/>
              <a:gd name="connsiteY4" fmla="*/ 159283250 h 194311241"/>
              <a:gd name="connsiteX5" fmla="*/ 9489407 w 9489407"/>
              <a:gd name="connsiteY5" fmla="*/ 0 h 194311241"/>
              <a:gd name="connsiteX0" fmla="*/ 0 w 9489407"/>
              <a:gd name="connsiteY0" fmla="*/ 175666508 h 194311241"/>
              <a:gd name="connsiteX1" fmla="*/ 1740012 w 9489407"/>
              <a:gd name="connsiteY1" fmla="*/ 190609552 h 194311241"/>
              <a:gd name="connsiteX2" fmla="*/ 3453012 w 9489407"/>
              <a:gd name="connsiteY2" fmla="*/ 98675240 h 194311241"/>
              <a:gd name="connsiteX3" fmla="*/ 5201575 w 9489407"/>
              <a:gd name="connsiteY3" fmla="*/ 155699412 h 194311241"/>
              <a:gd name="connsiteX4" fmla="*/ 6935735 w 9489407"/>
              <a:gd name="connsiteY4" fmla="*/ 159283250 h 194311241"/>
              <a:gd name="connsiteX5" fmla="*/ 9489407 w 9489407"/>
              <a:gd name="connsiteY5" fmla="*/ 0 h 194311241"/>
              <a:gd name="connsiteX0" fmla="*/ 0 w 9489407"/>
              <a:gd name="connsiteY0" fmla="*/ 175666508 h 190755445"/>
              <a:gd name="connsiteX1" fmla="*/ 1740012 w 9489407"/>
              <a:gd name="connsiteY1" fmla="*/ 190609552 h 190755445"/>
              <a:gd name="connsiteX2" fmla="*/ 3453012 w 9489407"/>
              <a:gd name="connsiteY2" fmla="*/ 98675240 h 190755445"/>
              <a:gd name="connsiteX3" fmla="*/ 5201575 w 9489407"/>
              <a:gd name="connsiteY3" fmla="*/ 155699412 h 190755445"/>
              <a:gd name="connsiteX4" fmla="*/ 6935735 w 9489407"/>
              <a:gd name="connsiteY4" fmla="*/ 159283250 h 190755445"/>
              <a:gd name="connsiteX5" fmla="*/ 9489407 w 9489407"/>
              <a:gd name="connsiteY5" fmla="*/ 0 h 190755445"/>
              <a:gd name="connsiteX0" fmla="*/ 0 w 8478862"/>
              <a:gd name="connsiteY0" fmla="*/ 77007828 h 92096765"/>
              <a:gd name="connsiteX1" fmla="*/ 1740012 w 8478862"/>
              <a:gd name="connsiteY1" fmla="*/ 91950872 h 92096765"/>
              <a:gd name="connsiteX2" fmla="*/ 3453012 w 8478862"/>
              <a:gd name="connsiteY2" fmla="*/ 16560 h 92096765"/>
              <a:gd name="connsiteX3" fmla="*/ 5201575 w 8478862"/>
              <a:gd name="connsiteY3" fmla="*/ 57040732 h 92096765"/>
              <a:gd name="connsiteX4" fmla="*/ 6935735 w 8478862"/>
              <a:gd name="connsiteY4" fmla="*/ 60624570 h 92096765"/>
              <a:gd name="connsiteX5" fmla="*/ 8478862 w 8478862"/>
              <a:gd name="connsiteY5" fmla="*/ 41752414 h 92096765"/>
              <a:gd name="connsiteX0" fmla="*/ 0 w 8478862"/>
              <a:gd name="connsiteY0" fmla="*/ 77007828 h 92096765"/>
              <a:gd name="connsiteX1" fmla="*/ 1740012 w 8478862"/>
              <a:gd name="connsiteY1" fmla="*/ 91950872 h 92096765"/>
              <a:gd name="connsiteX2" fmla="*/ 3453012 w 8478862"/>
              <a:gd name="connsiteY2" fmla="*/ 16560 h 92096765"/>
              <a:gd name="connsiteX3" fmla="*/ 5201575 w 8478862"/>
              <a:gd name="connsiteY3" fmla="*/ 57040732 h 92096765"/>
              <a:gd name="connsiteX4" fmla="*/ 6935735 w 8478862"/>
              <a:gd name="connsiteY4" fmla="*/ 60624570 h 92096765"/>
              <a:gd name="connsiteX5" fmla="*/ 8478862 w 8478862"/>
              <a:gd name="connsiteY5" fmla="*/ 41752414 h 9209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78862" h="92096765">
                <a:moveTo>
                  <a:pt x="0" y="77007828"/>
                </a:moveTo>
                <a:cubicBezTo>
                  <a:pt x="360353" y="80404595"/>
                  <a:pt x="1319915" y="93625188"/>
                  <a:pt x="1740012" y="91950872"/>
                </a:cubicBezTo>
                <a:cubicBezTo>
                  <a:pt x="2160109" y="90276556"/>
                  <a:pt x="2985782" y="1053100"/>
                  <a:pt x="3453012" y="16560"/>
                </a:cubicBezTo>
                <a:cubicBezTo>
                  <a:pt x="3920242" y="-1019980"/>
                  <a:pt x="4621121" y="46939397"/>
                  <a:pt x="5201575" y="57040732"/>
                </a:cubicBezTo>
                <a:cubicBezTo>
                  <a:pt x="5782029" y="67142067"/>
                  <a:pt x="6453425" y="59959856"/>
                  <a:pt x="6935735" y="60624570"/>
                </a:cubicBezTo>
                <a:cubicBezTo>
                  <a:pt x="7469130" y="59804800"/>
                  <a:pt x="8002669" y="49991901"/>
                  <a:pt x="8478862" y="41752414"/>
                </a:cubicBezTo>
              </a:path>
            </a:pathLst>
          </a:custGeom>
          <a:noFill/>
          <a:ln w="136525" cap="rnd" algn="ctr">
            <a:solidFill>
              <a:srgbClr val="32E9FF"/>
            </a:solidFill>
            <a:round/>
            <a:headEnd/>
            <a:tailEnd/>
          </a:ln>
        </p:spPr>
        <p:txBody>
          <a:bodyPr rtlCol="0" anchor="ctr"/>
          <a:lstStyle/>
          <a:p>
            <a:pPr algn="ctr"/>
            <a:endParaRPr lang="en-US" b="1" dirty="0"/>
          </a:p>
        </p:txBody>
      </p:sp>
      <p:grpSp>
        <p:nvGrpSpPr>
          <p:cNvPr id="66" name="Group 90"/>
          <p:cNvGrpSpPr/>
          <p:nvPr/>
        </p:nvGrpSpPr>
        <p:grpSpPr>
          <a:xfrm>
            <a:off x="8960144" y="237259"/>
            <a:ext cx="2726956" cy="289004"/>
            <a:chOff x="9447824" y="732559"/>
            <a:chExt cx="2726956" cy="289004"/>
          </a:xfrm>
        </p:grpSpPr>
        <p:grpSp>
          <p:nvGrpSpPr>
            <p:cNvPr id="72"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80"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81"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73" name="Group 95">
              <a:extLst>
                <a:ext uri="{FF2B5EF4-FFF2-40B4-BE49-F238E27FC236}">
                  <a16:creationId xmlns:a16="http://schemas.microsoft.com/office/drawing/2014/main" id="{A1485764-3FE6-4A3F-A445-8201FFE463F4}"/>
                </a:ext>
              </a:extLst>
            </p:cNvPr>
            <p:cNvGrpSpPr/>
            <p:nvPr/>
          </p:nvGrpSpPr>
          <p:grpSpPr>
            <a:xfrm>
              <a:off x="11110065" y="732559"/>
              <a:ext cx="1064715" cy="289004"/>
              <a:chOff x="10446935" y="632954"/>
              <a:chExt cx="1064715" cy="289004"/>
            </a:xfrm>
          </p:grpSpPr>
          <p:sp>
            <p:nvSpPr>
              <p:cNvPr id="77"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446935" y="632954"/>
                <a:ext cx="10647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 Yamato</a:t>
                </a:r>
              </a:p>
            </p:txBody>
          </p:sp>
          <p:sp>
            <p:nvSpPr>
              <p:cNvPr id="78"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74"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75"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76"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spTree>
    <p:extLst>
      <p:ext uri="{BB962C8B-B14F-4D97-AF65-F5344CB8AC3E}">
        <p14:creationId xmlns:p14="http://schemas.microsoft.com/office/powerpoint/2010/main" val="53217216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Group 29"/>
          <p:cNvGraphicFramePr>
            <a:graphicFrameLocks noGrp="1"/>
          </p:cNvGraphicFramePr>
          <p:nvPr>
            <p:extLst>
              <p:ext uri="{D42A27DB-BD31-4B8C-83A1-F6EECF244321}">
                <p14:modId xmlns:p14="http://schemas.microsoft.com/office/powerpoint/2010/main" val="3940305363"/>
              </p:ext>
            </p:extLst>
          </p:nvPr>
        </p:nvGraphicFramePr>
        <p:xfrm>
          <a:off x="373085" y="1129608"/>
          <a:ext cx="11445832" cy="5095332"/>
        </p:xfrm>
        <a:graphic>
          <a:graphicData uri="http://schemas.openxmlformats.org/drawingml/2006/table">
            <a:tbl>
              <a:tblPr/>
              <a:tblGrid>
                <a:gridCol w="1923228">
                  <a:extLst>
                    <a:ext uri="{9D8B030D-6E8A-4147-A177-3AD203B41FA5}">
                      <a16:colId xmlns:a16="http://schemas.microsoft.com/office/drawing/2014/main" val="20000"/>
                    </a:ext>
                  </a:extLst>
                </a:gridCol>
                <a:gridCol w="4761302">
                  <a:extLst>
                    <a:ext uri="{9D8B030D-6E8A-4147-A177-3AD203B41FA5}">
                      <a16:colId xmlns:a16="http://schemas.microsoft.com/office/drawing/2014/main" val="20001"/>
                    </a:ext>
                  </a:extLst>
                </a:gridCol>
                <a:gridCol w="4761302">
                  <a:extLst>
                    <a:ext uri="{9D8B030D-6E8A-4147-A177-3AD203B41FA5}">
                      <a16:colId xmlns:a16="http://schemas.microsoft.com/office/drawing/2014/main" val="20002"/>
                    </a:ext>
                  </a:extLst>
                </a:gridCol>
              </a:tblGrid>
              <a:tr h="43200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50" b="1" i="0" u="none" strike="noStrike" cap="none" normalizeH="0" baseline="0" dirty="0">
                        <a:ln>
                          <a:noFill/>
                        </a:ln>
                        <a:solidFill>
                          <a:srgbClr val="002776"/>
                        </a:solidFill>
                        <a:effectLst/>
                        <a:latin typeface="+mj-lt"/>
                        <a:cs typeface="Arial" pitchFamily="34" charset="0"/>
                      </a:endParaRPr>
                    </a:p>
                  </a:txBody>
                  <a:tcPr marL="54864" marR="54864" marT="36576" marB="3657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Key</a:t>
                      </a:r>
                      <a:r>
                        <a:rPr lang="en-US" altLang="en-US" sz="1050" b="1" kern="1200" baseline="0" dirty="0">
                          <a:solidFill>
                            <a:schemeClr val="bg1"/>
                          </a:solidFill>
                          <a:latin typeface="+mn-lt"/>
                          <a:ea typeface="+mn-ea"/>
                          <a:cs typeface="+mn-cs"/>
                        </a:rPr>
                        <a:t> Observations</a:t>
                      </a:r>
                      <a:endParaRPr lang="en-US" altLang="en-US" sz="1050" b="1" kern="1200" dirty="0">
                        <a:solidFill>
                          <a:schemeClr val="bg1"/>
                        </a:solidFill>
                        <a:latin typeface="+mn-lt"/>
                        <a:ea typeface="+mn-ea"/>
                        <a:cs typeface="+mn-cs"/>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Business Implica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432000">
                <a:tc>
                  <a:txBody>
                    <a:bodyPr/>
                    <a:lstStyle/>
                    <a:p>
                      <a:pPr algn="l"/>
                      <a:r>
                        <a:rPr lang="en-US" sz="1050" b="1" dirty="0">
                          <a:solidFill>
                            <a:schemeClr val="bg1"/>
                          </a:solidFill>
                        </a:rPr>
                        <a:t>Planning</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1050" dirty="0">
                          <a:solidFill>
                            <a:schemeClr val="tx1"/>
                          </a:solidFill>
                        </a:rPr>
                        <a:t>RPM system manages a project, but date updates may not catch up. (</a:t>
                      </a:r>
                      <a:r>
                        <a:rPr lang="en-US" altLang="ja-JP" sz="1050" dirty="0">
                          <a:solidFill>
                            <a:schemeClr val="tx1"/>
                          </a:solidFill>
                        </a:rPr>
                        <a:t>MSBU)</a:t>
                      </a:r>
                    </a:p>
                    <a:p>
                      <a:pPr marL="171450" indent="-171450">
                        <a:lnSpc>
                          <a:spcPct val="100000"/>
                        </a:lnSpc>
                        <a:spcBef>
                          <a:spcPts val="0"/>
                        </a:spcBef>
                        <a:buFont typeface="Arial" panose="020B0604020202020204" pitchFamily="34" charset="0"/>
                        <a:buChar char="•"/>
                      </a:pPr>
                      <a:r>
                        <a:rPr lang="en-US" altLang="ja-JP" sz="1050" dirty="0">
                          <a:solidFill>
                            <a:schemeClr val="tx1"/>
                          </a:solidFill>
                        </a:rPr>
                        <a:t>RPM has a standard process from data collection to utilization. (PSBU)</a:t>
                      </a:r>
                      <a:endParaRPr lang="en-US"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Need a mechanism to automatically report to top management. (MSBU)</a:t>
                      </a:r>
                    </a:p>
                    <a:p>
                      <a:pPr marL="171450" indent="-171450">
                        <a:lnSpc>
                          <a:spcPct val="100000"/>
                        </a:lnSpc>
                        <a:spcBef>
                          <a:spcPts val="0"/>
                        </a:spcBef>
                        <a:buFont typeface="Arial" panose="020B0604020202020204" pitchFamily="34" charset="0"/>
                        <a:buChar char="•"/>
                      </a:pPr>
                      <a:r>
                        <a:rPr lang="en-US" altLang="ja-JP" sz="1050" dirty="0">
                          <a:solidFill>
                            <a:schemeClr val="tx1"/>
                          </a:solidFill>
                        </a:rPr>
                        <a:t>Don’t have to be top skill</a:t>
                      </a:r>
                      <a:r>
                        <a:rPr lang="en-US" altLang="ja-JP" sz="1050" baseline="0" dirty="0">
                          <a:solidFill>
                            <a:schemeClr val="tx1"/>
                          </a:solidFill>
                        </a:rPr>
                        <a:t> </a:t>
                      </a:r>
                      <a:r>
                        <a:rPr lang="en-US" altLang="ja-JP" sz="1050" dirty="0">
                          <a:solidFill>
                            <a:schemeClr val="tx1"/>
                          </a:solidFill>
                        </a:rPr>
                        <a:t>of market, so Middle Advanced is enough. (PSBU)</a:t>
                      </a:r>
                      <a:endParaRPr lang="ja-JP" altLang="en-US"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432000">
                <a:tc>
                  <a:txBody>
                    <a:bodyPr/>
                    <a:lstStyle/>
                    <a:p>
                      <a:pPr algn="l"/>
                      <a:r>
                        <a:rPr lang="en-US" sz="1050" b="1" dirty="0">
                          <a:solidFill>
                            <a:schemeClr val="bg1"/>
                          </a:solidFill>
                        </a:rPr>
                        <a:t>Risk &amp; Issue Managemen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Risk / problem management is thorough for each project, but some departments may be passive. (PSBU)</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Responding to risks and issues may not be real time. (MSBU)</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dirty="0">
                          <a:solidFill>
                            <a:schemeClr val="tx1"/>
                          </a:solidFill>
                        </a:rPr>
                        <a:t>Needs a system that can respond proactively and no delay in dealing with issues and risk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mn-lt"/>
                          <a:ea typeface="+mn-ea"/>
                          <a:cs typeface="Arial" pitchFamily="34" charset="0"/>
                        </a:rPr>
                        <a:t>Change Control</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here is a standard system process, but change management may not be in place.</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Scope changes a lot and strict management is not necessary.</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altLang="en-US" sz="1050" b="1" kern="0" dirty="0">
                          <a:solidFill>
                            <a:srgbClr val="FFFFFF"/>
                          </a:solidFill>
                          <a:latin typeface="+mn-lt"/>
                          <a:ea typeface="+mn-ea"/>
                          <a:cs typeface="+mn-cs"/>
                        </a:rPr>
                        <a:t>Financial Managemen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t>Can track financial data by system, but doesn’t set benchmarks or track progress.</a:t>
                      </a:r>
                      <a:endParaRPr lang="en-US" sz="1050" dirty="0"/>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Middle Advanced is enough for emphasizing lead time. (PSBU)</a:t>
                      </a:r>
                    </a:p>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Need High</a:t>
                      </a:r>
                      <a:r>
                        <a:rPr lang="ja-JP" altLang="en-US" sz="1050" baseline="0" dirty="0">
                          <a:solidFill>
                            <a:schemeClr val="tx1"/>
                          </a:solidFill>
                        </a:rPr>
                        <a:t> </a:t>
                      </a:r>
                      <a:r>
                        <a:rPr lang="en-US" altLang="ja-JP" sz="1050" baseline="0" dirty="0">
                          <a:solidFill>
                            <a:schemeClr val="tx1"/>
                          </a:solidFill>
                        </a:rPr>
                        <a:t>Advance</a:t>
                      </a:r>
                      <a:r>
                        <a:rPr lang="ja-JP" altLang="en-US" sz="1050" baseline="0" dirty="0">
                          <a:solidFill>
                            <a:schemeClr val="tx1"/>
                          </a:solidFill>
                        </a:rPr>
                        <a:t> </a:t>
                      </a:r>
                      <a:r>
                        <a:rPr lang="en-US" altLang="ja-JP" sz="1050" baseline="0" dirty="0">
                          <a:solidFill>
                            <a:schemeClr val="tx1"/>
                          </a:solidFill>
                        </a:rPr>
                        <a:t>to improve quality and financial management level</a:t>
                      </a:r>
                      <a:r>
                        <a:rPr lang="ja-JP" altLang="en-US" sz="1050" baseline="0" dirty="0">
                          <a:solidFill>
                            <a:schemeClr val="tx1"/>
                          </a:solidFill>
                        </a:rPr>
                        <a:t>（</a:t>
                      </a:r>
                      <a:r>
                        <a:rPr lang="en-US" altLang="ja-JP" sz="1050" baseline="0" dirty="0">
                          <a:solidFill>
                            <a:schemeClr val="tx1"/>
                          </a:solidFill>
                        </a:rPr>
                        <a:t>MSBU</a:t>
                      </a:r>
                      <a:r>
                        <a:rPr lang="ja-JP" altLang="en-US" sz="1050" baseline="0" dirty="0">
                          <a:solidFill>
                            <a:schemeClr val="tx1"/>
                          </a:solidFill>
                        </a:rPr>
                        <a:t>）</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96658287"/>
                  </a:ext>
                </a:extLst>
              </a:tr>
              <a:tr h="432000">
                <a:tc>
                  <a:txBody>
                    <a:bodyPr/>
                    <a:lstStyle/>
                    <a:p>
                      <a:pPr algn="l"/>
                      <a:r>
                        <a:rPr lang="en-US" sz="1050" b="1" dirty="0">
                          <a:solidFill>
                            <a:schemeClr val="bg1"/>
                          </a:solidFill>
                        </a:rPr>
                        <a:t>Quality Managemen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Function and system are optimized in each product lifecycle, and the quality response is sufficient. (MSBU)</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Correspondence to quality has variation among teams and people. (PSBU)</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Need minimum Advance level. (MSBU)</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Don’t need Advance level. (PSBU)</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3551714"/>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altLang="en-US" sz="1050" b="1" kern="0" dirty="0">
                          <a:solidFill>
                            <a:srgbClr val="FFFFFF"/>
                          </a:solidFill>
                          <a:latin typeface="+mn-lt"/>
                          <a:ea typeface="+mn-ea"/>
                          <a:cs typeface="+mn-cs"/>
                        </a:rPr>
                        <a:t>Team Building and Developmen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here are members with skills and sharing resources. </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Most important point of manage organization.</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86354471"/>
                  </a:ext>
                </a:extLst>
              </a:tr>
              <a:tr h="432000">
                <a:tc>
                  <a:txBody>
                    <a:bodyPr/>
                    <a:lstStyle/>
                    <a:p>
                      <a:pPr algn="l"/>
                      <a:r>
                        <a:rPr lang="en-US" sz="1050" b="1" dirty="0">
                          <a:solidFill>
                            <a:schemeClr val="bg1"/>
                          </a:solidFill>
                        </a:rPr>
                        <a:t>Internal and External Stakeholder Managemen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Analysis and communication is going well with internal stakeholders, but inadequate for external stakeholder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High importance in business. Project management should involve all internal and external stakeholders.</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46147242"/>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altLang="en-US" sz="1050" b="1" kern="0" dirty="0">
                          <a:solidFill>
                            <a:srgbClr val="FFFFFF"/>
                          </a:solidFill>
                          <a:latin typeface="+mn-lt"/>
                          <a:ea typeface="+mn-ea"/>
                          <a:cs typeface="+mn-cs"/>
                        </a:rPr>
                        <a:t>Operational Metrics and Dashboard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here is no dashboard before launch, but there is a dashboard after launch. (MSBU)</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Before launch, we can visualize the schedule scope. The dashboard after launch is also fulfilling. (PSBU)</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b="0" baseline="0" dirty="0">
                          <a:solidFill>
                            <a:schemeClr val="tx1"/>
                          </a:solidFill>
                        </a:rPr>
                        <a:t>Need a dashboard with global visibility of product life cycles.</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9054611"/>
                  </a:ext>
                </a:extLst>
              </a:tr>
            </a:tbl>
          </a:graphicData>
        </a:graphic>
      </p:graphicFrame>
      <p:sp>
        <p:nvSpPr>
          <p:cNvPr id="4" name="Title 3">
            <a:extLst>
              <a:ext uri="{FF2B5EF4-FFF2-40B4-BE49-F238E27FC236}">
                <a16:creationId xmlns:a16="http://schemas.microsoft.com/office/drawing/2014/main" id="{026705D2-9A1E-4A1F-80F4-6BC1AE8E4025}"/>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lvl="0" defTabSz="914400">
              <a:defRPr/>
            </a:pPr>
            <a:r>
              <a:rPr lang="en-GB" sz="2400" b="1" dirty="0"/>
              <a:t>Project Management</a:t>
            </a:r>
            <a:endParaRPr lang="en-US" sz="2400" b="1" dirty="0">
              <a:solidFill>
                <a:prstClr val="black"/>
              </a:solidFill>
            </a:endParaRPr>
          </a:p>
        </p:txBody>
      </p:sp>
    </p:spTree>
    <p:extLst>
      <p:ext uri="{BB962C8B-B14F-4D97-AF65-F5344CB8AC3E}">
        <p14:creationId xmlns:p14="http://schemas.microsoft.com/office/powerpoint/2010/main" val="42144662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6705D2-9A1E-4A1F-80F4-6BC1AE8E4025}"/>
              </a:ext>
            </a:extLst>
          </p:cNvPr>
          <p:cNvSpPr>
            <a:spLocks noGrp="1"/>
          </p:cNvSpPr>
          <p:nvPr>
            <p:ph type="title"/>
          </p:nvPr>
        </p:nvSpPr>
        <p:spPr>
          <a:xfrm>
            <a:off x="469900" y="402587"/>
            <a:ext cx="11252200" cy="334102"/>
          </a:xfrm>
        </p:spPr>
        <p:txBody>
          <a:bodyPr/>
          <a:lstStyle/>
          <a:p>
            <a:r>
              <a:rPr lang="en-US" sz="2400" b="1" dirty="0"/>
              <a:t>Portfolio Management and Technology Roadmaps</a:t>
            </a:r>
          </a:p>
        </p:txBody>
      </p:sp>
      <p:sp>
        <p:nvSpPr>
          <p:cNvPr id="204" name="Text Box 28">
            <a:extLst>
              <a:ext uri="{FF2B5EF4-FFF2-40B4-BE49-F238E27FC236}">
                <a16:creationId xmlns:a16="http://schemas.microsoft.com/office/drawing/2014/main" id="{737C9507-91B5-4B49-B0BD-98965E1C42F0}"/>
              </a:ext>
            </a:extLst>
          </p:cNvPr>
          <p:cNvSpPr txBox="1">
            <a:spLocks noChangeArrowheads="1"/>
          </p:cNvSpPr>
          <p:nvPr/>
        </p:nvSpPr>
        <p:spPr bwMode="auto">
          <a:xfrm>
            <a:off x="232751" y="954777"/>
            <a:ext cx="850504" cy="236337"/>
          </a:xfrm>
          <a:prstGeom prst="rect">
            <a:avLst/>
          </a:prstGeom>
          <a:noFill/>
          <a:ln w="25400">
            <a:noFill/>
            <a:miter lim="800000"/>
            <a:headEnd/>
            <a:tailEnd type="none" w="med" len="lg"/>
          </a:ln>
        </p:spPr>
        <p:txBody>
          <a:bodyPr wrap="square" lIns="0" tIns="54859" rIns="109718" bIns="54859">
            <a:spAutoFit/>
          </a:bodyPr>
          <a:lstStyle/>
          <a:p>
            <a:pPr marL="274320" indent="-274320" algn="r" defTabSz="1082040" eaLnBrk="0" fontAlgn="base" hangingPunct="0">
              <a:lnSpc>
                <a:spcPct val="85000"/>
              </a:lnSpc>
              <a:spcBef>
                <a:spcPct val="0"/>
              </a:spcBef>
              <a:spcAft>
                <a:spcPct val="0"/>
              </a:spcAft>
              <a:buClr>
                <a:srgbClr val="8099CC"/>
              </a:buClr>
              <a:defRPr/>
            </a:pPr>
            <a:r>
              <a:rPr lang="en-US" altLang="en-US" sz="960" b="1" dirty="0">
                <a:solidFill>
                  <a:srgbClr val="000000"/>
                </a:solidFill>
                <a:latin typeface="+mj-lt"/>
                <a:cs typeface="Arial" charset="0"/>
              </a:rPr>
              <a:t>Maturity</a:t>
            </a:r>
          </a:p>
        </p:txBody>
      </p:sp>
      <p:sp>
        <p:nvSpPr>
          <p:cNvPr id="205" name="Text Box 11">
            <a:extLst>
              <a:ext uri="{FF2B5EF4-FFF2-40B4-BE49-F238E27FC236}">
                <a16:creationId xmlns:a16="http://schemas.microsoft.com/office/drawing/2014/main" id="{9EAF6433-35B6-409C-A898-DEB420091EB9}"/>
              </a:ext>
            </a:extLst>
          </p:cNvPr>
          <p:cNvSpPr txBox="1">
            <a:spLocks noChangeArrowheads="1"/>
          </p:cNvSpPr>
          <p:nvPr/>
        </p:nvSpPr>
        <p:spPr bwMode="auto">
          <a:xfrm rot="-5400000">
            <a:off x="91599" y="4460611"/>
            <a:ext cx="574558" cy="322882"/>
          </a:xfrm>
          <a:prstGeom prst="rect">
            <a:avLst/>
          </a:prstGeom>
          <a:noFill/>
          <a:ln w="12700" algn="ctr">
            <a:noFill/>
            <a:miter lim="800000"/>
            <a:headEnd/>
            <a:tailEnd/>
          </a:ln>
        </p:spPr>
        <p:txBody>
          <a:bodyPr lIns="0" tIns="0" rIns="0" bIns="0" anchor="b"/>
          <a:lstStyle/>
          <a:p>
            <a:pPr algn="ctr" defTabSz="1082040" eaLnBrk="0" fontAlgn="base" hangingPunct="0">
              <a:lnSpc>
                <a:spcPct val="90000"/>
              </a:lnSpc>
              <a:spcBef>
                <a:spcPct val="50000"/>
              </a:spcBef>
              <a:spcAft>
                <a:spcPct val="0"/>
              </a:spcAft>
              <a:buClr>
                <a:srgbClr val="8099CC"/>
              </a:buClr>
              <a:buSzPct val="100000"/>
              <a:defRPr/>
            </a:pPr>
            <a:r>
              <a:rPr lang="en-US" sz="960" b="1" dirty="0">
                <a:solidFill>
                  <a:srgbClr val="000000"/>
                </a:solidFill>
                <a:latin typeface="+mj-lt"/>
                <a:cs typeface="Arial" charset="0"/>
              </a:rPr>
              <a:t>Low</a:t>
            </a:r>
          </a:p>
        </p:txBody>
      </p:sp>
      <p:grpSp>
        <p:nvGrpSpPr>
          <p:cNvPr id="201" name="Group 200">
            <a:extLst>
              <a:ext uri="{FF2B5EF4-FFF2-40B4-BE49-F238E27FC236}">
                <a16:creationId xmlns:a16="http://schemas.microsoft.com/office/drawing/2014/main" id="{F72E6132-C9F5-49DF-99A4-B31CFBD4BEE0}"/>
              </a:ext>
            </a:extLst>
          </p:cNvPr>
          <p:cNvGrpSpPr/>
          <p:nvPr/>
        </p:nvGrpSpPr>
        <p:grpSpPr>
          <a:xfrm>
            <a:off x="602971" y="1211825"/>
            <a:ext cx="10750837" cy="4359416"/>
            <a:chOff x="1092839" y="1211825"/>
            <a:chExt cx="10290659" cy="4031777"/>
          </a:xfrm>
        </p:grpSpPr>
        <p:sp>
          <p:nvSpPr>
            <p:cNvPr id="202" name="Line 16">
              <a:extLst>
                <a:ext uri="{FF2B5EF4-FFF2-40B4-BE49-F238E27FC236}">
                  <a16:creationId xmlns:a16="http://schemas.microsoft.com/office/drawing/2014/main" id="{CFB4B60E-83C9-4759-8513-4A6D12910087}"/>
                </a:ext>
              </a:extLst>
            </p:cNvPr>
            <p:cNvSpPr>
              <a:spLocks noChangeShapeType="1"/>
            </p:cNvSpPr>
            <p:nvPr/>
          </p:nvSpPr>
          <p:spPr bwMode="auto">
            <a:xfrm flipV="1">
              <a:off x="1092839" y="5243602"/>
              <a:ext cx="10290659" cy="0"/>
            </a:xfrm>
            <a:prstGeom prst="line">
              <a:avLst/>
            </a:prstGeom>
            <a:noFill/>
            <a:ln w="38100">
              <a:solidFill>
                <a:schemeClr val="tx1"/>
              </a:solidFill>
              <a:round/>
              <a:headEnd/>
              <a:tailEnd/>
            </a:ln>
          </p:spPr>
          <p:txBody>
            <a:bodyPr/>
            <a:lstStyle/>
            <a:p>
              <a:pPr defTabSz="1097280" fontAlgn="base">
                <a:spcBef>
                  <a:spcPct val="0"/>
                </a:spcBef>
                <a:spcAft>
                  <a:spcPct val="0"/>
                </a:spcAft>
                <a:defRPr/>
              </a:pPr>
              <a:endParaRPr lang="en-US" sz="960" dirty="0">
                <a:solidFill>
                  <a:srgbClr val="000000"/>
                </a:solidFill>
                <a:latin typeface="+mj-lt"/>
                <a:cs typeface="Arial" charset="0"/>
              </a:endParaRPr>
            </a:p>
          </p:txBody>
        </p:sp>
        <p:sp>
          <p:nvSpPr>
            <p:cNvPr id="203" name="Line 15">
              <a:extLst>
                <a:ext uri="{FF2B5EF4-FFF2-40B4-BE49-F238E27FC236}">
                  <a16:creationId xmlns:a16="http://schemas.microsoft.com/office/drawing/2014/main" id="{98BFC8BF-2277-476B-AEBC-9EF18492826C}"/>
                </a:ext>
              </a:extLst>
            </p:cNvPr>
            <p:cNvSpPr>
              <a:spLocks noChangeShapeType="1"/>
            </p:cNvSpPr>
            <p:nvPr/>
          </p:nvSpPr>
          <p:spPr bwMode="auto">
            <a:xfrm flipV="1">
              <a:off x="1111657" y="1211825"/>
              <a:ext cx="0" cy="4031776"/>
            </a:xfrm>
            <a:prstGeom prst="line">
              <a:avLst/>
            </a:prstGeom>
            <a:noFill/>
            <a:ln w="38100">
              <a:solidFill>
                <a:srgbClr val="000066"/>
              </a:solidFill>
              <a:round/>
              <a:headEnd/>
              <a:tailEnd type="triangle" w="med" len="med"/>
            </a:ln>
          </p:spPr>
          <p:txBody>
            <a:bodyPr/>
            <a:lstStyle/>
            <a:p>
              <a:pPr defTabSz="1097280" eaLnBrk="0" hangingPunct="0">
                <a:lnSpc>
                  <a:spcPct val="106000"/>
                </a:lnSpc>
                <a:spcBef>
                  <a:spcPct val="50000"/>
                </a:spcBef>
                <a:buSzPct val="100000"/>
                <a:defRPr/>
              </a:pPr>
              <a:endParaRPr lang="en-US" sz="960" kern="0" dirty="0">
                <a:solidFill>
                  <a:srgbClr val="000000"/>
                </a:solidFill>
                <a:latin typeface="+mj-lt"/>
                <a:cs typeface="Arial" charset="0"/>
              </a:endParaRPr>
            </a:p>
          </p:txBody>
        </p:sp>
      </p:grpSp>
      <p:sp>
        <p:nvSpPr>
          <p:cNvPr id="33" name="Rectangle 10">
            <a:extLst>
              <a:ext uri="{FF2B5EF4-FFF2-40B4-BE49-F238E27FC236}">
                <a16:creationId xmlns:a16="http://schemas.microsoft.com/office/drawing/2014/main" id="{A809B08E-4F7E-43FE-A1AF-201C8922DD6E}"/>
              </a:ext>
            </a:extLst>
          </p:cNvPr>
          <p:cNvSpPr>
            <a:spLocks noChangeArrowheads="1"/>
          </p:cNvSpPr>
          <p:nvPr/>
        </p:nvSpPr>
        <p:spPr bwMode="auto">
          <a:xfrm>
            <a:off x="3213331" y="5680488"/>
            <a:ext cx="1243913" cy="608632"/>
          </a:xfrm>
          <a:prstGeom prst="roundRect">
            <a:avLst/>
          </a:prstGeom>
          <a:solidFill>
            <a:srgbClr val="FFFF00"/>
          </a:solidFill>
          <a:ln w="12700" algn="ctr">
            <a:solidFill>
              <a:schemeClr val="tx1"/>
            </a:solidFill>
            <a:miter lim="800000"/>
            <a:headEnd/>
            <a:tailEnd/>
          </a:ln>
        </p:spPr>
        <p:txBody>
          <a:bodyPr lIns="43200" tIns="0" rIns="43200" bIns="0" anchor="ctr"/>
          <a:lstStyle/>
          <a:p>
            <a:pPr algn="ctr" defTabSz="1097280" eaLnBrk="0" fontAlgn="base" hangingPunct="0">
              <a:lnSpc>
                <a:spcPct val="90000"/>
              </a:lnSpc>
              <a:spcBef>
                <a:spcPct val="0"/>
              </a:spcBef>
              <a:spcAft>
                <a:spcPct val="0"/>
              </a:spcAft>
              <a:defRPr/>
            </a:pPr>
            <a:r>
              <a:rPr lang="en-US" altLang="en-US" sz="960" b="1" dirty="0">
                <a:solidFill>
                  <a:srgbClr val="000000"/>
                </a:solidFill>
                <a:latin typeface="+mj-lt"/>
                <a:cs typeface="Arial" charset="0"/>
              </a:rPr>
              <a:t>Product &amp; Technology Roadmaps</a:t>
            </a:r>
          </a:p>
        </p:txBody>
      </p:sp>
      <p:sp>
        <p:nvSpPr>
          <p:cNvPr id="34" name="Rectangle 6">
            <a:extLst>
              <a:ext uri="{FF2B5EF4-FFF2-40B4-BE49-F238E27FC236}">
                <a16:creationId xmlns:a16="http://schemas.microsoft.com/office/drawing/2014/main" id="{90F946A3-0C09-465D-B6DB-E90F3AD9F83C}"/>
              </a:ext>
            </a:extLst>
          </p:cNvPr>
          <p:cNvSpPr>
            <a:spLocks noChangeArrowheads="1"/>
          </p:cNvSpPr>
          <p:nvPr/>
        </p:nvSpPr>
        <p:spPr bwMode="auto">
          <a:xfrm>
            <a:off x="5963667" y="5680377"/>
            <a:ext cx="1243913" cy="608632"/>
          </a:xfrm>
          <a:prstGeom prst="roundRect">
            <a:avLst/>
          </a:prstGeom>
          <a:solidFill>
            <a:srgbClr val="FFFF00"/>
          </a:solidFill>
          <a:ln w="12700" algn="ctr">
            <a:solidFill>
              <a:schemeClr val="tx1"/>
            </a:solidFill>
            <a:miter lim="800000"/>
            <a:headEnd/>
            <a:tailEnd/>
          </a:ln>
        </p:spPr>
        <p:txBody>
          <a:bodyPr lIns="43200" tIns="0" rIns="43200" bIns="0" anchor="ctr"/>
          <a:lstStyle/>
          <a:p>
            <a:pPr algn="ctr" defTabSz="1097280" eaLnBrk="0" fontAlgn="base" hangingPunct="0">
              <a:lnSpc>
                <a:spcPct val="90000"/>
              </a:lnSpc>
              <a:spcBef>
                <a:spcPct val="0"/>
              </a:spcBef>
              <a:spcAft>
                <a:spcPct val="0"/>
              </a:spcAft>
              <a:defRPr/>
            </a:pPr>
            <a:r>
              <a:rPr lang="en-US" altLang="en-US" sz="960" b="1" dirty="0">
                <a:solidFill>
                  <a:srgbClr val="000000"/>
                </a:solidFill>
                <a:latin typeface="+mj-lt"/>
                <a:cs typeface="Arial" charset="0"/>
              </a:rPr>
              <a:t>Cross-functional and Complete Lifecycle Focus</a:t>
            </a:r>
          </a:p>
        </p:txBody>
      </p:sp>
      <p:sp>
        <p:nvSpPr>
          <p:cNvPr id="35" name="Rectangle 5">
            <a:extLst>
              <a:ext uri="{FF2B5EF4-FFF2-40B4-BE49-F238E27FC236}">
                <a16:creationId xmlns:a16="http://schemas.microsoft.com/office/drawing/2014/main" id="{90A1112C-0B12-46C8-BA5E-38F86D1A63B8}"/>
              </a:ext>
            </a:extLst>
          </p:cNvPr>
          <p:cNvSpPr>
            <a:spLocks noChangeArrowheads="1"/>
          </p:cNvSpPr>
          <p:nvPr/>
        </p:nvSpPr>
        <p:spPr bwMode="auto">
          <a:xfrm>
            <a:off x="4586718" y="5680488"/>
            <a:ext cx="1243913" cy="608632"/>
          </a:xfrm>
          <a:prstGeom prst="roundRect">
            <a:avLst/>
          </a:prstGeom>
          <a:solidFill>
            <a:srgbClr val="FFFF00"/>
          </a:solidFill>
          <a:ln w="12700" algn="ctr">
            <a:solidFill>
              <a:schemeClr val="tx1"/>
            </a:solidFill>
            <a:miter lim="800000"/>
            <a:headEnd/>
            <a:tailEnd/>
          </a:ln>
        </p:spPr>
        <p:txBody>
          <a:bodyPr lIns="43200" tIns="0" rIns="43200" bIns="0" anchor="ctr"/>
          <a:lstStyle/>
          <a:p>
            <a:pPr algn="ctr" defTabSz="1097280" eaLnBrk="0" fontAlgn="base" hangingPunct="0">
              <a:lnSpc>
                <a:spcPct val="90000"/>
              </a:lnSpc>
              <a:spcBef>
                <a:spcPct val="0"/>
              </a:spcBef>
              <a:spcAft>
                <a:spcPct val="0"/>
              </a:spcAft>
              <a:defRPr/>
            </a:pPr>
            <a:r>
              <a:rPr lang="en-US" altLang="en-US" sz="960" b="1" dirty="0">
                <a:solidFill>
                  <a:srgbClr val="000000"/>
                </a:solidFill>
                <a:latin typeface="+mj-lt"/>
                <a:cs typeface="Arial" charset="0"/>
              </a:rPr>
              <a:t>Project Assessment and Selection</a:t>
            </a:r>
          </a:p>
        </p:txBody>
      </p:sp>
      <p:sp>
        <p:nvSpPr>
          <p:cNvPr id="36" name="Rectangle 4">
            <a:extLst>
              <a:ext uri="{FF2B5EF4-FFF2-40B4-BE49-F238E27FC236}">
                <a16:creationId xmlns:a16="http://schemas.microsoft.com/office/drawing/2014/main" id="{AC2E8372-DEEE-49F5-9F64-1E5490998E9F}"/>
              </a:ext>
            </a:extLst>
          </p:cNvPr>
          <p:cNvSpPr>
            <a:spLocks noChangeArrowheads="1"/>
          </p:cNvSpPr>
          <p:nvPr/>
        </p:nvSpPr>
        <p:spPr bwMode="auto">
          <a:xfrm>
            <a:off x="10088436" y="5680488"/>
            <a:ext cx="1241952" cy="608632"/>
          </a:xfrm>
          <a:prstGeom prst="roundRect">
            <a:avLst/>
          </a:prstGeom>
          <a:solidFill>
            <a:srgbClr val="FFFF00"/>
          </a:solidFill>
          <a:ln w="12700" algn="ctr">
            <a:solidFill>
              <a:schemeClr val="tx1"/>
            </a:solidFill>
            <a:miter lim="800000"/>
            <a:headEnd/>
            <a:tailEnd/>
          </a:ln>
        </p:spPr>
        <p:txBody>
          <a:bodyPr lIns="43200" tIns="0" rIns="43200" bIns="0" anchor="ctr"/>
          <a:lstStyle/>
          <a:p>
            <a:pPr algn="ctr" defTabSz="1097280" eaLnBrk="0" fontAlgn="base" hangingPunct="0">
              <a:lnSpc>
                <a:spcPct val="90000"/>
              </a:lnSpc>
              <a:spcBef>
                <a:spcPct val="0"/>
              </a:spcBef>
              <a:spcAft>
                <a:spcPct val="0"/>
              </a:spcAft>
              <a:defRPr/>
            </a:pPr>
            <a:r>
              <a:rPr lang="en-US" altLang="en-US" sz="960" b="1" dirty="0">
                <a:solidFill>
                  <a:srgbClr val="000000"/>
                </a:solidFill>
                <a:latin typeface="+mj-lt"/>
                <a:cs typeface="Arial" charset="0"/>
              </a:rPr>
              <a:t>Financial &amp; Operational Metrics and Dashboards</a:t>
            </a:r>
          </a:p>
        </p:txBody>
      </p:sp>
      <p:sp>
        <p:nvSpPr>
          <p:cNvPr id="37" name="Rectangle 4">
            <a:extLst>
              <a:ext uri="{FF2B5EF4-FFF2-40B4-BE49-F238E27FC236}">
                <a16:creationId xmlns:a16="http://schemas.microsoft.com/office/drawing/2014/main" id="{09F77C10-2B2D-449B-8B68-1A800171F3B2}"/>
              </a:ext>
            </a:extLst>
          </p:cNvPr>
          <p:cNvSpPr>
            <a:spLocks noChangeArrowheads="1"/>
          </p:cNvSpPr>
          <p:nvPr/>
        </p:nvSpPr>
        <p:spPr bwMode="auto">
          <a:xfrm>
            <a:off x="7338192" y="5680488"/>
            <a:ext cx="1243913" cy="608632"/>
          </a:xfrm>
          <a:prstGeom prst="roundRect">
            <a:avLst/>
          </a:prstGeom>
          <a:solidFill>
            <a:srgbClr val="FFFF00"/>
          </a:solidFill>
          <a:ln w="12700" algn="ctr">
            <a:solidFill>
              <a:schemeClr val="tx1"/>
            </a:solidFill>
            <a:miter lim="800000"/>
            <a:headEnd/>
            <a:tailEnd/>
          </a:ln>
        </p:spPr>
        <p:txBody>
          <a:bodyPr lIns="43200" tIns="0" rIns="43200" bIns="0" anchor="ctr"/>
          <a:lstStyle/>
          <a:p>
            <a:pPr algn="ctr" defTabSz="1097280" eaLnBrk="0" fontAlgn="base" hangingPunct="0">
              <a:lnSpc>
                <a:spcPct val="90000"/>
              </a:lnSpc>
              <a:spcBef>
                <a:spcPct val="0"/>
              </a:spcBef>
              <a:spcAft>
                <a:spcPct val="0"/>
              </a:spcAft>
              <a:defRPr/>
            </a:pPr>
            <a:r>
              <a:rPr lang="en-US" altLang="en-US" sz="960" b="1" dirty="0">
                <a:solidFill>
                  <a:srgbClr val="000000"/>
                </a:solidFill>
                <a:latin typeface="+mj-lt"/>
                <a:cs typeface="Arial" charset="0"/>
              </a:rPr>
              <a:t>Standardized Tools for Evaluation</a:t>
            </a:r>
          </a:p>
        </p:txBody>
      </p:sp>
      <p:sp>
        <p:nvSpPr>
          <p:cNvPr id="38" name="Rectangle 10">
            <a:extLst>
              <a:ext uri="{FF2B5EF4-FFF2-40B4-BE49-F238E27FC236}">
                <a16:creationId xmlns:a16="http://schemas.microsoft.com/office/drawing/2014/main" id="{47142CB9-4828-4AF5-87A3-DB6B0DA3B062}"/>
              </a:ext>
            </a:extLst>
          </p:cNvPr>
          <p:cNvSpPr>
            <a:spLocks noChangeArrowheads="1"/>
          </p:cNvSpPr>
          <p:nvPr/>
        </p:nvSpPr>
        <p:spPr bwMode="auto">
          <a:xfrm>
            <a:off x="1972211" y="5680488"/>
            <a:ext cx="1130116" cy="608632"/>
          </a:xfrm>
          <a:prstGeom prst="roundRect">
            <a:avLst/>
          </a:prstGeom>
          <a:solidFill>
            <a:srgbClr val="FFFF00"/>
          </a:solidFill>
          <a:ln w="12700" algn="ctr">
            <a:solidFill>
              <a:schemeClr val="tx1"/>
            </a:solidFill>
            <a:miter lim="800000"/>
            <a:headEnd/>
            <a:tailEnd/>
          </a:ln>
        </p:spPr>
        <p:txBody>
          <a:bodyPr lIns="43200" tIns="0" rIns="43200" bIns="0" anchor="ctr"/>
          <a:lstStyle/>
          <a:p>
            <a:pPr algn="ctr" defTabSz="1097280" eaLnBrk="0" fontAlgn="base" hangingPunct="0">
              <a:lnSpc>
                <a:spcPct val="90000"/>
              </a:lnSpc>
              <a:spcBef>
                <a:spcPct val="0"/>
              </a:spcBef>
              <a:spcAft>
                <a:spcPct val="0"/>
              </a:spcAft>
              <a:defRPr/>
            </a:pPr>
            <a:r>
              <a:rPr lang="en-US" altLang="en-US" sz="960" b="1" dirty="0">
                <a:solidFill>
                  <a:srgbClr val="000000"/>
                </a:solidFill>
                <a:latin typeface="+mj-lt"/>
                <a:cs typeface="Arial" charset="0"/>
              </a:rPr>
              <a:t>Project Portfolio Management</a:t>
            </a:r>
          </a:p>
        </p:txBody>
      </p:sp>
      <p:sp>
        <p:nvSpPr>
          <p:cNvPr id="39" name="Rectangle 7">
            <a:extLst>
              <a:ext uri="{FF2B5EF4-FFF2-40B4-BE49-F238E27FC236}">
                <a16:creationId xmlns:a16="http://schemas.microsoft.com/office/drawing/2014/main" id="{EC12A490-56BA-471E-98F1-D98D0D4B1C77}"/>
              </a:ext>
            </a:extLst>
          </p:cNvPr>
          <p:cNvSpPr>
            <a:spLocks noChangeArrowheads="1"/>
          </p:cNvSpPr>
          <p:nvPr/>
        </p:nvSpPr>
        <p:spPr bwMode="auto">
          <a:xfrm>
            <a:off x="8713712" y="5680377"/>
            <a:ext cx="1243128" cy="608632"/>
          </a:xfrm>
          <a:prstGeom prst="roundRect">
            <a:avLst/>
          </a:prstGeom>
          <a:solidFill>
            <a:srgbClr val="FFFF00"/>
          </a:solidFill>
          <a:ln w="12700" algn="ctr">
            <a:solidFill>
              <a:schemeClr val="tx1"/>
            </a:solidFill>
            <a:miter lim="800000"/>
            <a:headEnd/>
            <a:tailEnd/>
          </a:ln>
        </p:spPr>
        <p:txBody>
          <a:bodyPr lIns="43200" tIns="0" rIns="43200" bIns="0" anchor="ctr"/>
          <a:lstStyle/>
          <a:p>
            <a:pPr algn="ctr" defTabSz="1097280" eaLnBrk="0" fontAlgn="base" hangingPunct="0">
              <a:lnSpc>
                <a:spcPct val="90000"/>
              </a:lnSpc>
              <a:spcBef>
                <a:spcPct val="0"/>
              </a:spcBef>
              <a:spcAft>
                <a:spcPct val="0"/>
              </a:spcAft>
              <a:defRPr/>
            </a:pPr>
            <a:r>
              <a:rPr lang="en-US" altLang="en-US" sz="960" b="1" dirty="0">
                <a:solidFill>
                  <a:srgbClr val="000000"/>
                </a:solidFill>
                <a:latin typeface="+mj-lt"/>
                <a:cs typeface="Arial" charset="0"/>
              </a:rPr>
              <a:t>Data Management and Collaboration</a:t>
            </a:r>
          </a:p>
        </p:txBody>
      </p:sp>
      <p:sp>
        <p:nvSpPr>
          <p:cNvPr id="40" name="Rectangle 9">
            <a:extLst>
              <a:ext uri="{FF2B5EF4-FFF2-40B4-BE49-F238E27FC236}">
                <a16:creationId xmlns:a16="http://schemas.microsoft.com/office/drawing/2014/main" id="{806C5F45-266A-45A4-8F54-889384BB773D}"/>
              </a:ext>
            </a:extLst>
          </p:cNvPr>
          <p:cNvSpPr>
            <a:spLocks noChangeArrowheads="1"/>
          </p:cNvSpPr>
          <p:nvPr/>
        </p:nvSpPr>
        <p:spPr bwMode="auto">
          <a:xfrm>
            <a:off x="714802" y="5689393"/>
            <a:ext cx="1130116" cy="608632"/>
          </a:xfrm>
          <a:prstGeom prst="roundRect">
            <a:avLst/>
          </a:prstGeom>
          <a:solidFill>
            <a:srgbClr val="FFFF00"/>
          </a:solidFill>
          <a:ln w="12700" algn="ctr">
            <a:solidFill>
              <a:schemeClr val="tx1"/>
            </a:solidFill>
            <a:miter lim="800000"/>
            <a:headEnd/>
            <a:tailEnd/>
          </a:ln>
        </p:spPr>
        <p:txBody>
          <a:bodyPr lIns="43200" tIns="0" rIns="43200" bIns="0" anchor="ctr"/>
          <a:lstStyle/>
          <a:p>
            <a:pPr algn="ctr" defTabSz="1097280" eaLnBrk="0" fontAlgn="base" hangingPunct="0">
              <a:lnSpc>
                <a:spcPct val="90000"/>
              </a:lnSpc>
              <a:spcBef>
                <a:spcPct val="0"/>
              </a:spcBef>
              <a:spcAft>
                <a:spcPct val="0"/>
              </a:spcAft>
              <a:defRPr/>
            </a:pPr>
            <a:r>
              <a:rPr lang="en-US" sz="900" b="1" dirty="0">
                <a:solidFill>
                  <a:srgbClr val="000000"/>
                </a:solidFill>
                <a:latin typeface="+mj-lt"/>
                <a:cs typeface="Arial" charset="0"/>
              </a:rPr>
              <a:t>Understanding</a:t>
            </a:r>
            <a:r>
              <a:rPr lang="en-US" sz="960" b="1" dirty="0">
                <a:solidFill>
                  <a:srgbClr val="000000"/>
                </a:solidFill>
                <a:latin typeface="+mj-lt"/>
                <a:cs typeface="Arial" charset="0"/>
              </a:rPr>
              <a:t> the Market</a:t>
            </a:r>
          </a:p>
        </p:txBody>
      </p:sp>
      <p:sp>
        <p:nvSpPr>
          <p:cNvPr id="206" name="Text Box 12">
            <a:extLst>
              <a:ext uri="{FF2B5EF4-FFF2-40B4-BE49-F238E27FC236}">
                <a16:creationId xmlns:a16="http://schemas.microsoft.com/office/drawing/2014/main" id="{28BC69AA-1112-4FDB-909B-E7738EA7C9A1}"/>
              </a:ext>
            </a:extLst>
          </p:cNvPr>
          <p:cNvSpPr txBox="1">
            <a:spLocks noChangeArrowheads="1"/>
          </p:cNvSpPr>
          <p:nvPr/>
        </p:nvSpPr>
        <p:spPr bwMode="auto">
          <a:xfrm rot="-5400000">
            <a:off x="31188" y="1638018"/>
            <a:ext cx="866417" cy="248914"/>
          </a:xfrm>
          <a:prstGeom prst="rect">
            <a:avLst/>
          </a:prstGeom>
          <a:noFill/>
          <a:ln w="12700" algn="ctr">
            <a:noFill/>
            <a:miter lim="800000"/>
            <a:headEnd/>
            <a:tailEnd/>
          </a:ln>
        </p:spPr>
        <p:txBody>
          <a:bodyPr wrap="square" lIns="0" rIns="0" anchor="b">
            <a:spAutoFit/>
          </a:bodyPr>
          <a:lstStyle/>
          <a:p>
            <a:pPr algn="ctr" defTabSz="1097280" eaLnBrk="0" fontAlgn="base" hangingPunct="0">
              <a:lnSpc>
                <a:spcPct val="106000"/>
              </a:lnSpc>
              <a:spcBef>
                <a:spcPct val="50000"/>
              </a:spcBef>
              <a:spcAft>
                <a:spcPct val="0"/>
              </a:spcAft>
              <a:buSzPct val="100000"/>
              <a:defRPr/>
            </a:pPr>
            <a:r>
              <a:rPr lang="en-US" sz="960" b="1" dirty="0">
                <a:solidFill>
                  <a:srgbClr val="000000"/>
                </a:solidFill>
                <a:latin typeface="+mj-lt"/>
                <a:cs typeface="Arial" charset="0"/>
              </a:rPr>
              <a:t>Advanced</a:t>
            </a:r>
          </a:p>
        </p:txBody>
      </p:sp>
      <p:sp>
        <p:nvSpPr>
          <p:cNvPr id="207" name="Text Box 13">
            <a:extLst>
              <a:ext uri="{FF2B5EF4-FFF2-40B4-BE49-F238E27FC236}">
                <a16:creationId xmlns:a16="http://schemas.microsoft.com/office/drawing/2014/main" id="{4CB4F9C5-D63F-45F2-A775-C8D481D51B40}"/>
              </a:ext>
            </a:extLst>
          </p:cNvPr>
          <p:cNvSpPr txBox="1">
            <a:spLocks noChangeArrowheads="1"/>
          </p:cNvSpPr>
          <p:nvPr/>
        </p:nvSpPr>
        <p:spPr bwMode="auto">
          <a:xfrm rot="-5400000">
            <a:off x="196119" y="3218655"/>
            <a:ext cx="544176" cy="248914"/>
          </a:xfrm>
          <a:prstGeom prst="rect">
            <a:avLst/>
          </a:prstGeom>
          <a:noFill/>
          <a:ln w="12700" algn="ctr">
            <a:noFill/>
            <a:miter lim="800000"/>
            <a:headEnd/>
            <a:tailEnd/>
          </a:ln>
        </p:spPr>
        <p:txBody>
          <a:bodyPr wrap="square" lIns="0" rIns="0" anchor="b">
            <a:spAutoFit/>
          </a:bodyPr>
          <a:lstStyle/>
          <a:p>
            <a:pPr algn="ctr" defTabSz="1097280" eaLnBrk="0" fontAlgn="base" hangingPunct="0">
              <a:lnSpc>
                <a:spcPct val="106000"/>
              </a:lnSpc>
              <a:spcBef>
                <a:spcPct val="50000"/>
              </a:spcBef>
              <a:spcAft>
                <a:spcPct val="0"/>
              </a:spcAft>
              <a:buSzPct val="100000"/>
              <a:defRPr/>
            </a:pPr>
            <a:r>
              <a:rPr lang="en-US" sz="960" b="1" dirty="0">
                <a:solidFill>
                  <a:srgbClr val="000000"/>
                </a:solidFill>
                <a:latin typeface="+mj-lt"/>
                <a:cs typeface="Arial" charset="0"/>
              </a:rPr>
              <a:t>Basic</a:t>
            </a:r>
          </a:p>
        </p:txBody>
      </p:sp>
      <p:sp>
        <p:nvSpPr>
          <p:cNvPr id="160" name="Rectangle 18">
            <a:extLst>
              <a:ext uri="{FF2B5EF4-FFF2-40B4-BE49-F238E27FC236}">
                <a16:creationId xmlns:a16="http://schemas.microsoft.com/office/drawing/2014/main" id="{1F6A6C42-3FA1-4BD2-BE1C-18D3669F4FCF}"/>
              </a:ext>
            </a:extLst>
          </p:cNvPr>
          <p:cNvSpPr>
            <a:spLocks noChangeArrowheads="1"/>
          </p:cNvSpPr>
          <p:nvPr/>
        </p:nvSpPr>
        <p:spPr bwMode="auto">
          <a:xfrm>
            <a:off x="10088436" y="4442869"/>
            <a:ext cx="1241952" cy="1018723"/>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No formal (or inconsistent)  performance metrics and limited scorecards.  No dashboards</a:t>
            </a:r>
          </a:p>
        </p:txBody>
      </p:sp>
      <p:sp>
        <p:nvSpPr>
          <p:cNvPr id="161" name="Rectangle 24">
            <a:extLst>
              <a:ext uri="{FF2B5EF4-FFF2-40B4-BE49-F238E27FC236}">
                <a16:creationId xmlns:a16="http://schemas.microsoft.com/office/drawing/2014/main" id="{1C9430BA-4F90-4A0B-A8D5-88C42775DB51}"/>
              </a:ext>
            </a:extLst>
          </p:cNvPr>
          <p:cNvSpPr>
            <a:spLocks noChangeArrowheads="1"/>
          </p:cNvSpPr>
          <p:nvPr/>
        </p:nvSpPr>
        <p:spPr bwMode="auto">
          <a:xfrm>
            <a:off x="3213331" y="4442869"/>
            <a:ext cx="1243913" cy="1018723"/>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No linkage between Product or Technology roadmaps &amp; not linked to business strategy  </a:t>
            </a:r>
          </a:p>
        </p:txBody>
      </p:sp>
      <p:sp>
        <p:nvSpPr>
          <p:cNvPr id="162" name="Rectangle 20">
            <a:extLst>
              <a:ext uri="{FF2B5EF4-FFF2-40B4-BE49-F238E27FC236}">
                <a16:creationId xmlns:a16="http://schemas.microsoft.com/office/drawing/2014/main" id="{725C765F-D442-4EC1-AFB6-CF76D8AAE576}"/>
              </a:ext>
            </a:extLst>
          </p:cNvPr>
          <p:cNvSpPr>
            <a:spLocks noChangeArrowheads="1"/>
          </p:cNvSpPr>
          <p:nvPr/>
        </p:nvSpPr>
        <p:spPr bwMode="auto">
          <a:xfrm>
            <a:off x="5963667" y="4442869"/>
            <a:ext cx="1243913" cy="1018723"/>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No traceability or link to process partner strategy.  Lack of cross-functional involvement in planning</a:t>
            </a:r>
          </a:p>
        </p:txBody>
      </p:sp>
      <p:sp>
        <p:nvSpPr>
          <p:cNvPr id="163" name="Rectangle: Rounded Corners 162">
            <a:extLst>
              <a:ext uri="{FF2B5EF4-FFF2-40B4-BE49-F238E27FC236}">
                <a16:creationId xmlns:a16="http://schemas.microsoft.com/office/drawing/2014/main" id="{85086B7B-EC4F-47E5-B0C1-25F5E635AD11}"/>
              </a:ext>
            </a:extLst>
          </p:cNvPr>
          <p:cNvSpPr>
            <a:spLocks noChangeArrowheads="1"/>
          </p:cNvSpPr>
          <p:nvPr/>
        </p:nvSpPr>
        <p:spPr bwMode="auto">
          <a:xfrm>
            <a:off x="4586718" y="4442869"/>
            <a:ext cx="1243913" cy="1018723"/>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Reliant on executive intuition, limited discipline and ad-hoc criteria. Scope, definition and rationale are often unclear</a:t>
            </a:r>
          </a:p>
        </p:txBody>
      </p:sp>
      <p:sp>
        <p:nvSpPr>
          <p:cNvPr id="164" name="Rectangle 18">
            <a:extLst>
              <a:ext uri="{FF2B5EF4-FFF2-40B4-BE49-F238E27FC236}">
                <a16:creationId xmlns:a16="http://schemas.microsoft.com/office/drawing/2014/main" id="{049E757C-1640-4358-B70A-B619C70A5736}"/>
              </a:ext>
            </a:extLst>
          </p:cNvPr>
          <p:cNvSpPr>
            <a:spLocks noChangeArrowheads="1"/>
          </p:cNvSpPr>
          <p:nvPr/>
        </p:nvSpPr>
        <p:spPr bwMode="auto">
          <a:xfrm>
            <a:off x="7338192" y="4442869"/>
            <a:ext cx="1243913" cy="1018723"/>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Limited use of standard templates and scorecards.  Tribal knowledge is typical </a:t>
            </a:r>
          </a:p>
        </p:txBody>
      </p:sp>
      <p:sp>
        <p:nvSpPr>
          <p:cNvPr id="165" name="Rectangle 43">
            <a:extLst>
              <a:ext uri="{FF2B5EF4-FFF2-40B4-BE49-F238E27FC236}">
                <a16:creationId xmlns:a16="http://schemas.microsoft.com/office/drawing/2014/main" id="{37CF97B8-9386-4435-9E28-2A226C7B2AA7}"/>
              </a:ext>
            </a:extLst>
          </p:cNvPr>
          <p:cNvSpPr>
            <a:spLocks noChangeArrowheads="1"/>
          </p:cNvSpPr>
          <p:nvPr/>
        </p:nvSpPr>
        <p:spPr bwMode="auto">
          <a:xfrm>
            <a:off x="1972211" y="4442869"/>
            <a:ext cx="1130116" cy="1018723"/>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Reliant on periodic review meetings, executive intuition</a:t>
            </a:r>
          </a:p>
        </p:txBody>
      </p:sp>
      <p:sp>
        <p:nvSpPr>
          <p:cNvPr id="166" name="Rectangle 21">
            <a:extLst>
              <a:ext uri="{FF2B5EF4-FFF2-40B4-BE49-F238E27FC236}">
                <a16:creationId xmlns:a16="http://schemas.microsoft.com/office/drawing/2014/main" id="{03339051-7A3F-430A-9837-6FA2102D1BF1}"/>
              </a:ext>
            </a:extLst>
          </p:cNvPr>
          <p:cNvSpPr>
            <a:spLocks noChangeArrowheads="1"/>
          </p:cNvSpPr>
          <p:nvPr/>
        </p:nvSpPr>
        <p:spPr bwMode="auto">
          <a:xfrm>
            <a:off x="8713712" y="4443144"/>
            <a:ext cx="1243128" cy="1018723"/>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Unstructured content stored in various formats and systems, often with manual updates and sharing</a:t>
            </a:r>
          </a:p>
        </p:txBody>
      </p:sp>
      <p:sp>
        <p:nvSpPr>
          <p:cNvPr id="167" name="Rectangle 23">
            <a:extLst>
              <a:ext uri="{FF2B5EF4-FFF2-40B4-BE49-F238E27FC236}">
                <a16:creationId xmlns:a16="http://schemas.microsoft.com/office/drawing/2014/main" id="{C58D1B8E-9D4D-466E-AE12-D66217425657}"/>
              </a:ext>
            </a:extLst>
          </p:cNvPr>
          <p:cNvSpPr>
            <a:spLocks noChangeArrowheads="1"/>
          </p:cNvSpPr>
          <p:nvPr/>
        </p:nvSpPr>
        <p:spPr bwMode="auto">
          <a:xfrm>
            <a:off x="714802" y="4442867"/>
            <a:ext cx="1130116" cy="1018723"/>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sz="840" dirty="0">
                <a:latin typeface="+mj-lt"/>
                <a:ea typeface="Tahoma" pitchFamily="34" charset="0"/>
                <a:cs typeface="Tahoma" pitchFamily="34" charset="0"/>
              </a:rPr>
              <a:t>Understanding of the market and decision making are driven by intuition and executive direction.  Basic or non-existent analytics.</a:t>
            </a:r>
          </a:p>
        </p:txBody>
      </p:sp>
      <p:sp>
        <p:nvSpPr>
          <p:cNvPr id="185" name="Rectangle 34">
            <a:extLst>
              <a:ext uri="{FF2B5EF4-FFF2-40B4-BE49-F238E27FC236}">
                <a16:creationId xmlns:a16="http://schemas.microsoft.com/office/drawing/2014/main" id="{67A45EE7-B37F-4FC6-A156-BE69D9F45453}"/>
              </a:ext>
            </a:extLst>
          </p:cNvPr>
          <p:cNvSpPr>
            <a:spLocks noChangeArrowheads="1"/>
          </p:cNvSpPr>
          <p:nvPr/>
        </p:nvSpPr>
        <p:spPr bwMode="auto">
          <a:xfrm>
            <a:off x="10088436" y="2959671"/>
            <a:ext cx="1241952" cy="1174082"/>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Established scorecards, but many differing and inconsistent  metrics. Manual dashboards in various formats at each level</a:t>
            </a:r>
          </a:p>
        </p:txBody>
      </p:sp>
      <p:sp>
        <p:nvSpPr>
          <p:cNvPr id="186" name="Rectangle 40">
            <a:extLst>
              <a:ext uri="{FF2B5EF4-FFF2-40B4-BE49-F238E27FC236}">
                <a16:creationId xmlns:a16="http://schemas.microsoft.com/office/drawing/2014/main" id="{407DBEA7-76D9-402B-9514-2DE3A6606158}"/>
              </a:ext>
            </a:extLst>
          </p:cNvPr>
          <p:cNvSpPr>
            <a:spLocks noChangeArrowheads="1"/>
          </p:cNvSpPr>
          <p:nvPr/>
        </p:nvSpPr>
        <p:spPr bwMode="auto">
          <a:xfrm>
            <a:off x="3213903" y="2959671"/>
            <a:ext cx="1243913" cy="1174082"/>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Roadmaps defined as a planning mechanism to jump-start technical development program direction</a:t>
            </a:r>
          </a:p>
        </p:txBody>
      </p:sp>
      <p:sp>
        <p:nvSpPr>
          <p:cNvPr id="187" name="Rectangle 36">
            <a:extLst>
              <a:ext uri="{FF2B5EF4-FFF2-40B4-BE49-F238E27FC236}">
                <a16:creationId xmlns:a16="http://schemas.microsoft.com/office/drawing/2014/main" id="{AB97C7C0-BFEB-4469-99F6-ECD1DA1223A6}"/>
              </a:ext>
            </a:extLst>
          </p:cNvPr>
          <p:cNvSpPr>
            <a:spLocks noChangeArrowheads="1"/>
          </p:cNvSpPr>
          <p:nvPr/>
        </p:nvSpPr>
        <p:spPr bwMode="auto">
          <a:xfrm>
            <a:off x="5963667" y="2959671"/>
            <a:ext cx="1243913" cy="1174082"/>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Limited traceability and link to process partner strategy.  Some cross-functional planning in silos</a:t>
            </a:r>
          </a:p>
        </p:txBody>
      </p:sp>
      <p:sp>
        <p:nvSpPr>
          <p:cNvPr id="188" name="Rectangle 35">
            <a:extLst>
              <a:ext uri="{FF2B5EF4-FFF2-40B4-BE49-F238E27FC236}">
                <a16:creationId xmlns:a16="http://schemas.microsoft.com/office/drawing/2014/main" id="{75A9AD7D-E5C1-44A5-8D8E-043819A2B5BF}"/>
              </a:ext>
            </a:extLst>
          </p:cNvPr>
          <p:cNvSpPr>
            <a:spLocks noChangeArrowheads="1"/>
          </p:cNvSpPr>
          <p:nvPr/>
        </p:nvSpPr>
        <p:spPr bwMode="auto">
          <a:xfrm>
            <a:off x="4589567" y="2959671"/>
            <a:ext cx="1243913" cy="1174082"/>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Primarily functional, ad-hoc process with inconsistent criteria, and limited visibility to strategy and capacity</a:t>
            </a:r>
          </a:p>
        </p:txBody>
      </p:sp>
      <p:sp>
        <p:nvSpPr>
          <p:cNvPr id="189" name="Rectangle 34">
            <a:extLst>
              <a:ext uri="{FF2B5EF4-FFF2-40B4-BE49-F238E27FC236}">
                <a16:creationId xmlns:a16="http://schemas.microsoft.com/office/drawing/2014/main" id="{D6B7EF31-171E-4A04-AFE8-C45B483D9AD0}"/>
              </a:ext>
            </a:extLst>
          </p:cNvPr>
          <p:cNvSpPr>
            <a:spLocks noChangeArrowheads="1"/>
          </p:cNvSpPr>
          <p:nvPr/>
        </p:nvSpPr>
        <p:spPr bwMode="auto">
          <a:xfrm>
            <a:off x="7338192" y="2962602"/>
            <a:ext cx="1243913" cy="1174082"/>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Some standardized templates defined for project inputs, scorecards and analysis.  Accessed via static intranet</a:t>
            </a:r>
          </a:p>
        </p:txBody>
      </p:sp>
      <p:sp>
        <p:nvSpPr>
          <p:cNvPr id="190" name="Rectangle 51">
            <a:extLst>
              <a:ext uri="{FF2B5EF4-FFF2-40B4-BE49-F238E27FC236}">
                <a16:creationId xmlns:a16="http://schemas.microsoft.com/office/drawing/2014/main" id="{973F00EC-7687-4B56-9AEF-ADDAB3C086AA}"/>
              </a:ext>
            </a:extLst>
          </p:cNvPr>
          <p:cNvSpPr>
            <a:spLocks noChangeArrowheads="1"/>
          </p:cNvSpPr>
          <p:nvPr/>
        </p:nvSpPr>
        <p:spPr bwMode="auto">
          <a:xfrm>
            <a:off x="1972496" y="2955488"/>
            <a:ext cx="1130116" cy="1174082"/>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00" dirty="0">
                <a:latin typeface="+mj-lt"/>
                <a:ea typeface="Tahoma" pitchFamily="34" charset="0"/>
                <a:cs typeface="Tahoma" pitchFamily="34" charset="0"/>
              </a:rPr>
              <a:t>Standalone, manual project planning.  Selection based on inconsistent criteria and periodic snapshot reviews</a:t>
            </a:r>
          </a:p>
        </p:txBody>
      </p:sp>
      <p:sp>
        <p:nvSpPr>
          <p:cNvPr id="191" name="Rectangle 37">
            <a:extLst>
              <a:ext uri="{FF2B5EF4-FFF2-40B4-BE49-F238E27FC236}">
                <a16:creationId xmlns:a16="http://schemas.microsoft.com/office/drawing/2014/main" id="{D03A5820-FFEC-4B79-8EF1-5A68B0881219}"/>
              </a:ext>
            </a:extLst>
          </p:cNvPr>
          <p:cNvSpPr>
            <a:spLocks noChangeArrowheads="1"/>
          </p:cNvSpPr>
          <p:nvPr/>
        </p:nvSpPr>
        <p:spPr bwMode="auto">
          <a:xfrm>
            <a:off x="8713712" y="2960678"/>
            <a:ext cx="1243128" cy="1174082"/>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Structured content stored in silos.  Some automated processes to manage updates, revisions and history</a:t>
            </a:r>
          </a:p>
        </p:txBody>
      </p:sp>
      <p:sp>
        <p:nvSpPr>
          <p:cNvPr id="192" name="Rectangle 39">
            <a:extLst>
              <a:ext uri="{FF2B5EF4-FFF2-40B4-BE49-F238E27FC236}">
                <a16:creationId xmlns:a16="http://schemas.microsoft.com/office/drawing/2014/main" id="{70B64A71-641D-4491-82D0-175CAC6175E8}"/>
              </a:ext>
            </a:extLst>
          </p:cNvPr>
          <p:cNvSpPr>
            <a:spLocks noChangeArrowheads="1"/>
          </p:cNvSpPr>
          <p:nvPr/>
        </p:nvSpPr>
        <p:spPr bwMode="auto">
          <a:xfrm>
            <a:off x="714802" y="2962601"/>
            <a:ext cx="1130116" cy="1174082"/>
          </a:xfrm>
          <a:prstGeom prst="roundRect">
            <a:avLst/>
          </a:prstGeom>
          <a:noFill/>
          <a:ln w="19050" algn="ctr">
            <a:solidFill>
              <a:schemeClr val="tx1"/>
            </a:solidFill>
            <a:miter lim="800000"/>
            <a:headEnd/>
            <a:tailEnd/>
          </a:ln>
        </p:spPr>
        <p:txBody>
          <a:bodyPr lIns="21946" tIns="54864" rIns="21946" bIns="54864" anchor="ctr"/>
          <a:lstStyle/>
          <a:p>
            <a:pPr algn="ctr" defTabSz="1097280" eaLnBrk="0" fontAlgn="base" hangingPunct="0">
              <a:lnSpc>
                <a:spcPct val="80000"/>
              </a:lnSpc>
              <a:spcBef>
                <a:spcPct val="50000"/>
              </a:spcBef>
              <a:spcAft>
                <a:spcPct val="0"/>
              </a:spcAft>
              <a:buClr>
                <a:srgbClr val="8099CC"/>
              </a:buClr>
              <a:buSzPct val="100000"/>
              <a:defRPr/>
            </a:pPr>
            <a:r>
              <a:rPr lang="en-US" sz="840" dirty="0">
                <a:latin typeface="+mj-lt"/>
                <a:ea typeface="Tahoma" pitchFamily="34" charset="0"/>
                <a:cs typeface="Tahoma" pitchFamily="34" charset="0"/>
              </a:rPr>
              <a:t>Ad-hoc and inconsistent processes to capture internal and external needs and tie to strategy.  Some analytics used to drive decision making.</a:t>
            </a:r>
          </a:p>
        </p:txBody>
      </p:sp>
      <p:cxnSp>
        <p:nvCxnSpPr>
          <p:cNvPr id="169" name="Straight Arrow Connector 168">
            <a:extLst>
              <a:ext uri="{FF2B5EF4-FFF2-40B4-BE49-F238E27FC236}">
                <a16:creationId xmlns:a16="http://schemas.microsoft.com/office/drawing/2014/main" id="{6E5914B3-9596-443A-BEEC-181B8A09C7CE}"/>
              </a:ext>
            </a:extLst>
          </p:cNvPr>
          <p:cNvCxnSpPr>
            <a:cxnSpLocks/>
          </p:cNvCxnSpPr>
          <p:nvPr/>
        </p:nvCxnSpPr>
        <p:spPr>
          <a:xfrm flipH="1" flipV="1">
            <a:off x="10712405" y="2669810"/>
            <a:ext cx="10215" cy="2609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0" name="Straight Arrow Connector 169">
            <a:extLst>
              <a:ext uri="{FF2B5EF4-FFF2-40B4-BE49-F238E27FC236}">
                <a16:creationId xmlns:a16="http://schemas.microsoft.com/office/drawing/2014/main" id="{B5C7BB30-CBE6-4518-B3D1-3E253618FA51}"/>
              </a:ext>
            </a:extLst>
          </p:cNvPr>
          <p:cNvCxnSpPr>
            <a:cxnSpLocks/>
          </p:cNvCxnSpPr>
          <p:nvPr/>
        </p:nvCxnSpPr>
        <p:spPr>
          <a:xfrm flipV="1">
            <a:off x="9348351" y="2669810"/>
            <a:ext cx="0" cy="2609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1" name="Straight Arrow Connector 170">
            <a:extLst>
              <a:ext uri="{FF2B5EF4-FFF2-40B4-BE49-F238E27FC236}">
                <a16:creationId xmlns:a16="http://schemas.microsoft.com/office/drawing/2014/main" id="{88A94824-324E-4D07-B3CA-5C256C7A5F10}"/>
              </a:ext>
            </a:extLst>
          </p:cNvPr>
          <p:cNvCxnSpPr>
            <a:cxnSpLocks/>
          </p:cNvCxnSpPr>
          <p:nvPr/>
        </p:nvCxnSpPr>
        <p:spPr>
          <a:xfrm flipV="1">
            <a:off x="7973087" y="2669810"/>
            <a:ext cx="0" cy="2609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2" name="Straight Arrow Connector 171">
            <a:extLst>
              <a:ext uri="{FF2B5EF4-FFF2-40B4-BE49-F238E27FC236}">
                <a16:creationId xmlns:a16="http://schemas.microsoft.com/office/drawing/2014/main" id="{0D41AE30-64F4-4588-BDD6-865A4DE7BF2B}"/>
              </a:ext>
            </a:extLst>
          </p:cNvPr>
          <p:cNvCxnSpPr>
            <a:cxnSpLocks/>
          </p:cNvCxnSpPr>
          <p:nvPr/>
        </p:nvCxnSpPr>
        <p:spPr>
          <a:xfrm flipV="1">
            <a:off x="6597420" y="2669810"/>
            <a:ext cx="0" cy="2609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3" name="Straight Arrow Connector 172">
            <a:extLst>
              <a:ext uri="{FF2B5EF4-FFF2-40B4-BE49-F238E27FC236}">
                <a16:creationId xmlns:a16="http://schemas.microsoft.com/office/drawing/2014/main" id="{DC07DC37-D356-4EB7-9BFA-F662E3E526F3}"/>
              </a:ext>
            </a:extLst>
          </p:cNvPr>
          <p:cNvCxnSpPr>
            <a:cxnSpLocks/>
          </p:cNvCxnSpPr>
          <p:nvPr/>
        </p:nvCxnSpPr>
        <p:spPr>
          <a:xfrm flipV="1">
            <a:off x="5221755" y="2669810"/>
            <a:ext cx="0" cy="2609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4" name="Straight Arrow Connector 173">
            <a:extLst>
              <a:ext uri="{FF2B5EF4-FFF2-40B4-BE49-F238E27FC236}">
                <a16:creationId xmlns:a16="http://schemas.microsoft.com/office/drawing/2014/main" id="{19AC691A-1FB9-4CD4-B90F-CDDA11768E52}"/>
              </a:ext>
            </a:extLst>
          </p:cNvPr>
          <p:cNvCxnSpPr>
            <a:cxnSpLocks/>
          </p:cNvCxnSpPr>
          <p:nvPr/>
        </p:nvCxnSpPr>
        <p:spPr>
          <a:xfrm flipV="1">
            <a:off x="3846088" y="2669810"/>
            <a:ext cx="0" cy="2609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5" name="Straight Arrow Connector 174">
            <a:extLst>
              <a:ext uri="{FF2B5EF4-FFF2-40B4-BE49-F238E27FC236}">
                <a16:creationId xmlns:a16="http://schemas.microsoft.com/office/drawing/2014/main" id="{676EF8AB-6DDF-48B4-9930-ECD43C0CB10E}"/>
              </a:ext>
            </a:extLst>
          </p:cNvPr>
          <p:cNvCxnSpPr>
            <a:cxnSpLocks/>
          </p:cNvCxnSpPr>
          <p:nvPr/>
        </p:nvCxnSpPr>
        <p:spPr>
          <a:xfrm flipV="1">
            <a:off x="2546849" y="2669810"/>
            <a:ext cx="0" cy="2609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6" name="Straight Arrow Connector 175">
            <a:extLst>
              <a:ext uri="{FF2B5EF4-FFF2-40B4-BE49-F238E27FC236}">
                <a16:creationId xmlns:a16="http://schemas.microsoft.com/office/drawing/2014/main" id="{D7239857-6373-4BDB-9E65-4A219B16923D}"/>
              </a:ext>
            </a:extLst>
          </p:cNvPr>
          <p:cNvCxnSpPr>
            <a:cxnSpLocks/>
          </p:cNvCxnSpPr>
          <p:nvPr/>
        </p:nvCxnSpPr>
        <p:spPr>
          <a:xfrm flipV="1">
            <a:off x="1289155" y="2669810"/>
            <a:ext cx="1" cy="2609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7" name="Straight Arrow Connector 176">
            <a:extLst>
              <a:ext uri="{FF2B5EF4-FFF2-40B4-BE49-F238E27FC236}">
                <a16:creationId xmlns:a16="http://schemas.microsoft.com/office/drawing/2014/main" id="{0B22BAC8-D3D7-41A7-97AE-AD5354E7557D}"/>
              </a:ext>
            </a:extLst>
          </p:cNvPr>
          <p:cNvCxnSpPr>
            <a:cxnSpLocks/>
          </p:cNvCxnSpPr>
          <p:nvPr/>
        </p:nvCxnSpPr>
        <p:spPr>
          <a:xfrm flipV="1">
            <a:off x="1289154" y="4111632"/>
            <a:ext cx="0" cy="2810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8" name="Straight Arrow Connector 177">
            <a:extLst>
              <a:ext uri="{FF2B5EF4-FFF2-40B4-BE49-F238E27FC236}">
                <a16:creationId xmlns:a16="http://schemas.microsoft.com/office/drawing/2014/main" id="{A549AB37-2F93-4ECD-B60D-BB4D5952D8D5}"/>
              </a:ext>
            </a:extLst>
          </p:cNvPr>
          <p:cNvCxnSpPr>
            <a:cxnSpLocks/>
          </p:cNvCxnSpPr>
          <p:nvPr/>
        </p:nvCxnSpPr>
        <p:spPr>
          <a:xfrm flipV="1">
            <a:off x="2546567" y="4120207"/>
            <a:ext cx="285" cy="2810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9" name="Straight Arrow Connector 178">
            <a:extLst>
              <a:ext uri="{FF2B5EF4-FFF2-40B4-BE49-F238E27FC236}">
                <a16:creationId xmlns:a16="http://schemas.microsoft.com/office/drawing/2014/main" id="{584B00FD-9D9C-40A1-B764-964AE7E11E43}"/>
              </a:ext>
            </a:extLst>
          </p:cNvPr>
          <p:cNvCxnSpPr>
            <a:cxnSpLocks/>
          </p:cNvCxnSpPr>
          <p:nvPr/>
        </p:nvCxnSpPr>
        <p:spPr>
          <a:xfrm flipV="1">
            <a:off x="3844521" y="4124389"/>
            <a:ext cx="1568" cy="2810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80" name="Straight Arrow Connector 179">
            <a:extLst>
              <a:ext uri="{FF2B5EF4-FFF2-40B4-BE49-F238E27FC236}">
                <a16:creationId xmlns:a16="http://schemas.microsoft.com/office/drawing/2014/main" id="{DA8C26F4-BB71-4E03-BBA8-DF0CCFAA90FC}"/>
              </a:ext>
            </a:extLst>
          </p:cNvPr>
          <p:cNvCxnSpPr>
            <a:cxnSpLocks/>
          </p:cNvCxnSpPr>
          <p:nvPr/>
        </p:nvCxnSpPr>
        <p:spPr>
          <a:xfrm flipV="1">
            <a:off x="5218905" y="4124389"/>
            <a:ext cx="2850" cy="2810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81" name="Straight Arrow Connector 180">
            <a:extLst>
              <a:ext uri="{FF2B5EF4-FFF2-40B4-BE49-F238E27FC236}">
                <a16:creationId xmlns:a16="http://schemas.microsoft.com/office/drawing/2014/main" id="{25E50B98-62D3-442B-89D1-E0509B9F8AB5}"/>
              </a:ext>
            </a:extLst>
          </p:cNvPr>
          <p:cNvCxnSpPr>
            <a:cxnSpLocks/>
          </p:cNvCxnSpPr>
          <p:nvPr/>
        </p:nvCxnSpPr>
        <p:spPr>
          <a:xfrm flipV="1">
            <a:off x="6593289" y="4124389"/>
            <a:ext cx="4132" cy="2810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82" name="Straight Arrow Connector 181">
            <a:extLst>
              <a:ext uri="{FF2B5EF4-FFF2-40B4-BE49-F238E27FC236}">
                <a16:creationId xmlns:a16="http://schemas.microsoft.com/office/drawing/2014/main" id="{D4AD5AA3-6E79-4178-8102-1027AD355F2F}"/>
              </a:ext>
            </a:extLst>
          </p:cNvPr>
          <p:cNvCxnSpPr>
            <a:cxnSpLocks/>
          </p:cNvCxnSpPr>
          <p:nvPr/>
        </p:nvCxnSpPr>
        <p:spPr>
          <a:xfrm flipV="1">
            <a:off x="7967671" y="4124389"/>
            <a:ext cx="5414" cy="2810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83" name="Straight Arrow Connector 182">
            <a:extLst>
              <a:ext uri="{FF2B5EF4-FFF2-40B4-BE49-F238E27FC236}">
                <a16:creationId xmlns:a16="http://schemas.microsoft.com/office/drawing/2014/main" id="{8D0A773D-D6AB-4982-A564-FD3FA51620AB}"/>
              </a:ext>
            </a:extLst>
          </p:cNvPr>
          <p:cNvCxnSpPr>
            <a:cxnSpLocks/>
          </p:cNvCxnSpPr>
          <p:nvPr/>
        </p:nvCxnSpPr>
        <p:spPr>
          <a:xfrm flipV="1">
            <a:off x="9342653" y="4125395"/>
            <a:ext cx="5699" cy="2810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84" name="Straight Arrow Connector 183">
            <a:extLst>
              <a:ext uri="{FF2B5EF4-FFF2-40B4-BE49-F238E27FC236}">
                <a16:creationId xmlns:a16="http://schemas.microsoft.com/office/drawing/2014/main" id="{DB971C96-81A5-4060-9829-FD5DDDA7B575}"/>
              </a:ext>
            </a:extLst>
          </p:cNvPr>
          <p:cNvCxnSpPr>
            <a:cxnSpLocks/>
          </p:cNvCxnSpPr>
          <p:nvPr/>
        </p:nvCxnSpPr>
        <p:spPr>
          <a:xfrm flipV="1">
            <a:off x="10716637" y="4124389"/>
            <a:ext cx="5982" cy="28101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8" name="Rectangle 26">
            <a:extLst>
              <a:ext uri="{FF2B5EF4-FFF2-40B4-BE49-F238E27FC236}">
                <a16:creationId xmlns:a16="http://schemas.microsoft.com/office/drawing/2014/main" id="{42E37BA4-F628-46AA-A5FE-AA95177E337A}"/>
              </a:ext>
            </a:extLst>
          </p:cNvPr>
          <p:cNvSpPr>
            <a:spLocks noChangeArrowheads="1"/>
          </p:cNvSpPr>
          <p:nvPr/>
        </p:nvSpPr>
        <p:spPr bwMode="auto">
          <a:xfrm>
            <a:off x="10088436" y="1206833"/>
            <a:ext cx="1241952" cy="1456234"/>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8-12 balanced metrics tied to Strategic goals and incentives.  Dynamic global dashboards at multiple levels to manage risks, costs, benefits, performance, etc.  </a:t>
            </a:r>
          </a:p>
        </p:txBody>
      </p:sp>
      <p:sp>
        <p:nvSpPr>
          <p:cNvPr id="15" name="Rectangle 32">
            <a:extLst>
              <a:ext uri="{FF2B5EF4-FFF2-40B4-BE49-F238E27FC236}">
                <a16:creationId xmlns:a16="http://schemas.microsoft.com/office/drawing/2014/main" id="{42B1E288-5602-4D7A-9B22-0010275B9D1C}"/>
              </a:ext>
            </a:extLst>
          </p:cNvPr>
          <p:cNvSpPr>
            <a:spLocks noChangeArrowheads="1"/>
          </p:cNvSpPr>
          <p:nvPr/>
        </p:nvSpPr>
        <p:spPr bwMode="auto">
          <a:xfrm>
            <a:off x="3213903" y="1206833"/>
            <a:ext cx="1243913" cy="1456234"/>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Multi-year roadmaps sequenced for maximum re-use, strict deadlines, strategic priorities, capacity planning needs</a:t>
            </a:r>
          </a:p>
        </p:txBody>
      </p:sp>
      <p:sp>
        <p:nvSpPr>
          <p:cNvPr id="18" name="Rectangle 28">
            <a:extLst>
              <a:ext uri="{FF2B5EF4-FFF2-40B4-BE49-F238E27FC236}">
                <a16:creationId xmlns:a16="http://schemas.microsoft.com/office/drawing/2014/main" id="{CA90EADC-710D-4D45-8FFF-3486262C6616}"/>
              </a:ext>
            </a:extLst>
          </p:cNvPr>
          <p:cNvSpPr>
            <a:spLocks noChangeArrowheads="1"/>
          </p:cNvSpPr>
          <p:nvPr/>
        </p:nvSpPr>
        <p:spPr bwMode="auto">
          <a:xfrm>
            <a:off x="5963667" y="1206833"/>
            <a:ext cx="1243913" cy="1456234"/>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Planning is synchronized across functions (Mfg, Mktg., Service, etc.), and up/down stream partners.  Complete lifecycle of the product is considered</a:t>
            </a:r>
          </a:p>
        </p:txBody>
      </p:sp>
      <p:sp>
        <p:nvSpPr>
          <p:cNvPr id="21" name="Rectangle 27">
            <a:extLst>
              <a:ext uri="{FF2B5EF4-FFF2-40B4-BE49-F238E27FC236}">
                <a16:creationId xmlns:a16="http://schemas.microsoft.com/office/drawing/2014/main" id="{DFB87B9E-3604-4178-88C2-BB2CC15A4546}"/>
              </a:ext>
            </a:extLst>
          </p:cNvPr>
          <p:cNvSpPr>
            <a:spLocks noChangeArrowheads="1"/>
          </p:cNvSpPr>
          <p:nvPr/>
        </p:nvSpPr>
        <p:spPr bwMode="auto">
          <a:xfrm>
            <a:off x="4589567" y="1206833"/>
            <a:ext cx="1243913" cy="1456234"/>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Well-scoped  projects are initiated based on portfolio and technology roadmaps, technology readiness, strategic fit, ROI, and available capacity</a:t>
            </a:r>
          </a:p>
        </p:txBody>
      </p:sp>
      <p:sp>
        <p:nvSpPr>
          <p:cNvPr id="24" name="Rectangle 26">
            <a:extLst>
              <a:ext uri="{FF2B5EF4-FFF2-40B4-BE49-F238E27FC236}">
                <a16:creationId xmlns:a16="http://schemas.microsoft.com/office/drawing/2014/main" id="{328EDEB4-09BF-49B0-8FAF-E2554005E11A}"/>
              </a:ext>
            </a:extLst>
          </p:cNvPr>
          <p:cNvSpPr>
            <a:spLocks noChangeArrowheads="1"/>
          </p:cNvSpPr>
          <p:nvPr/>
        </p:nvSpPr>
        <p:spPr bwMode="auto">
          <a:xfrm>
            <a:off x="7338192" y="1206833"/>
            <a:ext cx="1243913" cy="1456234"/>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Templates and best-in-class examples are electronically available to standardize project inputs, scorecards, analyze multiple options, and track progress.</a:t>
            </a:r>
          </a:p>
        </p:txBody>
      </p:sp>
      <p:sp>
        <p:nvSpPr>
          <p:cNvPr id="27" name="Rectangle 47">
            <a:extLst>
              <a:ext uri="{FF2B5EF4-FFF2-40B4-BE49-F238E27FC236}">
                <a16:creationId xmlns:a16="http://schemas.microsoft.com/office/drawing/2014/main" id="{B367F092-46DF-49EE-B15C-4E1B853A98B9}"/>
              </a:ext>
            </a:extLst>
          </p:cNvPr>
          <p:cNvSpPr>
            <a:spLocks noChangeArrowheads="1"/>
          </p:cNvSpPr>
          <p:nvPr/>
        </p:nvSpPr>
        <p:spPr bwMode="auto">
          <a:xfrm>
            <a:off x="1972496" y="1206833"/>
            <a:ext cx="1130116" cy="1456234"/>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Real-time integrated  view of portfolio.  Multiple portfolio scenarios evaluated against strategy, set criteria, and constraints</a:t>
            </a:r>
          </a:p>
        </p:txBody>
      </p:sp>
      <p:sp>
        <p:nvSpPr>
          <p:cNvPr id="32" name="Rectangle 29">
            <a:extLst>
              <a:ext uri="{FF2B5EF4-FFF2-40B4-BE49-F238E27FC236}">
                <a16:creationId xmlns:a16="http://schemas.microsoft.com/office/drawing/2014/main" id="{CCE59DB1-36F7-47FA-9451-95EDB2228EE4}"/>
              </a:ext>
            </a:extLst>
          </p:cNvPr>
          <p:cNvSpPr>
            <a:spLocks noChangeArrowheads="1"/>
          </p:cNvSpPr>
          <p:nvPr/>
        </p:nvSpPr>
        <p:spPr bwMode="auto">
          <a:xfrm>
            <a:off x="8713712" y="1206833"/>
            <a:ext cx="1243128" cy="1456234"/>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altLang="en-US" sz="960" dirty="0">
                <a:latin typeface="+mj-lt"/>
                <a:ea typeface="Tahoma" pitchFamily="34" charset="0"/>
                <a:cs typeface="Tahoma" pitchFamily="34" charset="0"/>
              </a:rPr>
              <a:t>Centralized repository to enable efficient mgmt.. and collaboration.  Secure multi-level access and automatic revisioning and history</a:t>
            </a:r>
          </a:p>
        </p:txBody>
      </p:sp>
      <p:sp>
        <p:nvSpPr>
          <p:cNvPr id="42" name="Rectangle 31">
            <a:extLst>
              <a:ext uri="{FF2B5EF4-FFF2-40B4-BE49-F238E27FC236}">
                <a16:creationId xmlns:a16="http://schemas.microsoft.com/office/drawing/2014/main" id="{03F23DB4-817C-4321-BB3C-06FA405B54A1}"/>
              </a:ext>
            </a:extLst>
          </p:cNvPr>
          <p:cNvSpPr>
            <a:spLocks noChangeArrowheads="1"/>
          </p:cNvSpPr>
          <p:nvPr/>
        </p:nvSpPr>
        <p:spPr bwMode="auto">
          <a:xfrm>
            <a:off x="714802" y="1206833"/>
            <a:ext cx="1130116" cy="1456234"/>
          </a:xfrm>
          <a:prstGeom prst="roundRect">
            <a:avLst/>
          </a:prstGeom>
          <a:noFill/>
          <a:ln w="19050" algn="ctr">
            <a:solidFill>
              <a:schemeClr val="tx1"/>
            </a:solidFill>
            <a:miter lim="800000"/>
            <a:headEnd/>
            <a:tailEnd/>
          </a:ln>
        </p:spPr>
        <p:txBody>
          <a:bodyPr lIns="54864" tIns="54864" rIns="54864" bIns="54864" anchor="ctr"/>
          <a:lstStyle/>
          <a:p>
            <a:pPr algn="ctr" defTabSz="1097280" eaLnBrk="0" fontAlgn="base" hangingPunct="0">
              <a:lnSpc>
                <a:spcPct val="80000"/>
              </a:lnSpc>
              <a:spcBef>
                <a:spcPct val="50000"/>
              </a:spcBef>
              <a:spcAft>
                <a:spcPct val="0"/>
              </a:spcAft>
              <a:buClr>
                <a:srgbClr val="8099CC"/>
              </a:buClr>
              <a:buSzPct val="100000"/>
              <a:defRPr/>
            </a:pPr>
            <a:r>
              <a:rPr lang="en-US" sz="840" dirty="0">
                <a:latin typeface="+mj-lt"/>
                <a:ea typeface="Tahoma" pitchFamily="34" charset="0"/>
                <a:cs typeface="Tahoma" pitchFamily="34" charset="0"/>
              </a:rPr>
              <a:t>Voice of the market and business  captured and incorporated in strategic portfolio management.  Fact based competitive and market analytics drive decisions.</a:t>
            </a:r>
          </a:p>
        </p:txBody>
      </p:sp>
      <p:grpSp>
        <p:nvGrpSpPr>
          <p:cNvPr id="71" name="Group 90"/>
          <p:cNvGrpSpPr/>
          <p:nvPr/>
        </p:nvGrpSpPr>
        <p:grpSpPr>
          <a:xfrm>
            <a:off x="8960144" y="237259"/>
            <a:ext cx="2430508" cy="289004"/>
            <a:chOff x="9447824" y="732559"/>
            <a:chExt cx="2430508" cy="289004"/>
          </a:xfrm>
        </p:grpSpPr>
        <p:grpSp>
          <p:nvGrpSpPr>
            <p:cNvPr id="72"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80"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81"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73"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77"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78"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74"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75"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76"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sp>
        <p:nvSpPr>
          <p:cNvPr id="79" name="Freeform: Shape 104">
            <a:extLst>
              <a:ext uri="{FF2B5EF4-FFF2-40B4-BE49-F238E27FC236}">
                <a16:creationId xmlns:a16="http://schemas.microsoft.com/office/drawing/2014/main" id="{07B776A7-3656-4019-90AB-0BA06B6C799D}"/>
              </a:ext>
            </a:extLst>
          </p:cNvPr>
          <p:cNvSpPr/>
          <p:nvPr/>
        </p:nvSpPr>
        <p:spPr bwMode="auto">
          <a:xfrm flipV="1">
            <a:off x="1262563" y="1185564"/>
            <a:ext cx="9432244" cy="1451285"/>
          </a:xfrm>
          <a:custGeom>
            <a:avLst/>
            <a:gdLst>
              <a:gd name="connsiteX0" fmla="*/ 0 w 9668934"/>
              <a:gd name="connsiteY0" fmla="*/ 144247 h 1610861"/>
              <a:gd name="connsiteX1" fmla="*/ 1303867 w 9668934"/>
              <a:gd name="connsiteY1" fmla="*/ 1507380 h 1610861"/>
              <a:gd name="connsiteX2" fmla="*/ 2590800 w 9668934"/>
              <a:gd name="connsiteY2" fmla="*/ 1507380 h 1610861"/>
              <a:gd name="connsiteX3" fmla="*/ 3996267 w 9668934"/>
              <a:gd name="connsiteY3" fmla="*/ 1507380 h 1610861"/>
              <a:gd name="connsiteX4" fmla="*/ 5291667 w 9668934"/>
              <a:gd name="connsiteY4" fmla="*/ 110380 h 1610861"/>
              <a:gd name="connsiteX5" fmla="*/ 6798734 w 9668934"/>
              <a:gd name="connsiteY5" fmla="*/ 135780 h 1610861"/>
              <a:gd name="connsiteX6" fmla="*/ 8144934 w 9668934"/>
              <a:gd name="connsiteY6" fmla="*/ 93447 h 1610861"/>
              <a:gd name="connsiteX7" fmla="*/ 9668934 w 9668934"/>
              <a:gd name="connsiteY7" fmla="*/ 1524313 h 1610861"/>
              <a:gd name="connsiteX0" fmla="*/ 0 w 9668934"/>
              <a:gd name="connsiteY0" fmla="*/ 476398 h 1610861"/>
              <a:gd name="connsiteX1" fmla="*/ 1303867 w 9668934"/>
              <a:gd name="connsiteY1" fmla="*/ 1507380 h 1610861"/>
              <a:gd name="connsiteX2" fmla="*/ 2590800 w 9668934"/>
              <a:gd name="connsiteY2" fmla="*/ 1507380 h 1610861"/>
              <a:gd name="connsiteX3" fmla="*/ 3996267 w 9668934"/>
              <a:gd name="connsiteY3" fmla="*/ 1507380 h 1610861"/>
              <a:gd name="connsiteX4" fmla="*/ 5291667 w 9668934"/>
              <a:gd name="connsiteY4" fmla="*/ 110380 h 1610861"/>
              <a:gd name="connsiteX5" fmla="*/ 6798734 w 9668934"/>
              <a:gd name="connsiteY5" fmla="*/ 135780 h 1610861"/>
              <a:gd name="connsiteX6" fmla="*/ 8144934 w 9668934"/>
              <a:gd name="connsiteY6" fmla="*/ 93447 h 1610861"/>
              <a:gd name="connsiteX7" fmla="*/ 9668934 w 9668934"/>
              <a:gd name="connsiteY7" fmla="*/ 1524313 h 1610861"/>
              <a:gd name="connsiteX0" fmla="*/ 0 w 9668934"/>
              <a:gd name="connsiteY0" fmla="*/ 476398 h 1677770"/>
              <a:gd name="connsiteX1" fmla="*/ 1303867 w 9668934"/>
              <a:gd name="connsiteY1" fmla="*/ 178777 h 1677770"/>
              <a:gd name="connsiteX2" fmla="*/ 2590800 w 9668934"/>
              <a:gd name="connsiteY2" fmla="*/ 1507380 h 1677770"/>
              <a:gd name="connsiteX3" fmla="*/ 3996267 w 9668934"/>
              <a:gd name="connsiteY3" fmla="*/ 1507380 h 1677770"/>
              <a:gd name="connsiteX4" fmla="*/ 5291667 w 9668934"/>
              <a:gd name="connsiteY4" fmla="*/ 110380 h 1677770"/>
              <a:gd name="connsiteX5" fmla="*/ 6798734 w 9668934"/>
              <a:gd name="connsiteY5" fmla="*/ 135780 h 1677770"/>
              <a:gd name="connsiteX6" fmla="*/ 8144934 w 9668934"/>
              <a:gd name="connsiteY6" fmla="*/ 93447 h 1677770"/>
              <a:gd name="connsiteX7" fmla="*/ 9668934 w 9668934"/>
              <a:gd name="connsiteY7" fmla="*/ 1524313 h 1677770"/>
              <a:gd name="connsiteX0" fmla="*/ 0 w 9668934"/>
              <a:gd name="connsiteY0" fmla="*/ 476398 h 1524326"/>
              <a:gd name="connsiteX1" fmla="*/ 1303867 w 9668934"/>
              <a:gd name="connsiteY1" fmla="*/ 178777 h 1524326"/>
              <a:gd name="connsiteX2" fmla="*/ 2628508 w 9668934"/>
              <a:gd name="connsiteY2" fmla="*/ 510927 h 1524326"/>
              <a:gd name="connsiteX3" fmla="*/ 3996267 w 9668934"/>
              <a:gd name="connsiteY3" fmla="*/ 1507380 h 1524326"/>
              <a:gd name="connsiteX4" fmla="*/ 5291667 w 9668934"/>
              <a:gd name="connsiteY4" fmla="*/ 110380 h 1524326"/>
              <a:gd name="connsiteX5" fmla="*/ 6798734 w 9668934"/>
              <a:gd name="connsiteY5" fmla="*/ 135780 h 1524326"/>
              <a:gd name="connsiteX6" fmla="*/ 8144934 w 9668934"/>
              <a:gd name="connsiteY6" fmla="*/ 93447 h 1524326"/>
              <a:gd name="connsiteX7" fmla="*/ 9668934 w 9668934"/>
              <a:gd name="connsiteY7" fmla="*/ 1524313 h 1524326"/>
              <a:gd name="connsiteX0" fmla="*/ 0 w 9668934"/>
              <a:gd name="connsiteY0" fmla="*/ 476398 h 1524326"/>
              <a:gd name="connsiteX1" fmla="*/ 1303867 w 9668934"/>
              <a:gd name="connsiteY1" fmla="*/ 178777 h 1524326"/>
              <a:gd name="connsiteX2" fmla="*/ 2628508 w 9668934"/>
              <a:gd name="connsiteY2" fmla="*/ 510927 h 1524326"/>
              <a:gd name="connsiteX3" fmla="*/ 4033975 w 9668934"/>
              <a:gd name="connsiteY3" fmla="*/ 178812 h 1524326"/>
              <a:gd name="connsiteX4" fmla="*/ 5291667 w 9668934"/>
              <a:gd name="connsiteY4" fmla="*/ 110380 h 1524326"/>
              <a:gd name="connsiteX5" fmla="*/ 6798734 w 9668934"/>
              <a:gd name="connsiteY5" fmla="*/ 135780 h 1524326"/>
              <a:gd name="connsiteX6" fmla="*/ 8144934 w 9668934"/>
              <a:gd name="connsiteY6" fmla="*/ 93447 h 1524326"/>
              <a:gd name="connsiteX7" fmla="*/ 9668934 w 9668934"/>
              <a:gd name="connsiteY7" fmla="*/ 1524313 h 1524326"/>
              <a:gd name="connsiteX0" fmla="*/ 0 w 9668934"/>
              <a:gd name="connsiteY0" fmla="*/ 476398 h 668740"/>
              <a:gd name="connsiteX1" fmla="*/ 1303867 w 9668934"/>
              <a:gd name="connsiteY1" fmla="*/ 178777 h 668740"/>
              <a:gd name="connsiteX2" fmla="*/ 2628508 w 9668934"/>
              <a:gd name="connsiteY2" fmla="*/ 510927 h 668740"/>
              <a:gd name="connsiteX3" fmla="*/ 4033975 w 9668934"/>
              <a:gd name="connsiteY3" fmla="*/ 178812 h 668740"/>
              <a:gd name="connsiteX4" fmla="*/ 5291667 w 9668934"/>
              <a:gd name="connsiteY4" fmla="*/ 110380 h 668740"/>
              <a:gd name="connsiteX5" fmla="*/ 6798734 w 9668934"/>
              <a:gd name="connsiteY5" fmla="*/ 135780 h 668740"/>
              <a:gd name="connsiteX6" fmla="*/ 8144934 w 9668934"/>
              <a:gd name="connsiteY6" fmla="*/ 93447 h 668740"/>
              <a:gd name="connsiteX7" fmla="*/ 9668934 w 9668934"/>
              <a:gd name="connsiteY7" fmla="*/ 527910 h 668740"/>
              <a:gd name="connsiteX0" fmla="*/ 0 w 9668934"/>
              <a:gd name="connsiteY0" fmla="*/ 476398 h 668740"/>
              <a:gd name="connsiteX1" fmla="*/ 1303867 w 9668934"/>
              <a:gd name="connsiteY1" fmla="*/ 178777 h 668740"/>
              <a:gd name="connsiteX2" fmla="*/ 2628508 w 9668934"/>
              <a:gd name="connsiteY2" fmla="*/ 510927 h 668740"/>
              <a:gd name="connsiteX3" fmla="*/ 4033975 w 9668934"/>
              <a:gd name="connsiteY3" fmla="*/ 178812 h 668740"/>
              <a:gd name="connsiteX4" fmla="*/ 5291667 w 9668934"/>
              <a:gd name="connsiteY4" fmla="*/ 110380 h 668740"/>
              <a:gd name="connsiteX5" fmla="*/ 6798734 w 9668934"/>
              <a:gd name="connsiteY5" fmla="*/ 135780 h 668740"/>
              <a:gd name="connsiteX6" fmla="*/ 8144934 w 9668934"/>
              <a:gd name="connsiteY6" fmla="*/ 93447 h 668740"/>
              <a:gd name="connsiteX7" fmla="*/ 9668934 w 9668934"/>
              <a:gd name="connsiteY7" fmla="*/ 527910 h 668740"/>
              <a:gd name="connsiteX0" fmla="*/ 0 w 9668934"/>
              <a:gd name="connsiteY0" fmla="*/ 476398 h 860060"/>
              <a:gd name="connsiteX1" fmla="*/ 1303867 w 9668934"/>
              <a:gd name="connsiteY1" fmla="*/ 178777 h 860060"/>
              <a:gd name="connsiteX2" fmla="*/ 2628508 w 9668934"/>
              <a:gd name="connsiteY2" fmla="*/ 510927 h 860060"/>
              <a:gd name="connsiteX3" fmla="*/ 4033975 w 9668934"/>
              <a:gd name="connsiteY3" fmla="*/ 178812 h 860060"/>
              <a:gd name="connsiteX4" fmla="*/ 5291667 w 9668934"/>
              <a:gd name="connsiteY4" fmla="*/ 110380 h 860060"/>
              <a:gd name="connsiteX5" fmla="*/ 6798734 w 9668934"/>
              <a:gd name="connsiteY5" fmla="*/ 135780 h 860060"/>
              <a:gd name="connsiteX6" fmla="*/ 8144934 w 9668934"/>
              <a:gd name="connsiteY6" fmla="*/ 93447 h 860060"/>
              <a:gd name="connsiteX7" fmla="*/ 9668934 w 9668934"/>
              <a:gd name="connsiteY7" fmla="*/ 860060 h 860060"/>
              <a:gd name="connsiteX0" fmla="*/ 0 w 9530711"/>
              <a:gd name="connsiteY0" fmla="*/ 119313365 h 119315937"/>
              <a:gd name="connsiteX1" fmla="*/ 1165644 w 9530711"/>
              <a:gd name="connsiteY1" fmla="*/ 8126246 h 119315937"/>
              <a:gd name="connsiteX2" fmla="*/ 2490285 w 9530711"/>
              <a:gd name="connsiteY2" fmla="*/ 8458396 h 119315937"/>
              <a:gd name="connsiteX3" fmla="*/ 3895752 w 9530711"/>
              <a:gd name="connsiteY3" fmla="*/ 8126281 h 119315937"/>
              <a:gd name="connsiteX4" fmla="*/ 5153444 w 9530711"/>
              <a:gd name="connsiteY4" fmla="*/ 8057849 h 119315937"/>
              <a:gd name="connsiteX5" fmla="*/ 6660511 w 9530711"/>
              <a:gd name="connsiteY5" fmla="*/ 8083249 h 119315937"/>
              <a:gd name="connsiteX6" fmla="*/ 8006711 w 9530711"/>
              <a:gd name="connsiteY6" fmla="*/ 8040916 h 119315937"/>
              <a:gd name="connsiteX7" fmla="*/ 9530711 w 9530711"/>
              <a:gd name="connsiteY7" fmla="*/ 8807529 h 119315937"/>
              <a:gd name="connsiteX0" fmla="*/ 0 w 9530711"/>
              <a:gd name="connsiteY0" fmla="*/ 120694817 h 146380521"/>
              <a:gd name="connsiteX1" fmla="*/ 1325132 w 9530711"/>
              <a:gd name="connsiteY1" fmla="*/ 141376283 h 146380521"/>
              <a:gd name="connsiteX2" fmla="*/ 2490285 w 9530711"/>
              <a:gd name="connsiteY2" fmla="*/ 9839848 h 146380521"/>
              <a:gd name="connsiteX3" fmla="*/ 3895752 w 9530711"/>
              <a:gd name="connsiteY3" fmla="*/ 9507733 h 146380521"/>
              <a:gd name="connsiteX4" fmla="*/ 5153444 w 9530711"/>
              <a:gd name="connsiteY4" fmla="*/ 9439301 h 146380521"/>
              <a:gd name="connsiteX5" fmla="*/ 6660511 w 9530711"/>
              <a:gd name="connsiteY5" fmla="*/ 9464701 h 146380521"/>
              <a:gd name="connsiteX6" fmla="*/ 8006711 w 9530711"/>
              <a:gd name="connsiteY6" fmla="*/ 9422368 h 146380521"/>
              <a:gd name="connsiteX7" fmla="*/ 9530711 w 9530711"/>
              <a:gd name="connsiteY7" fmla="*/ 10188981 h 146380521"/>
              <a:gd name="connsiteX0" fmla="*/ 0 w 9530711"/>
              <a:gd name="connsiteY0" fmla="*/ 120694817 h 141550796"/>
              <a:gd name="connsiteX1" fmla="*/ 1325132 w 9530711"/>
              <a:gd name="connsiteY1" fmla="*/ 141376283 h 141550796"/>
              <a:gd name="connsiteX2" fmla="*/ 2490285 w 9530711"/>
              <a:gd name="connsiteY2" fmla="*/ 9839848 h 141550796"/>
              <a:gd name="connsiteX3" fmla="*/ 3895752 w 9530711"/>
              <a:gd name="connsiteY3" fmla="*/ 9507733 h 141550796"/>
              <a:gd name="connsiteX4" fmla="*/ 5153444 w 9530711"/>
              <a:gd name="connsiteY4" fmla="*/ 9439301 h 141550796"/>
              <a:gd name="connsiteX5" fmla="*/ 6660511 w 9530711"/>
              <a:gd name="connsiteY5" fmla="*/ 9464701 h 141550796"/>
              <a:gd name="connsiteX6" fmla="*/ 8006711 w 9530711"/>
              <a:gd name="connsiteY6" fmla="*/ 9422368 h 141550796"/>
              <a:gd name="connsiteX7" fmla="*/ 9530711 w 9530711"/>
              <a:gd name="connsiteY7" fmla="*/ 10188981 h 141550796"/>
              <a:gd name="connsiteX0" fmla="*/ 0 w 9530711"/>
              <a:gd name="connsiteY0" fmla="*/ 120694817 h 141550796"/>
              <a:gd name="connsiteX1" fmla="*/ 1282601 w 9530711"/>
              <a:gd name="connsiteY1" fmla="*/ 141376282 h 141550796"/>
              <a:gd name="connsiteX2" fmla="*/ 2490285 w 9530711"/>
              <a:gd name="connsiteY2" fmla="*/ 9839848 h 141550796"/>
              <a:gd name="connsiteX3" fmla="*/ 3895752 w 9530711"/>
              <a:gd name="connsiteY3" fmla="*/ 9507733 h 141550796"/>
              <a:gd name="connsiteX4" fmla="*/ 5153444 w 9530711"/>
              <a:gd name="connsiteY4" fmla="*/ 9439301 h 141550796"/>
              <a:gd name="connsiteX5" fmla="*/ 6660511 w 9530711"/>
              <a:gd name="connsiteY5" fmla="*/ 9464701 h 141550796"/>
              <a:gd name="connsiteX6" fmla="*/ 8006711 w 9530711"/>
              <a:gd name="connsiteY6" fmla="*/ 9422368 h 141550796"/>
              <a:gd name="connsiteX7" fmla="*/ 9530711 w 9530711"/>
              <a:gd name="connsiteY7" fmla="*/ 10188981 h 141550796"/>
              <a:gd name="connsiteX0" fmla="*/ 0 w 9530711"/>
              <a:gd name="connsiteY0" fmla="*/ 117254718 h 138577934"/>
              <a:gd name="connsiteX1" fmla="*/ 1282601 w 9530711"/>
              <a:gd name="connsiteY1" fmla="*/ 137936183 h 138577934"/>
              <a:gd name="connsiteX2" fmla="*/ 2575346 w 9530711"/>
              <a:gd name="connsiteY2" fmla="*/ 87693775 h 138577934"/>
              <a:gd name="connsiteX3" fmla="*/ 3895752 w 9530711"/>
              <a:gd name="connsiteY3" fmla="*/ 6067634 h 138577934"/>
              <a:gd name="connsiteX4" fmla="*/ 5153444 w 9530711"/>
              <a:gd name="connsiteY4" fmla="*/ 5999202 h 138577934"/>
              <a:gd name="connsiteX5" fmla="*/ 6660511 w 9530711"/>
              <a:gd name="connsiteY5" fmla="*/ 6024602 h 138577934"/>
              <a:gd name="connsiteX6" fmla="*/ 8006711 w 9530711"/>
              <a:gd name="connsiteY6" fmla="*/ 5982269 h 138577934"/>
              <a:gd name="connsiteX7" fmla="*/ 9530711 w 9530711"/>
              <a:gd name="connsiteY7" fmla="*/ 6748882 h 138577934"/>
              <a:gd name="connsiteX0" fmla="*/ 0 w 9530711"/>
              <a:gd name="connsiteY0" fmla="*/ 117254718 h 138577934"/>
              <a:gd name="connsiteX1" fmla="*/ 1282601 w 9530711"/>
              <a:gd name="connsiteY1" fmla="*/ 137936183 h 138577934"/>
              <a:gd name="connsiteX2" fmla="*/ 2575346 w 9530711"/>
              <a:gd name="connsiteY2" fmla="*/ 87693775 h 138577934"/>
              <a:gd name="connsiteX3" fmla="*/ 3895752 w 9530711"/>
              <a:gd name="connsiteY3" fmla="*/ 6067634 h 138577934"/>
              <a:gd name="connsiteX4" fmla="*/ 5153444 w 9530711"/>
              <a:gd name="connsiteY4" fmla="*/ 5999202 h 138577934"/>
              <a:gd name="connsiteX5" fmla="*/ 6660511 w 9530711"/>
              <a:gd name="connsiteY5" fmla="*/ 6024602 h 138577934"/>
              <a:gd name="connsiteX6" fmla="*/ 8006711 w 9530711"/>
              <a:gd name="connsiteY6" fmla="*/ 5982269 h 138577934"/>
              <a:gd name="connsiteX7" fmla="*/ 9530711 w 9530711"/>
              <a:gd name="connsiteY7" fmla="*/ 6748882 h 138577934"/>
              <a:gd name="connsiteX0" fmla="*/ 0 w 9530711"/>
              <a:gd name="connsiteY0" fmla="*/ 119363715 h 140046378"/>
              <a:gd name="connsiteX1" fmla="*/ 1282601 w 9530711"/>
              <a:gd name="connsiteY1" fmla="*/ 140045180 h 140046378"/>
              <a:gd name="connsiteX2" fmla="*/ 2554080 w 9530711"/>
              <a:gd name="connsiteY2" fmla="*/ 118274387 h 140046378"/>
              <a:gd name="connsiteX3" fmla="*/ 3895752 w 9530711"/>
              <a:gd name="connsiteY3" fmla="*/ 8176631 h 140046378"/>
              <a:gd name="connsiteX4" fmla="*/ 5153444 w 9530711"/>
              <a:gd name="connsiteY4" fmla="*/ 8108199 h 140046378"/>
              <a:gd name="connsiteX5" fmla="*/ 6660511 w 9530711"/>
              <a:gd name="connsiteY5" fmla="*/ 8133599 h 140046378"/>
              <a:gd name="connsiteX6" fmla="*/ 8006711 w 9530711"/>
              <a:gd name="connsiteY6" fmla="*/ 8091266 h 140046378"/>
              <a:gd name="connsiteX7" fmla="*/ 9530711 w 9530711"/>
              <a:gd name="connsiteY7" fmla="*/ 8857879 h 140046378"/>
              <a:gd name="connsiteX0" fmla="*/ 0 w 9530711"/>
              <a:gd name="connsiteY0" fmla="*/ 117328780 h 138011443"/>
              <a:gd name="connsiteX1" fmla="*/ 1282601 w 9530711"/>
              <a:gd name="connsiteY1" fmla="*/ 138010245 h 138011443"/>
              <a:gd name="connsiteX2" fmla="*/ 2554080 w 9530711"/>
              <a:gd name="connsiteY2" fmla="*/ 116239452 h 138011443"/>
              <a:gd name="connsiteX3" fmla="*/ 4012710 w 9530711"/>
              <a:gd name="connsiteY3" fmla="*/ 88184936 h 138011443"/>
              <a:gd name="connsiteX4" fmla="*/ 5153444 w 9530711"/>
              <a:gd name="connsiteY4" fmla="*/ 6073264 h 138011443"/>
              <a:gd name="connsiteX5" fmla="*/ 6660511 w 9530711"/>
              <a:gd name="connsiteY5" fmla="*/ 6098664 h 138011443"/>
              <a:gd name="connsiteX6" fmla="*/ 8006711 w 9530711"/>
              <a:gd name="connsiteY6" fmla="*/ 6056331 h 138011443"/>
              <a:gd name="connsiteX7" fmla="*/ 9530711 w 9530711"/>
              <a:gd name="connsiteY7" fmla="*/ 6822944 h 138011443"/>
              <a:gd name="connsiteX0" fmla="*/ 0 w 9530711"/>
              <a:gd name="connsiteY0" fmla="*/ 117328780 h 138011443"/>
              <a:gd name="connsiteX1" fmla="*/ 1282601 w 9530711"/>
              <a:gd name="connsiteY1" fmla="*/ 138010245 h 138011443"/>
              <a:gd name="connsiteX2" fmla="*/ 2554080 w 9530711"/>
              <a:gd name="connsiteY2" fmla="*/ 116239452 h 138011443"/>
              <a:gd name="connsiteX3" fmla="*/ 4012710 w 9530711"/>
              <a:gd name="connsiteY3" fmla="*/ 88184936 h 138011443"/>
              <a:gd name="connsiteX4" fmla="*/ 5153444 w 9530711"/>
              <a:gd name="connsiteY4" fmla="*/ 6073264 h 138011443"/>
              <a:gd name="connsiteX5" fmla="*/ 6660511 w 9530711"/>
              <a:gd name="connsiteY5" fmla="*/ 6098664 h 138011443"/>
              <a:gd name="connsiteX6" fmla="*/ 8006711 w 9530711"/>
              <a:gd name="connsiteY6" fmla="*/ 6056331 h 138011443"/>
              <a:gd name="connsiteX7" fmla="*/ 9530711 w 9530711"/>
              <a:gd name="connsiteY7" fmla="*/ 6822944 h 138011443"/>
              <a:gd name="connsiteX0" fmla="*/ 0 w 9530711"/>
              <a:gd name="connsiteY0" fmla="*/ 122684547 h 166934228"/>
              <a:gd name="connsiteX1" fmla="*/ 1282601 w 9530711"/>
              <a:gd name="connsiteY1" fmla="*/ 143366012 h 166934228"/>
              <a:gd name="connsiteX2" fmla="*/ 2554080 w 9530711"/>
              <a:gd name="connsiteY2" fmla="*/ 121595219 h 166934228"/>
              <a:gd name="connsiteX3" fmla="*/ 3917017 w 9530711"/>
              <a:gd name="connsiteY3" fmla="*/ 165843668 h 166934228"/>
              <a:gd name="connsiteX4" fmla="*/ 5153444 w 9530711"/>
              <a:gd name="connsiteY4" fmla="*/ 11429031 h 166934228"/>
              <a:gd name="connsiteX5" fmla="*/ 6660511 w 9530711"/>
              <a:gd name="connsiteY5" fmla="*/ 11454431 h 166934228"/>
              <a:gd name="connsiteX6" fmla="*/ 8006711 w 9530711"/>
              <a:gd name="connsiteY6" fmla="*/ 11412098 h 166934228"/>
              <a:gd name="connsiteX7" fmla="*/ 9530711 w 9530711"/>
              <a:gd name="connsiteY7" fmla="*/ 12178711 h 166934228"/>
              <a:gd name="connsiteX0" fmla="*/ 0 w 9530711"/>
              <a:gd name="connsiteY0" fmla="*/ 122684547 h 166934228"/>
              <a:gd name="connsiteX1" fmla="*/ 1282601 w 9530711"/>
              <a:gd name="connsiteY1" fmla="*/ 143366012 h 166934228"/>
              <a:gd name="connsiteX2" fmla="*/ 2554080 w 9530711"/>
              <a:gd name="connsiteY2" fmla="*/ 121595219 h 166934228"/>
              <a:gd name="connsiteX3" fmla="*/ 3917017 w 9530711"/>
              <a:gd name="connsiteY3" fmla="*/ 165843668 h 166934228"/>
              <a:gd name="connsiteX4" fmla="*/ 5153444 w 9530711"/>
              <a:gd name="connsiteY4" fmla="*/ 11429031 h 166934228"/>
              <a:gd name="connsiteX5" fmla="*/ 6660511 w 9530711"/>
              <a:gd name="connsiteY5" fmla="*/ 11454431 h 166934228"/>
              <a:gd name="connsiteX6" fmla="*/ 8006711 w 9530711"/>
              <a:gd name="connsiteY6" fmla="*/ 11412098 h 166934228"/>
              <a:gd name="connsiteX7" fmla="*/ 9530711 w 9530711"/>
              <a:gd name="connsiteY7" fmla="*/ 12178711 h 166934228"/>
              <a:gd name="connsiteX0" fmla="*/ 0 w 9530711"/>
              <a:gd name="connsiteY0" fmla="*/ 120951144 h 165401552"/>
              <a:gd name="connsiteX1" fmla="*/ 1282601 w 9530711"/>
              <a:gd name="connsiteY1" fmla="*/ 141632609 h 165401552"/>
              <a:gd name="connsiteX2" fmla="*/ 2554080 w 9530711"/>
              <a:gd name="connsiteY2" fmla="*/ 119861816 h 165401552"/>
              <a:gd name="connsiteX3" fmla="*/ 3917017 w 9530711"/>
              <a:gd name="connsiteY3" fmla="*/ 164110265 h 165401552"/>
              <a:gd name="connsiteX4" fmla="*/ 5334197 w 9530711"/>
              <a:gd name="connsiteY4" fmla="*/ 140065721 h 165401552"/>
              <a:gd name="connsiteX5" fmla="*/ 6660511 w 9530711"/>
              <a:gd name="connsiteY5" fmla="*/ 9721028 h 165401552"/>
              <a:gd name="connsiteX6" fmla="*/ 8006711 w 9530711"/>
              <a:gd name="connsiteY6" fmla="*/ 9678695 h 165401552"/>
              <a:gd name="connsiteX7" fmla="*/ 9530711 w 9530711"/>
              <a:gd name="connsiteY7" fmla="*/ 10445308 h 165401552"/>
              <a:gd name="connsiteX0" fmla="*/ 0 w 9530711"/>
              <a:gd name="connsiteY0" fmla="*/ 120951144 h 164551604"/>
              <a:gd name="connsiteX1" fmla="*/ 1282601 w 9530711"/>
              <a:gd name="connsiteY1" fmla="*/ 141632609 h 164551604"/>
              <a:gd name="connsiteX2" fmla="*/ 2554080 w 9530711"/>
              <a:gd name="connsiteY2" fmla="*/ 119861816 h 164551604"/>
              <a:gd name="connsiteX3" fmla="*/ 3917017 w 9530711"/>
              <a:gd name="connsiteY3" fmla="*/ 164110265 h 164551604"/>
              <a:gd name="connsiteX4" fmla="*/ 5334197 w 9530711"/>
              <a:gd name="connsiteY4" fmla="*/ 140065721 h 164551604"/>
              <a:gd name="connsiteX5" fmla="*/ 6660511 w 9530711"/>
              <a:gd name="connsiteY5" fmla="*/ 9721028 h 164551604"/>
              <a:gd name="connsiteX6" fmla="*/ 8006711 w 9530711"/>
              <a:gd name="connsiteY6" fmla="*/ 9678695 h 164551604"/>
              <a:gd name="connsiteX7" fmla="*/ 9530711 w 9530711"/>
              <a:gd name="connsiteY7" fmla="*/ 10445308 h 164551604"/>
              <a:gd name="connsiteX0" fmla="*/ 0 w 9530711"/>
              <a:gd name="connsiteY0" fmla="*/ 111273126 h 154911744"/>
              <a:gd name="connsiteX1" fmla="*/ 1282601 w 9530711"/>
              <a:gd name="connsiteY1" fmla="*/ 131954591 h 154911744"/>
              <a:gd name="connsiteX2" fmla="*/ 2554080 w 9530711"/>
              <a:gd name="connsiteY2" fmla="*/ 110183798 h 154911744"/>
              <a:gd name="connsiteX3" fmla="*/ 3917017 w 9530711"/>
              <a:gd name="connsiteY3" fmla="*/ 154432247 h 154911744"/>
              <a:gd name="connsiteX4" fmla="*/ 5334197 w 9530711"/>
              <a:gd name="connsiteY4" fmla="*/ 130387703 h 154911744"/>
              <a:gd name="connsiteX5" fmla="*/ 6777469 w 9530711"/>
              <a:gd name="connsiteY5" fmla="*/ 80213120 h 154911744"/>
              <a:gd name="connsiteX6" fmla="*/ 8006711 w 9530711"/>
              <a:gd name="connsiteY6" fmla="*/ 677 h 154911744"/>
              <a:gd name="connsiteX7" fmla="*/ 9530711 w 9530711"/>
              <a:gd name="connsiteY7" fmla="*/ 767290 h 154911744"/>
              <a:gd name="connsiteX0" fmla="*/ 0 w 9530711"/>
              <a:gd name="connsiteY0" fmla="*/ 111272985 h 154911603"/>
              <a:gd name="connsiteX1" fmla="*/ 1282601 w 9530711"/>
              <a:gd name="connsiteY1" fmla="*/ 131954450 h 154911603"/>
              <a:gd name="connsiteX2" fmla="*/ 2554080 w 9530711"/>
              <a:gd name="connsiteY2" fmla="*/ 110183657 h 154911603"/>
              <a:gd name="connsiteX3" fmla="*/ 3917017 w 9530711"/>
              <a:gd name="connsiteY3" fmla="*/ 154432106 h 154911603"/>
              <a:gd name="connsiteX4" fmla="*/ 5334197 w 9530711"/>
              <a:gd name="connsiteY4" fmla="*/ 130387562 h 154911603"/>
              <a:gd name="connsiteX5" fmla="*/ 6777469 w 9530711"/>
              <a:gd name="connsiteY5" fmla="*/ 80212979 h 154911603"/>
              <a:gd name="connsiteX6" fmla="*/ 8006711 w 9530711"/>
              <a:gd name="connsiteY6" fmla="*/ 536 h 154911603"/>
              <a:gd name="connsiteX7" fmla="*/ 9530711 w 9530711"/>
              <a:gd name="connsiteY7" fmla="*/ 767149 h 154911603"/>
              <a:gd name="connsiteX0" fmla="*/ 0 w 9530711"/>
              <a:gd name="connsiteY0" fmla="*/ 111272844 h 154804034"/>
              <a:gd name="connsiteX1" fmla="*/ 1282601 w 9530711"/>
              <a:gd name="connsiteY1" fmla="*/ 131954309 h 154804034"/>
              <a:gd name="connsiteX2" fmla="*/ 2554080 w 9530711"/>
              <a:gd name="connsiteY2" fmla="*/ 110183516 h 154804034"/>
              <a:gd name="connsiteX3" fmla="*/ 3917017 w 9530711"/>
              <a:gd name="connsiteY3" fmla="*/ 154431965 h 154804034"/>
              <a:gd name="connsiteX4" fmla="*/ 5334197 w 9530711"/>
              <a:gd name="connsiteY4" fmla="*/ 130387421 h 154804034"/>
              <a:gd name="connsiteX5" fmla="*/ 6586083 w 9530711"/>
              <a:gd name="connsiteY5" fmla="*/ 112430735 h 154804034"/>
              <a:gd name="connsiteX6" fmla="*/ 8006711 w 9530711"/>
              <a:gd name="connsiteY6" fmla="*/ 395 h 154804034"/>
              <a:gd name="connsiteX7" fmla="*/ 9530711 w 9530711"/>
              <a:gd name="connsiteY7" fmla="*/ 767008 h 154804034"/>
              <a:gd name="connsiteX0" fmla="*/ 0 w 9530711"/>
              <a:gd name="connsiteY0" fmla="*/ 110506154 h 154037344"/>
              <a:gd name="connsiteX1" fmla="*/ 1282601 w 9530711"/>
              <a:gd name="connsiteY1" fmla="*/ 131187619 h 154037344"/>
              <a:gd name="connsiteX2" fmla="*/ 2554080 w 9530711"/>
              <a:gd name="connsiteY2" fmla="*/ 109416826 h 154037344"/>
              <a:gd name="connsiteX3" fmla="*/ 3917017 w 9530711"/>
              <a:gd name="connsiteY3" fmla="*/ 153665275 h 154037344"/>
              <a:gd name="connsiteX4" fmla="*/ 5334197 w 9530711"/>
              <a:gd name="connsiteY4" fmla="*/ 129620731 h 154037344"/>
              <a:gd name="connsiteX5" fmla="*/ 6586083 w 9530711"/>
              <a:gd name="connsiteY5" fmla="*/ 111664045 h 154037344"/>
              <a:gd name="connsiteX6" fmla="*/ 8017343 w 9530711"/>
              <a:gd name="connsiteY6" fmla="*/ 109373946 h 154037344"/>
              <a:gd name="connsiteX7" fmla="*/ 9530711 w 9530711"/>
              <a:gd name="connsiteY7" fmla="*/ 318 h 154037344"/>
              <a:gd name="connsiteX0" fmla="*/ 0 w 9573241"/>
              <a:gd name="connsiteY0" fmla="*/ 1467248 h 44998438"/>
              <a:gd name="connsiteX1" fmla="*/ 1282601 w 9573241"/>
              <a:gd name="connsiteY1" fmla="*/ 22148713 h 44998438"/>
              <a:gd name="connsiteX2" fmla="*/ 2554080 w 9573241"/>
              <a:gd name="connsiteY2" fmla="*/ 377920 h 44998438"/>
              <a:gd name="connsiteX3" fmla="*/ 3917017 w 9573241"/>
              <a:gd name="connsiteY3" fmla="*/ 44626369 h 44998438"/>
              <a:gd name="connsiteX4" fmla="*/ 5334197 w 9573241"/>
              <a:gd name="connsiteY4" fmla="*/ 20581825 h 44998438"/>
              <a:gd name="connsiteX5" fmla="*/ 6586083 w 9573241"/>
              <a:gd name="connsiteY5" fmla="*/ 2625139 h 44998438"/>
              <a:gd name="connsiteX6" fmla="*/ 8017343 w 9573241"/>
              <a:gd name="connsiteY6" fmla="*/ 335040 h 44998438"/>
              <a:gd name="connsiteX7" fmla="*/ 9573241 w 9573241"/>
              <a:gd name="connsiteY7" fmla="*/ 18334499 h 44998438"/>
              <a:gd name="connsiteX0" fmla="*/ 0 w 9392487"/>
              <a:gd name="connsiteY0" fmla="*/ 1467248 h 44998438"/>
              <a:gd name="connsiteX1" fmla="*/ 1282601 w 9392487"/>
              <a:gd name="connsiteY1" fmla="*/ 22148713 h 44998438"/>
              <a:gd name="connsiteX2" fmla="*/ 2554080 w 9392487"/>
              <a:gd name="connsiteY2" fmla="*/ 377920 h 44998438"/>
              <a:gd name="connsiteX3" fmla="*/ 3917017 w 9392487"/>
              <a:gd name="connsiteY3" fmla="*/ 44626369 h 44998438"/>
              <a:gd name="connsiteX4" fmla="*/ 5334197 w 9392487"/>
              <a:gd name="connsiteY4" fmla="*/ 20581825 h 44998438"/>
              <a:gd name="connsiteX5" fmla="*/ 6586083 w 9392487"/>
              <a:gd name="connsiteY5" fmla="*/ 2625139 h 44998438"/>
              <a:gd name="connsiteX6" fmla="*/ 8017343 w 9392487"/>
              <a:gd name="connsiteY6" fmla="*/ 335040 h 44998438"/>
              <a:gd name="connsiteX7" fmla="*/ 9392487 w 9392487"/>
              <a:gd name="connsiteY7" fmla="*/ 4473334 h 44998438"/>
              <a:gd name="connsiteX0" fmla="*/ 0 w 9392487"/>
              <a:gd name="connsiteY0" fmla="*/ 3067643 h 46598833"/>
              <a:gd name="connsiteX1" fmla="*/ 1316891 w 9392487"/>
              <a:gd name="connsiteY1" fmla="*/ 7237435 h 46598833"/>
              <a:gd name="connsiteX2" fmla="*/ 2554080 w 9392487"/>
              <a:gd name="connsiteY2" fmla="*/ 1978315 h 46598833"/>
              <a:gd name="connsiteX3" fmla="*/ 3917017 w 9392487"/>
              <a:gd name="connsiteY3" fmla="*/ 46226764 h 46598833"/>
              <a:gd name="connsiteX4" fmla="*/ 5334197 w 9392487"/>
              <a:gd name="connsiteY4" fmla="*/ 22182220 h 46598833"/>
              <a:gd name="connsiteX5" fmla="*/ 6586083 w 9392487"/>
              <a:gd name="connsiteY5" fmla="*/ 4225534 h 46598833"/>
              <a:gd name="connsiteX6" fmla="*/ 8017343 w 9392487"/>
              <a:gd name="connsiteY6" fmla="*/ 1935435 h 46598833"/>
              <a:gd name="connsiteX7" fmla="*/ 9392487 w 9392487"/>
              <a:gd name="connsiteY7" fmla="*/ 6073729 h 46598833"/>
              <a:gd name="connsiteX0" fmla="*/ 0 w 9392487"/>
              <a:gd name="connsiteY0" fmla="*/ 1399211 h 20591232"/>
              <a:gd name="connsiteX1" fmla="*/ 1316891 w 9392487"/>
              <a:gd name="connsiteY1" fmla="*/ 5569003 h 20591232"/>
              <a:gd name="connsiteX2" fmla="*/ 2554080 w 9392487"/>
              <a:gd name="connsiteY2" fmla="*/ 309883 h 20591232"/>
              <a:gd name="connsiteX3" fmla="*/ 4065607 w 9392487"/>
              <a:gd name="connsiteY3" fmla="*/ 8715920 h 20591232"/>
              <a:gd name="connsiteX4" fmla="*/ 5334197 w 9392487"/>
              <a:gd name="connsiteY4" fmla="*/ 20513788 h 20591232"/>
              <a:gd name="connsiteX5" fmla="*/ 6586083 w 9392487"/>
              <a:gd name="connsiteY5" fmla="*/ 2557102 h 20591232"/>
              <a:gd name="connsiteX6" fmla="*/ 8017343 w 9392487"/>
              <a:gd name="connsiteY6" fmla="*/ 267003 h 20591232"/>
              <a:gd name="connsiteX7" fmla="*/ 9392487 w 9392487"/>
              <a:gd name="connsiteY7" fmla="*/ 4405297 h 20591232"/>
              <a:gd name="connsiteX0" fmla="*/ 0 w 9392487"/>
              <a:gd name="connsiteY0" fmla="*/ 1163214 h 9458018"/>
              <a:gd name="connsiteX1" fmla="*/ 1316891 w 9392487"/>
              <a:gd name="connsiteY1" fmla="*/ 5333006 h 9458018"/>
              <a:gd name="connsiteX2" fmla="*/ 2554080 w 9392487"/>
              <a:gd name="connsiteY2" fmla="*/ 73886 h 9458018"/>
              <a:gd name="connsiteX3" fmla="*/ 4065607 w 9392487"/>
              <a:gd name="connsiteY3" fmla="*/ 8479923 h 9458018"/>
              <a:gd name="connsiteX4" fmla="*/ 5311337 w 9392487"/>
              <a:gd name="connsiteY4" fmla="*/ 8598803 h 9458018"/>
              <a:gd name="connsiteX5" fmla="*/ 6586083 w 9392487"/>
              <a:gd name="connsiteY5" fmla="*/ 2321105 h 9458018"/>
              <a:gd name="connsiteX6" fmla="*/ 8017343 w 9392487"/>
              <a:gd name="connsiteY6" fmla="*/ 31006 h 9458018"/>
              <a:gd name="connsiteX7" fmla="*/ 9392487 w 9392487"/>
              <a:gd name="connsiteY7" fmla="*/ 4169300 h 9458018"/>
              <a:gd name="connsiteX0" fmla="*/ 0 w 9392487"/>
              <a:gd name="connsiteY0" fmla="*/ 1138797 h 9175970"/>
              <a:gd name="connsiteX1" fmla="*/ 1316891 w 9392487"/>
              <a:gd name="connsiteY1" fmla="*/ 5308589 h 9175970"/>
              <a:gd name="connsiteX2" fmla="*/ 2554080 w 9392487"/>
              <a:gd name="connsiteY2" fmla="*/ 49469 h 9175970"/>
              <a:gd name="connsiteX3" fmla="*/ 4065607 w 9392487"/>
              <a:gd name="connsiteY3" fmla="*/ 8455506 h 9175970"/>
              <a:gd name="connsiteX4" fmla="*/ 5311337 w 9392487"/>
              <a:gd name="connsiteY4" fmla="*/ 8574386 h 9175970"/>
              <a:gd name="connsiteX5" fmla="*/ 6586083 w 9392487"/>
              <a:gd name="connsiteY5" fmla="*/ 7129373 h 9175970"/>
              <a:gd name="connsiteX6" fmla="*/ 8017343 w 9392487"/>
              <a:gd name="connsiteY6" fmla="*/ 6589 h 9175970"/>
              <a:gd name="connsiteX7" fmla="*/ 9392487 w 9392487"/>
              <a:gd name="connsiteY7" fmla="*/ 4144883 h 9175970"/>
              <a:gd name="connsiteX0" fmla="*/ 0 w 9392487"/>
              <a:gd name="connsiteY0" fmla="*/ 1123964 h 9161137"/>
              <a:gd name="connsiteX1" fmla="*/ 1316891 w 9392487"/>
              <a:gd name="connsiteY1" fmla="*/ 5293756 h 9161137"/>
              <a:gd name="connsiteX2" fmla="*/ 2554080 w 9392487"/>
              <a:gd name="connsiteY2" fmla="*/ 34636 h 9161137"/>
              <a:gd name="connsiteX3" fmla="*/ 4065607 w 9392487"/>
              <a:gd name="connsiteY3" fmla="*/ 8440673 h 9161137"/>
              <a:gd name="connsiteX4" fmla="*/ 5311337 w 9392487"/>
              <a:gd name="connsiteY4" fmla="*/ 8559553 h 9161137"/>
              <a:gd name="connsiteX5" fmla="*/ 6586083 w 9392487"/>
              <a:gd name="connsiteY5" fmla="*/ 7114540 h 9161137"/>
              <a:gd name="connsiteX6" fmla="*/ 8005913 w 9392487"/>
              <a:gd name="connsiteY6" fmla="*/ 7240783 h 9161137"/>
              <a:gd name="connsiteX7" fmla="*/ 9392487 w 9392487"/>
              <a:gd name="connsiteY7" fmla="*/ 4130050 h 9161137"/>
              <a:gd name="connsiteX0" fmla="*/ 0 w 9805955"/>
              <a:gd name="connsiteY0" fmla="*/ 0 h 15041080"/>
              <a:gd name="connsiteX1" fmla="*/ 1730359 w 9805955"/>
              <a:gd name="connsiteY1" fmla="*/ 11173699 h 15041080"/>
              <a:gd name="connsiteX2" fmla="*/ 2967548 w 9805955"/>
              <a:gd name="connsiteY2" fmla="*/ 5914579 h 15041080"/>
              <a:gd name="connsiteX3" fmla="*/ 4479075 w 9805955"/>
              <a:gd name="connsiteY3" fmla="*/ 14320616 h 15041080"/>
              <a:gd name="connsiteX4" fmla="*/ 5724805 w 9805955"/>
              <a:gd name="connsiteY4" fmla="*/ 14439496 h 15041080"/>
              <a:gd name="connsiteX5" fmla="*/ 6999551 w 9805955"/>
              <a:gd name="connsiteY5" fmla="*/ 12994483 h 15041080"/>
              <a:gd name="connsiteX6" fmla="*/ 8419381 w 9805955"/>
              <a:gd name="connsiteY6" fmla="*/ 13120726 h 15041080"/>
              <a:gd name="connsiteX7" fmla="*/ 9805955 w 9805955"/>
              <a:gd name="connsiteY7" fmla="*/ 10009993 h 15041080"/>
              <a:gd name="connsiteX0" fmla="*/ 0 w 9805955"/>
              <a:gd name="connsiteY0" fmla="*/ 133396 h 15174476"/>
              <a:gd name="connsiteX1" fmla="*/ 1205573 w 9805955"/>
              <a:gd name="connsiteY1" fmla="*/ 381020 h 15174476"/>
              <a:gd name="connsiteX2" fmla="*/ 2967548 w 9805955"/>
              <a:gd name="connsiteY2" fmla="*/ 6047975 h 15174476"/>
              <a:gd name="connsiteX3" fmla="*/ 4479075 w 9805955"/>
              <a:gd name="connsiteY3" fmla="*/ 14454012 h 15174476"/>
              <a:gd name="connsiteX4" fmla="*/ 5724805 w 9805955"/>
              <a:gd name="connsiteY4" fmla="*/ 14572892 h 15174476"/>
              <a:gd name="connsiteX5" fmla="*/ 6999551 w 9805955"/>
              <a:gd name="connsiteY5" fmla="*/ 13127879 h 15174476"/>
              <a:gd name="connsiteX6" fmla="*/ 8419381 w 9805955"/>
              <a:gd name="connsiteY6" fmla="*/ 13254122 h 15174476"/>
              <a:gd name="connsiteX7" fmla="*/ 9805955 w 9805955"/>
              <a:gd name="connsiteY7" fmla="*/ 10143389 h 15174476"/>
              <a:gd name="connsiteX0" fmla="*/ 0 w 9805955"/>
              <a:gd name="connsiteY0" fmla="*/ 0 h 15041080"/>
              <a:gd name="connsiteX1" fmla="*/ 1205573 w 9805955"/>
              <a:gd name="connsiteY1" fmla="*/ 247624 h 15041080"/>
              <a:gd name="connsiteX2" fmla="*/ 2967548 w 9805955"/>
              <a:gd name="connsiteY2" fmla="*/ 5914579 h 15041080"/>
              <a:gd name="connsiteX3" fmla="*/ 4479075 w 9805955"/>
              <a:gd name="connsiteY3" fmla="*/ 14320616 h 15041080"/>
              <a:gd name="connsiteX4" fmla="*/ 5724805 w 9805955"/>
              <a:gd name="connsiteY4" fmla="*/ 14439496 h 15041080"/>
              <a:gd name="connsiteX5" fmla="*/ 6999551 w 9805955"/>
              <a:gd name="connsiteY5" fmla="*/ 12994483 h 15041080"/>
              <a:gd name="connsiteX6" fmla="*/ 8419381 w 9805955"/>
              <a:gd name="connsiteY6" fmla="*/ 13120726 h 15041080"/>
              <a:gd name="connsiteX7" fmla="*/ 9805955 w 9805955"/>
              <a:gd name="connsiteY7" fmla="*/ 10009993 h 15041080"/>
              <a:gd name="connsiteX0" fmla="*/ 0 w 9805955"/>
              <a:gd name="connsiteY0" fmla="*/ 0 h 15041080"/>
              <a:gd name="connsiteX1" fmla="*/ 1205573 w 9805955"/>
              <a:gd name="connsiteY1" fmla="*/ 247624 h 15041080"/>
              <a:gd name="connsiteX2" fmla="*/ 2967548 w 9805955"/>
              <a:gd name="connsiteY2" fmla="*/ 5914579 h 15041080"/>
              <a:gd name="connsiteX3" fmla="*/ 4479075 w 9805955"/>
              <a:gd name="connsiteY3" fmla="*/ 14320616 h 15041080"/>
              <a:gd name="connsiteX4" fmla="*/ 5724805 w 9805955"/>
              <a:gd name="connsiteY4" fmla="*/ 14439496 h 15041080"/>
              <a:gd name="connsiteX5" fmla="*/ 6999551 w 9805955"/>
              <a:gd name="connsiteY5" fmla="*/ 12994483 h 15041080"/>
              <a:gd name="connsiteX6" fmla="*/ 8419381 w 9805955"/>
              <a:gd name="connsiteY6" fmla="*/ 13120726 h 15041080"/>
              <a:gd name="connsiteX7" fmla="*/ 9805955 w 9805955"/>
              <a:gd name="connsiteY7" fmla="*/ 10009993 h 15041080"/>
              <a:gd name="connsiteX0" fmla="*/ 0 w 9805955"/>
              <a:gd name="connsiteY0" fmla="*/ 956812 h 16429860"/>
              <a:gd name="connsiteX1" fmla="*/ 1205573 w 9805955"/>
              <a:gd name="connsiteY1" fmla="*/ 1204436 h 16429860"/>
              <a:gd name="connsiteX2" fmla="*/ 2562031 w 9805955"/>
              <a:gd name="connsiteY2" fmla="*/ 988100 h 16429860"/>
              <a:gd name="connsiteX3" fmla="*/ 4479075 w 9805955"/>
              <a:gd name="connsiteY3" fmla="*/ 15277428 h 16429860"/>
              <a:gd name="connsiteX4" fmla="*/ 5724805 w 9805955"/>
              <a:gd name="connsiteY4" fmla="*/ 15396308 h 16429860"/>
              <a:gd name="connsiteX5" fmla="*/ 6999551 w 9805955"/>
              <a:gd name="connsiteY5" fmla="*/ 13951295 h 16429860"/>
              <a:gd name="connsiteX6" fmla="*/ 8419381 w 9805955"/>
              <a:gd name="connsiteY6" fmla="*/ 14077538 h 16429860"/>
              <a:gd name="connsiteX7" fmla="*/ 9805955 w 9805955"/>
              <a:gd name="connsiteY7" fmla="*/ 10966805 h 16429860"/>
              <a:gd name="connsiteX0" fmla="*/ 0 w 9805955"/>
              <a:gd name="connsiteY0" fmla="*/ 0 h 15473048"/>
              <a:gd name="connsiteX1" fmla="*/ 1205573 w 9805955"/>
              <a:gd name="connsiteY1" fmla="*/ 247624 h 15473048"/>
              <a:gd name="connsiteX2" fmla="*/ 2562031 w 9805955"/>
              <a:gd name="connsiteY2" fmla="*/ 31288 h 15473048"/>
              <a:gd name="connsiteX3" fmla="*/ 4479075 w 9805955"/>
              <a:gd name="connsiteY3" fmla="*/ 14320616 h 15473048"/>
              <a:gd name="connsiteX4" fmla="*/ 5724805 w 9805955"/>
              <a:gd name="connsiteY4" fmla="*/ 14439496 h 15473048"/>
              <a:gd name="connsiteX5" fmla="*/ 6999551 w 9805955"/>
              <a:gd name="connsiteY5" fmla="*/ 12994483 h 15473048"/>
              <a:gd name="connsiteX6" fmla="*/ 8419381 w 9805955"/>
              <a:gd name="connsiteY6" fmla="*/ 13120726 h 15473048"/>
              <a:gd name="connsiteX7" fmla="*/ 9805955 w 9805955"/>
              <a:gd name="connsiteY7" fmla="*/ 10009993 h 15473048"/>
              <a:gd name="connsiteX0" fmla="*/ 0 w 9805955"/>
              <a:gd name="connsiteY0" fmla="*/ 1042959 h 16199994"/>
              <a:gd name="connsiteX1" fmla="*/ 1205573 w 9805955"/>
              <a:gd name="connsiteY1" fmla="*/ 1290583 h 16199994"/>
              <a:gd name="connsiteX2" fmla="*/ 2562031 w 9805955"/>
              <a:gd name="connsiteY2" fmla="*/ 1074247 h 16199994"/>
              <a:gd name="connsiteX3" fmla="*/ 3930435 w 9805955"/>
              <a:gd name="connsiteY3" fmla="*/ 1075656 h 16199994"/>
              <a:gd name="connsiteX4" fmla="*/ 5724805 w 9805955"/>
              <a:gd name="connsiteY4" fmla="*/ 15482455 h 16199994"/>
              <a:gd name="connsiteX5" fmla="*/ 6999551 w 9805955"/>
              <a:gd name="connsiteY5" fmla="*/ 14037442 h 16199994"/>
              <a:gd name="connsiteX6" fmla="*/ 8419381 w 9805955"/>
              <a:gd name="connsiteY6" fmla="*/ 14163685 h 16199994"/>
              <a:gd name="connsiteX7" fmla="*/ 9805955 w 9805955"/>
              <a:gd name="connsiteY7" fmla="*/ 11052952 h 16199994"/>
              <a:gd name="connsiteX0" fmla="*/ 0 w 9805955"/>
              <a:gd name="connsiteY0" fmla="*/ 296000 h 15453035"/>
              <a:gd name="connsiteX1" fmla="*/ 1205573 w 9805955"/>
              <a:gd name="connsiteY1" fmla="*/ 543624 h 15453035"/>
              <a:gd name="connsiteX2" fmla="*/ 2562031 w 9805955"/>
              <a:gd name="connsiteY2" fmla="*/ 327288 h 15453035"/>
              <a:gd name="connsiteX3" fmla="*/ 3930435 w 9805955"/>
              <a:gd name="connsiteY3" fmla="*/ 328697 h 15453035"/>
              <a:gd name="connsiteX4" fmla="*/ 5724805 w 9805955"/>
              <a:gd name="connsiteY4" fmla="*/ 14735496 h 15453035"/>
              <a:gd name="connsiteX5" fmla="*/ 6999551 w 9805955"/>
              <a:gd name="connsiteY5" fmla="*/ 13290483 h 15453035"/>
              <a:gd name="connsiteX6" fmla="*/ 8419381 w 9805955"/>
              <a:gd name="connsiteY6" fmla="*/ 13416726 h 15453035"/>
              <a:gd name="connsiteX7" fmla="*/ 9805955 w 9805955"/>
              <a:gd name="connsiteY7" fmla="*/ 10305993 h 15453035"/>
              <a:gd name="connsiteX0" fmla="*/ 0 w 9821858"/>
              <a:gd name="connsiteY0" fmla="*/ 0 h 38409944"/>
              <a:gd name="connsiteX1" fmla="*/ 1221476 w 9821858"/>
              <a:gd name="connsiteY1" fmla="*/ 23500533 h 38409944"/>
              <a:gd name="connsiteX2" fmla="*/ 2577934 w 9821858"/>
              <a:gd name="connsiteY2" fmla="*/ 23284197 h 38409944"/>
              <a:gd name="connsiteX3" fmla="*/ 3946338 w 9821858"/>
              <a:gd name="connsiteY3" fmla="*/ 23285606 h 38409944"/>
              <a:gd name="connsiteX4" fmla="*/ 5740708 w 9821858"/>
              <a:gd name="connsiteY4" fmla="*/ 37692405 h 38409944"/>
              <a:gd name="connsiteX5" fmla="*/ 7015454 w 9821858"/>
              <a:gd name="connsiteY5" fmla="*/ 36247392 h 38409944"/>
              <a:gd name="connsiteX6" fmla="*/ 8435284 w 9821858"/>
              <a:gd name="connsiteY6" fmla="*/ 36373635 h 38409944"/>
              <a:gd name="connsiteX7" fmla="*/ 9821858 w 9821858"/>
              <a:gd name="connsiteY7" fmla="*/ 33262902 h 38409944"/>
              <a:gd name="connsiteX0" fmla="*/ 0 w 9821858"/>
              <a:gd name="connsiteY0" fmla="*/ 0 h 38409944"/>
              <a:gd name="connsiteX1" fmla="*/ 1221476 w 9821858"/>
              <a:gd name="connsiteY1" fmla="*/ 23500533 h 38409944"/>
              <a:gd name="connsiteX2" fmla="*/ 2577934 w 9821858"/>
              <a:gd name="connsiteY2" fmla="*/ 23284197 h 38409944"/>
              <a:gd name="connsiteX3" fmla="*/ 3946338 w 9821858"/>
              <a:gd name="connsiteY3" fmla="*/ 23285606 h 38409944"/>
              <a:gd name="connsiteX4" fmla="*/ 5740708 w 9821858"/>
              <a:gd name="connsiteY4" fmla="*/ 37692405 h 38409944"/>
              <a:gd name="connsiteX5" fmla="*/ 7015454 w 9821858"/>
              <a:gd name="connsiteY5" fmla="*/ 36247392 h 38409944"/>
              <a:gd name="connsiteX6" fmla="*/ 8435284 w 9821858"/>
              <a:gd name="connsiteY6" fmla="*/ 36373635 h 38409944"/>
              <a:gd name="connsiteX7" fmla="*/ 9821858 w 9821858"/>
              <a:gd name="connsiteY7" fmla="*/ 33262902 h 38409944"/>
              <a:gd name="connsiteX0" fmla="*/ 0 w 9821858"/>
              <a:gd name="connsiteY0" fmla="*/ 21226289 h 61715317"/>
              <a:gd name="connsiteX1" fmla="*/ 1221476 w 9821858"/>
              <a:gd name="connsiteY1" fmla="*/ 44726822 h 61715317"/>
              <a:gd name="connsiteX2" fmla="*/ 2577934 w 9821858"/>
              <a:gd name="connsiteY2" fmla="*/ 44510486 h 61715317"/>
              <a:gd name="connsiteX3" fmla="*/ 3946338 w 9821858"/>
              <a:gd name="connsiteY3" fmla="*/ 44511895 h 61715317"/>
              <a:gd name="connsiteX4" fmla="*/ 5366997 w 9821858"/>
              <a:gd name="connsiteY4" fmla="*/ 86006 h 61715317"/>
              <a:gd name="connsiteX5" fmla="*/ 7015454 w 9821858"/>
              <a:gd name="connsiteY5" fmla="*/ 57473681 h 61715317"/>
              <a:gd name="connsiteX6" fmla="*/ 8435284 w 9821858"/>
              <a:gd name="connsiteY6" fmla="*/ 57599924 h 61715317"/>
              <a:gd name="connsiteX7" fmla="*/ 9821858 w 9821858"/>
              <a:gd name="connsiteY7" fmla="*/ 54489191 h 61715317"/>
              <a:gd name="connsiteX0" fmla="*/ 0 w 9821858"/>
              <a:gd name="connsiteY0" fmla="*/ 21140389 h 61629417"/>
              <a:gd name="connsiteX1" fmla="*/ 1221476 w 9821858"/>
              <a:gd name="connsiteY1" fmla="*/ 44640922 h 61629417"/>
              <a:gd name="connsiteX2" fmla="*/ 2577934 w 9821858"/>
              <a:gd name="connsiteY2" fmla="*/ 44424586 h 61629417"/>
              <a:gd name="connsiteX3" fmla="*/ 3946338 w 9821858"/>
              <a:gd name="connsiteY3" fmla="*/ 44425995 h 61629417"/>
              <a:gd name="connsiteX4" fmla="*/ 5366997 w 9821858"/>
              <a:gd name="connsiteY4" fmla="*/ 106 h 61629417"/>
              <a:gd name="connsiteX5" fmla="*/ 7015454 w 9821858"/>
              <a:gd name="connsiteY5" fmla="*/ 57387781 h 61629417"/>
              <a:gd name="connsiteX6" fmla="*/ 8435284 w 9821858"/>
              <a:gd name="connsiteY6" fmla="*/ 57514024 h 61629417"/>
              <a:gd name="connsiteX7" fmla="*/ 9821858 w 9821858"/>
              <a:gd name="connsiteY7" fmla="*/ 54403291 h 61629417"/>
              <a:gd name="connsiteX0" fmla="*/ 0 w 9821858"/>
              <a:gd name="connsiteY0" fmla="*/ 28448433 h 64832885"/>
              <a:gd name="connsiteX1" fmla="*/ 1221476 w 9821858"/>
              <a:gd name="connsiteY1" fmla="*/ 51948966 h 64832885"/>
              <a:gd name="connsiteX2" fmla="*/ 2577934 w 9821858"/>
              <a:gd name="connsiteY2" fmla="*/ 51732630 h 64832885"/>
              <a:gd name="connsiteX3" fmla="*/ 3946338 w 9821858"/>
              <a:gd name="connsiteY3" fmla="*/ 51734039 h 64832885"/>
              <a:gd name="connsiteX4" fmla="*/ 5366997 w 9821858"/>
              <a:gd name="connsiteY4" fmla="*/ 7308150 h 64832885"/>
              <a:gd name="connsiteX5" fmla="*/ 6689451 w 9821858"/>
              <a:gd name="connsiteY5" fmla="*/ 5863136 h 64832885"/>
              <a:gd name="connsiteX6" fmla="*/ 8435284 w 9821858"/>
              <a:gd name="connsiteY6" fmla="*/ 64822068 h 64832885"/>
              <a:gd name="connsiteX7" fmla="*/ 9821858 w 9821858"/>
              <a:gd name="connsiteY7" fmla="*/ 61711335 h 64832885"/>
              <a:gd name="connsiteX0" fmla="*/ 0 w 9821858"/>
              <a:gd name="connsiteY0" fmla="*/ 24974298 h 61358750"/>
              <a:gd name="connsiteX1" fmla="*/ 1221476 w 9821858"/>
              <a:gd name="connsiteY1" fmla="*/ 48474831 h 61358750"/>
              <a:gd name="connsiteX2" fmla="*/ 2577934 w 9821858"/>
              <a:gd name="connsiteY2" fmla="*/ 48258495 h 61358750"/>
              <a:gd name="connsiteX3" fmla="*/ 3946338 w 9821858"/>
              <a:gd name="connsiteY3" fmla="*/ 48259904 h 61358750"/>
              <a:gd name="connsiteX4" fmla="*/ 5366997 w 9821858"/>
              <a:gd name="connsiteY4" fmla="*/ 3834015 h 61358750"/>
              <a:gd name="connsiteX5" fmla="*/ 6689451 w 9821858"/>
              <a:gd name="connsiteY5" fmla="*/ 2389001 h 61358750"/>
              <a:gd name="connsiteX6" fmla="*/ 8435284 w 9821858"/>
              <a:gd name="connsiteY6" fmla="*/ 61347933 h 61358750"/>
              <a:gd name="connsiteX7" fmla="*/ 9821858 w 9821858"/>
              <a:gd name="connsiteY7" fmla="*/ 58237200 h 61358750"/>
              <a:gd name="connsiteX0" fmla="*/ 0 w 9821858"/>
              <a:gd name="connsiteY0" fmla="*/ 23762462 h 60146914"/>
              <a:gd name="connsiteX1" fmla="*/ 1221476 w 9821858"/>
              <a:gd name="connsiteY1" fmla="*/ 47262995 h 60146914"/>
              <a:gd name="connsiteX2" fmla="*/ 2577934 w 9821858"/>
              <a:gd name="connsiteY2" fmla="*/ 47046659 h 60146914"/>
              <a:gd name="connsiteX3" fmla="*/ 3946338 w 9821858"/>
              <a:gd name="connsiteY3" fmla="*/ 47048068 h 60146914"/>
              <a:gd name="connsiteX4" fmla="*/ 5366997 w 9821858"/>
              <a:gd name="connsiteY4" fmla="*/ 2622179 h 60146914"/>
              <a:gd name="connsiteX5" fmla="*/ 6689451 w 9821858"/>
              <a:gd name="connsiteY5" fmla="*/ 1177165 h 60146914"/>
              <a:gd name="connsiteX6" fmla="*/ 8435284 w 9821858"/>
              <a:gd name="connsiteY6" fmla="*/ 60136097 h 60146914"/>
              <a:gd name="connsiteX7" fmla="*/ 9821858 w 9821858"/>
              <a:gd name="connsiteY7" fmla="*/ 57025364 h 60146914"/>
              <a:gd name="connsiteX0" fmla="*/ 0 w 9821858"/>
              <a:gd name="connsiteY0" fmla="*/ 27850302 h 64234754"/>
              <a:gd name="connsiteX1" fmla="*/ 1221476 w 9821858"/>
              <a:gd name="connsiteY1" fmla="*/ 51350835 h 64234754"/>
              <a:gd name="connsiteX2" fmla="*/ 2577934 w 9821858"/>
              <a:gd name="connsiteY2" fmla="*/ 51134499 h 64234754"/>
              <a:gd name="connsiteX3" fmla="*/ 3946338 w 9821858"/>
              <a:gd name="connsiteY3" fmla="*/ 51135908 h 64234754"/>
              <a:gd name="connsiteX4" fmla="*/ 5366997 w 9821858"/>
              <a:gd name="connsiteY4" fmla="*/ 6149694 h 64234754"/>
              <a:gd name="connsiteX5" fmla="*/ 6689451 w 9821858"/>
              <a:gd name="connsiteY5" fmla="*/ 5265005 h 64234754"/>
              <a:gd name="connsiteX6" fmla="*/ 8435284 w 9821858"/>
              <a:gd name="connsiteY6" fmla="*/ 64223937 h 64234754"/>
              <a:gd name="connsiteX7" fmla="*/ 9821858 w 9821858"/>
              <a:gd name="connsiteY7" fmla="*/ 61113204 h 64234754"/>
              <a:gd name="connsiteX0" fmla="*/ 0 w 9821858"/>
              <a:gd name="connsiteY0" fmla="*/ 27184839 h 63569291"/>
              <a:gd name="connsiteX1" fmla="*/ 1221476 w 9821858"/>
              <a:gd name="connsiteY1" fmla="*/ 50685372 h 63569291"/>
              <a:gd name="connsiteX2" fmla="*/ 2577934 w 9821858"/>
              <a:gd name="connsiteY2" fmla="*/ 50469036 h 63569291"/>
              <a:gd name="connsiteX3" fmla="*/ 3946338 w 9821858"/>
              <a:gd name="connsiteY3" fmla="*/ 50470445 h 63569291"/>
              <a:gd name="connsiteX4" fmla="*/ 5366997 w 9821858"/>
              <a:gd name="connsiteY4" fmla="*/ 5484231 h 63569291"/>
              <a:gd name="connsiteX5" fmla="*/ 6689451 w 9821858"/>
              <a:gd name="connsiteY5" fmla="*/ 4599542 h 63569291"/>
              <a:gd name="connsiteX6" fmla="*/ 8435284 w 9821858"/>
              <a:gd name="connsiteY6" fmla="*/ 63558474 h 63569291"/>
              <a:gd name="connsiteX7" fmla="*/ 9821858 w 9821858"/>
              <a:gd name="connsiteY7" fmla="*/ 60447741 h 63569291"/>
              <a:gd name="connsiteX0" fmla="*/ 0 w 9821858"/>
              <a:gd name="connsiteY0" fmla="*/ 24709022 h 61093474"/>
              <a:gd name="connsiteX1" fmla="*/ 1221476 w 9821858"/>
              <a:gd name="connsiteY1" fmla="*/ 48209555 h 61093474"/>
              <a:gd name="connsiteX2" fmla="*/ 2577934 w 9821858"/>
              <a:gd name="connsiteY2" fmla="*/ 47993219 h 61093474"/>
              <a:gd name="connsiteX3" fmla="*/ 3946338 w 9821858"/>
              <a:gd name="connsiteY3" fmla="*/ 47994628 h 61093474"/>
              <a:gd name="connsiteX4" fmla="*/ 5366997 w 9821858"/>
              <a:gd name="connsiteY4" fmla="*/ 3008414 h 61093474"/>
              <a:gd name="connsiteX5" fmla="*/ 6689451 w 9821858"/>
              <a:gd name="connsiteY5" fmla="*/ 2123725 h 61093474"/>
              <a:gd name="connsiteX6" fmla="*/ 8435284 w 9821858"/>
              <a:gd name="connsiteY6" fmla="*/ 61082657 h 61093474"/>
              <a:gd name="connsiteX7" fmla="*/ 9821858 w 9821858"/>
              <a:gd name="connsiteY7" fmla="*/ 57971924 h 61093474"/>
              <a:gd name="connsiteX0" fmla="*/ 0 w 9821858"/>
              <a:gd name="connsiteY0" fmla="*/ 24524960 h 57787863"/>
              <a:gd name="connsiteX1" fmla="*/ 1221476 w 9821858"/>
              <a:gd name="connsiteY1" fmla="*/ 48025493 h 57787863"/>
              <a:gd name="connsiteX2" fmla="*/ 2577934 w 9821858"/>
              <a:gd name="connsiteY2" fmla="*/ 47809157 h 57787863"/>
              <a:gd name="connsiteX3" fmla="*/ 3946338 w 9821858"/>
              <a:gd name="connsiteY3" fmla="*/ 47810566 h 57787863"/>
              <a:gd name="connsiteX4" fmla="*/ 5366997 w 9821858"/>
              <a:gd name="connsiteY4" fmla="*/ 2824352 h 57787863"/>
              <a:gd name="connsiteX5" fmla="*/ 6689451 w 9821858"/>
              <a:gd name="connsiteY5" fmla="*/ 1939663 h 57787863"/>
              <a:gd name="connsiteX6" fmla="*/ 8093378 w 9821858"/>
              <a:gd name="connsiteY6" fmla="*/ 24758490 h 57787863"/>
              <a:gd name="connsiteX7" fmla="*/ 9821858 w 9821858"/>
              <a:gd name="connsiteY7" fmla="*/ 57787862 h 57787863"/>
              <a:gd name="connsiteX0" fmla="*/ 0 w 9432244"/>
              <a:gd name="connsiteY0" fmla="*/ 24524960 h 51134465"/>
              <a:gd name="connsiteX1" fmla="*/ 1221476 w 9432244"/>
              <a:gd name="connsiteY1" fmla="*/ 48025493 h 51134465"/>
              <a:gd name="connsiteX2" fmla="*/ 2577934 w 9432244"/>
              <a:gd name="connsiteY2" fmla="*/ 47809157 h 51134465"/>
              <a:gd name="connsiteX3" fmla="*/ 3946338 w 9432244"/>
              <a:gd name="connsiteY3" fmla="*/ 47810566 h 51134465"/>
              <a:gd name="connsiteX4" fmla="*/ 5366997 w 9432244"/>
              <a:gd name="connsiteY4" fmla="*/ 2824352 h 51134465"/>
              <a:gd name="connsiteX5" fmla="*/ 6689451 w 9432244"/>
              <a:gd name="connsiteY5" fmla="*/ 1939663 h 51134465"/>
              <a:gd name="connsiteX6" fmla="*/ 8093378 w 9432244"/>
              <a:gd name="connsiteY6" fmla="*/ 24758490 h 51134465"/>
              <a:gd name="connsiteX7" fmla="*/ 9432244 w 9432244"/>
              <a:gd name="connsiteY7" fmla="*/ 1756728 h 5113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32244" h="51134465">
                <a:moveTo>
                  <a:pt x="0" y="24524960"/>
                </a:moveTo>
                <a:cubicBezTo>
                  <a:pt x="396277" y="31256366"/>
                  <a:pt x="791820" y="44144794"/>
                  <a:pt x="1221476" y="48025493"/>
                </a:cubicBezTo>
                <a:cubicBezTo>
                  <a:pt x="1651132" y="51906192"/>
                  <a:pt x="2123790" y="47844978"/>
                  <a:pt x="2577934" y="47809157"/>
                </a:cubicBezTo>
                <a:cubicBezTo>
                  <a:pt x="3032078" y="47773336"/>
                  <a:pt x="3481494" y="55308033"/>
                  <a:pt x="3946338" y="47810566"/>
                </a:cubicBezTo>
                <a:cubicBezTo>
                  <a:pt x="4411182" y="40313099"/>
                  <a:pt x="4893910" y="5146550"/>
                  <a:pt x="5366997" y="2824352"/>
                </a:cubicBezTo>
                <a:cubicBezTo>
                  <a:pt x="5840084" y="502154"/>
                  <a:pt x="6235054" y="-1716027"/>
                  <a:pt x="6689451" y="1939663"/>
                </a:cubicBezTo>
                <a:cubicBezTo>
                  <a:pt x="7143848" y="5595353"/>
                  <a:pt x="7615012" y="24527068"/>
                  <a:pt x="8093378" y="24758490"/>
                </a:cubicBezTo>
                <a:cubicBezTo>
                  <a:pt x="8571744" y="24989912"/>
                  <a:pt x="9209288" y="1543633"/>
                  <a:pt x="9432244" y="1756728"/>
                </a:cubicBezTo>
              </a:path>
            </a:pathLst>
          </a:custGeom>
          <a:noFill/>
          <a:ln w="136525" cap="rnd">
            <a:solidFill>
              <a:srgbClr val="43B02A">
                <a:alpha val="50000"/>
              </a:srgbClr>
            </a:solidFill>
            <a:headEnd/>
            <a:tailEnd/>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2" name="Freeform: Shape 105">
            <a:extLst>
              <a:ext uri="{FF2B5EF4-FFF2-40B4-BE49-F238E27FC236}">
                <a16:creationId xmlns:a16="http://schemas.microsoft.com/office/drawing/2014/main" id="{F9FC5A1A-3ACF-439E-8FBE-0A2F98278E93}"/>
              </a:ext>
            </a:extLst>
          </p:cNvPr>
          <p:cNvSpPr/>
          <p:nvPr/>
        </p:nvSpPr>
        <p:spPr bwMode="auto">
          <a:xfrm flipV="1">
            <a:off x="1333829" y="3039598"/>
            <a:ext cx="9440194" cy="1014933"/>
          </a:xfrm>
          <a:custGeom>
            <a:avLst/>
            <a:gdLst>
              <a:gd name="connsiteX0" fmla="*/ 0 w 9668934"/>
              <a:gd name="connsiteY0" fmla="*/ 144247 h 1610861"/>
              <a:gd name="connsiteX1" fmla="*/ 1303867 w 9668934"/>
              <a:gd name="connsiteY1" fmla="*/ 1507380 h 1610861"/>
              <a:gd name="connsiteX2" fmla="*/ 2590800 w 9668934"/>
              <a:gd name="connsiteY2" fmla="*/ 1507380 h 1610861"/>
              <a:gd name="connsiteX3" fmla="*/ 3996267 w 9668934"/>
              <a:gd name="connsiteY3" fmla="*/ 1507380 h 1610861"/>
              <a:gd name="connsiteX4" fmla="*/ 5291667 w 9668934"/>
              <a:gd name="connsiteY4" fmla="*/ 110380 h 1610861"/>
              <a:gd name="connsiteX5" fmla="*/ 6798734 w 9668934"/>
              <a:gd name="connsiteY5" fmla="*/ 135780 h 1610861"/>
              <a:gd name="connsiteX6" fmla="*/ 8144934 w 9668934"/>
              <a:gd name="connsiteY6" fmla="*/ 93447 h 1610861"/>
              <a:gd name="connsiteX7" fmla="*/ 9668934 w 9668934"/>
              <a:gd name="connsiteY7" fmla="*/ 1524313 h 1610861"/>
              <a:gd name="connsiteX0" fmla="*/ 0 w 9668934"/>
              <a:gd name="connsiteY0" fmla="*/ 476398 h 1610861"/>
              <a:gd name="connsiteX1" fmla="*/ 1303867 w 9668934"/>
              <a:gd name="connsiteY1" fmla="*/ 1507380 h 1610861"/>
              <a:gd name="connsiteX2" fmla="*/ 2590800 w 9668934"/>
              <a:gd name="connsiteY2" fmla="*/ 1507380 h 1610861"/>
              <a:gd name="connsiteX3" fmla="*/ 3996267 w 9668934"/>
              <a:gd name="connsiteY3" fmla="*/ 1507380 h 1610861"/>
              <a:gd name="connsiteX4" fmla="*/ 5291667 w 9668934"/>
              <a:gd name="connsiteY4" fmla="*/ 110380 h 1610861"/>
              <a:gd name="connsiteX5" fmla="*/ 6798734 w 9668934"/>
              <a:gd name="connsiteY5" fmla="*/ 135780 h 1610861"/>
              <a:gd name="connsiteX6" fmla="*/ 8144934 w 9668934"/>
              <a:gd name="connsiteY6" fmla="*/ 93447 h 1610861"/>
              <a:gd name="connsiteX7" fmla="*/ 9668934 w 9668934"/>
              <a:gd name="connsiteY7" fmla="*/ 1524313 h 1610861"/>
              <a:gd name="connsiteX0" fmla="*/ 0 w 9668934"/>
              <a:gd name="connsiteY0" fmla="*/ 476398 h 1677770"/>
              <a:gd name="connsiteX1" fmla="*/ 1303867 w 9668934"/>
              <a:gd name="connsiteY1" fmla="*/ 178777 h 1677770"/>
              <a:gd name="connsiteX2" fmla="*/ 2590800 w 9668934"/>
              <a:gd name="connsiteY2" fmla="*/ 1507380 h 1677770"/>
              <a:gd name="connsiteX3" fmla="*/ 3996267 w 9668934"/>
              <a:gd name="connsiteY3" fmla="*/ 1507380 h 1677770"/>
              <a:gd name="connsiteX4" fmla="*/ 5291667 w 9668934"/>
              <a:gd name="connsiteY4" fmla="*/ 110380 h 1677770"/>
              <a:gd name="connsiteX5" fmla="*/ 6798734 w 9668934"/>
              <a:gd name="connsiteY5" fmla="*/ 135780 h 1677770"/>
              <a:gd name="connsiteX6" fmla="*/ 8144934 w 9668934"/>
              <a:gd name="connsiteY6" fmla="*/ 93447 h 1677770"/>
              <a:gd name="connsiteX7" fmla="*/ 9668934 w 9668934"/>
              <a:gd name="connsiteY7" fmla="*/ 1524313 h 1677770"/>
              <a:gd name="connsiteX0" fmla="*/ 0 w 9668934"/>
              <a:gd name="connsiteY0" fmla="*/ 476398 h 1524326"/>
              <a:gd name="connsiteX1" fmla="*/ 1303867 w 9668934"/>
              <a:gd name="connsiteY1" fmla="*/ 178777 h 1524326"/>
              <a:gd name="connsiteX2" fmla="*/ 2628508 w 9668934"/>
              <a:gd name="connsiteY2" fmla="*/ 510927 h 1524326"/>
              <a:gd name="connsiteX3" fmla="*/ 3996267 w 9668934"/>
              <a:gd name="connsiteY3" fmla="*/ 1507380 h 1524326"/>
              <a:gd name="connsiteX4" fmla="*/ 5291667 w 9668934"/>
              <a:gd name="connsiteY4" fmla="*/ 110380 h 1524326"/>
              <a:gd name="connsiteX5" fmla="*/ 6798734 w 9668934"/>
              <a:gd name="connsiteY5" fmla="*/ 135780 h 1524326"/>
              <a:gd name="connsiteX6" fmla="*/ 8144934 w 9668934"/>
              <a:gd name="connsiteY6" fmla="*/ 93447 h 1524326"/>
              <a:gd name="connsiteX7" fmla="*/ 9668934 w 9668934"/>
              <a:gd name="connsiteY7" fmla="*/ 1524313 h 1524326"/>
              <a:gd name="connsiteX0" fmla="*/ 0 w 9668934"/>
              <a:gd name="connsiteY0" fmla="*/ 476398 h 1524326"/>
              <a:gd name="connsiteX1" fmla="*/ 1303867 w 9668934"/>
              <a:gd name="connsiteY1" fmla="*/ 178777 h 1524326"/>
              <a:gd name="connsiteX2" fmla="*/ 2628508 w 9668934"/>
              <a:gd name="connsiteY2" fmla="*/ 510927 h 1524326"/>
              <a:gd name="connsiteX3" fmla="*/ 4033975 w 9668934"/>
              <a:gd name="connsiteY3" fmla="*/ 178812 h 1524326"/>
              <a:gd name="connsiteX4" fmla="*/ 5291667 w 9668934"/>
              <a:gd name="connsiteY4" fmla="*/ 110380 h 1524326"/>
              <a:gd name="connsiteX5" fmla="*/ 6798734 w 9668934"/>
              <a:gd name="connsiteY5" fmla="*/ 135780 h 1524326"/>
              <a:gd name="connsiteX6" fmla="*/ 8144934 w 9668934"/>
              <a:gd name="connsiteY6" fmla="*/ 93447 h 1524326"/>
              <a:gd name="connsiteX7" fmla="*/ 9668934 w 9668934"/>
              <a:gd name="connsiteY7" fmla="*/ 1524313 h 1524326"/>
              <a:gd name="connsiteX0" fmla="*/ 0 w 9668934"/>
              <a:gd name="connsiteY0" fmla="*/ 476398 h 668740"/>
              <a:gd name="connsiteX1" fmla="*/ 1303867 w 9668934"/>
              <a:gd name="connsiteY1" fmla="*/ 178777 h 668740"/>
              <a:gd name="connsiteX2" fmla="*/ 2628508 w 9668934"/>
              <a:gd name="connsiteY2" fmla="*/ 510927 h 668740"/>
              <a:gd name="connsiteX3" fmla="*/ 4033975 w 9668934"/>
              <a:gd name="connsiteY3" fmla="*/ 178812 h 668740"/>
              <a:gd name="connsiteX4" fmla="*/ 5291667 w 9668934"/>
              <a:gd name="connsiteY4" fmla="*/ 110380 h 668740"/>
              <a:gd name="connsiteX5" fmla="*/ 6798734 w 9668934"/>
              <a:gd name="connsiteY5" fmla="*/ 135780 h 668740"/>
              <a:gd name="connsiteX6" fmla="*/ 8144934 w 9668934"/>
              <a:gd name="connsiteY6" fmla="*/ 93447 h 668740"/>
              <a:gd name="connsiteX7" fmla="*/ 9668934 w 9668934"/>
              <a:gd name="connsiteY7" fmla="*/ 527910 h 668740"/>
              <a:gd name="connsiteX0" fmla="*/ 0 w 9668934"/>
              <a:gd name="connsiteY0" fmla="*/ 476398 h 668740"/>
              <a:gd name="connsiteX1" fmla="*/ 1303867 w 9668934"/>
              <a:gd name="connsiteY1" fmla="*/ 178777 h 668740"/>
              <a:gd name="connsiteX2" fmla="*/ 2628508 w 9668934"/>
              <a:gd name="connsiteY2" fmla="*/ 510927 h 668740"/>
              <a:gd name="connsiteX3" fmla="*/ 4033975 w 9668934"/>
              <a:gd name="connsiteY3" fmla="*/ 178812 h 668740"/>
              <a:gd name="connsiteX4" fmla="*/ 5291667 w 9668934"/>
              <a:gd name="connsiteY4" fmla="*/ 110380 h 668740"/>
              <a:gd name="connsiteX5" fmla="*/ 6798734 w 9668934"/>
              <a:gd name="connsiteY5" fmla="*/ 135780 h 668740"/>
              <a:gd name="connsiteX6" fmla="*/ 8144934 w 9668934"/>
              <a:gd name="connsiteY6" fmla="*/ 93447 h 668740"/>
              <a:gd name="connsiteX7" fmla="*/ 9668934 w 9668934"/>
              <a:gd name="connsiteY7" fmla="*/ 527910 h 668740"/>
              <a:gd name="connsiteX0" fmla="*/ 0 w 9668934"/>
              <a:gd name="connsiteY0" fmla="*/ 476398 h 860060"/>
              <a:gd name="connsiteX1" fmla="*/ 1303867 w 9668934"/>
              <a:gd name="connsiteY1" fmla="*/ 178777 h 860060"/>
              <a:gd name="connsiteX2" fmla="*/ 2628508 w 9668934"/>
              <a:gd name="connsiteY2" fmla="*/ 510927 h 860060"/>
              <a:gd name="connsiteX3" fmla="*/ 4033975 w 9668934"/>
              <a:gd name="connsiteY3" fmla="*/ 178812 h 860060"/>
              <a:gd name="connsiteX4" fmla="*/ 5291667 w 9668934"/>
              <a:gd name="connsiteY4" fmla="*/ 110380 h 860060"/>
              <a:gd name="connsiteX5" fmla="*/ 6798734 w 9668934"/>
              <a:gd name="connsiteY5" fmla="*/ 135780 h 860060"/>
              <a:gd name="connsiteX6" fmla="*/ 8144934 w 9668934"/>
              <a:gd name="connsiteY6" fmla="*/ 93447 h 860060"/>
              <a:gd name="connsiteX7" fmla="*/ 9668934 w 9668934"/>
              <a:gd name="connsiteY7" fmla="*/ 860060 h 860060"/>
              <a:gd name="connsiteX0" fmla="*/ 0 w 9530711"/>
              <a:gd name="connsiteY0" fmla="*/ 119313365 h 119315937"/>
              <a:gd name="connsiteX1" fmla="*/ 1165644 w 9530711"/>
              <a:gd name="connsiteY1" fmla="*/ 8126246 h 119315937"/>
              <a:gd name="connsiteX2" fmla="*/ 2490285 w 9530711"/>
              <a:gd name="connsiteY2" fmla="*/ 8458396 h 119315937"/>
              <a:gd name="connsiteX3" fmla="*/ 3895752 w 9530711"/>
              <a:gd name="connsiteY3" fmla="*/ 8126281 h 119315937"/>
              <a:gd name="connsiteX4" fmla="*/ 5153444 w 9530711"/>
              <a:gd name="connsiteY4" fmla="*/ 8057849 h 119315937"/>
              <a:gd name="connsiteX5" fmla="*/ 6660511 w 9530711"/>
              <a:gd name="connsiteY5" fmla="*/ 8083249 h 119315937"/>
              <a:gd name="connsiteX6" fmla="*/ 8006711 w 9530711"/>
              <a:gd name="connsiteY6" fmla="*/ 8040916 h 119315937"/>
              <a:gd name="connsiteX7" fmla="*/ 9530711 w 9530711"/>
              <a:gd name="connsiteY7" fmla="*/ 8807529 h 119315937"/>
              <a:gd name="connsiteX0" fmla="*/ 0 w 9530711"/>
              <a:gd name="connsiteY0" fmla="*/ 120694817 h 146380521"/>
              <a:gd name="connsiteX1" fmla="*/ 1325132 w 9530711"/>
              <a:gd name="connsiteY1" fmla="*/ 141376283 h 146380521"/>
              <a:gd name="connsiteX2" fmla="*/ 2490285 w 9530711"/>
              <a:gd name="connsiteY2" fmla="*/ 9839848 h 146380521"/>
              <a:gd name="connsiteX3" fmla="*/ 3895752 w 9530711"/>
              <a:gd name="connsiteY3" fmla="*/ 9507733 h 146380521"/>
              <a:gd name="connsiteX4" fmla="*/ 5153444 w 9530711"/>
              <a:gd name="connsiteY4" fmla="*/ 9439301 h 146380521"/>
              <a:gd name="connsiteX5" fmla="*/ 6660511 w 9530711"/>
              <a:gd name="connsiteY5" fmla="*/ 9464701 h 146380521"/>
              <a:gd name="connsiteX6" fmla="*/ 8006711 w 9530711"/>
              <a:gd name="connsiteY6" fmla="*/ 9422368 h 146380521"/>
              <a:gd name="connsiteX7" fmla="*/ 9530711 w 9530711"/>
              <a:gd name="connsiteY7" fmla="*/ 10188981 h 146380521"/>
              <a:gd name="connsiteX0" fmla="*/ 0 w 9530711"/>
              <a:gd name="connsiteY0" fmla="*/ 120694817 h 141550796"/>
              <a:gd name="connsiteX1" fmla="*/ 1325132 w 9530711"/>
              <a:gd name="connsiteY1" fmla="*/ 141376283 h 141550796"/>
              <a:gd name="connsiteX2" fmla="*/ 2490285 w 9530711"/>
              <a:gd name="connsiteY2" fmla="*/ 9839848 h 141550796"/>
              <a:gd name="connsiteX3" fmla="*/ 3895752 w 9530711"/>
              <a:gd name="connsiteY3" fmla="*/ 9507733 h 141550796"/>
              <a:gd name="connsiteX4" fmla="*/ 5153444 w 9530711"/>
              <a:gd name="connsiteY4" fmla="*/ 9439301 h 141550796"/>
              <a:gd name="connsiteX5" fmla="*/ 6660511 w 9530711"/>
              <a:gd name="connsiteY5" fmla="*/ 9464701 h 141550796"/>
              <a:gd name="connsiteX6" fmla="*/ 8006711 w 9530711"/>
              <a:gd name="connsiteY6" fmla="*/ 9422368 h 141550796"/>
              <a:gd name="connsiteX7" fmla="*/ 9530711 w 9530711"/>
              <a:gd name="connsiteY7" fmla="*/ 10188981 h 141550796"/>
              <a:gd name="connsiteX0" fmla="*/ 0 w 9530711"/>
              <a:gd name="connsiteY0" fmla="*/ 120694817 h 141550796"/>
              <a:gd name="connsiteX1" fmla="*/ 1282601 w 9530711"/>
              <a:gd name="connsiteY1" fmla="*/ 141376282 h 141550796"/>
              <a:gd name="connsiteX2" fmla="*/ 2490285 w 9530711"/>
              <a:gd name="connsiteY2" fmla="*/ 9839848 h 141550796"/>
              <a:gd name="connsiteX3" fmla="*/ 3895752 w 9530711"/>
              <a:gd name="connsiteY3" fmla="*/ 9507733 h 141550796"/>
              <a:gd name="connsiteX4" fmla="*/ 5153444 w 9530711"/>
              <a:gd name="connsiteY4" fmla="*/ 9439301 h 141550796"/>
              <a:gd name="connsiteX5" fmla="*/ 6660511 w 9530711"/>
              <a:gd name="connsiteY5" fmla="*/ 9464701 h 141550796"/>
              <a:gd name="connsiteX6" fmla="*/ 8006711 w 9530711"/>
              <a:gd name="connsiteY6" fmla="*/ 9422368 h 141550796"/>
              <a:gd name="connsiteX7" fmla="*/ 9530711 w 9530711"/>
              <a:gd name="connsiteY7" fmla="*/ 10188981 h 141550796"/>
              <a:gd name="connsiteX0" fmla="*/ 0 w 9530711"/>
              <a:gd name="connsiteY0" fmla="*/ 117254718 h 138577934"/>
              <a:gd name="connsiteX1" fmla="*/ 1282601 w 9530711"/>
              <a:gd name="connsiteY1" fmla="*/ 137936183 h 138577934"/>
              <a:gd name="connsiteX2" fmla="*/ 2575346 w 9530711"/>
              <a:gd name="connsiteY2" fmla="*/ 87693775 h 138577934"/>
              <a:gd name="connsiteX3" fmla="*/ 3895752 w 9530711"/>
              <a:gd name="connsiteY3" fmla="*/ 6067634 h 138577934"/>
              <a:gd name="connsiteX4" fmla="*/ 5153444 w 9530711"/>
              <a:gd name="connsiteY4" fmla="*/ 5999202 h 138577934"/>
              <a:gd name="connsiteX5" fmla="*/ 6660511 w 9530711"/>
              <a:gd name="connsiteY5" fmla="*/ 6024602 h 138577934"/>
              <a:gd name="connsiteX6" fmla="*/ 8006711 w 9530711"/>
              <a:gd name="connsiteY6" fmla="*/ 5982269 h 138577934"/>
              <a:gd name="connsiteX7" fmla="*/ 9530711 w 9530711"/>
              <a:gd name="connsiteY7" fmla="*/ 6748882 h 138577934"/>
              <a:gd name="connsiteX0" fmla="*/ 0 w 9530711"/>
              <a:gd name="connsiteY0" fmla="*/ 117254718 h 138577934"/>
              <a:gd name="connsiteX1" fmla="*/ 1282601 w 9530711"/>
              <a:gd name="connsiteY1" fmla="*/ 137936183 h 138577934"/>
              <a:gd name="connsiteX2" fmla="*/ 2575346 w 9530711"/>
              <a:gd name="connsiteY2" fmla="*/ 87693775 h 138577934"/>
              <a:gd name="connsiteX3" fmla="*/ 3895752 w 9530711"/>
              <a:gd name="connsiteY3" fmla="*/ 6067634 h 138577934"/>
              <a:gd name="connsiteX4" fmla="*/ 5153444 w 9530711"/>
              <a:gd name="connsiteY4" fmla="*/ 5999202 h 138577934"/>
              <a:gd name="connsiteX5" fmla="*/ 6660511 w 9530711"/>
              <a:gd name="connsiteY5" fmla="*/ 6024602 h 138577934"/>
              <a:gd name="connsiteX6" fmla="*/ 8006711 w 9530711"/>
              <a:gd name="connsiteY6" fmla="*/ 5982269 h 138577934"/>
              <a:gd name="connsiteX7" fmla="*/ 9530711 w 9530711"/>
              <a:gd name="connsiteY7" fmla="*/ 6748882 h 138577934"/>
              <a:gd name="connsiteX0" fmla="*/ 0 w 9530711"/>
              <a:gd name="connsiteY0" fmla="*/ 119363715 h 140046378"/>
              <a:gd name="connsiteX1" fmla="*/ 1282601 w 9530711"/>
              <a:gd name="connsiteY1" fmla="*/ 140045180 h 140046378"/>
              <a:gd name="connsiteX2" fmla="*/ 2554080 w 9530711"/>
              <a:gd name="connsiteY2" fmla="*/ 118274387 h 140046378"/>
              <a:gd name="connsiteX3" fmla="*/ 3895752 w 9530711"/>
              <a:gd name="connsiteY3" fmla="*/ 8176631 h 140046378"/>
              <a:gd name="connsiteX4" fmla="*/ 5153444 w 9530711"/>
              <a:gd name="connsiteY4" fmla="*/ 8108199 h 140046378"/>
              <a:gd name="connsiteX5" fmla="*/ 6660511 w 9530711"/>
              <a:gd name="connsiteY5" fmla="*/ 8133599 h 140046378"/>
              <a:gd name="connsiteX6" fmla="*/ 8006711 w 9530711"/>
              <a:gd name="connsiteY6" fmla="*/ 8091266 h 140046378"/>
              <a:gd name="connsiteX7" fmla="*/ 9530711 w 9530711"/>
              <a:gd name="connsiteY7" fmla="*/ 8857879 h 140046378"/>
              <a:gd name="connsiteX0" fmla="*/ 0 w 9530711"/>
              <a:gd name="connsiteY0" fmla="*/ 117328780 h 138011443"/>
              <a:gd name="connsiteX1" fmla="*/ 1282601 w 9530711"/>
              <a:gd name="connsiteY1" fmla="*/ 138010245 h 138011443"/>
              <a:gd name="connsiteX2" fmla="*/ 2554080 w 9530711"/>
              <a:gd name="connsiteY2" fmla="*/ 116239452 h 138011443"/>
              <a:gd name="connsiteX3" fmla="*/ 4012710 w 9530711"/>
              <a:gd name="connsiteY3" fmla="*/ 88184936 h 138011443"/>
              <a:gd name="connsiteX4" fmla="*/ 5153444 w 9530711"/>
              <a:gd name="connsiteY4" fmla="*/ 6073264 h 138011443"/>
              <a:gd name="connsiteX5" fmla="*/ 6660511 w 9530711"/>
              <a:gd name="connsiteY5" fmla="*/ 6098664 h 138011443"/>
              <a:gd name="connsiteX6" fmla="*/ 8006711 w 9530711"/>
              <a:gd name="connsiteY6" fmla="*/ 6056331 h 138011443"/>
              <a:gd name="connsiteX7" fmla="*/ 9530711 w 9530711"/>
              <a:gd name="connsiteY7" fmla="*/ 6822944 h 138011443"/>
              <a:gd name="connsiteX0" fmla="*/ 0 w 9530711"/>
              <a:gd name="connsiteY0" fmla="*/ 117328780 h 138011443"/>
              <a:gd name="connsiteX1" fmla="*/ 1282601 w 9530711"/>
              <a:gd name="connsiteY1" fmla="*/ 138010245 h 138011443"/>
              <a:gd name="connsiteX2" fmla="*/ 2554080 w 9530711"/>
              <a:gd name="connsiteY2" fmla="*/ 116239452 h 138011443"/>
              <a:gd name="connsiteX3" fmla="*/ 4012710 w 9530711"/>
              <a:gd name="connsiteY3" fmla="*/ 88184936 h 138011443"/>
              <a:gd name="connsiteX4" fmla="*/ 5153444 w 9530711"/>
              <a:gd name="connsiteY4" fmla="*/ 6073264 h 138011443"/>
              <a:gd name="connsiteX5" fmla="*/ 6660511 w 9530711"/>
              <a:gd name="connsiteY5" fmla="*/ 6098664 h 138011443"/>
              <a:gd name="connsiteX6" fmla="*/ 8006711 w 9530711"/>
              <a:gd name="connsiteY6" fmla="*/ 6056331 h 138011443"/>
              <a:gd name="connsiteX7" fmla="*/ 9530711 w 9530711"/>
              <a:gd name="connsiteY7" fmla="*/ 6822944 h 138011443"/>
              <a:gd name="connsiteX0" fmla="*/ 0 w 9530711"/>
              <a:gd name="connsiteY0" fmla="*/ 122684547 h 166934228"/>
              <a:gd name="connsiteX1" fmla="*/ 1282601 w 9530711"/>
              <a:gd name="connsiteY1" fmla="*/ 143366012 h 166934228"/>
              <a:gd name="connsiteX2" fmla="*/ 2554080 w 9530711"/>
              <a:gd name="connsiteY2" fmla="*/ 121595219 h 166934228"/>
              <a:gd name="connsiteX3" fmla="*/ 3917017 w 9530711"/>
              <a:gd name="connsiteY3" fmla="*/ 165843668 h 166934228"/>
              <a:gd name="connsiteX4" fmla="*/ 5153444 w 9530711"/>
              <a:gd name="connsiteY4" fmla="*/ 11429031 h 166934228"/>
              <a:gd name="connsiteX5" fmla="*/ 6660511 w 9530711"/>
              <a:gd name="connsiteY5" fmla="*/ 11454431 h 166934228"/>
              <a:gd name="connsiteX6" fmla="*/ 8006711 w 9530711"/>
              <a:gd name="connsiteY6" fmla="*/ 11412098 h 166934228"/>
              <a:gd name="connsiteX7" fmla="*/ 9530711 w 9530711"/>
              <a:gd name="connsiteY7" fmla="*/ 12178711 h 166934228"/>
              <a:gd name="connsiteX0" fmla="*/ 0 w 9530711"/>
              <a:gd name="connsiteY0" fmla="*/ 122684547 h 166934228"/>
              <a:gd name="connsiteX1" fmla="*/ 1282601 w 9530711"/>
              <a:gd name="connsiteY1" fmla="*/ 143366012 h 166934228"/>
              <a:gd name="connsiteX2" fmla="*/ 2554080 w 9530711"/>
              <a:gd name="connsiteY2" fmla="*/ 121595219 h 166934228"/>
              <a:gd name="connsiteX3" fmla="*/ 3917017 w 9530711"/>
              <a:gd name="connsiteY3" fmla="*/ 165843668 h 166934228"/>
              <a:gd name="connsiteX4" fmla="*/ 5153444 w 9530711"/>
              <a:gd name="connsiteY4" fmla="*/ 11429031 h 166934228"/>
              <a:gd name="connsiteX5" fmla="*/ 6660511 w 9530711"/>
              <a:gd name="connsiteY5" fmla="*/ 11454431 h 166934228"/>
              <a:gd name="connsiteX6" fmla="*/ 8006711 w 9530711"/>
              <a:gd name="connsiteY6" fmla="*/ 11412098 h 166934228"/>
              <a:gd name="connsiteX7" fmla="*/ 9530711 w 9530711"/>
              <a:gd name="connsiteY7" fmla="*/ 12178711 h 166934228"/>
              <a:gd name="connsiteX0" fmla="*/ 0 w 9530711"/>
              <a:gd name="connsiteY0" fmla="*/ 120951144 h 165401552"/>
              <a:gd name="connsiteX1" fmla="*/ 1282601 w 9530711"/>
              <a:gd name="connsiteY1" fmla="*/ 141632609 h 165401552"/>
              <a:gd name="connsiteX2" fmla="*/ 2554080 w 9530711"/>
              <a:gd name="connsiteY2" fmla="*/ 119861816 h 165401552"/>
              <a:gd name="connsiteX3" fmla="*/ 3917017 w 9530711"/>
              <a:gd name="connsiteY3" fmla="*/ 164110265 h 165401552"/>
              <a:gd name="connsiteX4" fmla="*/ 5334197 w 9530711"/>
              <a:gd name="connsiteY4" fmla="*/ 140065721 h 165401552"/>
              <a:gd name="connsiteX5" fmla="*/ 6660511 w 9530711"/>
              <a:gd name="connsiteY5" fmla="*/ 9721028 h 165401552"/>
              <a:gd name="connsiteX6" fmla="*/ 8006711 w 9530711"/>
              <a:gd name="connsiteY6" fmla="*/ 9678695 h 165401552"/>
              <a:gd name="connsiteX7" fmla="*/ 9530711 w 9530711"/>
              <a:gd name="connsiteY7" fmla="*/ 10445308 h 165401552"/>
              <a:gd name="connsiteX0" fmla="*/ 0 w 9530711"/>
              <a:gd name="connsiteY0" fmla="*/ 120951144 h 164551604"/>
              <a:gd name="connsiteX1" fmla="*/ 1282601 w 9530711"/>
              <a:gd name="connsiteY1" fmla="*/ 141632609 h 164551604"/>
              <a:gd name="connsiteX2" fmla="*/ 2554080 w 9530711"/>
              <a:gd name="connsiteY2" fmla="*/ 119861816 h 164551604"/>
              <a:gd name="connsiteX3" fmla="*/ 3917017 w 9530711"/>
              <a:gd name="connsiteY3" fmla="*/ 164110265 h 164551604"/>
              <a:gd name="connsiteX4" fmla="*/ 5334197 w 9530711"/>
              <a:gd name="connsiteY4" fmla="*/ 140065721 h 164551604"/>
              <a:gd name="connsiteX5" fmla="*/ 6660511 w 9530711"/>
              <a:gd name="connsiteY5" fmla="*/ 9721028 h 164551604"/>
              <a:gd name="connsiteX6" fmla="*/ 8006711 w 9530711"/>
              <a:gd name="connsiteY6" fmla="*/ 9678695 h 164551604"/>
              <a:gd name="connsiteX7" fmla="*/ 9530711 w 9530711"/>
              <a:gd name="connsiteY7" fmla="*/ 10445308 h 164551604"/>
              <a:gd name="connsiteX0" fmla="*/ 0 w 9530711"/>
              <a:gd name="connsiteY0" fmla="*/ 111273126 h 154911744"/>
              <a:gd name="connsiteX1" fmla="*/ 1282601 w 9530711"/>
              <a:gd name="connsiteY1" fmla="*/ 131954591 h 154911744"/>
              <a:gd name="connsiteX2" fmla="*/ 2554080 w 9530711"/>
              <a:gd name="connsiteY2" fmla="*/ 110183798 h 154911744"/>
              <a:gd name="connsiteX3" fmla="*/ 3917017 w 9530711"/>
              <a:gd name="connsiteY3" fmla="*/ 154432247 h 154911744"/>
              <a:gd name="connsiteX4" fmla="*/ 5334197 w 9530711"/>
              <a:gd name="connsiteY4" fmla="*/ 130387703 h 154911744"/>
              <a:gd name="connsiteX5" fmla="*/ 6777469 w 9530711"/>
              <a:gd name="connsiteY5" fmla="*/ 80213120 h 154911744"/>
              <a:gd name="connsiteX6" fmla="*/ 8006711 w 9530711"/>
              <a:gd name="connsiteY6" fmla="*/ 677 h 154911744"/>
              <a:gd name="connsiteX7" fmla="*/ 9530711 w 9530711"/>
              <a:gd name="connsiteY7" fmla="*/ 767290 h 154911744"/>
              <a:gd name="connsiteX0" fmla="*/ 0 w 9530711"/>
              <a:gd name="connsiteY0" fmla="*/ 111272985 h 154911603"/>
              <a:gd name="connsiteX1" fmla="*/ 1282601 w 9530711"/>
              <a:gd name="connsiteY1" fmla="*/ 131954450 h 154911603"/>
              <a:gd name="connsiteX2" fmla="*/ 2554080 w 9530711"/>
              <a:gd name="connsiteY2" fmla="*/ 110183657 h 154911603"/>
              <a:gd name="connsiteX3" fmla="*/ 3917017 w 9530711"/>
              <a:gd name="connsiteY3" fmla="*/ 154432106 h 154911603"/>
              <a:gd name="connsiteX4" fmla="*/ 5334197 w 9530711"/>
              <a:gd name="connsiteY4" fmla="*/ 130387562 h 154911603"/>
              <a:gd name="connsiteX5" fmla="*/ 6777469 w 9530711"/>
              <a:gd name="connsiteY5" fmla="*/ 80212979 h 154911603"/>
              <a:gd name="connsiteX6" fmla="*/ 8006711 w 9530711"/>
              <a:gd name="connsiteY6" fmla="*/ 536 h 154911603"/>
              <a:gd name="connsiteX7" fmla="*/ 9530711 w 9530711"/>
              <a:gd name="connsiteY7" fmla="*/ 767149 h 154911603"/>
              <a:gd name="connsiteX0" fmla="*/ 0 w 9530711"/>
              <a:gd name="connsiteY0" fmla="*/ 111272844 h 154804034"/>
              <a:gd name="connsiteX1" fmla="*/ 1282601 w 9530711"/>
              <a:gd name="connsiteY1" fmla="*/ 131954309 h 154804034"/>
              <a:gd name="connsiteX2" fmla="*/ 2554080 w 9530711"/>
              <a:gd name="connsiteY2" fmla="*/ 110183516 h 154804034"/>
              <a:gd name="connsiteX3" fmla="*/ 3917017 w 9530711"/>
              <a:gd name="connsiteY3" fmla="*/ 154431965 h 154804034"/>
              <a:gd name="connsiteX4" fmla="*/ 5334197 w 9530711"/>
              <a:gd name="connsiteY4" fmla="*/ 130387421 h 154804034"/>
              <a:gd name="connsiteX5" fmla="*/ 6586083 w 9530711"/>
              <a:gd name="connsiteY5" fmla="*/ 112430735 h 154804034"/>
              <a:gd name="connsiteX6" fmla="*/ 8006711 w 9530711"/>
              <a:gd name="connsiteY6" fmla="*/ 395 h 154804034"/>
              <a:gd name="connsiteX7" fmla="*/ 9530711 w 9530711"/>
              <a:gd name="connsiteY7" fmla="*/ 767008 h 154804034"/>
              <a:gd name="connsiteX0" fmla="*/ 0 w 9530711"/>
              <a:gd name="connsiteY0" fmla="*/ 110506154 h 154037344"/>
              <a:gd name="connsiteX1" fmla="*/ 1282601 w 9530711"/>
              <a:gd name="connsiteY1" fmla="*/ 131187619 h 154037344"/>
              <a:gd name="connsiteX2" fmla="*/ 2554080 w 9530711"/>
              <a:gd name="connsiteY2" fmla="*/ 109416826 h 154037344"/>
              <a:gd name="connsiteX3" fmla="*/ 3917017 w 9530711"/>
              <a:gd name="connsiteY3" fmla="*/ 153665275 h 154037344"/>
              <a:gd name="connsiteX4" fmla="*/ 5334197 w 9530711"/>
              <a:gd name="connsiteY4" fmla="*/ 129620731 h 154037344"/>
              <a:gd name="connsiteX5" fmla="*/ 6586083 w 9530711"/>
              <a:gd name="connsiteY5" fmla="*/ 111664045 h 154037344"/>
              <a:gd name="connsiteX6" fmla="*/ 8017343 w 9530711"/>
              <a:gd name="connsiteY6" fmla="*/ 109373946 h 154037344"/>
              <a:gd name="connsiteX7" fmla="*/ 9530711 w 9530711"/>
              <a:gd name="connsiteY7" fmla="*/ 318 h 154037344"/>
              <a:gd name="connsiteX0" fmla="*/ 0 w 9573241"/>
              <a:gd name="connsiteY0" fmla="*/ 1467248 h 44998438"/>
              <a:gd name="connsiteX1" fmla="*/ 1282601 w 9573241"/>
              <a:gd name="connsiteY1" fmla="*/ 22148713 h 44998438"/>
              <a:gd name="connsiteX2" fmla="*/ 2554080 w 9573241"/>
              <a:gd name="connsiteY2" fmla="*/ 377920 h 44998438"/>
              <a:gd name="connsiteX3" fmla="*/ 3917017 w 9573241"/>
              <a:gd name="connsiteY3" fmla="*/ 44626369 h 44998438"/>
              <a:gd name="connsiteX4" fmla="*/ 5334197 w 9573241"/>
              <a:gd name="connsiteY4" fmla="*/ 20581825 h 44998438"/>
              <a:gd name="connsiteX5" fmla="*/ 6586083 w 9573241"/>
              <a:gd name="connsiteY5" fmla="*/ 2625139 h 44998438"/>
              <a:gd name="connsiteX6" fmla="*/ 8017343 w 9573241"/>
              <a:gd name="connsiteY6" fmla="*/ 335040 h 44998438"/>
              <a:gd name="connsiteX7" fmla="*/ 9573241 w 9573241"/>
              <a:gd name="connsiteY7" fmla="*/ 18334499 h 44998438"/>
              <a:gd name="connsiteX0" fmla="*/ 0 w 9392487"/>
              <a:gd name="connsiteY0" fmla="*/ 1467248 h 44998438"/>
              <a:gd name="connsiteX1" fmla="*/ 1282601 w 9392487"/>
              <a:gd name="connsiteY1" fmla="*/ 22148713 h 44998438"/>
              <a:gd name="connsiteX2" fmla="*/ 2554080 w 9392487"/>
              <a:gd name="connsiteY2" fmla="*/ 377920 h 44998438"/>
              <a:gd name="connsiteX3" fmla="*/ 3917017 w 9392487"/>
              <a:gd name="connsiteY3" fmla="*/ 44626369 h 44998438"/>
              <a:gd name="connsiteX4" fmla="*/ 5334197 w 9392487"/>
              <a:gd name="connsiteY4" fmla="*/ 20581825 h 44998438"/>
              <a:gd name="connsiteX5" fmla="*/ 6586083 w 9392487"/>
              <a:gd name="connsiteY5" fmla="*/ 2625139 h 44998438"/>
              <a:gd name="connsiteX6" fmla="*/ 8017343 w 9392487"/>
              <a:gd name="connsiteY6" fmla="*/ 335040 h 44998438"/>
              <a:gd name="connsiteX7" fmla="*/ 9392487 w 9392487"/>
              <a:gd name="connsiteY7" fmla="*/ 4473334 h 44998438"/>
              <a:gd name="connsiteX0" fmla="*/ 0 w 9392487"/>
              <a:gd name="connsiteY0" fmla="*/ 3067643 h 46598833"/>
              <a:gd name="connsiteX1" fmla="*/ 1316891 w 9392487"/>
              <a:gd name="connsiteY1" fmla="*/ 7237435 h 46598833"/>
              <a:gd name="connsiteX2" fmla="*/ 2554080 w 9392487"/>
              <a:gd name="connsiteY2" fmla="*/ 1978315 h 46598833"/>
              <a:gd name="connsiteX3" fmla="*/ 3917017 w 9392487"/>
              <a:gd name="connsiteY3" fmla="*/ 46226764 h 46598833"/>
              <a:gd name="connsiteX4" fmla="*/ 5334197 w 9392487"/>
              <a:gd name="connsiteY4" fmla="*/ 22182220 h 46598833"/>
              <a:gd name="connsiteX5" fmla="*/ 6586083 w 9392487"/>
              <a:gd name="connsiteY5" fmla="*/ 4225534 h 46598833"/>
              <a:gd name="connsiteX6" fmla="*/ 8017343 w 9392487"/>
              <a:gd name="connsiteY6" fmla="*/ 1935435 h 46598833"/>
              <a:gd name="connsiteX7" fmla="*/ 9392487 w 9392487"/>
              <a:gd name="connsiteY7" fmla="*/ 6073729 h 46598833"/>
              <a:gd name="connsiteX0" fmla="*/ 0 w 9392487"/>
              <a:gd name="connsiteY0" fmla="*/ 1399211 h 20591232"/>
              <a:gd name="connsiteX1" fmla="*/ 1316891 w 9392487"/>
              <a:gd name="connsiteY1" fmla="*/ 5569003 h 20591232"/>
              <a:gd name="connsiteX2" fmla="*/ 2554080 w 9392487"/>
              <a:gd name="connsiteY2" fmla="*/ 309883 h 20591232"/>
              <a:gd name="connsiteX3" fmla="*/ 4065607 w 9392487"/>
              <a:gd name="connsiteY3" fmla="*/ 8715920 h 20591232"/>
              <a:gd name="connsiteX4" fmla="*/ 5334197 w 9392487"/>
              <a:gd name="connsiteY4" fmla="*/ 20513788 h 20591232"/>
              <a:gd name="connsiteX5" fmla="*/ 6586083 w 9392487"/>
              <a:gd name="connsiteY5" fmla="*/ 2557102 h 20591232"/>
              <a:gd name="connsiteX6" fmla="*/ 8017343 w 9392487"/>
              <a:gd name="connsiteY6" fmla="*/ 267003 h 20591232"/>
              <a:gd name="connsiteX7" fmla="*/ 9392487 w 9392487"/>
              <a:gd name="connsiteY7" fmla="*/ 4405297 h 20591232"/>
              <a:gd name="connsiteX0" fmla="*/ 0 w 9392487"/>
              <a:gd name="connsiteY0" fmla="*/ 1163214 h 9458018"/>
              <a:gd name="connsiteX1" fmla="*/ 1316891 w 9392487"/>
              <a:gd name="connsiteY1" fmla="*/ 5333006 h 9458018"/>
              <a:gd name="connsiteX2" fmla="*/ 2554080 w 9392487"/>
              <a:gd name="connsiteY2" fmla="*/ 73886 h 9458018"/>
              <a:gd name="connsiteX3" fmla="*/ 4065607 w 9392487"/>
              <a:gd name="connsiteY3" fmla="*/ 8479923 h 9458018"/>
              <a:gd name="connsiteX4" fmla="*/ 5311337 w 9392487"/>
              <a:gd name="connsiteY4" fmla="*/ 8598803 h 9458018"/>
              <a:gd name="connsiteX5" fmla="*/ 6586083 w 9392487"/>
              <a:gd name="connsiteY5" fmla="*/ 2321105 h 9458018"/>
              <a:gd name="connsiteX6" fmla="*/ 8017343 w 9392487"/>
              <a:gd name="connsiteY6" fmla="*/ 31006 h 9458018"/>
              <a:gd name="connsiteX7" fmla="*/ 9392487 w 9392487"/>
              <a:gd name="connsiteY7" fmla="*/ 4169300 h 9458018"/>
              <a:gd name="connsiteX0" fmla="*/ 0 w 9392487"/>
              <a:gd name="connsiteY0" fmla="*/ 1138797 h 9175970"/>
              <a:gd name="connsiteX1" fmla="*/ 1316891 w 9392487"/>
              <a:gd name="connsiteY1" fmla="*/ 5308589 h 9175970"/>
              <a:gd name="connsiteX2" fmla="*/ 2554080 w 9392487"/>
              <a:gd name="connsiteY2" fmla="*/ 49469 h 9175970"/>
              <a:gd name="connsiteX3" fmla="*/ 4065607 w 9392487"/>
              <a:gd name="connsiteY3" fmla="*/ 8455506 h 9175970"/>
              <a:gd name="connsiteX4" fmla="*/ 5311337 w 9392487"/>
              <a:gd name="connsiteY4" fmla="*/ 8574386 h 9175970"/>
              <a:gd name="connsiteX5" fmla="*/ 6586083 w 9392487"/>
              <a:gd name="connsiteY5" fmla="*/ 7129373 h 9175970"/>
              <a:gd name="connsiteX6" fmla="*/ 8017343 w 9392487"/>
              <a:gd name="connsiteY6" fmla="*/ 6589 h 9175970"/>
              <a:gd name="connsiteX7" fmla="*/ 9392487 w 9392487"/>
              <a:gd name="connsiteY7" fmla="*/ 4144883 h 9175970"/>
              <a:gd name="connsiteX0" fmla="*/ 0 w 9392487"/>
              <a:gd name="connsiteY0" fmla="*/ 1123964 h 9161137"/>
              <a:gd name="connsiteX1" fmla="*/ 1316891 w 9392487"/>
              <a:gd name="connsiteY1" fmla="*/ 5293756 h 9161137"/>
              <a:gd name="connsiteX2" fmla="*/ 2554080 w 9392487"/>
              <a:gd name="connsiteY2" fmla="*/ 34636 h 9161137"/>
              <a:gd name="connsiteX3" fmla="*/ 4065607 w 9392487"/>
              <a:gd name="connsiteY3" fmla="*/ 8440673 h 9161137"/>
              <a:gd name="connsiteX4" fmla="*/ 5311337 w 9392487"/>
              <a:gd name="connsiteY4" fmla="*/ 8559553 h 9161137"/>
              <a:gd name="connsiteX5" fmla="*/ 6586083 w 9392487"/>
              <a:gd name="connsiteY5" fmla="*/ 7114540 h 9161137"/>
              <a:gd name="connsiteX6" fmla="*/ 8005913 w 9392487"/>
              <a:gd name="connsiteY6" fmla="*/ 7240783 h 9161137"/>
              <a:gd name="connsiteX7" fmla="*/ 9392487 w 9392487"/>
              <a:gd name="connsiteY7" fmla="*/ 4130050 h 9161137"/>
              <a:gd name="connsiteX0" fmla="*/ 0 w 9495854"/>
              <a:gd name="connsiteY0" fmla="*/ 110852192 h 110855046"/>
              <a:gd name="connsiteX1" fmla="*/ 1420258 w 9495854"/>
              <a:gd name="connsiteY1" fmla="*/ 9683480 h 110855046"/>
              <a:gd name="connsiteX2" fmla="*/ 2657447 w 9495854"/>
              <a:gd name="connsiteY2" fmla="*/ 4424360 h 110855046"/>
              <a:gd name="connsiteX3" fmla="*/ 4168974 w 9495854"/>
              <a:gd name="connsiteY3" fmla="*/ 12830397 h 110855046"/>
              <a:gd name="connsiteX4" fmla="*/ 5414704 w 9495854"/>
              <a:gd name="connsiteY4" fmla="*/ 12949277 h 110855046"/>
              <a:gd name="connsiteX5" fmla="*/ 6689450 w 9495854"/>
              <a:gd name="connsiteY5" fmla="*/ 11504264 h 110855046"/>
              <a:gd name="connsiteX6" fmla="*/ 8109280 w 9495854"/>
              <a:gd name="connsiteY6" fmla="*/ 11630507 h 110855046"/>
              <a:gd name="connsiteX7" fmla="*/ 9495854 w 9495854"/>
              <a:gd name="connsiteY7" fmla="*/ 8519774 h 110855046"/>
              <a:gd name="connsiteX0" fmla="*/ 0 w 9495854"/>
              <a:gd name="connsiteY0" fmla="*/ 110852192 h 110852192"/>
              <a:gd name="connsiteX1" fmla="*/ 1420258 w 9495854"/>
              <a:gd name="connsiteY1" fmla="*/ 9683480 h 110852192"/>
              <a:gd name="connsiteX2" fmla="*/ 2657447 w 9495854"/>
              <a:gd name="connsiteY2" fmla="*/ 4424360 h 110852192"/>
              <a:gd name="connsiteX3" fmla="*/ 4168974 w 9495854"/>
              <a:gd name="connsiteY3" fmla="*/ 12830397 h 110852192"/>
              <a:gd name="connsiteX4" fmla="*/ 5414704 w 9495854"/>
              <a:gd name="connsiteY4" fmla="*/ 12949277 h 110852192"/>
              <a:gd name="connsiteX5" fmla="*/ 6689450 w 9495854"/>
              <a:gd name="connsiteY5" fmla="*/ 11504264 h 110852192"/>
              <a:gd name="connsiteX6" fmla="*/ 8109280 w 9495854"/>
              <a:gd name="connsiteY6" fmla="*/ 11630507 h 110852192"/>
              <a:gd name="connsiteX7" fmla="*/ 9495854 w 9495854"/>
              <a:gd name="connsiteY7" fmla="*/ 8519774 h 110852192"/>
              <a:gd name="connsiteX0" fmla="*/ 0 w 9495854"/>
              <a:gd name="connsiteY0" fmla="*/ 110847189 h 110847189"/>
              <a:gd name="connsiteX1" fmla="*/ 1221476 w 9495854"/>
              <a:gd name="connsiteY1" fmla="*/ 91483929 h 110847189"/>
              <a:gd name="connsiteX2" fmla="*/ 2657447 w 9495854"/>
              <a:gd name="connsiteY2" fmla="*/ 4419357 h 110847189"/>
              <a:gd name="connsiteX3" fmla="*/ 4168974 w 9495854"/>
              <a:gd name="connsiteY3" fmla="*/ 12825394 h 110847189"/>
              <a:gd name="connsiteX4" fmla="*/ 5414704 w 9495854"/>
              <a:gd name="connsiteY4" fmla="*/ 12944274 h 110847189"/>
              <a:gd name="connsiteX5" fmla="*/ 6689450 w 9495854"/>
              <a:gd name="connsiteY5" fmla="*/ 11499261 h 110847189"/>
              <a:gd name="connsiteX6" fmla="*/ 8109280 w 9495854"/>
              <a:gd name="connsiteY6" fmla="*/ 11625504 h 110847189"/>
              <a:gd name="connsiteX7" fmla="*/ 9495854 w 9495854"/>
              <a:gd name="connsiteY7" fmla="*/ 8514771 h 110847189"/>
              <a:gd name="connsiteX0" fmla="*/ 0 w 9495854"/>
              <a:gd name="connsiteY0" fmla="*/ 110847189 h 110847189"/>
              <a:gd name="connsiteX1" fmla="*/ 1221476 w 9495854"/>
              <a:gd name="connsiteY1" fmla="*/ 91483929 h 110847189"/>
              <a:gd name="connsiteX2" fmla="*/ 2657447 w 9495854"/>
              <a:gd name="connsiteY2" fmla="*/ 4419357 h 110847189"/>
              <a:gd name="connsiteX3" fmla="*/ 4168974 w 9495854"/>
              <a:gd name="connsiteY3" fmla="*/ 12825394 h 110847189"/>
              <a:gd name="connsiteX4" fmla="*/ 5414704 w 9495854"/>
              <a:gd name="connsiteY4" fmla="*/ 12944274 h 110847189"/>
              <a:gd name="connsiteX5" fmla="*/ 6689450 w 9495854"/>
              <a:gd name="connsiteY5" fmla="*/ 11499261 h 110847189"/>
              <a:gd name="connsiteX6" fmla="*/ 8109280 w 9495854"/>
              <a:gd name="connsiteY6" fmla="*/ 11625504 h 110847189"/>
              <a:gd name="connsiteX7" fmla="*/ 9495854 w 9495854"/>
              <a:gd name="connsiteY7" fmla="*/ 8514771 h 110847189"/>
              <a:gd name="connsiteX0" fmla="*/ 0 w 9495854"/>
              <a:gd name="connsiteY0" fmla="*/ 110847189 h 110847189"/>
              <a:gd name="connsiteX1" fmla="*/ 1221476 w 9495854"/>
              <a:gd name="connsiteY1" fmla="*/ 91483929 h 110847189"/>
              <a:gd name="connsiteX2" fmla="*/ 2657447 w 9495854"/>
              <a:gd name="connsiteY2" fmla="*/ 4419357 h 110847189"/>
              <a:gd name="connsiteX3" fmla="*/ 4168974 w 9495854"/>
              <a:gd name="connsiteY3" fmla="*/ 12825394 h 110847189"/>
              <a:gd name="connsiteX4" fmla="*/ 5414704 w 9495854"/>
              <a:gd name="connsiteY4" fmla="*/ 12944274 h 110847189"/>
              <a:gd name="connsiteX5" fmla="*/ 6689450 w 9495854"/>
              <a:gd name="connsiteY5" fmla="*/ 11499261 h 110847189"/>
              <a:gd name="connsiteX6" fmla="*/ 8109280 w 9495854"/>
              <a:gd name="connsiteY6" fmla="*/ 11625504 h 110847189"/>
              <a:gd name="connsiteX7" fmla="*/ 9495854 w 9495854"/>
              <a:gd name="connsiteY7" fmla="*/ 8514771 h 110847189"/>
              <a:gd name="connsiteX0" fmla="*/ 0 w 9495854"/>
              <a:gd name="connsiteY0" fmla="*/ 110847189 h 110847189"/>
              <a:gd name="connsiteX1" fmla="*/ 1221476 w 9495854"/>
              <a:gd name="connsiteY1" fmla="*/ 91483929 h 110847189"/>
              <a:gd name="connsiteX2" fmla="*/ 2657447 w 9495854"/>
              <a:gd name="connsiteY2" fmla="*/ 4419357 h 110847189"/>
              <a:gd name="connsiteX3" fmla="*/ 4168974 w 9495854"/>
              <a:gd name="connsiteY3" fmla="*/ 12825394 h 110847189"/>
              <a:gd name="connsiteX4" fmla="*/ 5414704 w 9495854"/>
              <a:gd name="connsiteY4" fmla="*/ 12944274 h 110847189"/>
              <a:gd name="connsiteX5" fmla="*/ 6689450 w 9495854"/>
              <a:gd name="connsiteY5" fmla="*/ 11499261 h 110847189"/>
              <a:gd name="connsiteX6" fmla="*/ 8109280 w 9495854"/>
              <a:gd name="connsiteY6" fmla="*/ 11625504 h 110847189"/>
              <a:gd name="connsiteX7" fmla="*/ 9495854 w 9495854"/>
              <a:gd name="connsiteY7" fmla="*/ 8514771 h 110847189"/>
              <a:gd name="connsiteX0" fmla="*/ 0 w 9495854"/>
              <a:gd name="connsiteY0" fmla="*/ 105113960 h 107213162"/>
              <a:gd name="connsiteX1" fmla="*/ 1221476 w 9495854"/>
              <a:gd name="connsiteY1" fmla="*/ 85750700 h 107213162"/>
              <a:gd name="connsiteX2" fmla="*/ 2490470 w 9495854"/>
              <a:gd name="connsiteY2" fmla="*/ 104024668 h 107213162"/>
              <a:gd name="connsiteX3" fmla="*/ 4168974 w 9495854"/>
              <a:gd name="connsiteY3" fmla="*/ 7092165 h 107213162"/>
              <a:gd name="connsiteX4" fmla="*/ 5414704 w 9495854"/>
              <a:gd name="connsiteY4" fmla="*/ 7211045 h 107213162"/>
              <a:gd name="connsiteX5" fmla="*/ 6689450 w 9495854"/>
              <a:gd name="connsiteY5" fmla="*/ 5766032 h 107213162"/>
              <a:gd name="connsiteX6" fmla="*/ 8109280 w 9495854"/>
              <a:gd name="connsiteY6" fmla="*/ 5892275 h 107213162"/>
              <a:gd name="connsiteX7" fmla="*/ 9495854 w 9495854"/>
              <a:gd name="connsiteY7" fmla="*/ 2781542 h 107213162"/>
              <a:gd name="connsiteX0" fmla="*/ 0 w 9495854"/>
              <a:gd name="connsiteY0" fmla="*/ 105113960 h 105113960"/>
              <a:gd name="connsiteX1" fmla="*/ 1221476 w 9495854"/>
              <a:gd name="connsiteY1" fmla="*/ 85750700 h 105113960"/>
              <a:gd name="connsiteX2" fmla="*/ 2490470 w 9495854"/>
              <a:gd name="connsiteY2" fmla="*/ 104024668 h 105113960"/>
              <a:gd name="connsiteX3" fmla="*/ 4168974 w 9495854"/>
              <a:gd name="connsiteY3" fmla="*/ 7092165 h 105113960"/>
              <a:gd name="connsiteX4" fmla="*/ 5414704 w 9495854"/>
              <a:gd name="connsiteY4" fmla="*/ 7211045 h 105113960"/>
              <a:gd name="connsiteX5" fmla="*/ 6689450 w 9495854"/>
              <a:gd name="connsiteY5" fmla="*/ 5766032 h 105113960"/>
              <a:gd name="connsiteX6" fmla="*/ 8109280 w 9495854"/>
              <a:gd name="connsiteY6" fmla="*/ 5892275 h 105113960"/>
              <a:gd name="connsiteX7" fmla="*/ 9495854 w 9495854"/>
              <a:gd name="connsiteY7" fmla="*/ 2781542 h 105113960"/>
              <a:gd name="connsiteX0" fmla="*/ 0 w 9495854"/>
              <a:gd name="connsiteY0" fmla="*/ 104363795 h 104363795"/>
              <a:gd name="connsiteX1" fmla="*/ 1221476 w 9495854"/>
              <a:gd name="connsiteY1" fmla="*/ 85000535 h 104363795"/>
              <a:gd name="connsiteX2" fmla="*/ 2490470 w 9495854"/>
              <a:gd name="connsiteY2" fmla="*/ 103274503 h 104363795"/>
              <a:gd name="connsiteX3" fmla="*/ 4009948 w 9495854"/>
              <a:gd name="connsiteY3" fmla="*/ 87587128 h 104363795"/>
              <a:gd name="connsiteX4" fmla="*/ 5414704 w 9495854"/>
              <a:gd name="connsiteY4" fmla="*/ 6460880 h 104363795"/>
              <a:gd name="connsiteX5" fmla="*/ 6689450 w 9495854"/>
              <a:gd name="connsiteY5" fmla="*/ 5015867 h 104363795"/>
              <a:gd name="connsiteX6" fmla="*/ 8109280 w 9495854"/>
              <a:gd name="connsiteY6" fmla="*/ 5142110 h 104363795"/>
              <a:gd name="connsiteX7" fmla="*/ 9495854 w 9495854"/>
              <a:gd name="connsiteY7" fmla="*/ 2031377 h 104363795"/>
              <a:gd name="connsiteX0" fmla="*/ 0 w 9495854"/>
              <a:gd name="connsiteY0" fmla="*/ 106620528 h 125663018"/>
              <a:gd name="connsiteX1" fmla="*/ 1221476 w 9495854"/>
              <a:gd name="connsiteY1" fmla="*/ 87257268 h 125663018"/>
              <a:gd name="connsiteX2" fmla="*/ 2490470 w 9495854"/>
              <a:gd name="connsiteY2" fmla="*/ 105531236 h 125663018"/>
              <a:gd name="connsiteX3" fmla="*/ 3946337 w 9495854"/>
              <a:gd name="connsiteY3" fmla="*/ 120380819 h 125663018"/>
              <a:gd name="connsiteX4" fmla="*/ 5414704 w 9495854"/>
              <a:gd name="connsiteY4" fmla="*/ 8717613 h 125663018"/>
              <a:gd name="connsiteX5" fmla="*/ 6689450 w 9495854"/>
              <a:gd name="connsiteY5" fmla="*/ 7272600 h 125663018"/>
              <a:gd name="connsiteX6" fmla="*/ 8109280 w 9495854"/>
              <a:gd name="connsiteY6" fmla="*/ 7398843 h 125663018"/>
              <a:gd name="connsiteX7" fmla="*/ 9495854 w 9495854"/>
              <a:gd name="connsiteY7" fmla="*/ 4288110 h 125663018"/>
              <a:gd name="connsiteX0" fmla="*/ 0 w 9495854"/>
              <a:gd name="connsiteY0" fmla="*/ 106620528 h 120418202"/>
              <a:gd name="connsiteX1" fmla="*/ 1221476 w 9495854"/>
              <a:gd name="connsiteY1" fmla="*/ 87257268 h 120418202"/>
              <a:gd name="connsiteX2" fmla="*/ 2490470 w 9495854"/>
              <a:gd name="connsiteY2" fmla="*/ 105531236 h 120418202"/>
              <a:gd name="connsiteX3" fmla="*/ 3946337 w 9495854"/>
              <a:gd name="connsiteY3" fmla="*/ 120380819 h 120418202"/>
              <a:gd name="connsiteX4" fmla="*/ 5414704 w 9495854"/>
              <a:gd name="connsiteY4" fmla="*/ 8717613 h 120418202"/>
              <a:gd name="connsiteX5" fmla="*/ 6689450 w 9495854"/>
              <a:gd name="connsiteY5" fmla="*/ 7272600 h 120418202"/>
              <a:gd name="connsiteX6" fmla="*/ 8109280 w 9495854"/>
              <a:gd name="connsiteY6" fmla="*/ 7398843 h 120418202"/>
              <a:gd name="connsiteX7" fmla="*/ 9495854 w 9495854"/>
              <a:gd name="connsiteY7" fmla="*/ 4288110 h 120418202"/>
              <a:gd name="connsiteX0" fmla="*/ 0 w 9495854"/>
              <a:gd name="connsiteY0" fmla="*/ 106786268 h 122819570"/>
              <a:gd name="connsiteX1" fmla="*/ 1221476 w 9495854"/>
              <a:gd name="connsiteY1" fmla="*/ 87423008 h 122819570"/>
              <a:gd name="connsiteX2" fmla="*/ 2490470 w 9495854"/>
              <a:gd name="connsiteY2" fmla="*/ 105696976 h 122819570"/>
              <a:gd name="connsiteX3" fmla="*/ 3858873 w 9495854"/>
              <a:gd name="connsiteY3" fmla="*/ 122787789 h 122819570"/>
              <a:gd name="connsiteX4" fmla="*/ 5414704 w 9495854"/>
              <a:gd name="connsiteY4" fmla="*/ 8883353 h 122819570"/>
              <a:gd name="connsiteX5" fmla="*/ 6689450 w 9495854"/>
              <a:gd name="connsiteY5" fmla="*/ 7438340 h 122819570"/>
              <a:gd name="connsiteX6" fmla="*/ 8109280 w 9495854"/>
              <a:gd name="connsiteY6" fmla="*/ 7564583 h 122819570"/>
              <a:gd name="connsiteX7" fmla="*/ 9495854 w 9495854"/>
              <a:gd name="connsiteY7" fmla="*/ 4453850 h 122819570"/>
              <a:gd name="connsiteX0" fmla="*/ 0 w 9495854"/>
              <a:gd name="connsiteY0" fmla="*/ 102341650 h 121642334"/>
              <a:gd name="connsiteX1" fmla="*/ 1221476 w 9495854"/>
              <a:gd name="connsiteY1" fmla="*/ 82978390 h 121642334"/>
              <a:gd name="connsiteX2" fmla="*/ 2490470 w 9495854"/>
              <a:gd name="connsiteY2" fmla="*/ 101252358 h 121642334"/>
              <a:gd name="connsiteX3" fmla="*/ 3858873 w 9495854"/>
              <a:gd name="connsiteY3" fmla="*/ 118343171 h 121642334"/>
              <a:gd name="connsiteX4" fmla="*/ 5303386 w 9495854"/>
              <a:gd name="connsiteY4" fmla="*/ 30773379 h 121642334"/>
              <a:gd name="connsiteX5" fmla="*/ 6689450 w 9495854"/>
              <a:gd name="connsiteY5" fmla="*/ 2993722 h 121642334"/>
              <a:gd name="connsiteX6" fmla="*/ 8109280 w 9495854"/>
              <a:gd name="connsiteY6" fmla="*/ 3119965 h 121642334"/>
              <a:gd name="connsiteX7" fmla="*/ 9495854 w 9495854"/>
              <a:gd name="connsiteY7" fmla="*/ 9232 h 121642334"/>
              <a:gd name="connsiteX0" fmla="*/ 0 w 9495854"/>
              <a:gd name="connsiteY0" fmla="*/ 102341650 h 121642334"/>
              <a:gd name="connsiteX1" fmla="*/ 1221476 w 9495854"/>
              <a:gd name="connsiteY1" fmla="*/ 82978390 h 121642334"/>
              <a:gd name="connsiteX2" fmla="*/ 2490470 w 9495854"/>
              <a:gd name="connsiteY2" fmla="*/ 101252358 h 121642334"/>
              <a:gd name="connsiteX3" fmla="*/ 3858873 w 9495854"/>
              <a:gd name="connsiteY3" fmla="*/ 118343171 h 121642334"/>
              <a:gd name="connsiteX4" fmla="*/ 5303386 w 9495854"/>
              <a:gd name="connsiteY4" fmla="*/ 30773379 h 121642334"/>
              <a:gd name="connsiteX5" fmla="*/ 6689450 w 9495854"/>
              <a:gd name="connsiteY5" fmla="*/ 2993722 h 121642334"/>
              <a:gd name="connsiteX6" fmla="*/ 8109280 w 9495854"/>
              <a:gd name="connsiteY6" fmla="*/ 3119965 h 121642334"/>
              <a:gd name="connsiteX7" fmla="*/ 9495854 w 9495854"/>
              <a:gd name="connsiteY7" fmla="*/ 9232 h 121642334"/>
              <a:gd name="connsiteX0" fmla="*/ 0 w 9495854"/>
              <a:gd name="connsiteY0" fmla="*/ 102341650 h 121499778"/>
              <a:gd name="connsiteX1" fmla="*/ 1221476 w 9495854"/>
              <a:gd name="connsiteY1" fmla="*/ 82978390 h 121499778"/>
              <a:gd name="connsiteX2" fmla="*/ 2490470 w 9495854"/>
              <a:gd name="connsiteY2" fmla="*/ 101252358 h 121499778"/>
              <a:gd name="connsiteX3" fmla="*/ 3858873 w 9495854"/>
              <a:gd name="connsiteY3" fmla="*/ 118343171 h 121499778"/>
              <a:gd name="connsiteX4" fmla="*/ 5271581 w 9495854"/>
              <a:gd name="connsiteY4" fmla="*/ 33014643 h 121499778"/>
              <a:gd name="connsiteX5" fmla="*/ 6689450 w 9495854"/>
              <a:gd name="connsiteY5" fmla="*/ 2993722 h 121499778"/>
              <a:gd name="connsiteX6" fmla="*/ 8109280 w 9495854"/>
              <a:gd name="connsiteY6" fmla="*/ 3119965 h 121499778"/>
              <a:gd name="connsiteX7" fmla="*/ 9495854 w 9495854"/>
              <a:gd name="connsiteY7" fmla="*/ 9232 h 121499778"/>
              <a:gd name="connsiteX0" fmla="*/ 0 w 9495854"/>
              <a:gd name="connsiteY0" fmla="*/ 105337238 h 121732110"/>
              <a:gd name="connsiteX1" fmla="*/ 1221476 w 9495854"/>
              <a:gd name="connsiteY1" fmla="*/ 85973978 h 121732110"/>
              <a:gd name="connsiteX2" fmla="*/ 2490470 w 9495854"/>
              <a:gd name="connsiteY2" fmla="*/ 104247946 h 121732110"/>
              <a:gd name="connsiteX3" fmla="*/ 3858873 w 9495854"/>
              <a:gd name="connsiteY3" fmla="*/ 121338759 h 121732110"/>
              <a:gd name="connsiteX4" fmla="*/ 5303386 w 9495854"/>
              <a:gd name="connsiteY4" fmla="*/ 86718400 h 121732110"/>
              <a:gd name="connsiteX5" fmla="*/ 6689450 w 9495854"/>
              <a:gd name="connsiteY5" fmla="*/ 5989310 h 121732110"/>
              <a:gd name="connsiteX6" fmla="*/ 8109280 w 9495854"/>
              <a:gd name="connsiteY6" fmla="*/ 6115553 h 121732110"/>
              <a:gd name="connsiteX7" fmla="*/ 9495854 w 9495854"/>
              <a:gd name="connsiteY7" fmla="*/ 3004820 h 121732110"/>
              <a:gd name="connsiteX0" fmla="*/ 0 w 9495854"/>
              <a:gd name="connsiteY0" fmla="*/ 105337238 h 121732110"/>
              <a:gd name="connsiteX1" fmla="*/ 1221476 w 9495854"/>
              <a:gd name="connsiteY1" fmla="*/ 85973978 h 121732110"/>
              <a:gd name="connsiteX2" fmla="*/ 2490470 w 9495854"/>
              <a:gd name="connsiteY2" fmla="*/ 104247946 h 121732110"/>
              <a:gd name="connsiteX3" fmla="*/ 3858873 w 9495854"/>
              <a:gd name="connsiteY3" fmla="*/ 121338759 h 121732110"/>
              <a:gd name="connsiteX4" fmla="*/ 5303386 w 9495854"/>
              <a:gd name="connsiteY4" fmla="*/ 86718400 h 121732110"/>
              <a:gd name="connsiteX5" fmla="*/ 6689450 w 9495854"/>
              <a:gd name="connsiteY5" fmla="*/ 5989310 h 121732110"/>
              <a:gd name="connsiteX6" fmla="*/ 8109280 w 9495854"/>
              <a:gd name="connsiteY6" fmla="*/ 6115553 h 121732110"/>
              <a:gd name="connsiteX7" fmla="*/ 9495854 w 9495854"/>
              <a:gd name="connsiteY7" fmla="*/ 3004820 h 121732110"/>
              <a:gd name="connsiteX0" fmla="*/ 0 w 9495854"/>
              <a:gd name="connsiteY0" fmla="*/ 102341650 h 118736522"/>
              <a:gd name="connsiteX1" fmla="*/ 1221476 w 9495854"/>
              <a:gd name="connsiteY1" fmla="*/ 82978390 h 118736522"/>
              <a:gd name="connsiteX2" fmla="*/ 2490470 w 9495854"/>
              <a:gd name="connsiteY2" fmla="*/ 101252358 h 118736522"/>
              <a:gd name="connsiteX3" fmla="*/ 3858873 w 9495854"/>
              <a:gd name="connsiteY3" fmla="*/ 118343171 h 118736522"/>
              <a:gd name="connsiteX4" fmla="*/ 5303386 w 9495854"/>
              <a:gd name="connsiteY4" fmla="*/ 83722812 h 118736522"/>
              <a:gd name="connsiteX5" fmla="*/ 6657645 w 9495854"/>
              <a:gd name="connsiteY5" fmla="*/ 101888647 h 118736522"/>
              <a:gd name="connsiteX6" fmla="*/ 8109280 w 9495854"/>
              <a:gd name="connsiteY6" fmla="*/ 3119965 h 118736522"/>
              <a:gd name="connsiteX7" fmla="*/ 9495854 w 9495854"/>
              <a:gd name="connsiteY7" fmla="*/ 9232 h 118736522"/>
              <a:gd name="connsiteX0" fmla="*/ 0 w 9495854"/>
              <a:gd name="connsiteY0" fmla="*/ 102341650 h 118736522"/>
              <a:gd name="connsiteX1" fmla="*/ 1221476 w 9495854"/>
              <a:gd name="connsiteY1" fmla="*/ 82978390 h 118736522"/>
              <a:gd name="connsiteX2" fmla="*/ 2490470 w 9495854"/>
              <a:gd name="connsiteY2" fmla="*/ 101252358 h 118736522"/>
              <a:gd name="connsiteX3" fmla="*/ 3858873 w 9495854"/>
              <a:gd name="connsiteY3" fmla="*/ 118343171 h 118736522"/>
              <a:gd name="connsiteX4" fmla="*/ 5303386 w 9495854"/>
              <a:gd name="connsiteY4" fmla="*/ 83722812 h 118736522"/>
              <a:gd name="connsiteX5" fmla="*/ 6657645 w 9495854"/>
              <a:gd name="connsiteY5" fmla="*/ 101888647 h 118736522"/>
              <a:gd name="connsiteX6" fmla="*/ 8109280 w 9495854"/>
              <a:gd name="connsiteY6" fmla="*/ 3119965 h 118736522"/>
              <a:gd name="connsiteX7" fmla="*/ 9495854 w 9495854"/>
              <a:gd name="connsiteY7" fmla="*/ 9232 h 118736522"/>
              <a:gd name="connsiteX0" fmla="*/ 0 w 9495854"/>
              <a:gd name="connsiteY0" fmla="*/ 102332806 h 118727678"/>
              <a:gd name="connsiteX1" fmla="*/ 1221476 w 9495854"/>
              <a:gd name="connsiteY1" fmla="*/ 82969546 h 118727678"/>
              <a:gd name="connsiteX2" fmla="*/ 2490470 w 9495854"/>
              <a:gd name="connsiteY2" fmla="*/ 101243514 h 118727678"/>
              <a:gd name="connsiteX3" fmla="*/ 3858873 w 9495854"/>
              <a:gd name="connsiteY3" fmla="*/ 118334327 h 118727678"/>
              <a:gd name="connsiteX4" fmla="*/ 5303386 w 9495854"/>
              <a:gd name="connsiteY4" fmla="*/ 83713968 h 118727678"/>
              <a:gd name="connsiteX5" fmla="*/ 6657645 w 9495854"/>
              <a:gd name="connsiteY5" fmla="*/ 101879803 h 118727678"/>
              <a:gd name="connsiteX6" fmla="*/ 8037718 w 9495854"/>
              <a:gd name="connsiteY6" fmla="*/ 83515777 h 118727678"/>
              <a:gd name="connsiteX7" fmla="*/ 9495854 w 9495854"/>
              <a:gd name="connsiteY7" fmla="*/ 388 h 118727678"/>
              <a:gd name="connsiteX0" fmla="*/ 0 w 9440194"/>
              <a:gd name="connsiteY0" fmla="*/ 19365199 h 35760071"/>
              <a:gd name="connsiteX1" fmla="*/ 1221476 w 9440194"/>
              <a:gd name="connsiteY1" fmla="*/ 1939 h 35760071"/>
              <a:gd name="connsiteX2" fmla="*/ 2490470 w 9440194"/>
              <a:gd name="connsiteY2" fmla="*/ 18275907 h 35760071"/>
              <a:gd name="connsiteX3" fmla="*/ 3858873 w 9440194"/>
              <a:gd name="connsiteY3" fmla="*/ 35366720 h 35760071"/>
              <a:gd name="connsiteX4" fmla="*/ 5303386 w 9440194"/>
              <a:gd name="connsiteY4" fmla="*/ 746361 h 35760071"/>
              <a:gd name="connsiteX5" fmla="*/ 6657645 w 9440194"/>
              <a:gd name="connsiteY5" fmla="*/ 18912196 h 35760071"/>
              <a:gd name="connsiteX6" fmla="*/ 8037718 w 9440194"/>
              <a:gd name="connsiteY6" fmla="*/ 548170 h 35760071"/>
              <a:gd name="connsiteX7" fmla="*/ 9440194 w 9440194"/>
              <a:gd name="connsiteY7" fmla="*/ 16488032 h 35760071"/>
              <a:gd name="connsiteX0" fmla="*/ 0 w 9440194"/>
              <a:gd name="connsiteY0" fmla="*/ 19365199 h 35760071"/>
              <a:gd name="connsiteX1" fmla="*/ 1221476 w 9440194"/>
              <a:gd name="connsiteY1" fmla="*/ 1939 h 35760071"/>
              <a:gd name="connsiteX2" fmla="*/ 2490470 w 9440194"/>
              <a:gd name="connsiteY2" fmla="*/ 18275907 h 35760071"/>
              <a:gd name="connsiteX3" fmla="*/ 3858873 w 9440194"/>
              <a:gd name="connsiteY3" fmla="*/ 35366720 h 35760071"/>
              <a:gd name="connsiteX4" fmla="*/ 5303386 w 9440194"/>
              <a:gd name="connsiteY4" fmla="*/ 746361 h 35760071"/>
              <a:gd name="connsiteX5" fmla="*/ 6657645 w 9440194"/>
              <a:gd name="connsiteY5" fmla="*/ 18912196 h 35760071"/>
              <a:gd name="connsiteX6" fmla="*/ 8037718 w 9440194"/>
              <a:gd name="connsiteY6" fmla="*/ 548170 h 35760071"/>
              <a:gd name="connsiteX7" fmla="*/ 9440194 w 9440194"/>
              <a:gd name="connsiteY7" fmla="*/ 17888791 h 3576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40194" h="35760071">
                <a:moveTo>
                  <a:pt x="0" y="19365199"/>
                </a:moveTo>
                <a:cubicBezTo>
                  <a:pt x="277007" y="13769735"/>
                  <a:pt x="806398" y="183488"/>
                  <a:pt x="1221476" y="1939"/>
                </a:cubicBezTo>
                <a:cubicBezTo>
                  <a:pt x="1636554" y="-179610"/>
                  <a:pt x="2050904" y="12381777"/>
                  <a:pt x="2490470" y="18275907"/>
                </a:cubicBezTo>
                <a:cubicBezTo>
                  <a:pt x="2930036" y="24170037"/>
                  <a:pt x="3390054" y="38288311"/>
                  <a:pt x="3858873" y="35366720"/>
                </a:cubicBezTo>
                <a:cubicBezTo>
                  <a:pt x="4327692" y="32445129"/>
                  <a:pt x="4836924" y="3488782"/>
                  <a:pt x="5303386" y="746361"/>
                </a:cubicBezTo>
                <a:cubicBezTo>
                  <a:pt x="5769848" y="-1996060"/>
                  <a:pt x="6201923" y="18945228"/>
                  <a:pt x="6657645" y="18912196"/>
                </a:cubicBezTo>
                <a:cubicBezTo>
                  <a:pt x="7113367" y="18879164"/>
                  <a:pt x="7559352" y="316748"/>
                  <a:pt x="8037718" y="548170"/>
                </a:cubicBezTo>
                <a:cubicBezTo>
                  <a:pt x="8516084" y="779592"/>
                  <a:pt x="9217238" y="17675696"/>
                  <a:pt x="9440194" y="17888791"/>
                </a:cubicBezTo>
              </a:path>
            </a:pathLst>
          </a:custGeom>
          <a:noFill/>
          <a:ln w="136525" cap="rnd">
            <a:solidFill>
              <a:srgbClr val="FFCD00"/>
            </a:solidFill>
            <a:headEnd/>
            <a:tailEnd/>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3" name="Freeform: Shape 106">
            <a:extLst>
              <a:ext uri="{FF2B5EF4-FFF2-40B4-BE49-F238E27FC236}">
                <a16:creationId xmlns:a16="http://schemas.microsoft.com/office/drawing/2014/main" id="{95DBFCEB-B46C-42B9-A694-E5AA04EC89DF}"/>
              </a:ext>
            </a:extLst>
          </p:cNvPr>
          <p:cNvSpPr/>
          <p:nvPr/>
        </p:nvSpPr>
        <p:spPr bwMode="auto">
          <a:xfrm flipV="1">
            <a:off x="1287446" y="3005308"/>
            <a:ext cx="9456098" cy="1038753"/>
          </a:xfrm>
          <a:custGeom>
            <a:avLst/>
            <a:gdLst>
              <a:gd name="connsiteX0" fmla="*/ 0 w 9668934"/>
              <a:gd name="connsiteY0" fmla="*/ 144247 h 1610861"/>
              <a:gd name="connsiteX1" fmla="*/ 1303867 w 9668934"/>
              <a:gd name="connsiteY1" fmla="*/ 1507380 h 1610861"/>
              <a:gd name="connsiteX2" fmla="*/ 2590800 w 9668934"/>
              <a:gd name="connsiteY2" fmla="*/ 1507380 h 1610861"/>
              <a:gd name="connsiteX3" fmla="*/ 3996267 w 9668934"/>
              <a:gd name="connsiteY3" fmla="*/ 1507380 h 1610861"/>
              <a:gd name="connsiteX4" fmla="*/ 5291667 w 9668934"/>
              <a:gd name="connsiteY4" fmla="*/ 110380 h 1610861"/>
              <a:gd name="connsiteX5" fmla="*/ 6798734 w 9668934"/>
              <a:gd name="connsiteY5" fmla="*/ 135780 h 1610861"/>
              <a:gd name="connsiteX6" fmla="*/ 8144934 w 9668934"/>
              <a:gd name="connsiteY6" fmla="*/ 93447 h 1610861"/>
              <a:gd name="connsiteX7" fmla="*/ 9668934 w 9668934"/>
              <a:gd name="connsiteY7" fmla="*/ 1524313 h 1610861"/>
              <a:gd name="connsiteX0" fmla="*/ 0 w 9668934"/>
              <a:gd name="connsiteY0" fmla="*/ 476398 h 1610861"/>
              <a:gd name="connsiteX1" fmla="*/ 1303867 w 9668934"/>
              <a:gd name="connsiteY1" fmla="*/ 1507380 h 1610861"/>
              <a:gd name="connsiteX2" fmla="*/ 2590800 w 9668934"/>
              <a:gd name="connsiteY2" fmla="*/ 1507380 h 1610861"/>
              <a:gd name="connsiteX3" fmla="*/ 3996267 w 9668934"/>
              <a:gd name="connsiteY3" fmla="*/ 1507380 h 1610861"/>
              <a:gd name="connsiteX4" fmla="*/ 5291667 w 9668934"/>
              <a:gd name="connsiteY4" fmla="*/ 110380 h 1610861"/>
              <a:gd name="connsiteX5" fmla="*/ 6798734 w 9668934"/>
              <a:gd name="connsiteY5" fmla="*/ 135780 h 1610861"/>
              <a:gd name="connsiteX6" fmla="*/ 8144934 w 9668934"/>
              <a:gd name="connsiteY6" fmla="*/ 93447 h 1610861"/>
              <a:gd name="connsiteX7" fmla="*/ 9668934 w 9668934"/>
              <a:gd name="connsiteY7" fmla="*/ 1524313 h 1610861"/>
              <a:gd name="connsiteX0" fmla="*/ 0 w 9668934"/>
              <a:gd name="connsiteY0" fmla="*/ 476398 h 1677770"/>
              <a:gd name="connsiteX1" fmla="*/ 1303867 w 9668934"/>
              <a:gd name="connsiteY1" fmla="*/ 178777 h 1677770"/>
              <a:gd name="connsiteX2" fmla="*/ 2590800 w 9668934"/>
              <a:gd name="connsiteY2" fmla="*/ 1507380 h 1677770"/>
              <a:gd name="connsiteX3" fmla="*/ 3996267 w 9668934"/>
              <a:gd name="connsiteY3" fmla="*/ 1507380 h 1677770"/>
              <a:gd name="connsiteX4" fmla="*/ 5291667 w 9668934"/>
              <a:gd name="connsiteY4" fmla="*/ 110380 h 1677770"/>
              <a:gd name="connsiteX5" fmla="*/ 6798734 w 9668934"/>
              <a:gd name="connsiteY5" fmla="*/ 135780 h 1677770"/>
              <a:gd name="connsiteX6" fmla="*/ 8144934 w 9668934"/>
              <a:gd name="connsiteY6" fmla="*/ 93447 h 1677770"/>
              <a:gd name="connsiteX7" fmla="*/ 9668934 w 9668934"/>
              <a:gd name="connsiteY7" fmla="*/ 1524313 h 1677770"/>
              <a:gd name="connsiteX0" fmla="*/ 0 w 9668934"/>
              <a:gd name="connsiteY0" fmla="*/ 476398 h 1524326"/>
              <a:gd name="connsiteX1" fmla="*/ 1303867 w 9668934"/>
              <a:gd name="connsiteY1" fmla="*/ 178777 h 1524326"/>
              <a:gd name="connsiteX2" fmla="*/ 2628508 w 9668934"/>
              <a:gd name="connsiteY2" fmla="*/ 510927 h 1524326"/>
              <a:gd name="connsiteX3" fmla="*/ 3996267 w 9668934"/>
              <a:gd name="connsiteY3" fmla="*/ 1507380 h 1524326"/>
              <a:gd name="connsiteX4" fmla="*/ 5291667 w 9668934"/>
              <a:gd name="connsiteY4" fmla="*/ 110380 h 1524326"/>
              <a:gd name="connsiteX5" fmla="*/ 6798734 w 9668934"/>
              <a:gd name="connsiteY5" fmla="*/ 135780 h 1524326"/>
              <a:gd name="connsiteX6" fmla="*/ 8144934 w 9668934"/>
              <a:gd name="connsiteY6" fmla="*/ 93447 h 1524326"/>
              <a:gd name="connsiteX7" fmla="*/ 9668934 w 9668934"/>
              <a:gd name="connsiteY7" fmla="*/ 1524313 h 1524326"/>
              <a:gd name="connsiteX0" fmla="*/ 0 w 9668934"/>
              <a:gd name="connsiteY0" fmla="*/ 476398 h 1524326"/>
              <a:gd name="connsiteX1" fmla="*/ 1303867 w 9668934"/>
              <a:gd name="connsiteY1" fmla="*/ 178777 h 1524326"/>
              <a:gd name="connsiteX2" fmla="*/ 2628508 w 9668934"/>
              <a:gd name="connsiteY2" fmla="*/ 510927 h 1524326"/>
              <a:gd name="connsiteX3" fmla="*/ 4033975 w 9668934"/>
              <a:gd name="connsiteY3" fmla="*/ 178812 h 1524326"/>
              <a:gd name="connsiteX4" fmla="*/ 5291667 w 9668934"/>
              <a:gd name="connsiteY4" fmla="*/ 110380 h 1524326"/>
              <a:gd name="connsiteX5" fmla="*/ 6798734 w 9668934"/>
              <a:gd name="connsiteY5" fmla="*/ 135780 h 1524326"/>
              <a:gd name="connsiteX6" fmla="*/ 8144934 w 9668934"/>
              <a:gd name="connsiteY6" fmla="*/ 93447 h 1524326"/>
              <a:gd name="connsiteX7" fmla="*/ 9668934 w 9668934"/>
              <a:gd name="connsiteY7" fmla="*/ 1524313 h 1524326"/>
              <a:gd name="connsiteX0" fmla="*/ 0 w 9668934"/>
              <a:gd name="connsiteY0" fmla="*/ 476398 h 668740"/>
              <a:gd name="connsiteX1" fmla="*/ 1303867 w 9668934"/>
              <a:gd name="connsiteY1" fmla="*/ 178777 h 668740"/>
              <a:gd name="connsiteX2" fmla="*/ 2628508 w 9668934"/>
              <a:gd name="connsiteY2" fmla="*/ 510927 h 668740"/>
              <a:gd name="connsiteX3" fmla="*/ 4033975 w 9668934"/>
              <a:gd name="connsiteY3" fmla="*/ 178812 h 668740"/>
              <a:gd name="connsiteX4" fmla="*/ 5291667 w 9668934"/>
              <a:gd name="connsiteY4" fmla="*/ 110380 h 668740"/>
              <a:gd name="connsiteX5" fmla="*/ 6798734 w 9668934"/>
              <a:gd name="connsiteY5" fmla="*/ 135780 h 668740"/>
              <a:gd name="connsiteX6" fmla="*/ 8144934 w 9668934"/>
              <a:gd name="connsiteY6" fmla="*/ 93447 h 668740"/>
              <a:gd name="connsiteX7" fmla="*/ 9668934 w 9668934"/>
              <a:gd name="connsiteY7" fmla="*/ 527910 h 668740"/>
              <a:gd name="connsiteX0" fmla="*/ 0 w 9668934"/>
              <a:gd name="connsiteY0" fmla="*/ 476398 h 668740"/>
              <a:gd name="connsiteX1" fmla="*/ 1303867 w 9668934"/>
              <a:gd name="connsiteY1" fmla="*/ 178777 h 668740"/>
              <a:gd name="connsiteX2" fmla="*/ 2628508 w 9668934"/>
              <a:gd name="connsiteY2" fmla="*/ 510927 h 668740"/>
              <a:gd name="connsiteX3" fmla="*/ 4033975 w 9668934"/>
              <a:gd name="connsiteY3" fmla="*/ 178812 h 668740"/>
              <a:gd name="connsiteX4" fmla="*/ 5291667 w 9668934"/>
              <a:gd name="connsiteY4" fmla="*/ 110380 h 668740"/>
              <a:gd name="connsiteX5" fmla="*/ 6798734 w 9668934"/>
              <a:gd name="connsiteY5" fmla="*/ 135780 h 668740"/>
              <a:gd name="connsiteX6" fmla="*/ 8144934 w 9668934"/>
              <a:gd name="connsiteY6" fmla="*/ 93447 h 668740"/>
              <a:gd name="connsiteX7" fmla="*/ 9668934 w 9668934"/>
              <a:gd name="connsiteY7" fmla="*/ 527910 h 668740"/>
              <a:gd name="connsiteX0" fmla="*/ 0 w 9668934"/>
              <a:gd name="connsiteY0" fmla="*/ 476398 h 860060"/>
              <a:gd name="connsiteX1" fmla="*/ 1303867 w 9668934"/>
              <a:gd name="connsiteY1" fmla="*/ 178777 h 860060"/>
              <a:gd name="connsiteX2" fmla="*/ 2628508 w 9668934"/>
              <a:gd name="connsiteY2" fmla="*/ 510927 h 860060"/>
              <a:gd name="connsiteX3" fmla="*/ 4033975 w 9668934"/>
              <a:gd name="connsiteY3" fmla="*/ 178812 h 860060"/>
              <a:gd name="connsiteX4" fmla="*/ 5291667 w 9668934"/>
              <a:gd name="connsiteY4" fmla="*/ 110380 h 860060"/>
              <a:gd name="connsiteX5" fmla="*/ 6798734 w 9668934"/>
              <a:gd name="connsiteY5" fmla="*/ 135780 h 860060"/>
              <a:gd name="connsiteX6" fmla="*/ 8144934 w 9668934"/>
              <a:gd name="connsiteY6" fmla="*/ 93447 h 860060"/>
              <a:gd name="connsiteX7" fmla="*/ 9668934 w 9668934"/>
              <a:gd name="connsiteY7" fmla="*/ 860060 h 860060"/>
              <a:gd name="connsiteX0" fmla="*/ 0 w 9530711"/>
              <a:gd name="connsiteY0" fmla="*/ 119313365 h 119315937"/>
              <a:gd name="connsiteX1" fmla="*/ 1165644 w 9530711"/>
              <a:gd name="connsiteY1" fmla="*/ 8126246 h 119315937"/>
              <a:gd name="connsiteX2" fmla="*/ 2490285 w 9530711"/>
              <a:gd name="connsiteY2" fmla="*/ 8458396 h 119315937"/>
              <a:gd name="connsiteX3" fmla="*/ 3895752 w 9530711"/>
              <a:gd name="connsiteY3" fmla="*/ 8126281 h 119315937"/>
              <a:gd name="connsiteX4" fmla="*/ 5153444 w 9530711"/>
              <a:gd name="connsiteY4" fmla="*/ 8057849 h 119315937"/>
              <a:gd name="connsiteX5" fmla="*/ 6660511 w 9530711"/>
              <a:gd name="connsiteY5" fmla="*/ 8083249 h 119315937"/>
              <a:gd name="connsiteX6" fmla="*/ 8006711 w 9530711"/>
              <a:gd name="connsiteY6" fmla="*/ 8040916 h 119315937"/>
              <a:gd name="connsiteX7" fmla="*/ 9530711 w 9530711"/>
              <a:gd name="connsiteY7" fmla="*/ 8807529 h 119315937"/>
              <a:gd name="connsiteX0" fmla="*/ 0 w 9530711"/>
              <a:gd name="connsiteY0" fmla="*/ 120694817 h 146380521"/>
              <a:gd name="connsiteX1" fmla="*/ 1325132 w 9530711"/>
              <a:gd name="connsiteY1" fmla="*/ 141376283 h 146380521"/>
              <a:gd name="connsiteX2" fmla="*/ 2490285 w 9530711"/>
              <a:gd name="connsiteY2" fmla="*/ 9839848 h 146380521"/>
              <a:gd name="connsiteX3" fmla="*/ 3895752 w 9530711"/>
              <a:gd name="connsiteY3" fmla="*/ 9507733 h 146380521"/>
              <a:gd name="connsiteX4" fmla="*/ 5153444 w 9530711"/>
              <a:gd name="connsiteY4" fmla="*/ 9439301 h 146380521"/>
              <a:gd name="connsiteX5" fmla="*/ 6660511 w 9530711"/>
              <a:gd name="connsiteY5" fmla="*/ 9464701 h 146380521"/>
              <a:gd name="connsiteX6" fmla="*/ 8006711 w 9530711"/>
              <a:gd name="connsiteY6" fmla="*/ 9422368 h 146380521"/>
              <a:gd name="connsiteX7" fmla="*/ 9530711 w 9530711"/>
              <a:gd name="connsiteY7" fmla="*/ 10188981 h 146380521"/>
              <a:gd name="connsiteX0" fmla="*/ 0 w 9530711"/>
              <a:gd name="connsiteY0" fmla="*/ 120694817 h 141550796"/>
              <a:gd name="connsiteX1" fmla="*/ 1325132 w 9530711"/>
              <a:gd name="connsiteY1" fmla="*/ 141376283 h 141550796"/>
              <a:gd name="connsiteX2" fmla="*/ 2490285 w 9530711"/>
              <a:gd name="connsiteY2" fmla="*/ 9839848 h 141550796"/>
              <a:gd name="connsiteX3" fmla="*/ 3895752 w 9530711"/>
              <a:gd name="connsiteY3" fmla="*/ 9507733 h 141550796"/>
              <a:gd name="connsiteX4" fmla="*/ 5153444 w 9530711"/>
              <a:gd name="connsiteY4" fmla="*/ 9439301 h 141550796"/>
              <a:gd name="connsiteX5" fmla="*/ 6660511 w 9530711"/>
              <a:gd name="connsiteY5" fmla="*/ 9464701 h 141550796"/>
              <a:gd name="connsiteX6" fmla="*/ 8006711 w 9530711"/>
              <a:gd name="connsiteY6" fmla="*/ 9422368 h 141550796"/>
              <a:gd name="connsiteX7" fmla="*/ 9530711 w 9530711"/>
              <a:gd name="connsiteY7" fmla="*/ 10188981 h 141550796"/>
              <a:gd name="connsiteX0" fmla="*/ 0 w 9530711"/>
              <a:gd name="connsiteY0" fmla="*/ 120694817 h 141550796"/>
              <a:gd name="connsiteX1" fmla="*/ 1282601 w 9530711"/>
              <a:gd name="connsiteY1" fmla="*/ 141376282 h 141550796"/>
              <a:gd name="connsiteX2" fmla="*/ 2490285 w 9530711"/>
              <a:gd name="connsiteY2" fmla="*/ 9839848 h 141550796"/>
              <a:gd name="connsiteX3" fmla="*/ 3895752 w 9530711"/>
              <a:gd name="connsiteY3" fmla="*/ 9507733 h 141550796"/>
              <a:gd name="connsiteX4" fmla="*/ 5153444 w 9530711"/>
              <a:gd name="connsiteY4" fmla="*/ 9439301 h 141550796"/>
              <a:gd name="connsiteX5" fmla="*/ 6660511 w 9530711"/>
              <a:gd name="connsiteY5" fmla="*/ 9464701 h 141550796"/>
              <a:gd name="connsiteX6" fmla="*/ 8006711 w 9530711"/>
              <a:gd name="connsiteY6" fmla="*/ 9422368 h 141550796"/>
              <a:gd name="connsiteX7" fmla="*/ 9530711 w 9530711"/>
              <a:gd name="connsiteY7" fmla="*/ 10188981 h 141550796"/>
              <a:gd name="connsiteX0" fmla="*/ 0 w 9530711"/>
              <a:gd name="connsiteY0" fmla="*/ 117254718 h 138577934"/>
              <a:gd name="connsiteX1" fmla="*/ 1282601 w 9530711"/>
              <a:gd name="connsiteY1" fmla="*/ 137936183 h 138577934"/>
              <a:gd name="connsiteX2" fmla="*/ 2575346 w 9530711"/>
              <a:gd name="connsiteY2" fmla="*/ 87693775 h 138577934"/>
              <a:gd name="connsiteX3" fmla="*/ 3895752 w 9530711"/>
              <a:gd name="connsiteY3" fmla="*/ 6067634 h 138577934"/>
              <a:gd name="connsiteX4" fmla="*/ 5153444 w 9530711"/>
              <a:gd name="connsiteY4" fmla="*/ 5999202 h 138577934"/>
              <a:gd name="connsiteX5" fmla="*/ 6660511 w 9530711"/>
              <a:gd name="connsiteY5" fmla="*/ 6024602 h 138577934"/>
              <a:gd name="connsiteX6" fmla="*/ 8006711 w 9530711"/>
              <a:gd name="connsiteY6" fmla="*/ 5982269 h 138577934"/>
              <a:gd name="connsiteX7" fmla="*/ 9530711 w 9530711"/>
              <a:gd name="connsiteY7" fmla="*/ 6748882 h 138577934"/>
              <a:gd name="connsiteX0" fmla="*/ 0 w 9530711"/>
              <a:gd name="connsiteY0" fmla="*/ 117254718 h 138577934"/>
              <a:gd name="connsiteX1" fmla="*/ 1282601 w 9530711"/>
              <a:gd name="connsiteY1" fmla="*/ 137936183 h 138577934"/>
              <a:gd name="connsiteX2" fmla="*/ 2575346 w 9530711"/>
              <a:gd name="connsiteY2" fmla="*/ 87693775 h 138577934"/>
              <a:gd name="connsiteX3" fmla="*/ 3895752 w 9530711"/>
              <a:gd name="connsiteY3" fmla="*/ 6067634 h 138577934"/>
              <a:gd name="connsiteX4" fmla="*/ 5153444 w 9530711"/>
              <a:gd name="connsiteY4" fmla="*/ 5999202 h 138577934"/>
              <a:gd name="connsiteX5" fmla="*/ 6660511 w 9530711"/>
              <a:gd name="connsiteY5" fmla="*/ 6024602 h 138577934"/>
              <a:gd name="connsiteX6" fmla="*/ 8006711 w 9530711"/>
              <a:gd name="connsiteY6" fmla="*/ 5982269 h 138577934"/>
              <a:gd name="connsiteX7" fmla="*/ 9530711 w 9530711"/>
              <a:gd name="connsiteY7" fmla="*/ 6748882 h 138577934"/>
              <a:gd name="connsiteX0" fmla="*/ 0 w 9530711"/>
              <a:gd name="connsiteY0" fmla="*/ 119363715 h 140046378"/>
              <a:gd name="connsiteX1" fmla="*/ 1282601 w 9530711"/>
              <a:gd name="connsiteY1" fmla="*/ 140045180 h 140046378"/>
              <a:gd name="connsiteX2" fmla="*/ 2554080 w 9530711"/>
              <a:gd name="connsiteY2" fmla="*/ 118274387 h 140046378"/>
              <a:gd name="connsiteX3" fmla="*/ 3895752 w 9530711"/>
              <a:gd name="connsiteY3" fmla="*/ 8176631 h 140046378"/>
              <a:gd name="connsiteX4" fmla="*/ 5153444 w 9530711"/>
              <a:gd name="connsiteY4" fmla="*/ 8108199 h 140046378"/>
              <a:gd name="connsiteX5" fmla="*/ 6660511 w 9530711"/>
              <a:gd name="connsiteY5" fmla="*/ 8133599 h 140046378"/>
              <a:gd name="connsiteX6" fmla="*/ 8006711 w 9530711"/>
              <a:gd name="connsiteY6" fmla="*/ 8091266 h 140046378"/>
              <a:gd name="connsiteX7" fmla="*/ 9530711 w 9530711"/>
              <a:gd name="connsiteY7" fmla="*/ 8857879 h 140046378"/>
              <a:gd name="connsiteX0" fmla="*/ 0 w 9530711"/>
              <a:gd name="connsiteY0" fmla="*/ 117328780 h 138011443"/>
              <a:gd name="connsiteX1" fmla="*/ 1282601 w 9530711"/>
              <a:gd name="connsiteY1" fmla="*/ 138010245 h 138011443"/>
              <a:gd name="connsiteX2" fmla="*/ 2554080 w 9530711"/>
              <a:gd name="connsiteY2" fmla="*/ 116239452 h 138011443"/>
              <a:gd name="connsiteX3" fmla="*/ 4012710 w 9530711"/>
              <a:gd name="connsiteY3" fmla="*/ 88184936 h 138011443"/>
              <a:gd name="connsiteX4" fmla="*/ 5153444 w 9530711"/>
              <a:gd name="connsiteY4" fmla="*/ 6073264 h 138011443"/>
              <a:gd name="connsiteX5" fmla="*/ 6660511 w 9530711"/>
              <a:gd name="connsiteY5" fmla="*/ 6098664 h 138011443"/>
              <a:gd name="connsiteX6" fmla="*/ 8006711 w 9530711"/>
              <a:gd name="connsiteY6" fmla="*/ 6056331 h 138011443"/>
              <a:gd name="connsiteX7" fmla="*/ 9530711 w 9530711"/>
              <a:gd name="connsiteY7" fmla="*/ 6822944 h 138011443"/>
              <a:gd name="connsiteX0" fmla="*/ 0 w 9530711"/>
              <a:gd name="connsiteY0" fmla="*/ 117328780 h 138011443"/>
              <a:gd name="connsiteX1" fmla="*/ 1282601 w 9530711"/>
              <a:gd name="connsiteY1" fmla="*/ 138010245 h 138011443"/>
              <a:gd name="connsiteX2" fmla="*/ 2554080 w 9530711"/>
              <a:gd name="connsiteY2" fmla="*/ 116239452 h 138011443"/>
              <a:gd name="connsiteX3" fmla="*/ 4012710 w 9530711"/>
              <a:gd name="connsiteY3" fmla="*/ 88184936 h 138011443"/>
              <a:gd name="connsiteX4" fmla="*/ 5153444 w 9530711"/>
              <a:gd name="connsiteY4" fmla="*/ 6073264 h 138011443"/>
              <a:gd name="connsiteX5" fmla="*/ 6660511 w 9530711"/>
              <a:gd name="connsiteY5" fmla="*/ 6098664 h 138011443"/>
              <a:gd name="connsiteX6" fmla="*/ 8006711 w 9530711"/>
              <a:gd name="connsiteY6" fmla="*/ 6056331 h 138011443"/>
              <a:gd name="connsiteX7" fmla="*/ 9530711 w 9530711"/>
              <a:gd name="connsiteY7" fmla="*/ 6822944 h 138011443"/>
              <a:gd name="connsiteX0" fmla="*/ 0 w 9530711"/>
              <a:gd name="connsiteY0" fmla="*/ 122684547 h 166934228"/>
              <a:gd name="connsiteX1" fmla="*/ 1282601 w 9530711"/>
              <a:gd name="connsiteY1" fmla="*/ 143366012 h 166934228"/>
              <a:gd name="connsiteX2" fmla="*/ 2554080 w 9530711"/>
              <a:gd name="connsiteY2" fmla="*/ 121595219 h 166934228"/>
              <a:gd name="connsiteX3" fmla="*/ 3917017 w 9530711"/>
              <a:gd name="connsiteY3" fmla="*/ 165843668 h 166934228"/>
              <a:gd name="connsiteX4" fmla="*/ 5153444 w 9530711"/>
              <a:gd name="connsiteY4" fmla="*/ 11429031 h 166934228"/>
              <a:gd name="connsiteX5" fmla="*/ 6660511 w 9530711"/>
              <a:gd name="connsiteY5" fmla="*/ 11454431 h 166934228"/>
              <a:gd name="connsiteX6" fmla="*/ 8006711 w 9530711"/>
              <a:gd name="connsiteY6" fmla="*/ 11412098 h 166934228"/>
              <a:gd name="connsiteX7" fmla="*/ 9530711 w 9530711"/>
              <a:gd name="connsiteY7" fmla="*/ 12178711 h 166934228"/>
              <a:gd name="connsiteX0" fmla="*/ 0 w 9530711"/>
              <a:gd name="connsiteY0" fmla="*/ 122684547 h 166934228"/>
              <a:gd name="connsiteX1" fmla="*/ 1282601 w 9530711"/>
              <a:gd name="connsiteY1" fmla="*/ 143366012 h 166934228"/>
              <a:gd name="connsiteX2" fmla="*/ 2554080 w 9530711"/>
              <a:gd name="connsiteY2" fmla="*/ 121595219 h 166934228"/>
              <a:gd name="connsiteX3" fmla="*/ 3917017 w 9530711"/>
              <a:gd name="connsiteY3" fmla="*/ 165843668 h 166934228"/>
              <a:gd name="connsiteX4" fmla="*/ 5153444 w 9530711"/>
              <a:gd name="connsiteY4" fmla="*/ 11429031 h 166934228"/>
              <a:gd name="connsiteX5" fmla="*/ 6660511 w 9530711"/>
              <a:gd name="connsiteY5" fmla="*/ 11454431 h 166934228"/>
              <a:gd name="connsiteX6" fmla="*/ 8006711 w 9530711"/>
              <a:gd name="connsiteY6" fmla="*/ 11412098 h 166934228"/>
              <a:gd name="connsiteX7" fmla="*/ 9530711 w 9530711"/>
              <a:gd name="connsiteY7" fmla="*/ 12178711 h 166934228"/>
              <a:gd name="connsiteX0" fmla="*/ 0 w 9530711"/>
              <a:gd name="connsiteY0" fmla="*/ 120951144 h 165401552"/>
              <a:gd name="connsiteX1" fmla="*/ 1282601 w 9530711"/>
              <a:gd name="connsiteY1" fmla="*/ 141632609 h 165401552"/>
              <a:gd name="connsiteX2" fmla="*/ 2554080 w 9530711"/>
              <a:gd name="connsiteY2" fmla="*/ 119861816 h 165401552"/>
              <a:gd name="connsiteX3" fmla="*/ 3917017 w 9530711"/>
              <a:gd name="connsiteY3" fmla="*/ 164110265 h 165401552"/>
              <a:gd name="connsiteX4" fmla="*/ 5334197 w 9530711"/>
              <a:gd name="connsiteY4" fmla="*/ 140065721 h 165401552"/>
              <a:gd name="connsiteX5" fmla="*/ 6660511 w 9530711"/>
              <a:gd name="connsiteY5" fmla="*/ 9721028 h 165401552"/>
              <a:gd name="connsiteX6" fmla="*/ 8006711 w 9530711"/>
              <a:gd name="connsiteY6" fmla="*/ 9678695 h 165401552"/>
              <a:gd name="connsiteX7" fmla="*/ 9530711 w 9530711"/>
              <a:gd name="connsiteY7" fmla="*/ 10445308 h 165401552"/>
              <a:gd name="connsiteX0" fmla="*/ 0 w 9530711"/>
              <a:gd name="connsiteY0" fmla="*/ 120951144 h 164551604"/>
              <a:gd name="connsiteX1" fmla="*/ 1282601 w 9530711"/>
              <a:gd name="connsiteY1" fmla="*/ 141632609 h 164551604"/>
              <a:gd name="connsiteX2" fmla="*/ 2554080 w 9530711"/>
              <a:gd name="connsiteY2" fmla="*/ 119861816 h 164551604"/>
              <a:gd name="connsiteX3" fmla="*/ 3917017 w 9530711"/>
              <a:gd name="connsiteY3" fmla="*/ 164110265 h 164551604"/>
              <a:gd name="connsiteX4" fmla="*/ 5334197 w 9530711"/>
              <a:gd name="connsiteY4" fmla="*/ 140065721 h 164551604"/>
              <a:gd name="connsiteX5" fmla="*/ 6660511 w 9530711"/>
              <a:gd name="connsiteY5" fmla="*/ 9721028 h 164551604"/>
              <a:gd name="connsiteX6" fmla="*/ 8006711 w 9530711"/>
              <a:gd name="connsiteY6" fmla="*/ 9678695 h 164551604"/>
              <a:gd name="connsiteX7" fmla="*/ 9530711 w 9530711"/>
              <a:gd name="connsiteY7" fmla="*/ 10445308 h 164551604"/>
              <a:gd name="connsiteX0" fmla="*/ 0 w 9530711"/>
              <a:gd name="connsiteY0" fmla="*/ 111273126 h 154911744"/>
              <a:gd name="connsiteX1" fmla="*/ 1282601 w 9530711"/>
              <a:gd name="connsiteY1" fmla="*/ 131954591 h 154911744"/>
              <a:gd name="connsiteX2" fmla="*/ 2554080 w 9530711"/>
              <a:gd name="connsiteY2" fmla="*/ 110183798 h 154911744"/>
              <a:gd name="connsiteX3" fmla="*/ 3917017 w 9530711"/>
              <a:gd name="connsiteY3" fmla="*/ 154432247 h 154911744"/>
              <a:gd name="connsiteX4" fmla="*/ 5334197 w 9530711"/>
              <a:gd name="connsiteY4" fmla="*/ 130387703 h 154911744"/>
              <a:gd name="connsiteX5" fmla="*/ 6777469 w 9530711"/>
              <a:gd name="connsiteY5" fmla="*/ 80213120 h 154911744"/>
              <a:gd name="connsiteX6" fmla="*/ 8006711 w 9530711"/>
              <a:gd name="connsiteY6" fmla="*/ 677 h 154911744"/>
              <a:gd name="connsiteX7" fmla="*/ 9530711 w 9530711"/>
              <a:gd name="connsiteY7" fmla="*/ 767290 h 154911744"/>
              <a:gd name="connsiteX0" fmla="*/ 0 w 9530711"/>
              <a:gd name="connsiteY0" fmla="*/ 111272985 h 154911603"/>
              <a:gd name="connsiteX1" fmla="*/ 1282601 w 9530711"/>
              <a:gd name="connsiteY1" fmla="*/ 131954450 h 154911603"/>
              <a:gd name="connsiteX2" fmla="*/ 2554080 w 9530711"/>
              <a:gd name="connsiteY2" fmla="*/ 110183657 h 154911603"/>
              <a:gd name="connsiteX3" fmla="*/ 3917017 w 9530711"/>
              <a:gd name="connsiteY3" fmla="*/ 154432106 h 154911603"/>
              <a:gd name="connsiteX4" fmla="*/ 5334197 w 9530711"/>
              <a:gd name="connsiteY4" fmla="*/ 130387562 h 154911603"/>
              <a:gd name="connsiteX5" fmla="*/ 6777469 w 9530711"/>
              <a:gd name="connsiteY5" fmla="*/ 80212979 h 154911603"/>
              <a:gd name="connsiteX6" fmla="*/ 8006711 w 9530711"/>
              <a:gd name="connsiteY6" fmla="*/ 536 h 154911603"/>
              <a:gd name="connsiteX7" fmla="*/ 9530711 w 9530711"/>
              <a:gd name="connsiteY7" fmla="*/ 767149 h 154911603"/>
              <a:gd name="connsiteX0" fmla="*/ 0 w 9530711"/>
              <a:gd name="connsiteY0" fmla="*/ 111272844 h 154804034"/>
              <a:gd name="connsiteX1" fmla="*/ 1282601 w 9530711"/>
              <a:gd name="connsiteY1" fmla="*/ 131954309 h 154804034"/>
              <a:gd name="connsiteX2" fmla="*/ 2554080 w 9530711"/>
              <a:gd name="connsiteY2" fmla="*/ 110183516 h 154804034"/>
              <a:gd name="connsiteX3" fmla="*/ 3917017 w 9530711"/>
              <a:gd name="connsiteY3" fmla="*/ 154431965 h 154804034"/>
              <a:gd name="connsiteX4" fmla="*/ 5334197 w 9530711"/>
              <a:gd name="connsiteY4" fmla="*/ 130387421 h 154804034"/>
              <a:gd name="connsiteX5" fmla="*/ 6586083 w 9530711"/>
              <a:gd name="connsiteY5" fmla="*/ 112430735 h 154804034"/>
              <a:gd name="connsiteX6" fmla="*/ 8006711 w 9530711"/>
              <a:gd name="connsiteY6" fmla="*/ 395 h 154804034"/>
              <a:gd name="connsiteX7" fmla="*/ 9530711 w 9530711"/>
              <a:gd name="connsiteY7" fmla="*/ 767008 h 154804034"/>
              <a:gd name="connsiteX0" fmla="*/ 0 w 9530711"/>
              <a:gd name="connsiteY0" fmla="*/ 110506154 h 154037344"/>
              <a:gd name="connsiteX1" fmla="*/ 1282601 w 9530711"/>
              <a:gd name="connsiteY1" fmla="*/ 131187619 h 154037344"/>
              <a:gd name="connsiteX2" fmla="*/ 2554080 w 9530711"/>
              <a:gd name="connsiteY2" fmla="*/ 109416826 h 154037344"/>
              <a:gd name="connsiteX3" fmla="*/ 3917017 w 9530711"/>
              <a:gd name="connsiteY3" fmla="*/ 153665275 h 154037344"/>
              <a:gd name="connsiteX4" fmla="*/ 5334197 w 9530711"/>
              <a:gd name="connsiteY4" fmla="*/ 129620731 h 154037344"/>
              <a:gd name="connsiteX5" fmla="*/ 6586083 w 9530711"/>
              <a:gd name="connsiteY5" fmla="*/ 111664045 h 154037344"/>
              <a:gd name="connsiteX6" fmla="*/ 8017343 w 9530711"/>
              <a:gd name="connsiteY6" fmla="*/ 109373946 h 154037344"/>
              <a:gd name="connsiteX7" fmla="*/ 9530711 w 9530711"/>
              <a:gd name="connsiteY7" fmla="*/ 318 h 154037344"/>
              <a:gd name="connsiteX0" fmla="*/ 0 w 9573241"/>
              <a:gd name="connsiteY0" fmla="*/ 1467248 h 44998438"/>
              <a:gd name="connsiteX1" fmla="*/ 1282601 w 9573241"/>
              <a:gd name="connsiteY1" fmla="*/ 22148713 h 44998438"/>
              <a:gd name="connsiteX2" fmla="*/ 2554080 w 9573241"/>
              <a:gd name="connsiteY2" fmla="*/ 377920 h 44998438"/>
              <a:gd name="connsiteX3" fmla="*/ 3917017 w 9573241"/>
              <a:gd name="connsiteY3" fmla="*/ 44626369 h 44998438"/>
              <a:gd name="connsiteX4" fmla="*/ 5334197 w 9573241"/>
              <a:gd name="connsiteY4" fmla="*/ 20581825 h 44998438"/>
              <a:gd name="connsiteX5" fmla="*/ 6586083 w 9573241"/>
              <a:gd name="connsiteY5" fmla="*/ 2625139 h 44998438"/>
              <a:gd name="connsiteX6" fmla="*/ 8017343 w 9573241"/>
              <a:gd name="connsiteY6" fmla="*/ 335040 h 44998438"/>
              <a:gd name="connsiteX7" fmla="*/ 9573241 w 9573241"/>
              <a:gd name="connsiteY7" fmla="*/ 18334499 h 44998438"/>
              <a:gd name="connsiteX0" fmla="*/ 0 w 9392487"/>
              <a:gd name="connsiteY0" fmla="*/ 1467248 h 44998438"/>
              <a:gd name="connsiteX1" fmla="*/ 1282601 w 9392487"/>
              <a:gd name="connsiteY1" fmla="*/ 22148713 h 44998438"/>
              <a:gd name="connsiteX2" fmla="*/ 2554080 w 9392487"/>
              <a:gd name="connsiteY2" fmla="*/ 377920 h 44998438"/>
              <a:gd name="connsiteX3" fmla="*/ 3917017 w 9392487"/>
              <a:gd name="connsiteY3" fmla="*/ 44626369 h 44998438"/>
              <a:gd name="connsiteX4" fmla="*/ 5334197 w 9392487"/>
              <a:gd name="connsiteY4" fmla="*/ 20581825 h 44998438"/>
              <a:gd name="connsiteX5" fmla="*/ 6586083 w 9392487"/>
              <a:gd name="connsiteY5" fmla="*/ 2625139 h 44998438"/>
              <a:gd name="connsiteX6" fmla="*/ 8017343 w 9392487"/>
              <a:gd name="connsiteY6" fmla="*/ 335040 h 44998438"/>
              <a:gd name="connsiteX7" fmla="*/ 9392487 w 9392487"/>
              <a:gd name="connsiteY7" fmla="*/ 4473334 h 44998438"/>
              <a:gd name="connsiteX0" fmla="*/ 0 w 9392487"/>
              <a:gd name="connsiteY0" fmla="*/ 3067643 h 46598833"/>
              <a:gd name="connsiteX1" fmla="*/ 1316891 w 9392487"/>
              <a:gd name="connsiteY1" fmla="*/ 7237435 h 46598833"/>
              <a:gd name="connsiteX2" fmla="*/ 2554080 w 9392487"/>
              <a:gd name="connsiteY2" fmla="*/ 1978315 h 46598833"/>
              <a:gd name="connsiteX3" fmla="*/ 3917017 w 9392487"/>
              <a:gd name="connsiteY3" fmla="*/ 46226764 h 46598833"/>
              <a:gd name="connsiteX4" fmla="*/ 5334197 w 9392487"/>
              <a:gd name="connsiteY4" fmla="*/ 22182220 h 46598833"/>
              <a:gd name="connsiteX5" fmla="*/ 6586083 w 9392487"/>
              <a:gd name="connsiteY5" fmla="*/ 4225534 h 46598833"/>
              <a:gd name="connsiteX6" fmla="*/ 8017343 w 9392487"/>
              <a:gd name="connsiteY6" fmla="*/ 1935435 h 46598833"/>
              <a:gd name="connsiteX7" fmla="*/ 9392487 w 9392487"/>
              <a:gd name="connsiteY7" fmla="*/ 6073729 h 46598833"/>
              <a:gd name="connsiteX0" fmla="*/ 0 w 9392487"/>
              <a:gd name="connsiteY0" fmla="*/ 1399211 h 20591232"/>
              <a:gd name="connsiteX1" fmla="*/ 1316891 w 9392487"/>
              <a:gd name="connsiteY1" fmla="*/ 5569003 h 20591232"/>
              <a:gd name="connsiteX2" fmla="*/ 2554080 w 9392487"/>
              <a:gd name="connsiteY2" fmla="*/ 309883 h 20591232"/>
              <a:gd name="connsiteX3" fmla="*/ 4065607 w 9392487"/>
              <a:gd name="connsiteY3" fmla="*/ 8715920 h 20591232"/>
              <a:gd name="connsiteX4" fmla="*/ 5334197 w 9392487"/>
              <a:gd name="connsiteY4" fmla="*/ 20513788 h 20591232"/>
              <a:gd name="connsiteX5" fmla="*/ 6586083 w 9392487"/>
              <a:gd name="connsiteY5" fmla="*/ 2557102 h 20591232"/>
              <a:gd name="connsiteX6" fmla="*/ 8017343 w 9392487"/>
              <a:gd name="connsiteY6" fmla="*/ 267003 h 20591232"/>
              <a:gd name="connsiteX7" fmla="*/ 9392487 w 9392487"/>
              <a:gd name="connsiteY7" fmla="*/ 4405297 h 20591232"/>
              <a:gd name="connsiteX0" fmla="*/ 0 w 9392487"/>
              <a:gd name="connsiteY0" fmla="*/ 1163214 h 9458018"/>
              <a:gd name="connsiteX1" fmla="*/ 1316891 w 9392487"/>
              <a:gd name="connsiteY1" fmla="*/ 5333006 h 9458018"/>
              <a:gd name="connsiteX2" fmla="*/ 2554080 w 9392487"/>
              <a:gd name="connsiteY2" fmla="*/ 73886 h 9458018"/>
              <a:gd name="connsiteX3" fmla="*/ 4065607 w 9392487"/>
              <a:gd name="connsiteY3" fmla="*/ 8479923 h 9458018"/>
              <a:gd name="connsiteX4" fmla="*/ 5311337 w 9392487"/>
              <a:gd name="connsiteY4" fmla="*/ 8598803 h 9458018"/>
              <a:gd name="connsiteX5" fmla="*/ 6586083 w 9392487"/>
              <a:gd name="connsiteY5" fmla="*/ 2321105 h 9458018"/>
              <a:gd name="connsiteX6" fmla="*/ 8017343 w 9392487"/>
              <a:gd name="connsiteY6" fmla="*/ 31006 h 9458018"/>
              <a:gd name="connsiteX7" fmla="*/ 9392487 w 9392487"/>
              <a:gd name="connsiteY7" fmla="*/ 4169300 h 9458018"/>
              <a:gd name="connsiteX0" fmla="*/ 0 w 9392487"/>
              <a:gd name="connsiteY0" fmla="*/ 1138797 h 9175970"/>
              <a:gd name="connsiteX1" fmla="*/ 1316891 w 9392487"/>
              <a:gd name="connsiteY1" fmla="*/ 5308589 h 9175970"/>
              <a:gd name="connsiteX2" fmla="*/ 2554080 w 9392487"/>
              <a:gd name="connsiteY2" fmla="*/ 49469 h 9175970"/>
              <a:gd name="connsiteX3" fmla="*/ 4065607 w 9392487"/>
              <a:gd name="connsiteY3" fmla="*/ 8455506 h 9175970"/>
              <a:gd name="connsiteX4" fmla="*/ 5311337 w 9392487"/>
              <a:gd name="connsiteY4" fmla="*/ 8574386 h 9175970"/>
              <a:gd name="connsiteX5" fmla="*/ 6586083 w 9392487"/>
              <a:gd name="connsiteY5" fmla="*/ 7129373 h 9175970"/>
              <a:gd name="connsiteX6" fmla="*/ 8017343 w 9392487"/>
              <a:gd name="connsiteY6" fmla="*/ 6589 h 9175970"/>
              <a:gd name="connsiteX7" fmla="*/ 9392487 w 9392487"/>
              <a:gd name="connsiteY7" fmla="*/ 4144883 h 9175970"/>
              <a:gd name="connsiteX0" fmla="*/ 0 w 9392487"/>
              <a:gd name="connsiteY0" fmla="*/ 1123964 h 9161137"/>
              <a:gd name="connsiteX1" fmla="*/ 1316891 w 9392487"/>
              <a:gd name="connsiteY1" fmla="*/ 5293756 h 9161137"/>
              <a:gd name="connsiteX2" fmla="*/ 2554080 w 9392487"/>
              <a:gd name="connsiteY2" fmla="*/ 34636 h 9161137"/>
              <a:gd name="connsiteX3" fmla="*/ 4065607 w 9392487"/>
              <a:gd name="connsiteY3" fmla="*/ 8440673 h 9161137"/>
              <a:gd name="connsiteX4" fmla="*/ 5311337 w 9392487"/>
              <a:gd name="connsiteY4" fmla="*/ 8559553 h 9161137"/>
              <a:gd name="connsiteX5" fmla="*/ 6586083 w 9392487"/>
              <a:gd name="connsiteY5" fmla="*/ 7114540 h 9161137"/>
              <a:gd name="connsiteX6" fmla="*/ 8005913 w 9392487"/>
              <a:gd name="connsiteY6" fmla="*/ 7240783 h 9161137"/>
              <a:gd name="connsiteX7" fmla="*/ 9392487 w 9392487"/>
              <a:gd name="connsiteY7" fmla="*/ 4130050 h 9161137"/>
              <a:gd name="connsiteX0" fmla="*/ 0 w 9694637"/>
              <a:gd name="connsiteY0" fmla="*/ 135461079 h 135463404"/>
              <a:gd name="connsiteX1" fmla="*/ 1619041 w 9694637"/>
              <a:gd name="connsiteY1" fmla="*/ 11319602 h 135463404"/>
              <a:gd name="connsiteX2" fmla="*/ 2856230 w 9694637"/>
              <a:gd name="connsiteY2" fmla="*/ 6060482 h 135463404"/>
              <a:gd name="connsiteX3" fmla="*/ 4367757 w 9694637"/>
              <a:gd name="connsiteY3" fmla="*/ 14466519 h 135463404"/>
              <a:gd name="connsiteX4" fmla="*/ 5613487 w 9694637"/>
              <a:gd name="connsiteY4" fmla="*/ 14585399 h 135463404"/>
              <a:gd name="connsiteX5" fmla="*/ 6888233 w 9694637"/>
              <a:gd name="connsiteY5" fmla="*/ 13140386 h 135463404"/>
              <a:gd name="connsiteX6" fmla="*/ 8308063 w 9694637"/>
              <a:gd name="connsiteY6" fmla="*/ 13266629 h 135463404"/>
              <a:gd name="connsiteX7" fmla="*/ 9694637 w 9694637"/>
              <a:gd name="connsiteY7" fmla="*/ 10155896 h 135463404"/>
              <a:gd name="connsiteX0" fmla="*/ 0 w 9694637"/>
              <a:gd name="connsiteY0" fmla="*/ 135399666 h 135620653"/>
              <a:gd name="connsiteX1" fmla="*/ 1237379 w 9694637"/>
              <a:gd name="connsiteY1" fmla="*/ 115476080 h 135620653"/>
              <a:gd name="connsiteX2" fmla="*/ 2856230 w 9694637"/>
              <a:gd name="connsiteY2" fmla="*/ 5999069 h 135620653"/>
              <a:gd name="connsiteX3" fmla="*/ 4367757 w 9694637"/>
              <a:gd name="connsiteY3" fmla="*/ 14405106 h 135620653"/>
              <a:gd name="connsiteX4" fmla="*/ 5613487 w 9694637"/>
              <a:gd name="connsiteY4" fmla="*/ 14523986 h 135620653"/>
              <a:gd name="connsiteX5" fmla="*/ 6888233 w 9694637"/>
              <a:gd name="connsiteY5" fmla="*/ 13078973 h 135620653"/>
              <a:gd name="connsiteX6" fmla="*/ 8308063 w 9694637"/>
              <a:gd name="connsiteY6" fmla="*/ 13205216 h 135620653"/>
              <a:gd name="connsiteX7" fmla="*/ 9694637 w 9694637"/>
              <a:gd name="connsiteY7" fmla="*/ 10094483 h 135620653"/>
              <a:gd name="connsiteX0" fmla="*/ 0 w 9694637"/>
              <a:gd name="connsiteY0" fmla="*/ 135399666 h 135438317"/>
              <a:gd name="connsiteX1" fmla="*/ 1237379 w 9694637"/>
              <a:gd name="connsiteY1" fmla="*/ 115476080 h 135438317"/>
              <a:gd name="connsiteX2" fmla="*/ 2856230 w 9694637"/>
              <a:gd name="connsiteY2" fmla="*/ 5999069 h 135438317"/>
              <a:gd name="connsiteX3" fmla="*/ 4367757 w 9694637"/>
              <a:gd name="connsiteY3" fmla="*/ 14405106 h 135438317"/>
              <a:gd name="connsiteX4" fmla="*/ 5613487 w 9694637"/>
              <a:gd name="connsiteY4" fmla="*/ 14523986 h 135438317"/>
              <a:gd name="connsiteX5" fmla="*/ 6888233 w 9694637"/>
              <a:gd name="connsiteY5" fmla="*/ 13078973 h 135438317"/>
              <a:gd name="connsiteX6" fmla="*/ 8308063 w 9694637"/>
              <a:gd name="connsiteY6" fmla="*/ 13205216 h 135438317"/>
              <a:gd name="connsiteX7" fmla="*/ 9694637 w 9694637"/>
              <a:gd name="connsiteY7" fmla="*/ 10094483 h 135438317"/>
              <a:gd name="connsiteX0" fmla="*/ 0 w 9694637"/>
              <a:gd name="connsiteY0" fmla="*/ 135399666 h 135430389"/>
              <a:gd name="connsiteX1" fmla="*/ 1237379 w 9694637"/>
              <a:gd name="connsiteY1" fmla="*/ 115476080 h 135430389"/>
              <a:gd name="connsiteX2" fmla="*/ 2856230 w 9694637"/>
              <a:gd name="connsiteY2" fmla="*/ 5999069 h 135430389"/>
              <a:gd name="connsiteX3" fmla="*/ 4367757 w 9694637"/>
              <a:gd name="connsiteY3" fmla="*/ 14405106 h 135430389"/>
              <a:gd name="connsiteX4" fmla="*/ 5613487 w 9694637"/>
              <a:gd name="connsiteY4" fmla="*/ 14523986 h 135430389"/>
              <a:gd name="connsiteX5" fmla="*/ 6888233 w 9694637"/>
              <a:gd name="connsiteY5" fmla="*/ 13078973 h 135430389"/>
              <a:gd name="connsiteX6" fmla="*/ 8308063 w 9694637"/>
              <a:gd name="connsiteY6" fmla="*/ 13205216 h 135430389"/>
              <a:gd name="connsiteX7" fmla="*/ 9694637 w 9694637"/>
              <a:gd name="connsiteY7" fmla="*/ 10094483 h 135430389"/>
              <a:gd name="connsiteX0" fmla="*/ 0 w 9694637"/>
              <a:gd name="connsiteY0" fmla="*/ 135399666 h 135399665"/>
              <a:gd name="connsiteX1" fmla="*/ 1237379 w 9694637"/>
              <a:gd name="connsiteY1" fmla="*/ 115476080 h 135399665"/>
              <a:gd name="connsiteX2" fmla="*/ 2856230 w 9694637"/>
              <a:gd name="connsiteY2" fmla="*/ 5999069 h 135399665"/>
              <a:gd name="connsiteX3" fmla="*/ 4367757 w 9694637"/>
              <a:gd name="connsiteY3" fmla="*/ 14405106 h 135399665"/>
              <a:gd name="connsiteX4" fmla="*/ 5613487 w 9694637"/>
              <a:gd name="connsiteY4" fmla="*/ 14523986 h 135399665"/>
              <a:gd name="connsiteX5" fmla="*/ 6888233 w 9694637"/>
              <a:gd name="connsiteY5" fmla="*/ 13078973 h 135399665"/>
              <a:gd name="connsiteX6" fmla="*/ 8308063 w 9694637"/>
              <a:gd name="connsiteY6" fmla="*/ 13205216 h 135399665"/>
              <a:gd name="connsiteX7" fmla="*/ 9694637 w 9694637"/>
              <a:gd name="connsiteY7" fmla="*/ 10094483 h 135399665"/>
              <a:gd name="connsiteX0" fmla="*/ 0 w 9694637"/>
              <a:gd name="connsiteY0" fmla="*/ 135399666 h 135399665"/>
              <a:gd name="connsiteX1" fmla="*/ 1237379 w 9694637"/>
              <a:gd name="connsiteY1" fmla="*/ 115476080 h 135399665"/>
              <a:gd name="connsiteX2" fmla="*/ 2856230 w 9694637"/>
              <a:gd name="connsiteY2" fmla="*/ 5999069 h 135399665"/>
              <a:gd name="connsiteX3" fmla="*/ 4367757 w 9694637"/>
              <a:gd name="connsiteY3" fmla="*/ 14405106 h 135399665"/>
              <a:gd name="connsiteX4" fmla="*/ 5613487 w 9694637"/>
              <a:gd name="connsiteY4" fmla="*/ 14523986 h 135399665"/>
              <a:gd name="connsiteX5" fmla="*/ 6888233 w 9694637"/>
              <a:gd name="connsiteY5" fmla="*/ 13078973 h 135399665"/>
              <a:gd name="connsiteX6" fmla="*/ 8308063 w 9694637"/>
              <a:gd name="connsiteY6" fmla="*/ 13205216 h 135399665"/>
              <a:gd name="connsiteX7" fmla="*/ 9694637 w 9694637"/>
              <a:gd name="connsiteY7" fmla="*/ 10094483 h 135399665"/>
              <a:gd name="connsiteX0" fmla="*/ 0 w 9694637"/>
              <a:gd name="connsiteY0" fmla="*/ 128709237 h 128709236"/>
              <a:gd name="connsiteX1" fmla="*/ 1237379 w 9694637"/>
              <a:gd name="connsiteY1" fmla="*/ 108785651 h 128709236"/>
              <a:gd name="connsiteX2" fmla="*/ 2530226 w 9694637"/>
              <a:gd name="connsiteY2" fmla="*/ 113051809 h 128709236"/>
              <a:gd name="connsiteX3" fmla="*/ 4367757 w 9694637"/>
              <a:gd name="connsiteY3" fmla="*/ 7714677 h 128709236"/>
              <a:gd name="connsiteX4" fmla="*/ 5613487 w 9694637"/>
              <a:gd name="connsiteY4" fmla="*/ 7833557 h 128709236"/>
              <a:gd name="connsiteX5" fmla="*/ 6888233 w 9694637"/>
              <a:gd name="connsiteY5" fmla="*/ 6388544 h 128709236"/>
              <a:gd name="connsiteX6" fmla="*/ 8308063 w 9694637"/>
              <a:gd name="connsiteY6" fmla="*/ 6514787 h 128709236"/>
              <a:gd name="connsiteX7" fmla="*/ 9694637 w 9694637"/>
              <a:gd name="connsiteY7" fmla="*/ 3404054 h 128709236"/>
              <a:gd name="connsiteX0" fmla="*/ 0 w 9694637"/>
              <a:gd name="connsiteY0" fmla="*/ 128709237 h 128709236"/>
              <a:gd name="connsiteX1" fmla="*/ 1237379 w 9694637"/>
              <a:gd name="connsiteY1" fmla="*/ 108785651 h 128709236"/>
              <a:gd name="connsiteX2" fmla="*/ 2530226 w 9694637"/>
              <a:gd name="connsiteY2" fmla="*/ 113051809 h 128709236"/>
              <a:gd name="connsiteX3" fmla="*/ 4367757 w 9694637"/>
              <a:gd name="connsiteY3" fmla="*/ 7714677 h 128709236"/>
              <a:gd name="connsiteX4" fmla="*/ 5613487 w 9694637"/>
              <a:gd name="connsiteY4" fmla="*/ 7833557 h 128709236"/>
              <a:gd name="connsiteX5" fmla="*/ 6888233 w 9694637"/>
              <a:gd name="connsiteY5" fmla="*/ 6388544 h 128709236"/>
              <a:gd name="connsiteX6" fmla="*/ 8308063 w 9694637"/>
              <a:gd name="connsiteY6" fmla="*/ 6514787 h 128709236"/>
              <a:gd name="connsiteX7" fmla="*/ 9694637 w 9694637"/>
              <a:gd name="connsiteY7" fmla="*/ 3404054 h 128709236"/>
              <a:gd name="connsiteX0" fmla="*/ 0 w 9694637"/>
              <a:gd name="connsiteY0" fmla="*/ 128480992 h 128480991"/>
              <a:gd name="connsiteX1" fmla="*/ 1237379 w 9694637"/>
              <a:gd name="connsiteY1" fmla="*/ 108557406 h 128480991"/>
              <a:gd name="connsiteX2" fmla="*/ 2562031 w 9694637"/>
              <a:gd name="connsiteY2" fmla="*/ 109741865 h 128480991"/>
              <a:gd name="connsiteX3" fmla="*/ 4367757 w 9694637"/>
              <a:gd name="connsiteY3" fmla="*/ 7486432 h 128480991"/>
              <a:gd name="connsiteX4" fmla="*/ 5613487 w 9694637"/>
              <a:gd name="connsiteY4" fmla="*/ 7605312 h 128480991"/>
              <a:gd name="connsiteX5" fmla="*/ 6888233 w 9694637"/>
              <a:gd name="connsiteY5" fmla="*/ 6160299 h 128480991"/>
              <a:gd name="connsiteX6" fmla="*/ 8308063 w 9694637"/>
              <a:gd name="connsiteY6" fmla="*/ 6286542 h 128480991"/>
              <a:gd name="connsiteX7" fmla="*/ 9694637 w 9694637"/>
              <a:gd name="connsiteY7" fmla="*/ 3175809 h 128480991"/>
              <a:gd name="connsiteX0" fmla="*/ 0 w 9694637"/>
              <a:gd name="connsiteY0" fmla="*/ 128480992 h 128480991"/>
              <a:gd name="connsiteX1" fmla="*/ 1237379 w 9694637"/>
              <a:gd name="connsiteY1" fmla="*/ 108557406 h 128480991"/>
              <a:gd name="connsiteX2" fmla="*/ 2562031 w 9694637"/>
              <a:gd name="connsiteY2" fmla="*/ 109741865 h 128480991"/>
              <a:gd name="connsiteX3" fmla="*/ 4367757 w 9694637"/>
              <a:gd name="connsiteY3" fmla="*/ 7486432 h 128480991"/>
              <a:gd name="connsiteX4" fmla="*/ 5613487 w 9694637"/>
              <a:gd name="connsiteY4" fmla="*/ 7605312 h 128480991"/>
              <a:gd name="connsiteX5" fmla="*/ 6888233 w 9694637"/>
              <a:gd name="connsiteY5" fmla="*/ 6160299 h 128480991"/>
              <a:gd name="connsiteX6" fmla="*/ 8308063 w 9694637"/>
              <a:gd name="connsiteY6" fmla="*/ 6286542 h 128480991"/>
              <a:gd name="connsiteX7" fmla="*/ 9694637 w 9694637"/>
              <a:gd name="connsiteY7" fmla="*/ 3175809 h 128480991"/>
              <a:gd name="connsiteX0" fmla="*/ 0 w 9694637"/>
              <a:gd name="connsiteY0" fmla="*/ 128480992 h 128480991"/>
              <a:gd name="connsiteX1" fmla="*/ 1237379 w 9694637"/>
              <a:gd name="connsiteY1" fmla="*/ 108557406 h 128480991"/>
              <a:gd name="connsiteX2" fmla="*/ 2562031 w 9694637"/>
              <a:gd name="connsiteY2" fmla="*/ 109741865 h 128480991"/>
              <a:gd name="connsiteX3" fmla="*/ 4367757 w 9694637"/>
              <a:gd name="connsiteY3" fmla="*/ 7486432 h 128480991"/>
              <a:gd name="connsiteX4" fmla="*/ 5613487 w 9694637"/>
              <a:gd name="connsiteY4" fmla="*/ 7605312 h 128480991"/>
              <a:gd name="connsiteX5" fmla="*/ 6888233 w 9694637"/>
              <a:gd name="connsiteY5" fmla="*/ 6160299 h 128480991"/>
              <a:gd name="connsiteX6" fmla="*/ 8308063 w 9694637"/>
              <a:gd name="connsiteY6" fmla="*/ 6286542 h 128480991"/>
              <a:gd name="connsiteX7" fmla="*/ 9694637 w 9694637"/>
              <a:gd name="connsiteY7" fmla="*/ 3175809 h 128480991"/>
              <a:gd name="connsiteX0" fmla="*/ 0 w 9694637"/>
              <a:gd name="connsiteY0" fmla="*/ 128480992 h 128480991"/>
              <a:gd name="connsiteX1" fmla="*/ 1237379 w 9694637"/>
              <a:gd name="connsiteY1" fmla="*/ 108557406 h 128480991"/>
              <a:gd name="connsiteX2" fmla="*/ 2562031 w 9694637"/>
              <a:gd name="connsiteY2" fmla="*/ 109741865 h 128480991"/>
              <a:gd name="connsiteX3" fmla="*/ 4367757 w 9694637"/>
              <a:gd name="connsiteY3" fmla="*/ 7486432 h 128480991"/>
              <a:gd name="connsiteX4" fmla="*/ 5613487 w 9694637"/>
              <a:gd name="connsiteY4" fmla="*/ 7605312 h 128480991"/>
              <a:gd name="connsiteX5" fmla="*/ 6888233 w 9694637"/>
              <a:gd name="connsiteY5" fmla="*/ 6160299 h 128480991"/>
              <a:gd name="connsiteX6" fmla="*/ 8308063 w 9694637"/>
              <a:gd name="connsiteY6" fmla="*/ 6286542 h 128480991"/>
              <a:gd name="connsiteX7" fmla="*/ 9694637 w 9694637"/>
              <a:gd name="connsiteY7" fmla="*/ 3175809 h 128480991"/>
              <a:gd name="connsiteX0" fmla="*/ 0 w 9694637"/>
              <a:gd name="connsiteY0" fmla="*/ 128889001 h 128889000"/>
              <a:gd name="connsiteX1" fmla="*/ 1237379 w 9694637"/>
              <a:gd name="connsiteY1" fmla="*/ 108965415 h 128889000"/>
              <a:gd name="connsiteX2" fmla="*/ 2562031 w 9694637"/>
              <a:gd name="connsiteY2" fmla="*/ 110149874 h 128889000"/>
              <a:gd name="connsiteX3" fmla="*/ 3914533 w 9694637"/>
              <a:gd name="connsiteY3" fmla="*/ 110151248 h 128889000"/>
              <a:gd name="connsiteX4" fmla="*/ 5613487 w 9694637"/>
              <a:gd name="connsiteY4" fmla="*/ 8013321 h 128889000"/>
              <a:gd name="connsiteX5" fmla="*/ 6888233 w 9694637"/>
              <a:gd name="connsiteY5" fmla="*/ 6568308 h 128889000"/>
              <a:gd name="connsiteX6" fmla="*/ 8308063 w 9694637"/>
              <a:gd name="connsiteY6" fmla="*/ 6694551 h 128889000"/>
              <a:gd name="connsiteX7" fmla="*/ 9694637 w 9694637"/>
              <a:gd name="connsiteY7" fmla="*/ 3583818 h 128889000"/>
              <a:gd name="connsiteX0" fmla="*/ 0 w 9694637"/>
              <a:gd name="connsiteY0" fmla="*/ 128889001 h 128889000"/>
              <a:gd name="connsiteX1" fmla="*/ 1237379 w 9694637"/>
              <a:gd name="connsiteY1" fmla="*/ 108965415 h 128889000"/>
              <a:gd name="connsiteX2" fmla="*/ 2562031 w 9694637"/>
              <a:gd name="connsiteY2" fmla="*/ 110149874 h 128889000"/>
              <a:gd name="connsiteX3" fmla="*/ 3914533 w 9694637"/>
              <a:gd name="connsiteY3" fmla="*/ 110151248 h 128889000"/>
              <a:gd name="connsiteX4" fmla="*/ 5613487 w 9694637"/>
              <a:gd name="connsiteY4" fmla="*/ 8013321 h 128889000"/>
              <a:gd name="connsiteX5" fmla="*/ 6888233 w 9694637"/>
              <a:gd name="connsiteY5" fmla="*/ 6568308 h 128889000"/>
              <a:gd name="connsiteX6" fmla="*/ 8308063 w 9694637"/>
              <a:gd name="connsiteY6" fmla="*/ 6694551 h 128889000"/>
              <a:gd name="connsiteX7" fmla="*/ 9694637 w 9694637"/>
              <a:gd name="connsiteY7" fmla="*/ 3583818 h 128889000"/>
              <a:gd name="connsiteX0" fmla="*/ 0 w 9694637"/>
              <a:gd name="connsiteY0" fmla="*/ 130011659 h 130011658"/>
              <a:gd name="connsiteX1" fmla="*/ 1237379 w 9694637"/>
              <a:gd name="connsiteY1" fmla="*/ 110088073 h 130011658"/>
              <a:gd name="connsiteX2" fmla="*/ 2562031 w 9694637"/>
              <a:gd name="connsiteY2" fmla="*/ 111272532 h 130011658"/>
              <a:gd name="connsiteX3" fmla="*/ 3914533 w 9694637"/>
              <a:gd name="connsiteY3" fmla="*/ 111273906 h 130011658"/>
              <a:gd name="connsiteX4" fmla="*/ 5366996 w 9694637"/>
              <a:gd name="connsiteY4" fmla="*/ 111392785 h 130011658"/>
              <a:gd name="connsiteX5" fmla="*/ 6888233 w 9694637"/>
              <a:gd name="connsiteY5" fmla="*/ 7690966 h 130011658"/>
              <a:gd name="connsiteX6" fmla="*/ 8308063 w 9694637"/>
              <a:gd name="connsiteY6" fmla="*/ 7817209 h 130011658"/>
              <a:gd name="connsiteX7" fmla="*/ 9694637 w 9694637"/>
              <a:gd name="connsiteY7" fmla="*/ 4706476 h 130011658"/>
              <a:gd name="connsiteX0" fmla="*/ 0 w 9694637"/>
              <a:gd name="connsiteY0" fmla="*/ 130011659 h 130011658"/>
              <a:gd name="connsiteX1" fmla="*/ 1237379 w 9694637"/>
              <a:gd name="connsiteY1" fmla="*/ 110088073 h 130011658"/>
              <a:gd name="connsiteX2" fmla="*/ 2562031 w 9694637"/>
              <a:gd name="connsiteY2" fmla="*/ 111272532 h 130011658"/>
              <a:gd name="connsiteX3" fmla="*/ 3914533 w 9694637"/>
              <a:gd name="connsiteY3" fmla="*/ 111273906 h 130011658"/>
              <a:gd name="connsiteX4" fmla="*/ 5366996 w 9694637"/>
              <a:gd name="connsiteY4" fmla="*/ 111392785 h 130011658"/>
              <a:gd name="connsiteX5" fmla="*/ 6888233 w 9694637"/>
              <a:gd name="connsiteY5" fmla="*/ 7690966 h 130011658"/>
              <a:gd name="connsiteX6" fmla="*/ 8308063 w 9694637"/>
              <a:gd name="connsiteY6" fmla="*/ 7817209 h 130011658"/>
              <a:gd name="connsiteX7" fmla="*/ 9694637 w 9694637"/>
              <a:gd name="connsiteY7" fmla="*/ 4706476 h 130011658"/>
              <a:gd name="connsiteX0" fmla="*/ 0 w 9694637"/>
              <a:gd name="connsiteY0" fmla="*/ 130011659 h 130011658"/>
              <a:gd name="connsiteX1" fmla="*/ 1237379 w 9694637"/>
              <a:gd name="connsiteY1" fmla="*/ 110088073 h 130011658"/>
              <a:gd name="connsiteX2" fmla="*/ 2562031 w 9694637"/>
              <a:gd name="connsiteY2" fmla="*/ 111272532 h 130011658"/>
              <a:gd name="connsiteX3" fmla="*/ 3914533 w 9694637"/>
              <a:gd name="connsiteY3" fmla="*/ 111273906 h 130011658"/>
              <a:gd name="connsiteX4" fmla="*/ 5319289 w 9694637"/>
              <a:gd name="connsiteY4" fmla="*/ 111392785 h 130011658"/>
              <a:gd name="connsiteX5" fmla="*/ 6888233 w 9694637"/>
              <a:gd name="connsiteY5" fmla="*/ 7690966 h 130011658"/>
              <a:gd name="connsiteX6" fmla="*/ 8308063 w 9694637"/>
              <a:gd name="connsiteY6" fmla="*/ 7817209 h 130011658"/>
              <a:gd name="connsiteX7" fmla="*/ 9694637 w 9694637"/>
              <a:gd name="connsiteY7" fmla="*/ 4706476 h 130011658"/>
              <a:gd name="connsiteX0" fmla="*/ 0 w 9694637"/>
              <a:gd name="connsiteY0" fmla="*/ 125314413 h 125314412"/>
              <a:gd name="connsiteX1" fmla="*/ 1237379 w 9694637"/>
              <a:gd name="connsiteY1" fmla="*/ 105390827 h 125314412"/>
              <a:gd name="connsiteX2" fmla="*/ 2562031 w 9694637"/>
              <a:gd name="connsiteY2" fmla="*/ 106575286 h 125314412"/>
              <a:gd name="connsiteX3" fmla="*/ 3914533 w 9694637"/>
              <a:gd name="connsiteY3" fmla="*/ 106576660 h 125314412"/>
              <a:gd name="connsiteX4" fmla="*/ 5319289 w 9694637"/>
              <a:gd name="connsiteY4" fmla="*/ 106695539 h 125314412"/>
              <a:gd name="connsiteX5" fmla="*/ 6641742 w 9694637"/>
              <a:gd name="connsiteY5" fmla="*/ 90682426 h 125314412"/>
              <a:gd name="connsiteX6" fmla="*/ 8308063 w 9694637"/>
              <a:gd name="connsiteY6" fmla="*/ 3119963 h 125314412"/>
              <a:gd name="connsiteX7" fmla="*/ 9694637 w 9694637"/>
              <a:gd name="connsiteY7" fmla="*/ 9230 h 125314412"/>
              <a:gd name="connsiteX0" fmla="*/ 0 w 9694637"/>
              <a:gd name="connsiteY0" fmla="*/ 125314413 h 125314412"/>
              <a:gd name="connsiteX1" fmla="*/ 1237379 w 9694637"/>
              <a:gd name="connsiteY1" fmla="*/ 105390827 h 125314412"/>
              <a:gd name="connsiteX2" fmla="*/ 2562031 w 9694637"/>
              <a:gd name="connsiteY2" fmla="*/ 106575286 h 125314412"/>
              <a:gd name="connsiteX3" fmla="*/ 3914533 w 9694637"/>
              <a:gd name="connsiteY3" fmla="*/ 106576660 h 125314412"/>
              <a:gd name="connsiteX4" fmla="*/ 5319289 w 9694637"/>
              <a:gd name="connsiteY4" fmla="*/ 106695539 h 125314412"/>
              <a:gd name="connsiteX5" fmla="*/ 6641742 w 9694637"/>
              <a:gd name="connsiteY5" fmla="*/ 90682426 h 125314412"/>
              <a:gd name="connsiteX6" fmla="*/ 8308063 w 9694637"/>
              <a:gd name="connsiteY6" fmla="*/ 3119963 h 125314412"/>
              <a:gd name="connsiteX7" fmla="*/ 9694637 w 9694637"/>
              <a:gd name="connsiteY7" fmla="*/ 9230 h 125314412"/>
              <a:gd name="connsiteX0" fmla="*/ 0 w 9694637"/>
              <a:gd name="connsiteY0" fmla="*/ 125305569 h 125305568"/>
              <a:gd name="connsiteX1" fmla="*/ 1237379 w 9694637"/>
              <a:gd name="connsiteY1" fmla="*/ 105381983 h 125305568"/>
              <a:gd name="connsiteX2" fmla="*/ 2562031 w 9694637"/>
              <a:gd name="connsiteY2" fmla="*/ 106566442 h 125305568"/>
              <a:gd name="connsiteX3" fmla="*/ 3914533 w 9694637"/>
              <a:gd name="connsiteY3" fmla="*/ 106567816 h 125305568"/>
              <a:gd name="connsiteX4" fmla="*/ 5319289 w 9694637"/>
              <a:gd name="connsiteY4" fmla="*/ 106686695 h 125305568"/>
              <a:gd name="connsiteX5" fmla="*/ 6641742 w 9694637"/>
              <a:gd name="connsiteY5" fmla="*/ 90673582 h 125305568"/>
              <a:gd name="connsiteX6" fmla="*/ 8053622 w 9694637"/>
              <a:gd name="connsiteY6" fmla="*/ 89118921 h 125305568"/>
              <a:gd name="connsiteX7" fmla="*/ 9694637 w 9694637"/>
              <a:gd name="connsiteY7" fmla="*/ 386 h 125305568"/>
              <a:gd name="connsiteX0" fmla="*/ 0 w 9456098"/>
              <a:gd name="connsiteY0" fmla="*/ 36599343 h 36599342"/>
              <a:gd name="connsiteX1" fmla="*/ 1237379 w 9456098"/>
              <a:gd name="connsiteY1" fmla="*/ 16675757 h 36599342"/>
              <a:gd name="connsiteX2" fmla="*/ 2562031 w 9456098"/>
              <a:gd name="connsiteY2" fmla="*/ 17860216 h 36599342"/>
              <a:gd name="connsiteX3" fmla="*/ 3914533 w 9456098"/>
              <a:gd name="connsiteY3" fmla="*/ 17861590 h 36599342"/>
              <a:gd name="connsiteX4" fmla="*/ 5319289 w 9456098"/>
              <a:gd name="connsiteY4" fmla="*/ 17980469 h 36599342"/>
              <a:gd name="connsiteX5" fmla="*/ 6641742 w 9456098"/>
              <a:gd name="connsiteY5" fmla="*/ 1967356 h 36599342"/>
              <a:gd name="connsiteX6" fmla="*/ 8053622 w 9456098"/>
              <a:gd name="connsiteY6" fmla="*/ 412695 h 36599342"/>
              <a:gd name="connsiteX7" fmla="*/ 9456098 w 9456098"/>
              <a:gd name="connsiteY7" fmla="*/ 17473171 h 36599342"/>
              <a:gd name="connsiteX0" fmla="*/ 0 w 9456098"/>
              <a:gd name="connsiteY0" fmla="*/ 36599343 h 36599342"/>
              <a:gd name="connsiteX1" fmla="*/ 1237379 w 9456098"/>
              <a:gd name="connsiteY1" fmla="*/ 16675757 h 36599342"/>
              <a:gd name="connsiteX2" fmla="*/ 2562031 w 9456098"/>
              <a:gd name="connsiteY2" fmla="*/ 17860216 h 36599342"/>
              <a:gd name="connsiteX3" fmla="*/ 3914533 w 9456098"/>
              <a:gd name="connsiteY3" fmla="*/ 17861590 h 36599342"/>
              <a:gd name="connsiteX4" fmla="*/ 5319289 w 9456098"/>
              <a:gd name="connsiteY4" fmla="*/ 17980469 h 36599342"/>
              <a:gd name="connsiteX5" fmla="*/ 6641742 w 9456098"/>
              <a:gd name="connsiteY5" fmla="*/ 1967356 h 36599342"/>
              <a:gd name="connsiteX6" fmla="*/ 8053622 w 9456098"/>
              <a:gd name="connsiteY6" fmla="*/ 412695 h 36599342"/>
              <a:gd name="connsiteX7" fmla="*/ 9456098 w 9456098"/>
              <a:gd name="connsiteY7" fmla="*/ 17473171 h 3659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56098" h="36599342">
                <a:moveTo>
                  <a:pt x="0" y="36599343"/>
                </a:moveTo>
                <a:cubicBezTo>
                  <a:pt x="436033" y="29883263"/>
                  <a:pt x="786520" y="18678312"/>
                  <a:pt x="1237379" y="16675757"/>
                </a:cubicBezTo>
                <a:cubicBezTo>
                  <a:pt x="1688238" y="14673202"/>
                  <a:pt x="2115839" y="17662577"/>
                  <a:pt x="2562031" y="17860216"/>
                </a:cubicBezTo>
                <a:cubicBezTo>
                  <a:pt x="3008223" y="18057855"/>
                  <a:pt x="3454990" y="17841548"/>
                  <a:pt x="3914533" y="17861590"/>
                </a:cubicBezTo>
                <a:cubicBezTo>
                  <a:pt x="4374076" y="17881632"/>
                  <a:pt x="4864754" y="20629508"/>
                  <a:pt x="5319289" y="17980469"/>
                </a:cubicBezTo>
                <a:cubicBezTo>
                  <a:pt x="5773824" y="15331430"/>
                  <a:pt x="6186020" y="4895318"/>
                  <a:pt x="6641742" y="1967356"/>
                </a:cubicBezTo>
                <a:cubicBezTo>
                  <a:pt x="7097464" y="-960606"/>
                  <a:pt x="7575256" y="181273"/>
                  <a:pt x="8053622" y="412695"/>
                </a:cubicBezTo>
                <a:cubicBezTo>
                  <a:pt x="8531988" y="644117"/>
                  <a:pt x="9233142" y="14178342"/>
                  <a:pt x="9456098" y="17473171"/>
                </a:cubicBezTo>
              </a:path>
            </a:pathLst>
          </a:custGeom>
          <a:noFill/>
          <a:ln w="136525" cap="rnd">
            <a:solidFill>
              <a:srgbClr val="32E9FF"/>
            </a:solidFill>
            <a:headEnd/>
            <a:tailEnd/>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236927493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Group 29"/>
          <p:cNvGraphicFramePr>
            <a:graphicFrameLocks noGrp="1"/>
          </p:cNvGraphicFramePr>
          <p:nvPr>
            <p:extLst>
              <p:ext uri="{D42A27DB-BD31-4B8C-83A1-F6EECF244321}">
                <p14:modId xmlns:p14="http://schemas.microsoft.com/office/powerpoint/2010/main" val="2256266029"/>
              </p:ext>
            </p:extLst>
          </p:nvPr>
        </p:nvGraphicFramePr>
        <p:xfrm>
          <a:off x="373085" y="1129608"/>
          <a:ext cx="11445832" cy="4532868"/>
        </p:xfrm>
        <a:graphic>
          <a:graphicData uri="http://schemas.openxmlformats.org/drawingml/2006/table">
            <a:tbl>
              <a:tblPr/>
              <a:tblGrid>
                <a:gridCol w="1923228">
                  <a:extLst>
                    <a:ext uri="{9D8B030D-6E8A-4147-A177-3AD203B41FA5}">
                      <a16:colId xmlns:a16="http://schemas.microsoft.com/office/drawing/2014/main" val="20000"/>
                    </a:ext>
                  </a:extLst>
                </a:gridCol>
                <a:gridCol w="4761302">
                  <a:extLst>
                    <a:ext uri="{9D8B030D-6E8A-4147-A177-3AD203B41FA5}">
                      <a16:colId xmlns:a16="http://schemas.microsoft.com/office/drawing/2014/main" val="20001"/>
                    </a:ext>
                  </a:extLst>
                </a:gridCol>
                <a:gridCol w="4761302">
                  <a:extLst>
                    <a:ext uri="{9D8B030D-6E8A-4147-A177-3AD203B41FA5}">
                      <a16:colId xmlns:a16="http://schemas.microsoft.com/office/drawing/2014/main" val="20002"/>
                    </a:ext>
                  </a:extLst>
                </a:gridCol>
              </a:tblGrid>
              <a:tr h="43200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50" b="1" i="0" u="none" strike="noStrike" cap="none" normalizeH="0" baseline="0" dirty="0">
                        <a:ln>
                          <a:noFill/>
                        </a:ln>
                        <a:solidFill>
                          <a:srgbClr val="002776"/>
                        </a:solidFill>
                        <a:effectLst/>
                        <a:latin typeface="+mj-lt"/>
                        <a:cs typeface="Arial" pitchFamily="34" charset="0"/>
                      </a:endParaRPr>
                    </a:p>
                  </a:txBody>
                  <a:tcPr marL="54864" marR="54864" marT="36576" marB="3657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Key</a:t>
                      </a:r>
                      <a:r>
                        <a:rPr lang="en-US" altLang="en-US" sz="1050" b="1" kern="1200" baseline="0" dirty="0">
                          <a:solidFill>
                            <a:schemeClr val="bg1"/>
                          </a:solidFill>
                          <a:latin typeface="+mn-lt"/>
                          <a:ea typeface="+mn-ea"/>
                          <a:cs typeface="+mn-cs"/>
                        </a:rPr>
                        <a:t> Observations</a:t>
                      </a:r>
                      <a:endParaRPr lang="en-US" altLang="en-US" sz="1050" b="1" kern="1200" dirty="0">
                        <a:solidFill>
                          <a:schemeClr val="bg1"/>
                        </a:solidFill>
                        <a:latin typeface="+mn-lt"/>
                        <a:ea typeface="+mn-ea"/>
                        <a:cs typeface="+mn-cs"/>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Business Implica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432000">
                <a:tc>
                  <a:txBody>
                    <a:bodyPr/>
                    <a:lstStyle/>
                    <a:p>
                      <a:pPr algn="l"/>
                      <a:r>
                        <a:rPr lang="en-US" sz="1050" b="1" dirty="0">
                          <a:solidFill>
                            <a:schemeClr val="bg1"/>
                          </a:solidFill>
                        </a:rPr>
                        <a:t>Understanding the Marke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Competing analysis and customer investigation are doing, but isn’t</a:t>
                      </a:r>
                      <a:r>
                        <a:rPr lang="en-US" altLang="ja-JP" sz="1050" baseline="0" dirty="0">
                          <a:solidFill>
                            <a:schemeClr val="tx1"/>
                          </a:solidFill>
                        </a:rPr>
                        <a:t> </a:t>
                      </a:r>
                      <a:r>
                        <a:rPr lang="en-US" altLang="ja-JP" sz="1050" dirty="0">
                          <a:solidFill>
                            <a:schemeClr val="tx1"/>
                          </a:solidFill>
                        </a:rPr>
                        <a:t> much detail. </a:t>
                      </a:r>
                    </a:p>
                    <a:p>
                      <a:pPr marL="171450" indent="-171450">
                        <a:lnSpc>
                          <a:spcPct val="100000"/>
                        </a:lnSpc>
                        <a:spcBef>
                          <a:spcPts val="0"/>
                        </a:spcBef>
                        <a:buFont typeface="Arial" panose="020B0604020202020204" pitchFamily="34" charset="0"/>
                        <a:buChar char="•"/>
                      </a:pPr>
                      <a:r>
                        <a:rPr lang="en-US" altLang="ja-JP" sz="1050" dirty="0">
                          <a:solidFill>
                            <a:schemeClr val="tx1"/>
                          </a:solidFill>
                        </a:rPr>
                        <a:t>Difficult</a:t>
                      </a:r>
                      <a:r>
                        <a:rPr lang="en-US" altLang="ja-JP" sz="1050" baseline="0" dirty="0">
                          <a:solidFill>
                            <a:schemeClr val="tx1"/>
                          </a:solidFill>
                        </a:rPr>
                        <a:t> to communicate whole customer because the product is general. (</a:t>
                      </a:r>
                      <a:r>
                        <a:rPr lang="en-US" altLang="ja-JP" sz="1050" dirty="0">
                          <a:solidFill>
                            <a:schemeClr val="tx1"/>
                          </a:solidFill>
                        </a:rPr>
                        <a:t>PSBU)</a:t>
                      </a:r>
                      <a:endParaRPr lang="en-US"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Very</a:t>
                      </a:r>
                      <a:r>
                        <a:rPr lang="en-US" altLang="ja-JP" sz="1050" baseline="0" dirty="0">
                          <a:solidFill>
                            <a:schemeClr val="tx1"/>
                          </a:solidFill>
                        </a:rPr>
                        <a:t> important to Molex business but plot Middle Advance compare to the other component.</a:t>
                      </a:r>
                      <a:endParaRPr lang="ja-JP" altLang="en-US"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432000">
                <a:tc>
                  <a:txBody>
                    <a:bodyPr/>
                    <a:lstStyle/>
                    <a:p>
                      <a:pPr algn="l"/>
                      <a:r>
                        <a:rPr lang="en-US" sz="1050" b="1" dirty="0">
                          <a:solidFill>
                            <a:schemeClr val="bg1"/>
                          </a:solidFill>
                        </a:rPr>
                        <a:t>Project Portfolio Managemen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Depend on project manager skill. (PSBU)</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Managed project in high level, but sometime overflow because of low quality schedule estimation. </a:t>
                      </a:r>
                      <a:r>
                        <a:rPr lang="ja-JP" altLang="en-US" sz="1050" b="0" baseline="0" dirty="0">
                          <a:solidFill>
                            <a:schemeClr val="tx1"/>
                          </a:solidFill>
                        </a:rPr>
                        <a:t>（</a:t>
                      </a:r>
                      <a:r>
                        <a:rPr lang="en-US" altLang="ja-JP" sz="1050" b="0" baseline="0" dirty="0">
                          <a:solidFill>
                            <a:schemeClr val="tx1"/>
                          </a:solidFill>
                        </a:rPr>
                        <a:t>MSBU</a:t>
                      </a:r>
                      <a:r>
                        <a:rPr lang="ja-JP" altLang="en-US" sz="1050" b="0" baseline="0" dirty="0">
                          <a:solidFill>
                            <a:schemeClr val="tx1"/>
                          </a:solidFill>
                        </a:rPr>
                        <a:t>）</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dirty="0">
                          <a:solidFill>
                            <a:schemeClr val="tx1"/>
                          </a:solidFill>
                        </a:rPr>
                        <a:t>Need to target most high</a:t>
                      </a:r>
                      <a:r>
                        <a:rPr lang="en-US" altLang="ja-JP" sz="1050" baseline="0" dirty="0">
                          <a:solidFill>
                            <a:schemeClr val="tx1"/>
                          </a:solidFill>
                        </a:rPr>
                        <a:t> level.</a:t>
                      </a:r>
                      <a:endParaRPr lang="en-US" altLang="ja-JP"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mn-lt"/>
                          <a:ea typeface="+mn-ea"/>
                          <a:cs typeface="Arial" pitchFamily="34" charset="0"/>
                        </a:rPr>
                        <a:t>Product &amp; Technology Roadmap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Overall and strategies may be missing in the roadmap</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Need high quality Roadmaps.</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0" normalizeH="0" baseline="0" noProof="0" dirty="0">
                          <a:ln>
                            <a:noFill/>
                          </a:ln>
                          <a:solidFill>
                            <a:prstClr val="white"/>
                          </a:solidFill>
                          <a:effectLst/>
                          <a:uLnTx/>
                          <a:uFillTx/>
                          <a:latin typeface="+mn-lt"/>
                          <a:ea typeface="+mn-ea"/>
                          <a:cs typeface="+mn-cs"/>
                        </a:rPr>
                        <a:t>Project Assessment and Selec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t>Although can select the project priority, you may not be able to consider the high level content.</a:t>
                      </a:r>
                      <a:endParaRPr lang="en-US" sz="1050" dirty="0"/>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Need high level. Same member must in charge of these High Advance component.</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96658287"/>
                  </a:ext>
                </a:extLst>
              </a:tr>
              <a:tr h="432000">
                <a:tc>
                  <a:txBody>
                    <a:bodyPr/>
                    <a:lstStyle/>
                    <a:p>
                      <a:pPr algn="l"/>
                      <a:r>
                        <a:rPr lang="en-US" sz="1050" b="1" dirty="0">
                          <a:solidFill>
                            <a:schemeClr val="bg1"/>
                          </a:solidFill>
                        </a:rPr>
                        <a:t>Cross-functional and Complete Lifecycle Focu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Planning across departments is possible. MSBU may have inadequate cross-functional involvement</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Need planning with major function but not all function or product lifecycle.</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3551714"/>
                  </a:ext>
                </a:extLst>
              </a:tr>
              <a:tr h="432000">
                <a:tc>
                  <a:txBody>
                    <a:bodyPr/>
                    <a:lstStyle/>
                    <a:p>
                      <a:pPr algn="l"/>
                      <a:r>
                        <a:rPr lang="en-US" sz="1050" b="1" dirty="0">
                          <a:solidFill>
                            <a:schemeClr val="bg1"/>
                          </a:solidFill>
                        </a:rPr>
                        <a:t>Standardized Tools for Evalu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ools are standardized</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Need Advance tool for high quality job.</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86354471"/>
                  </a:ext>
                </a:extLst>
              </a:tr>
              <a:tr h="432000">
                <a:tc>
                  <a:txBody>
                    <a:bodyPr/>
                    <a:lstStyle/>
                    <a:p>
                      <a:pPr algn="l"/>
                      <a:r>
                        <a:rPr lang="en-US" sz="1050" b="1" dirty="0">
                          <a:solidFill>
                            <a:schemeClr val="bg1"/>
                          </a:solidFill>
                        </a:rPr>
                        <a:t>Data Management and Collabor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here is a system, and enough data is stored, but it has not been used properly. The format is utilized, but the sharing method is email etc.</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050" b="0" i="0" u="none" strike="noStrike" kern="1200" cap="none" spc="0" normalizeH="0" baseline="0" noProof="0" dirty="0">
                          <a:ln>
                            <a:noFill/>
                          </a:ln>
                          <a:solidFill>
                            <a:prstClr val="black"/>
                          </a:solidFill>
                          <a:effectLst/>
                          <a:uLnTx/>
                          <a:uFillTx/>
                          <a:latin typeface="Verdana"/>
                          <a:ea typeface="+mn-ea"/>
                          <a:cs typeface="+mn-cs"/>
                        </a:rPr>
                        <a:t>Very important to Molex business but plot Middle Advance compare to the other component.</a:t>
                      </a:r>
                      <a:endParaRPr kumimoji="0" lang="ja-JP" altLang="en-US" sz="1050" b="0" i="0" u="none" strike="noStrike" kern="1200" cap="none" spc="0" normalizeH="0" baseline="0" noProof="0" dirty="0">
                        <a:ln>
                          <a:noFill/>
                        </a:ln>
                        <a:solidFill>
                          <a:prstClr val="black"/>
                        </a:solidFill>
                        <a:effectLst/>
                        <a:uLnTx/>
                        <a:uFillTx/>
                        <a:latin typeface="Verdana"/>
                        <a:ea typeface="+mn-ea"/>
                        <a:cs typeface="+mn-cs"/>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46147242"/>
                  </a:ext>
                </a:extLst>
              </a:tr>
              <a:tr h="432000">
                <a:tc>
                  <a:txBody>
                    <a:bodyPr/>
                    <a:lstStyle/>
                    <a:p>
                      <a:pPr algn="l"/>
                      <a:r>
                        <a:rPr lang="en-US" sz="1050" b="1" dirty="0">
                          <a:solidFill>
                            <a:schemeClr val="bg1"/>
                          </a:solidFill>
                        </a:rPr>
                        <a:t>Financial &amp; Operational Metrics and Dashboard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here are dashboards and indicators, but there is room for improvement</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050" b="0" i="0" u="none" strike="noStrike" kern="1200" cap="none" spc="0" normalizeH="0" baseline="0" noProof="0" dirty="0">
                          <a:ln>
                            <a:noFill/>
                          </a:ln>
                          <a:solidFill>
                            <a:prstClr val="black"/>
                          </a:solidFill>
                          <a:effectLst/>
                          <a:uLnTx/>
                          <a:uFillTx/>
                          <a:latin typeface="Verdana"/>
                          <a:ea typeface="+mn-ea"/>
                          <a:cs typeface="+mn-cs"/>
                        </a:rPr>
                        <a:t>Important to Molex business but plot Low Advance compare to the other component.</a:t>
                      </a:r>
                      <a:endParaRPr kumimoji="0" lang="ja-JP" altLang="en-US" sz="1050" b="0" i="0" u="none" strike="noStrike" kern="1200" cap="none" spc="0" normalizeH="0" baseline="0" noProof="0" dirty="0">
                        <a:ln>
                          <a:noFill/>
                        </a:ln>
                        <a:solidFill>
                          <a:prstClr val="black"/>
                        </a:solidFill>
                        <a:effectLst/>
                        <a:uLnTx/>
                        <a:uFillTx/>
                        <a:latin typeface="Verdana"/>
                        <a:ea typeface="+mn-ea"/>
                        <a:cs typeface="+mn-cs"/>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9054611"/>
                  </a:ext>
                </a:extLst>
              </a:tr>
            </a:tbl>
          </a:graphicData>
        </a:graphic>
      </p:graphicFrame>
      <p:sp>
        <p:nvSpPr>
          <p:cNvPr id="4" name="Title 3">
            <a:extLst>
              <a:ext uri="{FF2B5EF4-FFF2-40B4-BE49-F238E27FC236}">
                <a16:creationId xmlns:a16="http://schemas.microsoft.com/office/drawing/2014/main" id="{026705D2-9A1E-4A1F-80F4-6BC1AE8E4025}"/>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lvl="0" defTabSz="914400">
              <a:defRPr/>
            </a:pPr>
            <a:r>
              <a:rPr lang="en-US" sz="2400" b="1" dirty="0"/>
              <a:t>Portfolio Management and Technology Roadmaps</a:t>
            </a:r>
            <a:endParaRPr lang="en-US" sz="2400" b="1" dirty="0">
              <a:solidFill>
                <a:prstClr val="black"/>
              </a:solidFill>
            </a:endParaRPr>
          </a:p>
        </p:txBody>
      </p:sp>
    </p:spTree>
    <p:extLst>
      <p:ext uri="{BB962C8B-B14F-4D97-AF65-F5344CB8AC3E}">
        <p14:creationId xmlns:p14="http://schemas.microsoft.com/office/powerpoint/2010/main" val="1397117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en-US" dirty="0"/>
              <a:t>Current-State Capability </a:t>
            </a:r>
            <a:r>
              <a:rPr lang="en-US" altLang="ja-JP" dirty="0"/>
              <a:t>Variants</a:t>
            </a:r>
            <a:r>
              <a:rPr lang="ja-JP" altLang="en-US" dirty="0"/>
              <a:t> </a:t>
            </a:r>
            <a:r>
              <a:rPr lang="en-US" altLang="ja-JP" dirty="0"/>
              <a:t>and</a:t>
            </a:r>
            <a:r>
              <a:rPr lang="ja-JP" altLang="en-US" dirty="0"/>
              <a:t> </a:t>
            </a:r>
            <a:r>
              <a:rPr lang="en-US" altLang="ja-JP" dirty="0"/>
              <a:t>Options Management</a:t>
            </a:r>
            <a:endParaRPr lang="en-US" dirty="0"/>
          </a:p>
        </p:txBody>
      </p:sp>
      <p:sp>
        <p:nvSpPr>
          <p:cNvPr id="7" name="Rectangle 6">
            <a:extLst>
              <a:ext uri="{FF2B5EF4-FFF2-40B4-BE49-F238E27FC236}">
                <a16:creationId xmlns:a16="http://schemas.microsoft.com/office/drawing/2014/main" id="{1617907B-D8E2-4123-ACEC-F245D7D4077D}"/>
              </a:ext>
            </a:extLst>
          </p:cNvPr>
          <p:cNvSpPr>
            <a:spLocks noChangeArrowheads="1"/>
          </p:cNvSpPr>
          <p:nvPr/>
        </p:nvSpPr>
        <p:spPr bwMode="gray">
          <a:xfrm>
            <a:off x="1263928" y="1812899"/>
            <a:ext cx="3085363" cy="215444"/>
          </a:xfrm>
          <a:prstGeom prst="rect">
            <a:avLst/>
          </a:prstGeom>
          <a:solidFill>
            <a:schemeClr val="bg1"/>
          </a:solidFill>
          <a:ln w="12700" cap="rnd" algn="ctr">
            <a:noFill/>
            <a:miter lim="800000"/>
            <a:headEnd/>
            <a:tailEnd/>
          </a:ln>
        </p:spPr>
        <p:txBody>
          <a:bodyPr wrap="square" lIns="71966" tIns="0" rIns="71966" bIns="0" anchor="ctr" anchorCtr="1">
            <a:spAutoFit/>
          </a:bodyPr>
          <a:lstStyle/>
          <a:p>
            <a:pPr defTabSz="913961" fontAlgn="base">
              <a:spcBef>
                <a:spcPct val="20000"/>
              </a:spcBef>
              <a:spcAft>
                <a:spcPct val="0"/>
              </a:spcAft>
            </a:pPr>
            <a:r>
              <a:rPr lang="en-US" sz="1400" b="1" dirty="0">
                <a:solidFill>
                  <a:srgbClr val="92D400"/>
                </a:solidFill>
                <a:latin typeface="+mj-lt"/>
                <a:cs typeface="Arial" pitchFamily="34" charset="0"/>
              </a:rPr>
              <a:t>Current State Journey</a:t>
            </a:r>
          </a:p>
        </p:txBody>
      </p:sp>
      <p:pic>
        <p:nvPicPr>
          <p:cNvPr id="8" name="Picture 7">
            <a:extLst>
              <a:ext uri="{FF2B5EF4-FFF2-40B4-BE49-F238E27FC236}">
                <a16:creationId xmlns:a16="http://schemas.microsoft.com/office/drawing/2014/main" id="{F58A16F7-C5FE-4FA0-95B9-317D632AC5C9}"/>
              </a:ext>
            </a:extLst>
          </p:cNvPr>
          <p:cNvPicPr>
            <a:picLocks noChangeAspect="1" noChangeArrowheads="1"/>
          </p:cNvPicPr>
          <p:nvPr/>
        </p:nvPicPr>
        <p:blipFill>
          <a:blip r:embed="rId2">
            <a:lum contrast="22000"/>
            <a:extLst>
              <a:ext uri="{28A0092B-C50C-407E-A947-70E740481C1C}">
                <a14:useLocalDpi xmlns:a14="http://schemas.microsoft.com/office/drawing/2010/main" val="0"/>
              </a:ext>
            </a:extLst>
          </a:blip>
          <a:srcRect/>
          <a:stretch>
            <a:fillRect/>
          </a:stretch>
        </p:blipFill>
        <p:spPr bwMode="auto">
          <a:xfrm>
            <a:off x="1197632" y="2240043"/>
            <a:ext cx="9311976" cy="2749079"/>
          </a:xfrm>
          <a:prstGeom prst="rect">
            <a:avLst/>
          </a:prstGeom>
          <a:solidFill>
            <a:schemeClr val="accent1">
              <a:lumMod val="20000"/>
              <a:lumOff val="80000"/>
            </a:schemeClr>
          </a:solidFill>
          <a:ln>
            <a:noFill/>
          </a:ln>
          <a:effectLst/>
        </p:spPr>
      </p:pic>
      <p:sp>
        <p:nvSpPr>
          <p:cNvPr id="9" name="Rectangle 8">
            <a:extLst>
              <a:ext uri="{FF2B5EF4-FFF2-40B4-BE49-F238E27FC236}">
                <a16:creationId xmlns:a16="http://schemas.microsoft.com/office/drawing/2014/main" id="{7B1A2920-D963-46D7-9BBE-A417E9448C54}"/>
              </a:ext>
            </a:extLst>
          </p:cNvPr>
          <p:cNvSpPr/>
          <p:nvPr/>
        </p:nvSpPr>
        <p:spPr bwMode="invGray">
          <a:xfrm>
            <a:off x="7302495" y="2611651"/>
            <a:ext cx="1354655" cy="230832"/>
          </a:xfrm>
          <a:prstGeom prst="rect">
            <a:avLst/>
          </a:prstGeom>
          <a:scene3d>
            <a:camera prst="orthographicFront">
              <a:rot lat="0" lon="0" rev="0"/>
            </a:camera>
            <a:lightRig rig="threePt" dir="t"/>
          </a:scene3d>
        </p:spPr>
        <p:txBody>
          <a:bodyPr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900" dirty="0">
              <a:solidFill>
                <a:prstClr val="white"/>
              </a:solidFill>
              <a:latin typeface="+mj-lt"/>
            </a:endParaRPr>
          </a:p>
        </p:txBody>
      </p:sp>
      <p:sp>
        <p:nvSpPr>
          <p:cNvPr id="12" name="Text Box 9">
            <a:extLst>
              <a:ext uri="{FF2B5EF4-FFF2-40B4-BE49-F238E27FC236}">
                <a16:creationId xmlns:a16="http://schemas.microsoft.com/office/drawing/2014/main" id="{C8A41943-F33A-4533-A39B-9CD8C84306AD}"/>
              </a:ext>
            </a:extLst>
          </p:cNvPr>
          <p:cNvSpPr txBox="1">
            <a:spLocks noChangeArrowheads="1"/>
          </p:cNvSpPr>
          <p:nvPr/>
        </p:nvSpPr>
        <p:spPr bwMode="gray">
          <a:xfrm>
            <a:off x="2156323" y="2643498"/>
            <a:ext cx="855935" cy="176095"/>
          </a:xfrm>
          <a:prstGeom prst="rect">
            <a:avLst/>
          </a:prstGeom>
          <a:noFill/>
          <a:ln w="12700" algn="ctr">
            <a:noFill/>
            <a:miter lim="800000"/>
            <a:headEnd/>
            <a:tailEnd/>
          </a:ln>
          <a:effectLst/>
        </p:spPr>
        <p:txBody>
          <a:bodyPr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1</a:t>
            </a:r>
          </a:p>
        </p:txBody>
      </p:sp>
      <p:sp>
        <p:nvSpPr>
          <p:cNvPr id="13" name="Oval 12">
            <a:extLst>
              <a:ext uri="{FF2B5EF4-FFF2-40B4-BE49-F238E27FC236}">
                <a16:creationId xmlns:a16="http://schemas.microsoft.com/office/drawing/2014/main" id="{032AF74C-4888-4BB8-A919-D966CF10B213}"/>
              </a:ext>
            </a:extLst>
          </p:cNvPr>
          <p:cNvSpPr>
            <a:spLocks noChangeArrowheads="1"/>
          </p:cNvSpPr>
          <p:nvPr/>
        </p:nvSpPr>
        <p:spPr bwMode="gray">
          <a:xfrm>
            <a:off x="1686199" y="2596105"/>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1</a:t>
            </a:r>
          </a:p>
        </p:txBody>
      </p:sp>
      <p:sp>
        <p:nvSpPr>
          <p:cNvPr id="14" name="Text Box 10">
            <a:extLst>
              <a:ext uri="{FF2B5EF4-FFF2-40B4-BE49-F238E27FC236}">
                <a16:creationId xmlns:a16="http://schemas.microsoft.com/office/drawing/2014/main" id="{9AB60634-0756-4848-9686-A7E0E572378C}"/>
              </a:ext>
            </a:extLst>
          </p:cNvPr>
          <p:cNvSpPr txBox="1">
            <a:spLocks noChangeArrowheads="1"/>
          </p:cNvSpPr>
          <p:nvPr/>
        </p:nvSpPr>
        <p:spPr bwMode="gray">
          <a:xfrm>
            <a:off x="3630604" y="4088230"/>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2</a:t>
            </a:r>
          </a:p>
        </p:txBody>
      </p:sp>
      <p:sp>
        <p:nvSpPr>
          <p:cNvPr id="15" name="Line 28">
            <a:extLst>
              <a:ext uri="{FF2B5EF4-FFF2-40B4-BE49-F238E27FC236}">
                <a16:creationId xmlns:a16="http://schemas.microsoft.com/office/drawing/2014/main" id="{888E09D3-4434-4D5C-8407-D2929B50A26B}"/>
              </a:ext>
            </a:extLst>
          </p:cNvPr>
          <p:cNvSpPr>
            <a:spLocks noChangeShapeType="1"/>
          </p:cNvSpPr>
          <p:nvPr/>
        </p:nvSpPr>
        <p:spPr bwMode="auto">
          <a:xfrm flipV="1">
            <a:off x="3377117" y="3874998"/>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16" name="Text Box 11">
            <a:extLst>
              <a:ext uri="{FF2B5EF4-FFF2-40B4-BE49-F238E27FC236}">
                <a16:creationId xmlns:a16="http://schemas.microsoft.com/office/drawing/2014/main" id="{46B996A9-99E3-4826-B6E1-B3F9341EA480}"/>
              </a:ext>
            </a:extLst>
          </p:cNvPr>
          <p:cNvSpPr txBox="1">
            <a:spLocks noChangeArrowheads="1"/>
          </p:cNvSpPr>
          <p:nvPr/>
        </p:nvSpPr>
        <p:spPr bwMode="gray">
          <a:xfrm>
            <a:off x="4297193" y="2385155"/>
            <a:ext cx="1477186" cy="177539"/>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3</a:t>
            </a:r>
          </a:p>
        </p:txBody>
      </p:sp>
      <p:sp>
        <p:nvSpPr>
          <p:cNvPr id="17" name="Rectangle 16">
            <a:extLst>
              <a:ext uri="{FF2B5EF4-FFF2-40B4-BE49-F238E27FC236}">
                <a16:creationId xmlns:a16="http://schemas.microsoft.com/office/drawing/2014/main" id="{9EB41562-1EC8-4C34-977A-A1ADF53BCBD8}"/>
              </a:ext>
            </a:extLst>
          </p:cNvPr>
          <p:cNvSpPr/>
          <p:nvPr/>
        </p:nvSpPr>
        <p:spPr bwMode="auto">
          <a:xfrm>
            <a:off x="1185243" y="1719587"/>
            <a:ext cx="9313296" cy="326953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defPPr>
              <a:defRPr lang="en-US"/>
            </a:defPPr>
            <a:lvl1pPr algn="ctr" rtl="0" fontAlgn="base">
              <a:spcBef>
                <a:spcPct val="20000"/>
              </a:spcBef>
              <a:spcAft>
                <a:spcPct val="0"/>
              </a:spcAft>
              <a:defRPr sz="1100" b="1" kern="1200">
                <a:solidFill>
                  <a:schemeClr val="lt1"/>
                </a:solidFill>
                <a:latin typeface="+mn-lt"/>
                <a:ea typeface="+mn-ea"/>
                <a:cs typeface="+mn-cs"/>
              </a:defRPr>
            </a:lvl1pPr>
            <a:lvl2pPr marL="457200" algn="ctr" rtl="0" fontAlgn="base">
              <a:spcBef>
                <a:spcPct val="20000"/>
              </a:spcBef>
              <a:spcAft>
                <a:spcPct val="0"/>
              </a:spcAft>
              <a:defRPr sz="1100" b="1" kern="1200">
                <a:solidFill>
                  <a:schemeClr val="lt1"/>
                </a:solidFill>
                <a:latin typeface="+mn-lt"/>
                <a:ea typeface="+mn-ea"/>
                <a:cs typeface="+mn-cs"/>
              </a:defRPr>
            </a:lvl2pPr>
            <a:lvl3pPr marL="914400" algn="ctr" rtl="0" fontAlgn="base">
              <a:spcBef>
                <a:spcPct val="20000"/>
              </a:spcBef>
              <a:spcAft>
                <a:spcPct val="0"/>
              </a:spcAft>
              <a:defRPr sz="1100" b="1" kern="1200">
                <a:solidFill>
                  <a:schemeClr val="lt1"/>
                </a:solidFill>
                <a:latin typeface="+mn-lt"/>
                <a:ea typeface="+mn-ea"/>
                <a:cs typeface="+mn-cs"/>
              </a:defRPr>
            </a:lvl3pPr>
            <a:lvl4pPr marL="1371600" algn="ctr" rtl="0" fontAlgn="base">
              <a:spcBef>
                <a:spcPct val="20000"/>
              </a:spcBef>
              <a:spcAft>
                <a:spcPct val="0"/>
              </a:spcAft>
              <a:defRPr sz="1100" b="1" kern="1200">
                <a:solidFill>
                  <a:schemeClr val="lt1"/>
                </a:solidFill>
                <a:latin typeface="+mn-lt"/>
                <a:ea typeface="+mn-ea"/>
                <a:cs typeface="+mn-cs"/>
              </a:defRPr>
            </a:lvl4pPr>
            <a:lvl5pPr marL="1828800" algn="ctr" rtl="0" fontAlgn="base">
              <a:spcBef>
                <a:spcPct val="20000"/>
              </a:spcBef>
              <a:spcAft>
                <a:spcPct val="0"/>
              </a:spcAft>
              <a:defRPr sz="1100" b="1" kern="1200">
                <a:solidFill>
                  <a:schemeClr val="lt1"/>
                </a:solidFill>
                <a:latin typeface="+mn-lt"/>
                <a:ea typeface="+mn-ea"/>
                <a:cs typeface="+mn-cs"/>
              </a:defRPr>
            </a:lvl5pPr>
            <a:lvl6pPr marL="2286000" algn="l" defTabSz="914400" rtl="0" eaLnBrk="1" latinLnBrk="0" hangingPunct="1">
              <a:defRPr sz="1100" b="1" kern="1200">
                <a:solidFill>
                  <a:schemeClr val="lt1"/>
                </a:solidFill>
                <a:latin typeface="+mn-lt"/>
                <a:ea typeface="+mn-ea"/>
                <a:cs typeface="+mn-cs"/>
              </a:defRPr>
            </a:lvl6pPr>
            <a:lvl7pPr marL="2743200" algn="l" defTabSz="914400" rtl="0" eaLnBrk="1" latinLnBrk="0" hangingPunct="1">
              <a:defRPr sz="1100" b="1" kern="1200">
                <a:solidFill>
                  <a:schemeClr val="lt1"/>
                </a:solidFill>
                <a:latin typeface="+mn-lt"/>
                <a:ea typeface="+mn-ea"/>
                <a:cs typeface="+mn-cs"/>
              </a:defRPr>
            </a:lvl7pPr>
            <a:lvl8pPr marL="3200400" algn="l" defTabSz="914400" rtl="0" eaLnBrk="1" latinLnBrk="0" hangingPunct="1">
              <a:defRPr sz="1100" b="1" kern="1200">
                <a:solidFill>
                  <a:schemeClr val="lt1"/>
                </a:solidFill>
                <a:latin typeface="+mn-lt"/>
                <a:ea typeface="+mn-ea"/>
                <a:cs typeface="+mn-cs"/>
              </a:defRPr>
            </a:lvl8pPr>
            <a:lvl9pPr marL="3657600" algn="l" defTabSz="914400" rtl="0" eaLnBrk="1" latinLnBrk="0" hangingPunct="1">
              <a:defRPr sz="1100" b="1" kern="1200">
                <a:solidFill>
                  <a:schemeClr val="lt1"/>
                </a:solidFill>
                <a:latin typeface="+mn-lt"/>
                <a:ea typeface="+mn-ea"/>
                <a:cs typeface="+mn-cs"/>
              </a:defRPr>
            </a:lvl9pPr>
          </a:lstStyle>
          <a:p>
            <a:pPr defTabSz="913961" fontAlgn="auto">
              <a:spcBef>
                <a:spcPts val="0"/>
              </a:spcBef>
              <a:spcAft>
                <a:spcPts val="0"/>
              </a:spcAft>
              <a:defRPr/>
            </a:pPr>
            <a:endParaRPr lang="en-US" sz="1050" dirty="0">
              <a:solidFill>
                <a:prstClr val="white"/>
              </a:solidFill>
              <a:latin typeface="+mj-lt"/>
            </a:endParaRPr>
          </a:p>
        </p:txBody>
      </p:sp>
      <p:sp>
        <p:nvSpPr>
          <p:cNvPr id="20" name="Text Box 11">
            <a:extLst>
              <a:ext uri="{FF2B5EF4-FFF2-40B4-BE49-F238E27FC236}">
                <a16:creationId xmlns:a16="http://schemas.microsoft.com/office/drawing/2014/main" id="{D580D44A-823E-476D-8183-36AB135B8253}"/>
              </a:ext>
            </a:extLst>
          </p:cNvPr>
          <p:cNvSpPr txBox="1">
            <a:spLocks noChangeArrowheads="1"/>
          </p:cNvSpPr>
          <p:nvPr/>
        </p:nvSpPr>
        <p:spPr bwMode="gray">
          <a:xfrm>
            <a:off x="6232860" y="2014062"/>
            <a:ext cx="1341777"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5</a:t>
            </a:r>
          </a:p>
        </p:txBody>
      </p:sp>
      <p:sp>
        <p:nvSpPr>
          <p:cNvPr id="22" name="Text Box 14">
            <a:extLst>
              <a:ext uri="{FF2B5EF4-FFF2-40B4-BE49-F238E27FC236}">
                <a16:creationId xmlns:a16="http://schemas.microsoft.com/office/drawing/2014/main" id="{957A023C-F13B-4843-A681-19BADC0F0BE1}"/>
              </a:ext>
            </a:extLst>
          </p:cNvPr>
          <p:cNvSpPr txBox="1">
            <a:spLocks noChangeArrowheads="1"/>
          </p:cNvSpPr>
          <p:nvPr/>
        </p:nvSpPr>
        <p:spPr bwMode="gray">
          <a:xfrm>
            <a:off x="6072153" y="3793742"/>
            <a:ext cx="1151165" cy="176095"/>
          </a:xfrm>
          <a:prstGeom prst="rect">
            <a:avLst/>
          </a:prstGeom>
          <a:noFill/>
          <a:ln w="12700" algn="ctr">
            <a:noFill/>
            <a:miter lim="800000"/>
            <a:headEnd/>
            <a:tailEnd/>
          </a:ln>
          <a:effectLst/>
        </p:spPr>
        <p:txBody>
          <a:bodyPr wrap="non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4</a:t>
            </a:r>
          </a:p>
        </p:txBody>
      </p:sp>
      <p:sp>
        <p:nvSpPr>
          <p:cNvPr id="24" name="Text Box 10">
            <a:extLst>
              <a:ext uri="{FF2B5EF4-FFF2-40B4-BE49-F238E27FC236}">
                <a16:creationId xmlns:a16="http://schemas.microsoft.com/office/drawing/2014/main" id="{9CFBC63D-CE03-4161-9C29-FAB75D09F3AC}"/>
              </a:ext>
            </a:extLst>
          </p:cNvPr>
          <p:cNvSpPr txBox="1">
            <a:spLocks noChangeArrowheads="1"/>
          </p:cNvSpPr>
          <p:nvPr/>
        </p:nvSpPr>
        <p:spPr bwMode="gray">
          <a:xfrm>
            <a:off x="8284653" y="3499115"/>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6</a:t>
            </a:r>
          </a:p>
        </p:txBody>
      </p:sp>
      <p:sp>
        <p:nvSpPr>
          <p:cNvPr id="25" name="Oval 24">
            <a:extLst>
              <a:ext uri="{FF2B5EF4-FFF2-40B4-BE49-F238E27FC236}">
                <a16:creationId xmlns:a16="http://schemas.microsoft.com/office/drawing/2014/main" id="{562825D5-3D20-41DE-A3D7-832BE944793B}"/>
              </a:ext>
            </a:extLst>
          </p:cNvPr>
          <p:cNvSpPr>
            <a:spLocks noChangeArrowheads="1"/>
          </p:cNvSpPr>
          <p:nvPr/>
        </p:nvSpPr>
        <p:spPr bwMode="gray">
          <a:xfrm>
            <a:off x="3211331" y="4176276"/>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2</a:t>
            </a:r>
          </a:p>
        </p:txBody>
      </p:sp>
      <p:sp>
        <p:nvSpPr>
          <p:cNvPr id="26" name="Oval 25">
            <a:extLst>
              <a:ext uri="{FF2B5EF4-FFF2-40B4-BE49-F238E27FC236}">
                <a16:creationId xmlns:a16="http://schemas.microsoft.com/office/drawing/2014/main" id="{2955288C-C806-4891-9240-DFB031C3690C}"/>
              </a:ext>
            </a:extLst>
          </p:cNvPr>
          <p:cNvSpPr>
            <a:spLocks noChangeArrowheads="1"/>
          </p:cNvSpPr>
          <p:nvPr/>
        </p:nvSpPr>
        <p:spPr bwMode="gray">
          <a:xfrm>
            <a:off x="3916575" y="2300638"/>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3</a:t>
            </a:r>
          </a:p>
        </p:txBody>
      </p:sp>
      <p:sp>
        <p:nvSpPr>
          <p:cNvPr id="27" name="Oval 26">
            <a:extLst>
              <a:ext uri="{FF2B5EF4-FFF2-40B4-BE49-F238E27FC236}">
                <a16:creationId xmlns:a16="http://schemas.microsoft.com/office/drawing/2014/main" id="{6EABAB19-C5C1-49C9-8BC5-5F7CA5E9D95E}"/>
              </a:ext>
            </a:extLst>
          </p:cNvPr>
          <p:cNvSpPr>
            <a:spLocks noChangeArrowheads="1"/>
          </p:cNvSpPr>
          <p:nvPr/>
        </p:nvSpPr>
        <p:spPr bwMode="gray">
          <a:xfrm>
            <a:off x="7316378" y="3736294"/>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4</a:t>
            </a:r>
          </a:p>
        </p:txBody>
      </p:sp>
      <p:sp>
        <p:nvSpPr>
          <p:cNvPr id="28" name="Oval 27">
            <a:extLst>
              <a:ext uri="{FF2B5EF4-FFF2-40B4-BE49-F238E27FC236}">
                <a16:creationId xmlns:a16="http://schemas.microsoft.com/office/drawing/2014/main" id="{2E12D42A-ECC4-48E8-9A65-F5076BFE4749}"/>
              </a:ext>
            </a:extLst>
          </p:cNvPr>
          <p:cNvSpPr>
            <a:spLocks noChangeArrowheads="1"/>
          </p:cNvSpPr>
          <p:nvPr/>
        </p:nvSpPr>
        <p:spPr bwMode="gray">
          <a:xfrm>
            <a:off x="8280541" y="1965128"/>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5</a:t>
            </a:r>
          </a:p>
        </p:txBody>
      </p:sp>
      <p:sp>
        <p:nvSpPr>
          <p:cNvPr id="29" name="Line 28">
            <a:extLst>
              <a:ext uri="{FF2B5EF4-FFF2-40B4-BE49-F238E27FC236}">
                <a16:creationId xmlns:a16="http://schemas.microsoft.com/office/drawing/2014/main" id="{E47B6F27-9413-4D13-9C97-7C4233E36561}"/>
              </a:ext>
            </a:extLst>
          </p:cNvPr>
          <p:cNvSpPr>
            <a:spLocks noChangeShapeType="1"/>
          </p:cNvSpPr>
          <p:nvPr/>
        </p:nvSpPr>
        <p:spPr bwMode="auto">
          <a:xfrm flipH="1">
            <a:off x="8438503" y="2360554"/>
            <a:ext cx="0" cy="708058"/>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0" name="Oval 29">
            <a:extLst>
              <a:ext uri="{FF2B5EF4-FFF2-40B4-BE49-F238E27FC236}">
                <a16:creationId xmlns:a16="http://schemas.microsoft.com/office/drawing/2014/main" id="{1F289621-C8DD-44CC-94E4-CCBBE5737121}"/>
              </a:ext>
            </a:extLst>
          </p:cNvPr>
          <p:cNvSpPr>
            <a:spLocks noChangeArrowheads="1"/>
          </p:cNvSpPr>
          <p:nvPr/>
        </p:nvSpPr>
        <p:spPr bwMode="gray">
          <a:xfrm>
            <a:off x="9721613" y="3438451"/>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6</a:t>
            </a:r>
          </a:p>
        </p:txBody>
      </p:sp>
      <p:sp>
        <p:nvSpPr>
          <p:cNvPr id="33" name="Line 28">
            <a:extLst>
              <a:ext uri="{FF2B5EF4-FFF2-40B4-BE49-F238E27FC236}">
                <a16:creationId xmlns:a16="http://schemas.microsoft.com/office/drawing/2014/main" id="{312CD55C-5FB0-4E6D-A463-1F16AF8532D2}"/>
              </a:ext>
            </a:extLst>
          </p:cNvPr>
          <p:cNvSpPr>
            <a:spLocks noChangeShapeType="1"/>
          </p:cNvSpPr>
          <p:nvPr/>
        </p:nvSpPr>
        <p:spPr bwMode="auto">
          <a:xfrm flipH="1">
            <a:off x="4074538" y="2673990"/>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4" name="Line 28">
            <a:extLst>
              <a:ext uri="{FF2B5EF4-FFF2-40B4-BE49-F238E27FC236}">
                <a16:creationId xmlns:a16="http://schemas.microsoft.com/office/drawing/2014/main" id="{3751E61F-80AC-4F1D-A479-3A6E82BAF3B1}"/>
              </a:ext>
            </a:extLst>
          </p:cNvPr>
          <p:cNvSpPr>
            <a:spLocks noChangeShapeType="1"/>
          </p:cNvSpPr>
          <p:nvPr/>
        </p:nvSpPr>
        <p:spPr bwMode="auto">
          <a:xfrm flipH="1">
            <a:off x="1844162" y="2952413"/>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5" name="Line 28">
            <a:extLst>
              <a:ext uri="{FF2B5EF4-FFF2-40B4-BE49-F238E27FC236}">
                <a16:creationId xmlns:a16="http://schemas.microsoft.com/office/drawing/2014/main" id="{68083D47-6964-4128-A1EE-ED0743EC6C88}"/>
              </a:ext>
            </a:extLst>
          </p:cNvPr>
          <p:cNvSpPr>
            <a:spLocks noChangeShapeType="1"/>
          </p:cNvSpPr>
          <p:nvPr/>
        </p:nvSpPr>
        <p:spPr bwMode="auto">
          <a:xfrm flipV="1">
            <a:off x="6890552" y="3380733"/>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6" name="Line 28">
            <a:extLst>
              <a:ext uri="{FF2B5EF4-FFF2-40B4-BE49-F238E27FC236}">
                <a16:creationId xmlns:a16="http://schemas.microsoft.com/office/drawing/2014/main" id="{46D2E657-231D-4CAB-8C61-68DEC1453E60}"/>
              </a:ext>
            </a:extLst>
          </p:cNvPr>
          <p:cNvSpPr>
            <a:spLocks noChangeShapeType="1"/>
          </p:cNvSpPr>
          <p:nvPr/>
        </p:nvSpPr>
        <p:spPr bwMode="auto">
          <a:xfrm flipV="1">
            <a:off x="9877736" y="3039741"/>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Tree>
    <p:extLst>
      <p:ext uri="{BB962C8B-B14F-4D97-AF65-F5344CB8AC3E}">
        <p14:creationId xmlns:p14="http://schemas.microsoft.com/office/powerpoint/2010/main" val="184733485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a:xfrm>
            <a:off x="469900" y="374012"/>
            <a:ext cx="11252200" cy="334102"/>
          </a:xfrm>
        </p:spPr>
        <p:txBody>
          <a:bodyPr/>
          <a:lstStyle/>
          <a:p>
            <a:r>
              <a:rPr lang="en-US" dirty="0"/>
              <a:t>Current-State Capability </a:t>
            </a:r>
            <a:r>
              <a:rPr lang="en-US" altLang="ja-JP" dirty="0"/>
              <a:t>Variants</a:t>
            </a:r>
            <a:r>
              <a:rPr lang="ja-JP" altLang="en-US" dirty="0"/>
              <a:t> </a:t>
            </a:r>
            <a:r>
              <a:rPr lang="en-US" altLang="ja-JP" dirty="0"/>
              <a:t>and</a:t>
            </a:r>
            <a:r>
              <a:rPr lang="ja-JP" altLang="en-US" dirty="0"/>
              <a:t> </a:t>
            </a:r>
            <a:r>
              <a:rPr lang="en-US" altLang="ja-JP" dirty="0"/>
              <a:t>Options</a:t>
            </a:r>
            <a:r>
              <a:rPr lang="en-US" dirty="0"/>
              <a:t> Management</a:t>
            </a:r>
          </a:p>
        </p:txBody>
      </p:sp>
      <p:grpSp>
        <p:nvGrpSpPr>
          <p:cNvPr id="2" name="Group 1">
            <a:extLst>
              <a:ext uri="{FF2B5EF4-FFF2-40B4-BE49-F238E27FC236}">
                <a16:creationId xmlns:a16="http://schemas.microsoft.com/office/drawing/2014/main" id="{E7A21B8F-4ED2-46A4-8680-2EDCE3257591}"/>
              </a:ext>
            </a:extLst>
          </p:cNvPr>
          <p:cNvGrpSpPr/>
          <p:nvPr/>
        </p:nvGrpSpPr>
        <p:grpSpPr>
          <a:xfrm>
            <a:off x="469900" y="1140674"/>
            <a:ext cx="10923052" cy="5158525"/>
            <a:chOff x="649252" y="4827051"/>
            <a:chExt cx="10923052" cy="2605312"/>
          </a:xfrm>
        </p:grpSpPr>
        <p:sp>
          <p:nvSpPr>
            <p:cNvPr id="5" name="Content Placeholder 2">
              <a:extLst>
                <a:ext uri="{FF2B5EF4-FFF2-40B4-BE49-F238E27FC236}">
                  <a16:creationId xmlns:a16="http://schemas.microsoft.com/office/drawing/2014/main" id="{D105B340-91FE-4713-91F6-44138599D7D9}"/>
                </a:ext>
              </a:extLst>
            </p:cNvPr>
            <p:cNvSpPr txBox="1">
              <a:spLocks/>
            </p:cNvSpPr>
            <p:nvPr/>
          </p:nvSpPr>
          <p:spPr>
            <a:xfrm>
              <a:off x="649252" y="4827051"/>
              <a:ext cx="3910371" cy="2605312"/>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marR="0" lvl="1"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1400" b="1" i="0" u="none" strike="noStrike" kern="1200" cap="none" spc="0" normalizeH="0" baseline="0" noProof="0" dirty="0">
                  <a:ln>
                    <a:noFill/>
                  </a:ln>
                  <a:solidFill>
                    <a:srgbClr val="62B5E5"/>
                  </a:solidFill>
                  <a:effectLst/>
                  <a:uLnTx/>
                  <a:uFillTx/>
                  <a:latin typeface="Verdana"/>
                  <a:ea typeface="+mn-ea"/>
                  <a:cs typeface="+mn-cs"/>
                </a:rPr>
                <a:t>Pain Points </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Currently </a:t>
              </a:r>
              <a:r>
                <a:rPr lang="en-US" sz="1400" dirty="0">
                  <a:solidFill>
                    <a:prstClr val="black"/>
                  </a:solidFill>
                  <a:latin typeface="Verdana"/>
                </a:rPr>
                <a:t>w</a:t>
              </a:r>
              <a:r>
                <a:rPr kumimoji="0" lang="en-US" sz="1400" b="0" i="0" u="none" strike="noStrike" kern="1200" cap="none" spc="0" normalizeH="0" baseline="0" noProof="0" dirty="0">
                  <a:ln>
                    <a:noFill/>
                  </a:ln>
                  <a:solidFill>
                    <a:prstClr val="black"/>
                  </a:solidFill>
                  <a:effectLst/>
                  <a:uLnTx/>
                  <a:uFillTx/>
                  <a:latin typeface="Verdana"/>
                  <a:ea typeface="+mn-ea"/>
                  <a:cs typeface="+mn-cs"/>
                </a:rPr>
                <a:t>e do not have a</a:t>
              </a:r>
              <a:r>
                <a:rPr lang="en-US" sz="1400" dirty="0">
                  <a:solidFill>
                    <a:prstClr val="black"/>
                  </a:solidFill>
                  <a:latin typeface="Verdana"/>
                </a:rPr>
                <a:t> clear Variants &amp; Options Management in Molex because most of connectors had been developed by the specific customer’s requests/requirement. </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Regarding BOM management, we have a certain system placed.  </a:t>
              </a:r>
              <a:r>
                <a:rPr lang="en-US" sz="1400" dirty="0">
                  <a:solidFill>
                    <a:prstClr val="black"/>
                  </a:solidFill>
                  <a:latin typeface="Verdana"/>
                </a:rPr>
                <a:t>But.  it is not linked to Variants &amp; Options.</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Regarding change control, we have global PCN system.  It is not linked to directly Variants &amp; </a:t>
              </a:r>
              <a:r>
                <a:rPr lang="en-US" sz="1400" dirty="0">
                  <a:solidFill>
                    <a:prstClr val="black"/>
                  </a:solidFill>
                  <a:latin typeface="Verdana"/>
                </a:rPr>
                <a:t>Options.</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Regarding Cost &amp; Scheduling, we do not have the costing data base of each features /options. </a:t>
              </a:r>
            </a:p>
          </p:txBody>
        </p:sp>
        <p:sp>
          <p:nvSpPr>
            <p:cNvPr id="38" name="Content Placeholder 2">
              <a:extLst>
                <a:ext uri="{FF2B5EF4-FFF2-40B4-BE49-F238E27FC236}">
                  <a16:creationId xmlns:a16="http://schemas.microsoft.com/office/drawing/2014/main" id="{1CC05C0C-D496-46EE-A944-9B2BB98AFC14}"/>
                </a:ext>
              </a:extLst>
            </p:cNvPr>
            <p:cNvSpPr txBox="1">
              <a:spLocks/>
            </p:cNvSpPr>
            <p:nvPr/>
          </p:nvSpPr>
          <p:spPr>
            <a:xfrm>
              <a:off x="4751352" y="4827052"/>
              <a:ext cx="4793226" cy="2605311"/>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marR="0" lvl="1"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1400" b="1" i="0" u="none" strike="noStrike" kern="1200" cap="none" spc="0" normalizeH="0" baseline="0" noProof="0" dirty="0">
                  <a:ln>
                    <a:noFill/>
                  </a:ln>
                  <a:solidFill>
                    <a:srgbClr val="62B5E5"/>
                  </a:solidFill>
                  <a:effectLst/>
                  <a:uLnTx/>
                  <a:uFillTx/>
                  <a:latin typeface="Verdana"/>
                  <a:ea typeface="+mn-ea"/>
                  <a:cs typeface="+mn-cs"/>
                </a:rPr>
                <a:t>Improvement Opportunities  </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We need to clearly understand and define the definition of </a:t>
              </a:r>
              <a:r>
                <a:rPr lang="en-US" sz="1400" dirty="0">
                  <a:solidFill>
                    <a:prstClr val="black"/>
                  </a:solidFill>
                  <a:latin typeface="Verdana"/>
                </a:rPr>
                <a:t>Variants and Options </a:t>
              </a:r>
              <a:r>
                <a:rPr kumimoji="0" lang="en-US" sz="1400" b="0" i="0" u="none" strike="noStrike" kern="1200" cap="none" spc="0" normalizeH="0" baseline="0" noProof="0" dirty="0">
                  <a:ln>
                    <a:noFill/>
                  </a:ln>
                  <a:solidFill>
                    <a:prstClr val="black"/>
                  </a:solidFill>
                  <a:effectLst/>
                  <a:uLnTx/>
                  <a:uFillTx/>
                  <a:latin typeface="Verdana"/>
                  <a:ea typeface="+mn-ea"/>
                  <a:cs typeface="+mn-cs"/>
                </a:rPr>
                <a:t>so that it can be used without any </a:t>
              </a:r>
              <a:r>
                <a:rPr lang="en-US" sz="1400" dirty="0">
                  <a:solidFill>
                    <a:prstClr val="black"/>
                  </a:solidFill>
                  <a:latin typeface="Verdana"/>
                </a:rPr>
                <a:t>mistakes.</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Automated BOM / Automated PCN of Variants &amp; Options data check system </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Automated costing data update for each features/options </a:t>
              </a:r>
            </a:p>
            <a:p>
              <a:pPr marL="127000" marR="0" lvl="1" indent="-127000" algn="l"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a:p>
              <a:pPr marL="127000" marR="0" lvl="1" indent="-127000" algn="l"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a:p>
              <a:pPr marL="127000" marR="0" lvl="1" indent="-127000" algn="l"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37" name="Content Placeholder 2">
              <a:extLst>
                <a:ext uri="{FF2B5EF4-FFF2-40B4-BE49-F238E27FC236}">
                  <a16:creationId xmlns:a16="http://schemas.microsoft.com/office/drawing/2014/main" id="{1368719C-95CF-444F-8171-A5A2E1569750}"/>
                </a:ext>
              </a:extLst>
            </p:cNvPr>
            <p:cNvSpPr txBox="1">
              <a:spLocks/>
            </p:cNvSpPr>
            <p:nvPr/>
          </p:nvSpPr>
          <p:spPr>
            <a:xfrm>
              <a:off x="9736307" y="4827052"/>
              <a:ext cx="1835997" cy="2605311"/>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marR="0" lvl="1"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1400" b="1" i="0" u="none" strike="noStrike" kern="1200" cap="none" spc="0" normalizeH="0" baseline="0" noProof="0" dirty="0">
                  <a:ln>
                    <a:noFill/>
                  </a:ln>
                  <a:solidFill>
                    <a:srgbClr val="62B5E5"/>
                  </a:solidFill>
                  <a:effectLst/>
                  <a:uLnTx/>
                  <a:uFillTx/>
                  <a:latin typeface="Verdana"/>
                  <a:ea typeface="+mn-ea"/>
                  <a:cs typeface="+mn-cs"/>
                </a:rPr>
                <a:t>Technology / Data Utilized   </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ECTR</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NX</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SAP</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kumimoji="0" lang="en-US" sz="1400" dirty="0">
                  <a:solidFill>
                    <a:prstClr val="black"/>
                  </a:solidFill>
                  <a:latin typeface="Verdana"/>
                </a:rPr>
                <a:t>GRANTA</a:t>
              </a:r>
            </a:p>
            <a:p>
              <a:pPr marL="344487" marR="0" lvl="1" indent="-342900" algn="l" defTabSz="1219170" rtl="0" eaLnBrk="1" fontAlgn="auto" latinLnBrk="0" hangingPunct="1">
                <a:lnSpc>
                  <a:spcPct val="100000"/>
                </a:lnSpc>
                <a:spcBef>
                  <a:spcPts val="0"/>
                </a:spcBef>
                <a:spcAft>
                  <a:spcPts val="1333"/>
                </a:spcAft>
                <a:buClrTx/>
                <a:buSzPct val="100000"/>
                <a:buFont typeface="Arial" panose="020B0604020202020204" pitchFamily="34" charset="0"/>
                <a:buAutoNum type="arabicPeriod"/>
                <a:tabLst/>
                <a:defRPr/>
              </a:pPr>
              <a:r>
                <a:rPr lang="en-US" altLang="ja-JP" sz="1400" b="0" i="0" u="none" strike="noStrike" kern="1200" cap="none" spc="0" normalizeH="0" baseline="0" noProof="0" dirty="0">
                  <a:ln>
                    <a:noFill/>
                  </a:ln>
                  <a:solidFill>
                    <a:prstClr val="black"/>
                  </a:solidFill>
                  <a:effectLst/>
                  <a:uLnTx/>
                  <a:uFillTx/>
                  <a:latin typeface="Verdana"/>
                  <a:ea typeface="+mn-ea"/>
                  <a:cs typeface="+mn-cs"/>
                </a:rPr>
                <a:t>E-Workflow</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a:p>
              <a:pPr marL="127000" marR="0" lvl="1" indent="-127000" algn="l"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a:p>
              <a:pPr marL="127000" marR="0" lvl="1" indent="-127000" algn="l"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a:p>
              <a:pPr marL="127000" marR="0" lvl="1" indent="-127000" algn="l" defTabSz="1219170" rtl="0" eaLnBrk="1" fontAlgn="auto" latinLnBrk="0" hangingPunct="1">
                <a:lnSpc>
                  <a:spcPct val="100000"/>
                </a:lnSpc>
                <a:spcBef>
                  <a:spcPts val="0"/>
                </a:spcBef>
                <a:spcAft>
                  <a:spcPts val="1333"/>
                </a:spcAft>
                <a:buClrTx/>
                <a:buSzPct val="100000"/>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val="184565021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idx="1"/>
          </p:nvPr>
        </p:nvSpPr>
        <p:spPr>
          <a:xfrm>
            <a:off x="413350" y="447675"/>
            <a:ext cx="11231949" cy="6057900"/>
          </a:xfrm>
        </p:spPr>
        <p:txBody>
          <a:bodyPr/>
          <a:lstStyle/>
          <a:p>
            <a:r>
              <a:rPr kumimoji="1" lang="en-US" altLang="ja-JP" sz="2200" dirty="0"/>
              <a:t>Molex historically had been developing connectors based on different customer’s requests/requirements.</a:t>
            </a:r>
          </a:p>
          <a:p>
            <a:endParaRPr kumimoji="1" lang="en-US" altLang="ja-JP" sz="2200" dirty="0"/>
          </a:p>
          <a:p>
            <a:r>
              <a:rPr kumimoji="1" lang="en-US" altLang="ja-JP" sz="2200" dirty="0"/>
              <a:t>M</a:t>
            </a:r>
            <a:r>
              <a:rPr lang="en-US" altLang="ja-JP" sz="2200" dirty="0"/>
              <a:t>any similar products were existed now.  Some of them are in a sense  redundant.  It is hard to define that these are variants/options.</a:t>
            </a:r>
          </a:p>
          <a:p>
            <a:r>
              <a:rPr lang="en-US" altLang="ja-JP" sz="2200" dirty="0"/>
              <a:t>However, our target customers are becoming more global distributors who purchase our general products.</a:t>
            </a:r>
          </a:p>
          <a:p>
            <a:r>
              <a:rPr lang="en-US" altLang="ja-JP" sz="2200" dirty="0"/>
              <a:t>Recently we starts to identify 3 product categories, “Core Products”, “Maintain Products” and “Attrition products”</a:t>
            </a:r>
            <a:r>
              <a:rPr lang="ja-JP" altLang="en-US" sz="2200" dirty="0"/>
              <a:t> </a:t>
            </a:r>
            <a:r>
              <a:rPr lang="en-US" altLang="ja-JP" sz="2200" dirty="0"/>
              <a:t>based</a:t>
            </a:r>
            <a:r>
              <a:rPr lang="ja-JP" altLang="en-US" sz="2200" dirty="0"/>
              <a:t> </a:t>
            </a:r>
            <a:r>
              <a:rPr lang="en-US" altLang="ja-JP" sz="2200" dirty="0"/>
              <a:t>on</a:t>
            </a:r>
            <a:r>
              <a:rPr lang="ja-JP" altLang="en-US" sz="2200" dirty="0"/>
              <a:t> </a:t>
            </a:r>
            <a:r>
              <a:rPr lang="en-US" altLang="ja-JP" sz="2200" dirty="0"/>
              <a:t>the</a:t>
            </a:r>
            <a:r>
              <a:rPr lang="ja-JP" altLang="en-US" sz="2200" dirty="0"/>
              <a:t> </a:t>
            </a:r>
            <a:r>
              <a:rPr lang="en-US" altLang="ja-JP" sz="2200" dirty="0"/>
              <a:t>sales history, market penetration, profitability etc.</a:t>
            </a:r>
            <a:r>
              <a:rPr kumimoji="1" lang="en-US" altLang="ja-JP" sz="2200" dirty="0"/>
              <a:t> </a:t>
            </a:r>
          </a:p>
          <a:p>
            <a:endParaRPr kumimoji="1" lang="en-US" altLang="ja-JP" sz="2200" dirty="0"/>
          </a:p>
          <a:p>
            <a:r>
              <a:rPr kumimoji="1" lang="en-US" altLang="ja-JP" sz="2200" dirty="0"/>
              <a:t>We are now trying to expand some of the </a:t>
            </a:r>
            <a:r>
              <a:rPr kumimoji="1" lang="en-US" altLang="ja-JP" sz="2200" u="sng" dirty="0"/>
              <a:t>variants/options</a:t>
            </a:r>
            <a:r>
              <a:rPr kumimoji="1" lang="en-US" altLang="ja-JP" sz="2200" dirty="0"/>
              <a:t> for especially these core products, such as vertical, right angle, different circuit sizes, dual rows, glow wire version, potting version, etc.</a:t>
            </a:r>
          </a:p>
          <a:p>
            <a:endParaRPr kumimoji="1" lang="en-US" altLang="ja-JP" sz="2200" dirty="0"/>
          </a:p>
          <a:p>
            <a:endParaRPr kumimoji="1" lang="ja-JP" altLang="en-US" sz="2200" dirty="0"/>
          </a:p>
        </p:txBody>
      </p:sp>
      <p:sp>
        <p:nvSpPr>
          <p:cNvPr id="3" name="矢印: 下 2">
            <a:extLst>
              <a:ext uri="{FF2B5EF4-FFF2-40B4-BE49-F238E27FC236}">
                <a16:creationId xmlns:a16="http://schemas.microsoft.com/office/drawing/2014/main" id="{808A3638-128E-4C22-B27E-252CCB787580}"/>
              </a:ext>
            </a:extLst>
          </p:cNvPr>
          <p:cNvSpPr/>
          <p:nvPr/>
        </p:nvSpPr>
        <p:spPr bwMode="gray">
          <a:xfrm>
            <a:off x="5448299" y="1190625"/>
            <a:ext cx="581025" cy="495300"/>
          </a:xfrm>
          <a:prstGeom prst="down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kumimoji="1" lang="ja-JP" altLang="en-US" sz="1600" b="1" dirty="0">
              <a:solidFill>
                <a:schemeClr val="bg1"/>
              </a:solidFill>
            </a:endParaRPr>
          </a:p>
        </p:txBody>
      </p:sp>
    </p:spTree>
    <p:extLst>
      <p:ext uri="{BB962C8B-B14F-4D97-AF65-F5344CB8AC3E}">
        <p14:creationId xmlns:p14="http://schemas.microsoft.com/office/powerpoint/2010/main" val="18698138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6705D2-9A1E-4A1F-80F4-6BC1AE8E4025}"/>
              </a:ext>
            </a:extLst>
          </p:cNvPr>
          <p:cNvSpPr>
            <a:spLocks noGrp="1"/>
          </p:cNvSpPr>
          <p:nvPr>
            <p:ph type="title"/>
          </p:nvPr>
        </p:nvSpPr>
        <p:spPr>
          <a:xfrm>
            <a:off x="469900" y="386545"/>
            <a:ext cx="11252200" cy="334102"/>
          </a:xfrm>
        </p:spPr>
        <p:txBody>
          <a:bodyPr/>
          <a:lstStyle/>
          <a:p>
            <a:r>
              <a:rPr lang="en-US" sz="2400" b="1" dirty="0"/>
              <a:t>Variants &amp; Options Management </a:t>
            </a:r>
          </a:p>
        </p:txBody>
      </p:sp>
      <p:sp>
        <p:nvSpPr>
          <p:cNvPr id="68" name="Rectangle: Rounded Corners 67">
            <a:extLst>
              <a:ext uri="{FF2B5EF4-FFF2-40B4-BE49-F238E27FC236}">
                <a16:creationId xmlns:a16="http://schemas.microsoft.com/office/drawing/2014/main" id="{E7C1504F-681D-4266-A5CA-116DCE29F48C}"/>
              </a:ext>
            </a:extLst>
          </p:cNvPr>
          <p:cNvSpPr>
            <a:spLocks noChangeArrowheads="1"/>
          </p:cNvSpPr>
          <p:nvPr/>
        </p:nvSpPr>
        <p:spPr bwMode="auto">
          <a:xfrm>
            <a:off x="5328323" y="5683315"/>
            <a:ext cx="1371600" cy="731838"/>
          </a:xfrm>
          <a:prstGeom prst="roundRect">
            <a:avLst/>
          </a:prstGeom>
          <a:solidFill>
            <a:srgbClr val="336600"/>
          </a:solidFill>
          <a:ln w="19050">
            <a:solidFill>
              <a:schemeClr val="tx1"/>
            </a:solidFill>
          </a:ln>
        </p:spPr>
        <p:txBody>
          <a:bodyPr lIns="0" tIns="0" rIns="0" bIns="0" anchor="ctr"/>
          <a:lstStyle/>
          <a:p>
            <a:pPr algn="ctr" defTabSz="1097280" eaLnBrk="0" fontAlgn="base" hangingPunct="0">
              <a:lnSpc>
                <a:spcPct val="90000"/>
              </a:lnSpc>
              <a:spcBef>
                <a:spcPct val="0"/>
              </a:spcBef>
              <a:spcAft>
                <a:spcPct val="0"/>
              </a:spcAft>
              <a:defRPr/>
            </a:pPr>
            <a:r>
              <a:rPr lang="en-US" altLang="en-US" sz="1000" b="1" dirty="0">
                <a:solidFill>
                  <a:schemeClr val="bg1"/>
                </a:solidFill>
                <a:cs typeface="Arial" charset="0"/>
              </a:rPr>
              <a:t>Change Control of Options</a:t>
            </a:r>
          </a:p>
        </p:txBody>
      </p:sp>
      <p:sp>
        <p:nvSpPr>
          <p:cNvPr id="69" name="Rectangle 22">
            <a:extLst>
              <a:ext uri="{FF2B5EF4-FFF2-40B4-BE49-F238E27FC236}">
                <a16:creationId xmlns:a16="http://schemas.microsoft.com/office/drawing/2014/main" id="{D5F186A4-D5D0-4472-AF9A-4DA71C6248CA}"/>
              </a:ext>
            </a:extLst>
          </p:cNvPr>
          <p:cNvSpPr>
            <a:spLocks noChangeArrowheads="1"/>
          </p:cNvSpPr>
          <p:nvPr/>
        </p:nvSpPr>
        <p:spPr bwMode="auto">
          <a:xfrm>
            <a:off x="5328323" y="4376890"/>
            <a:ext cx="1371600" cy="109728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Manual change management process with minimal standardization </a:t>
            </a:r>
          </a:p>
        </p:txBody>
      </p:sp>
      <p:sp>
        <p:nvSpPr>
          <p:cNvPr id="70" name="Rectangle 30">
            <a:extLst>
              <a:ext uri="{FF2B5EF4-FFF2-40B4-BE49-F238E27FC236}">
                <a16:creationId xmlns:a16="http://schemas.microsoft.com/office/drawing/2014/main" id="{7FF408DC-59EE-41F3-8C3B-5D6D03AD5FF1}"/>
              </a:ext>
            </a:extLst>
          </p:cNvPr>
          <p:cNvSpPr>
            <a:spLocks noChangeArrowheads="1"/>
          </p:cNvSpPr>
          <p:nvPr/>
        </p:nvSpPr>
        <p:spPr bwMode="auto">
          <a:xfrm>
            <a:off x="5328323" y="1280690"/>
            <a:ext cx="1371600" cy="155448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Global change management process that is closed loop while maintaining a repository of all changes</a:t>
            </a:r>
          </a:p>
        </p:txBody>
      </p:sp>
      <p:sp>
        <p:nvSpPr>
          <p:cNvPr id="71" name="Rectangle 38">
            <a:extLst>
              <a:ext uri="{FF2B5EF4-FFF2-40B4-BE49-F238E27FC236}">
                <a16:creationId xmlns:a16="http://schemas.microsoft.com/office/drawing/2014/main" id="{3689B93E-DCAC-415A-AD4E-D5273648B45C}"/>
              </a:ext>
            </a:extLst>
          </p:cNvPr>
          <p:cNvSpPr>
            <a:spLocks noChangeArrowheads="1"/>
          </p:cNvSpPr>
          <p:nvPr/>
        </p:nvSpPr>
        <p:spPr bwMode="auto">
          <a:xfrm>
            <a:off x="5328323" y="3033865"/>
            <a:ext cx="1371600" cy="114300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Multiple change management processes that are completed on an ad-hoc basis </a:t>
            </a:r>
          </a:p>
        </p:txBody>
      </p:sp>
      <p:sp>
        <p:nvSpPr>
          <p:cNvPr id="72" name="Rectangle 9">
            <a:extLst>
              <a:ext uri="{FF2B5EF4-FFF2-40B4-BE49-F238E27FC236}">
                <a16:creationId xmlns:a16="http://schemas.microsoft.com/office/drawing/2014/main" id="{1DF69AC6-DF29-483E-8E75-15E4A4AD45E1}"/>
              </a:ext>
            </a:extLst>
          </p:cNvPr>
          <p:cNvSpPr>
            <a:spLocks noChangeArrowheads="1"/>
          </p:cNvSpPr>
          <p:nvPr/>
        </p:nvSpPr>
        <p:spPr bwMode="auto">
          <a:xfrm>
            <a:off x="696200" y="5683315"/>
            <a:ext cx="1371600" cy="731838"/>
          </a:xfrm>
          <a:prstGeom prst="roundRect">
            <a:avLst/>
          </a:prstGeom>
          <a:solidFill>
            <a:srgbClr val="336600"/>
          </a:solidFill>
          <a:ln w="19050">
            <a:solidFill>
              <a:schemeClr val="tx1"/>
            </a:solidFill>
          </a:ln>
        </p:spPr>
        <p:txBody>
          <a:bodyPr lIns="0" tIns="0" rIns="0" bIns="0" anchor="ctr"/>
          <a:lstStyle/>
          <a:p>
            <a:pPr algn="ctr" defTabSz="1097280" eaLnBrk="0" fontAlgn="base" hangingPunct="0">
              <a:lnSpc>
                <a:spcPct val="90000"/>
              </a:lnSpc>
              <a:spcBef>
                <a:spcPct val="0"/>
              </a:spcBef>
              <a:spcAft>
                <a:spcPct val="0"/>
              </a:spcAft>
              <a:defRPr/>
            </a:pPr>
            <a:r>
              <a:rPr lang="en-US" sz="1000" b="1" dirty="0">
                <a:solidFill>
                  <a:schemeClr val="bg1"/>
                </a:solidFill>
                <a:cs typeface="Arial" charset="0"/>
              </a:rPr>
              <a:t>Rules Based Selection</a:t>
            </a:r>
          </a:p>
        </p:txBody>
      </p:sp>
      <p:sp>
        <p:nvSpPr>
          <p:cNvPr id="73" name="Rectangle 23">
            <a:extLst>
              <a:ext uri="{FF2B5EF4-FFF2-40B4-BE49-F238E27FC236}">
                <a16:creationId xmlns:a16="http://schemas.microsoft.com/office/drawing/2014/main" id="{A9D49528-B2D9-40F3-A55D-D64A9E6BDE1C}"/>
              </a:ext>
            </a:extLst>
          </p:cNvPr>
          <p:cNvSpPr>
            <a:spLocks noChangeArrowheads="1"/>
          </p:cNvSpPr>
          <p:nvPr/>
        </p:nvSpPr>
        <p:spPr bwMode="auto">
          <a:xfrm>
            <a:off x="696200" y="4376890"/>
            <a:ext cx="1371600" cy="109728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sz="1000" dirty="0">
                <a:ea typeface="Tahoma" pitchFamily="34" charset="0"/>
                <a:cs typeface="Tahoma" pitchFamily="34" charset="0"/>
              </a:rPr>
              <a:t>Limited understanding and visibility on variants &amp; options. Separate BOMs are created for each possibility</a:t>
            </a:r>
          </a:p>
        </p:txBody>
      </p:sp>
      <p:sp>
        <p:nvSpPr>
          <p:cNvPr id="74" name="Rectangle 31">
            <a:extLst>
              <a:ext uri="{FF2B5EF4-FFF2-40B4-BE49-F238E27FC236}">
                <a16:creationId xmlns:a16="http://schemas.microsoft.com/office/drawing/2014/main" id="{F1615E07-5D7B-4AA8-9E72-40E877B702BE}"/>
              </a:ext>
            </a:extLst>
          </p:cNvPr>
          <p:cNvSpPr>
            <a:spLocks noChangeArrowheads="1"/>
          </p:cNvSpPr>
          <p:nvPr/>
        </p:nvSpPr>
        <p:spPr bwMode="auto">
          <a:xfrm>
            <a:off x="696200" y="1280690"/>
            <a:ext cx="1371600" cy="155448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sz="1000" dirty="0">
                <a:ea typeface="Tahoma" pitchFamily="34" charset="0"/>
                <a:cs typeface="Tahoma" pitchFamily="34" charset="0"/>
              </a:rPr>
              <a:t>Programmed rules that pre-determines options according to the surrounding configuration. Clear visibility to possible configurations and impact of decisions </a:t>
            </a:r>
          </a:p>
        </p:txBody>
      </p:sp>
      <p:sp>
        <p:nvSpPr>
          <p:cNvPr id="75" name="Rectangle 39">
            <a:extLst>
              <a:ext uri="{FF2B5EF4-FFF2-40B4-BE49-F238E27FC236}">
                <a16:creationId xmlns:a16="http://schemas.microsoft.com/office/drawing/2014/main" id="{439A47E6-0A2E-4A79-BA46-5C59B8A60D1F}"/>
              </a:ext>
            </a:extLst>
          </p:cNvPr>
          <p:cNvSpPr>
            <a:spLocks noChangeArrowheads="1"/>
          </p:cNvSpPr>
          <p:nvPr/>
        </p:nvSpPr>
        <p:spPr bwMode="auto">
          <a:xfrm>
            <a:off x="696200" y="3033865"/>
            <a:ext cx="1371600" cy="114300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sz="1000" dirty="0">
                <a:ea typeface="Tahoma" pitchFamily="34" charset="0"/>
                <a:cs typeface="Tahoma" pitchFamily="34" charset="0"/>
              </a:rPr>
              <a:t>Set variant condition rules that supply guidelines and recommendations on potential configurations</a:t>
            </a:r>
          </a:p>
        </p:txBody>
      </p:sp>
      <p:sp>
        <p:nvSpPr>
          <p:cNvPr id="76" name="Rectangle 4">
            <a:extLst>
              <a:ext uri="{FF2B5EF4-FFF2-40B4-BE49-F238E27FC236}">
                <a16:creationId xmlns:a16="http://schemas.microsoft.com/office/drawing/2014/main" id="{3FD0BE15-9455-4295-905E-D074DF3DB217}"/>
              </a:ext>
            </a:extLst>
          </p:cNvPr>
          <p:cNvSpPr>
            <a:spLocks noChangeArrowheads="1"/>
          </p:cNvSpPr>
          <p:nvPr/>
        </p:nvSpPr>
        <p:spPr bwMode="auto">
          <a:xfrm>
            <a:off x="3784282" y="5683315"/>
            <a:ext cx="1371600" cy="731838"/>
          </a:xfrm>
          <a:prstGeom prst="roundRect">
            <a:avLst/>
          </a:prstGeom>
          <a:solidFill>
            <a:srgbClr val="336600"/>
          </a:solidFill>
          <a:ln w="19050">
            <a:solidFill>
              <a:schemeClr val="tx1"/>
            </a:solidFill>
          </a:ln>
        </p:spPr>
        <p:txBody>
          <a:bodyPr lIns="0" tIns="0" rIns="0" bIns="0" anchor="ctr"/>
          <a:lstStyle/>
          <a:p>
            <a:pPr algn="ctr" defTabSz="1097280" eaLnBrk="0" fontAlgn="base" hangingPunct="0">
              <a:lnSpc>
                <a:spcPct val="90000"/>
              </a:lnSpc>
              <a:spcBef>
                <a:spcPct val="0"/>
              </a:spcBef>
              <a:spcAft>
                <a:spcPct val="0"/>
              </a:spcAft>
              <a:defRPr/>
            </a:pPr>
            <a:r>
              <a:rPr lang="en-US" altLang="en-US" sz="1000" b="1" dirty="0">
                <a:solidFill>
                  <a:schemeClr val="bg1"/>
                </a:solidFill>
                <a:cs typeface="Arial" charset="0"/>
              </a:rPr>
              <a:t>Change Control Linkage / Ramifications</a:t>
            </a:r>
          </a:p>
        </p:txBody>
      </p:sp>
      <p:sp>
        <p:nvSpPr>
          <p:cNvPr id="77" name="Rectangle 18">
            <a:extLst>
              <a:ext uri="{FF2B5EF4-FFF2-40B4-BE49-F238E27FC236}">
                <a16:creationId xmlns:a16="http://schemas.microsoft.com/office/drawing/2014/main" id="{57F4812A-5B94-47BE-80B6-700C64DD5512}"/>
              </a:ext>
            </a:extLst>
          </p:cNvPr>
          <p:cNvSpPr>
            <a:spLocks noChangeArrowheads="1"/>
          </p:cNvSpPr>
          <p:nvPr/>
        </p:nvSpPr>
        <p:spPr bwMode="auto">
          <a:xfrm>
            <a:off x="3784282" y="4376890"/>
            <a:ext cx="1371600" cy="109728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No formal (or inconsistent)  process to understanding upstream changes on options </a:t>
            </a:r>
          </a:p>
        </p:txBody>
      </p:sp>
      <p:sp>
        <p:nvSpPr>
          <p:cNvPr id="78" name="Rectangle 26">
            <a:extLst>
              <a:ext uri="{FF2B5EF4-FFF2-40B4-BE49-F238E27FC236}">
                <a16:creationId xmlns:a16="http://schemas.microsoft.com/office/drawing/2014/main" id="{B398FB78-018A-4794-9A9A-FF15A6EC805D}"/>
              </a:ext>
            </a:extLst>
          </p:cNvPr>
          <p:cNvSpPr>
            <a:spLocks noChangeArrowheads="1"/>
          </p:cNvSpPr>
          <p:nvPr/>
        </p:nvSpPr>
        <p:spPr bwMode="auto">
          <a:xfrm>
            <a:off x="3784282" y="1280690"/>
            <a:ext cx="1371600" cy="155448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Clear traceability and process imbedded in change control to ensure all impact is evaluated upfront</a:t>
            </a:r>
          </a:p>
        </p:txBody>
      </p:sp>
      <p:sp>
        <p:nvSpPr>
          <p:cNvPr id="79" name="Rectangle 7">
            <a:extLst>
              <a:ext uri="{FF2B5EF4-FFF2-40B4-BE49-F238E27FC236}">
                <a16:creationId xmlns:a16="http://schemas.microsoft.com/office/drawing/2014/main" id="{A1FB5B47-2582-41EA-ACA5-014E112209C7}"/>
              </a:ext>
            </a:extLst>
          </p:cNvPr>
          <p:cNvSpPr>
            <a:spLocks noChangeArrowheads="1"/>
          </p:cNvSpPr>
          <p:nvPr/>
        </p:nvSpPr>
        <p:spPr bwMode="auto">
          <a:xfrm>
            <a:off x="8416405" y="5683315"/>
            <a:ext cx="1371600" cy="731838"/>
          </a:xfrm>
          <a:prstGeom prst="roundRect">
            <a:avLst/>
          </a:prstGeom>
          <a:solidFill>
            <a:srgbClr val="336600"/>
          </a:solidFill>
          <a:ln w="19050">
            <a:solidFill>
              <a:schemeClr val="tx1"/>
            </a:solidFill>
          </a:ln>
        </p:spPr>
        <p:txBody>
          <a:bodyPr lIns="0" tIns="0" rIns="0" bIns="0" anchor="ctr"/>
          <a:lstStyle/>
          <a:p>
            <a:pPr algn="ctr" defTabSz="1097280" eaLnBrk="0" fontAlgn="base" hangingPunct="0">
              <a:lnSpc>
                <a:spcPct val="90000"/>
              </a:lnSpc>
              <a:spcBef>
                <a:spcPct val="0"/>
              </a:spcBef>
              <a:spcAft>
                <a:spcPct val="0"/>
              </a:spcAft>
              <a:defRPr/>
            </a:pPr>
            <a:r>
              <a:rPr lang="en-US" altLang="en-US" sz="1000" b="1" dirty="0">
                <a:solidFill>
                  <a:schemeClr val="bg1"/>
                </a:solidFill>
                <a:cs typeface="Arial" charset="0"/>
              </a:rPr>
              <a:t>Option Classification</a:t>
            </a:r>
          </a:p>
        </p:txBody>
      </p:sp>
      <p:sp>
        <p:nvSpPr>
          <p:cNvPr id="80" name="Rectangle 21">
            <a:extLst>
              <a:ext uri="{FF2B5EF4-FFF2-40B4-BE49-F238E27FC236}">
                <a16:creationId xmlns:a16="http://schemas.microsoft.com/office/drawing/2014/main" id="{50A38018-AABA-4D1A-9E0A-83C0677C25DE}"/>
              </a:ext>
            </a:extLst>
          </p:cNvPr>
          <p:cNvSpPr>
            <a:spLocks noChangeArrowheads="1"/>
          </p:cNvSpPr>
          <p:nvPr/>
        </p:nvSpPr>
        <p:spPr bwMode="auto">
          <a:xfrm>
            <a:off x="8416405" y="4376890"/>
            <a:ext cx="1371600" cy="109728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Features/ Options are not classified, full “menu” of options provided to customers without known impacts</a:t>
            </a:r>
          </a:p>
        </p:txBody>
      </p:sp>
      <p:sp>
        <p:nvSpPr>
          <p:cNvPr id="81" name="Rectangle 29">
            <a:extLst>
              <a:ext uri="{FF2B5EF4-FFF2-40B4-BE49-F238E27FC236}">
                <a16:creationId xmlns:a16="http://schemas.microsoft.com/office/drawing/2014/main" id="{BDB769AD-749B-4A6A-92D7-22A943E03EC1}"/>
              </a:ext>
            </a:extLst>
          </p:cNvPr>
          <p:cNvSpPr>
            <a:spLocks noChangeArrowheads="1"/>
          </p:cNvSpPr>
          <p:nvPr/>
        </p:nvSpPr>
        <p:spPr bwMode="auto">
          <a:xfrm>
            <a:off x="8416405" y="1280690"/>
            <a:ext cx="1371600" cy="155448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Each feature/option classified, with classification under change control with governance model, impacts of each classification available real-time</a:t>
            </a:r>
          </a:p>
        </p:txBody>
      </p:sp>
      <p:sp>
        <p:nvSpPr>
          <p:cNvPr id="92" name="Rectangle 37">
            <a:extLst>
              <a:ext uri="{FF2B5EF4-FFF2-40B4-BE49-F238E27FC236}">
                <a16:creationId xmlns:a16="http://schemas.microsoft.com/office/drawing/2014/main" id="{5127D892-C971-4B43-A75B-973C9819A674}"/>
              </a:ext>
            </a:extLst>
          </p:cNvPr>
          <p:cNvSpPr>
            <a:spLocks noChangeArrowheads="1"/>
          </p:cNvSpPr>
          <p:nvPr/>
        </p:nvSpPr>
        <p:spPr bwMode="auto">
          <a:xfrm>
            <a:off x="8416405" y="3033865"/>
            <a:ext cx="1371600" cy="114300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Each feature/option classified as “Preferred”, “Standard”, “Offered”, “Available” (etc)</a:t>
            </a:r>
          </a:p>
        </p:txBody>
      </p:sp>
      <p:sp>
        <p:nvSpPr>
          <p:cNvPr id="93" name="Rectangle 7">
            <a:extLst>
              <a:ext uri="{FF2B5EF4-FFF2-40B4-BE49-F238E27FC236}">
                <a16:creationId xmlns:a16="http://schemas.microsoft.com/office/drawing/2014/main" id="{6EE0BFD1-E005-4C9E-A4E5-764D5C011EE7}"/>
              </a:ext>
            </a:extLst>
          </p:cNvPr>
          <p:cNvSpPr>
            <a:spLocks noChangeArrowheads="1"/>
          </p:cNvSpPr>
          <p:nvPr/>
        </p:nvSpPr>
        <p:spPr bwMode="auto">
          <a:xfrm>
            <a:off x="6872364" y="5683315"/>
            <a:ext cx="1371600" cy="731838"/>
          </a:xfrm>
          <a:prstGeom prst="roundRect">
            <a:avLst/>
          </a:prstGeom>
          <a:solidFill>
            <a:srgbClr val="336600"/>
          </a:solidFill>
          <a:ln w="19050">
            <a:solidFill>
              <a:schemeClr val="tx1"/>
            </a:solidFill>
          </a:ln>
        </p:spPr>
        <p:txBody>
          <a:bodyPr lIns="0" tIns="0" rIns="0" bIns="0" anchor="ctr"/>
          <a:lstStyle/>
          <a:p>
            <a:pPr algn="ctr" defTabSz="1097280" eaLnBrk="0" fontAlgn="base" hangingPunct="0">
              <a:lnSpc>
                <a:spcPct val="90000"/>
              </a:lnSpc>
              <a:spcBef>
                <a:spcPct val="0"/>
              </a:spcBef>
              <a:spcAft>
                <a:spcPct val="0"/>
              </a:spcAft>
              <a:defRPr/>
            </a:pPr>
            <a:r>
              <a:rPr lang="en-US" altLang="en-US" sz="1000" b="1" dirty="0">
                <a:solidFill>
                  <a:schemeClr val="bg1"/>
                </a:solidFill>
                <a:cs typeface="Arial" charset="0"/>
              </a:rPr>
              <a:t>Rationalization</a:t>
            </a:r>
          </a:p>
        </p:txBody>
      </p:sp>
      <p:sp>
        <p:nvSpPr>
          <p:cNvPr id="94" name="Rectangle 21">
            <a:extLst>
              <a:ext uri="{FF2B5EF4-FFF2-40B4-BE49-F238E27FC236}">
                <a16:creationId xmlns:a16="http://schemas.microsoft.com/office/drawing/2014/main" id="{1E3A64E8-935E-445A-B6F4-4DD396314E82}"/>
              </a:ext>
            </a:extLst>
          </p:cNvPr>
          <p:cNvSpPr>
            <a:spLocks noChangeArrowheads="1"/>
          </p:cNvSpPr>
          <p:nvPr/>
        </p:nvSpPr>
        <p:spPr bwMode="auto">
          <a:xfrm>
            <a:off x="6872364" y="4376890"/>
            <a:ext cx="1371600" cy="109728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Lack of standardized process around defining and selecting active options </a:t>
            </a:r>
          </a:p>
        </p:txBody>
      </p:sp>
      <p:sp>
        <p:nvSpPr>
          <p:cNvPr id="95" name="Rectangle 29">
            <a:extLst>
              <a:ext uri="{FF2B5EF4-FFF2-40B4-BE49-F238E27FC236}">
                <a16:creationId xmlns:a16="http://schemas.microsoft.com/office/drawing/2014/main" id="{75E0B1F5-CBB5-4B45-8D94-3AD79A3412F5}"/>
              </a:ext>
            </a:extLst>
          </p:cNvPr>
          <p:cNvSpPr>
            <a:spLocks noChangeArrowheads="1"/>
          </p:cNvSpPr>
          <p:nvPr/>
        </p:nvSpPr>
        <p:spPr bwMode="auto">
          <a:xfrm>
            <a:off x="6872364" y="1280690"/>
            <a:ext cx="1371600" cy="155448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Regularly assess each option’s effectiveness from an engineering and profitability standpoint</a:t>
            </a:r>
          </a:p>
        </p:txBody>
      </p:sp>
      <p:sp>
        <p:nvSpPr>
          <p:cNvPr id="96" name="Rectangle: Rounded Corners 95">
            <a:extLst>
              <a:ext uri="{FF2B5EF4-FFF2-40B4-BE49-F238E27FC236}">
                <a16:creationId xmlns:a16="http://schemas.microsoft.com/office/drawing/2014/main" id="{6474BE24-C7D7-4351-9CBF-F296DFA6CEE7}"/>
              </a:ext>
            </a:extLst>
          </p:cNvPr>
          <p:cNvSpPr>
            <a:spLocks noChangeArrowheads="1"/>
          </p:cNvSpPr>
          <p:nvPr/>
        </p:nvSpPr>
        <p:spPr bwMode="auto">
          <a:xfrm>
            <a:off x="6872364" y="3033865"/>
            <a:ext cx="1371600" cy="114300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Limited insight into the effectiveness and profitability of each option requiring a highly manual process</a:t>
            </a:r>
          </a:p>
        </p:txBody>
      </p:sp>
      <p:sp>
        <p:nvSpPr>
          <p:cNvPr id="97" name="Rectangle 34">
            <a:extLst>
              <a:ext uri="{FF2B5EF4-FFF2-40B4-BE49-F238E27FC236}">
                <a16:creationId xmlns:a16="http://schemas.microsoft.com/office/drawing/2014/main" id="{02A273BC-4A4F-4196-8B34-CADCF5FD74D1}"/>
              </a:ext>
            </a:extLst>
          </p:cNvPr>
          <p:cNvSpPr>
            <a:spLocks noChangeArrowheads="1"/>
          </p:cNvSpPr>
          <p:nvPr/>
        </p:nvSpPr>
        <p:spPr bwMode="auto">
          <a:xfrm>
            <a:off x="3784282" y="3033865"/>
            <a:ext cx="1371600" cy="114300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Weak linkage to change control requiring a large manual effort to understand impact / feasibility</a:t>
            </a:r>
          </a:p>
        </p:txBody>
      </p:sp>
      <p:cxnSp>
        <p:nvCxnSpPr>
          <p:cNvPr id="98" name="AutoShape 57">
            <a:extLst>
              <a:ext uri="{FF2B5EF4-FFF2-40B4-BE49-F238E27FC236}">
                <a16:creationId xmlns:a16="http://schemas.microsoft.com/office/drawing/2014/main" id="{BB607658-C480-4F8A-A97D-22670A6C5ED1}"/>
              </a:ext>
            </a:extLst>
          </p:cNvPr>
          <p:cNvCxnSpPr>
            <a:cxnSpLocks noChangeShapeType="1"/>
            <a:stCxn id="75" idx="0"/>
            <a:endCxn id="74" idx="2"/>
          </p:cNvCxnSpPr>
          <p:nvPr/>
        </p:nvCxnSpPr>
        <p:spPr bwMode="auto">
          <a:xfrm flipV="1">
            <a:off x="1382000" y="2835170"/>
            <a:ext cx="0" cy="19869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99" name="AutoShape 57">
            <a:extLst>
              <a:ext uri="{FF2B5EF4-FFF2-40B4-BE49-F238E27FC236}">
                <a16:creationId xmlns:a16="http://schemas.microsoft.com/office/drawing/2014/main" id="{AB1AE0E6-659A-466E-8CCB-3140FBD38A41}"/>
              </a:ext>
            </a:extLst>
          </p:cNvPr>
          <p:cNvCxnSpPr>
            <a:cxnSpLocks noChangeShapeType="1"/>
            <a:stCxn id="97" idx="0"/>
            <a:endCxn id="78" idx="2"/>
          </p:cNvCxnSpPr>
          <p:nvPr/>
        </p:nvCxnSpPr>
        <p:spPr bwMode="auto">
          <a:xfrm flipV="1">
            <a:off x="4470082" y="2835170"/>
            <a:ext cx="0" cy="19869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0" name="AutoShape 57">
            <a:extLst>
              <a:ext uri="{FF2B5EF4-FFF2-40B4-BE49-F238E27FC236}">
                <a16:creationId xmlns:a16="http://schemas.microsoft.com/office/drawing/2014/main" id="{D4868D84-6DA1-4325-8379-D5FE0CCB9BDA}"/>
              </a:ext>
            </a:extLst>
          </p:cNvPr>
          <p:cNvCxnSpPr>
            <a:cxnSpLocks noChangeShapeType="1"/>
            <a:stCxn id="71" idx="0"/>
            <a:endCxn id="70" idx="2"/>
          </p:cNvCxnSpPr>
          <p:nvPr/>
        </p:nvCxnSpPr>
        <p:spPr bwMode="auto">
          <a:xfrm flipV="1">
            <a:off x="6014123" y="2835170"/>
            <a:ext cx="0" cy="19869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1" name="AutoShape 57">
            <a:extLst>
              <a:ext uri="{FF2B5EF4-FFF2-40B4-BE49-F238E27FC236}">
                <a16:creationId xmlns:a16="http://schemas.microsoft.com/office/drawing/2014/main" id="{CC19856E-6D87-455D-8060-8FC3451BAF49}"/>
              </a:ext>
            </a:extLst>
          </p:cNvPr>
          <p:cNvCxnSpPr>
            <a:cxnSpLocks noChangeShapeType="1"/>
            <a:stCxn id="96" idx="0"/>
            <a:endCxn id="95" idx="2"/>
          </p:cNvCxnSpPr>
          <p:nvPr/>
        </p:nvCxnSpPr>
        <p:spPr bwMode="auto">
          <a:xfrm flipV="1">
            <a:off x="7558164" y="2835170"/>
            <a:ext cx="0" cy="19869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2" name="AutoShape 57">
            <a:extLst>
              <a:ext uri="{FF2B5EF4-FFF2-40B4-BE49-F238E27FC236}">
                <a16:creationId xmlns:a16="http://schemas.microsoft.com/office/drawing/2014/main" id="{26D3A54C-7022-4C27-B15E-35DA40C61C3E}"/>
              </a:ext>
            </a:extLst>
          </p:cNvPr>
          <p:cNvCxnSpPr>
            <a:cxnSpLocks noChangeShapeType="1"/>
            <a:stCxn id="92" idx="0"/>
            <a:endCxn id="81" idx="2"/>
          </p:cNvCxnSpPr>
          <p:nvPr/>
        </p:nvCxnSpPr>
        <p:spPr bwMode="auto">
          <a:xfrm flipV="1">
            <a:off x="9102205" y="2835170"/>
            <a:ext cx="0" cy="19869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3" name="AutoShape 57">
            <a:extLst>
              <a:ext uri="{FF2B5EF4-FFF2-40B4-BE49-F238E27FC236}">
                <a16:creationId xmlns:a16="http://schemas.microsoft.com/office/drawing/2014/main" id="{147100FC-BA8D-42C3-A46B-E2969BE8A76E}"/>
              </a:ext>
            </a:extLst>
          </p:cNvPr>
          <p:cNvCxnSpPr>
            <a:cxnSpLocks noChangeShapeType="1"/>
            <a:stCxn id="80" idx="0"/>
            <a:endCxn id="92" idx="2"/>
          </p:cNvCxnSpPr>
          <p:nvPr/>
        </p:nvCxnSpPr>
        <p:spPr bwMode="auto">
          <a:xfrm flipV="1">
            <a:off x="9102205" y="4176865"/>
            <a:ext cx="0" cy="2000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4" name="AutoShape 57">
            <a:extLst>
              <a:ext uri="{FF2B5EF4-FFF2-40B4-BE49-F238E27FC236}">
                <a16:creationId xmlns:a16="http://schemas.microsoft.com/office/drawing/2014/main" id="{9FFCBDA2-47D4-4291-B34D-B0235C1BD6B8}"/>
              </a:ext>
            </a:extLst>
          </p:cNvPr>
          <p:cNvCxnSpPr>
            <a:cxnSpLocks noChangeShapeType="1"/>
            <a:stCxn id="94" idx="0"/>
            <a:endCxn id="96" idx="2"/>
          </p:cNvCxnSpPr>
          <p:nvPr/>
        </p:nvCxnSpPr>
        <p:spPr bwMode="auto">
          <a:xfrm flipV="1">
            <a:off x="7558164" y="4176865"/>
            <a:ext cx="0" cy="2000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5" name="AutoShape 57">
            <a:extLst>
              <a:ext uri="{FF2B5EF4-FFF2-40B4-BE49-F238E27FC236}">
                <a16:creationId xmlns:a16="http://schemas.microsoft.com/office/drawing/2014/main" id="{DFF19BFE-FF4A-455D-8956-675B31658122}"/>
              </a:ext>
            </a:extLst>
          </p:cNvPr>
          <p:cNvCxnSpPr>
            <a:cxnSpLocks noChangeShapeType="1"/>
            <a:stCxn id="69" idx="0"/>
            <a:endCxn id="71" idx="2"/>
          </p:cNvCxnSpPr>
          <p:nvPr/>
        </p:nvCxnSpPr>
        <p:spPr bwMode="auto">
          <a:xfrm flipV="1">
            <a:off x="6014123" y="4176865"/>
            <a:ext cx="0" cy="2000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6" name="AutoShape 57">
            <a:extLst>
              <a:ext uri="{FF2B5EF4-FFF2-40B4-BE49-F238E27FC236}">
                <a16:creationId xmlns:a16="http://schemas.microsoft.com/office/drawing/2014/main" id="{504F72BB-82CA-47C8-BEAB-AF8F4FB1320B}"/>
              </a:ext>
            </a:extLst>
          </p:cNvPr>
          <p:cNvCxnSpPr>
            <a:cxnSpLocks noChangeShapeType="1"/>
            <a:stCxn id="77" idx="0"/>
            <a:endCxn id="97" idx="2"/>
          </p:cNvCxnSpPr>
          <p:nvPr/>
        </p:nvCxnSpPr>
        <p:spPr bwMode="auto">
          <a:xfrm flipV="1">
            <a:off x="4470082" y="4176865"/>
            <a:ext cx="0" cy="2000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7" name="AutoShape 57">
            <a:extLst>
              <a:ext uri="{FF2B5EF4-FFF2-40B4-BE49-F238E27FC236}">
                <a16:creationId xmlns:a16="http://schemas.microsoft.com/office/drawing/2014/main" id="{3BAA4871-E87B-4E46-BB3E-1DD9BC336BFD}"/>
              </a:ext>
            </a:extLst>
          </p:cNvPr>
          <p:cNvCxnSpPr>
            <a:cxnSpLocks noChangeShapeType="1"/>
            <a:stCxn id="73" idx="0"/>
            <a:endCxn id="75" idx="2"/>
          </p:cNvCxnSpPr>
          <p:nvPr/>
        </p:nvCxnSpPr>
        <p:spPr bwMode="auto">
          <a:xfrm flipV="1">
            <a:off x="1382000" y="4176865"/>
            <a:ext cx="0" cy="2000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08" name="Rectangle 4">
            <a:extLst>
              <a:ext uri="{FF2B5EF4-FFF2-40B4-BE49-F238E27FC236}">
                <a16:creationId xmlns:a16="http://schemas.microsoft.com/office/drawing/2014/main" id="{5D31AE35-8772-462A-B832-F5A7D307345C}"/>
              </a:ext>
            </a:extLst>
          </p:cNvPr>
          <p:cNvSpPr>
            <a:spLocks noChangeArrowheads="1"/>
          </p:cNvSpPr>
          <p:nvPr/>
        </p:nvSpPr>
        <p:spPr bwMode="auto">
          <a:xfrm>
            <a:off x="2240241" y="5683315"/>
            <a:ext cx="1371600" cy="731838"/>
          </a:xfrm>
          <a:prstGeom prst="roundRect">
            <a:avLst/>
          </a:prstGeom>
          <a:solidFill>
            <a:srgbClr val="336600"/>
          </a:solidFill>
          <a:ln w="19050">
            <a:solidFill>
              <a:schemeClr val="tx1"/>
            </a:solidFill>
          </a:ln>
        </p:spPr>
        <p:txBody>
          <a:bodyPr lIns="0" tIns="0" rIns="0" bIns="0" anchor="ctr"/>
          <a:lstStyle/>
          <a:p>
            <a:pPr algn="ctr" defTabSz="1097280" eaLnBrk="0" fontAlgn="base" hangingPunct="0">
              <a:lnSpc>
                <a:spcPct val="90000"/>
              </a:lnSpc>
              <a:spcBef>
                <a:spcPct val="0"/>
              </a:spcBef>
              <a:spcAft>
                <a:spcPct val="0"/>
              </a:spcAft>
              <a:defRPr/>
            </a:pPr>
            <a:r>
              <a:rPr lang="en-US" altLang="en-US" sz="1000" b="1" dirty="0">
                <a:solidFill>
                  <a:schemeClr val="bg1"/>
                </a:solidFill>
                <a:cs typeface="Arial" charset="0"/>
              </a:rPr>
              <a:t>Linkage to BOM</a:t>
            </a:r>
          </a:p>
        </p:txBody>
      </p:sp>
      <p:sp>
        <p:nvSpPr>
          <p:cNvPr id="109" name="Rectangle 18">
            <a:extLst>
              <a:ext uri="{FF2B5EF4-FFF2-40B4-BE49-F238E27FC236}">
                <a16:creationId xmlns:a16="http://schemas.microsoft.com/office/drawing/2014/main" id="{69EA9696-72C0-456B-AF3B-13145737E9D5}"/>
              </a:ext>
            </a:extLst>
          </p:cNvPr>
          <p:cNvSpPr>
            <a:spLocks noChangeArrowheads="1"/>
          </p:cNvSpPr>
          <p:nvPr/>
        </p:nvSpPr>
        <p:spPr bwMode="auto">
          <a:xfrm>
            <a:off x="2240241" y="4376890"/>
            <a:ext cx="1371600" cy="109728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Limited connection and visibility to variants. Every configuration created as its own BOM</a:t>
            </a:r>
          </a:p>
        </p:txBody>
      </p:sp>
      <p:sp>
        <p:nvSpPr>
          <p:cNvPr id="110" name="Rectangle 26">
            <a:extLst>
              <a:ext uri="{FF2B5EF4-FFF2-40B4-BE49-F238E27FC236}">
                <a16:creationId xmlns:a16="http://schemas.microsoft.com/office/drawing/2014/main" id="{23A8AF33-DEB2-4DBE-8064-EE9F12B2D2A1}"/>
              </a:ext>
            </a:extLst>
          </p:cNvPr>
          <p:cNvSpPr>
            <a:spLocks noChangeArrowheads="1"/>
          </p:cNvSpPr>
          <p:nvPr/>
        </p:nvSpPr>
        <p:spPr bwMode="auto">
          <a:xfrm>
            <a:off x="2240241" y="1280690"/>
            <a:ext cx="1371600" cy="155448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Full integration of BOM and variants with the ability to understand the overall impact of different configurations  </a:t>
            </a:r>
          </a:p>
        </p:txBody>
      </p:sp>
      <p:sp>
        <p:nvSpPr>
          <p:cNvPr id="111" name="Rectangle 34">
            <a:extLst>
              <a:ext uri="{FF2B5EF4-FFF2-40B4-BE49-F238E27FC236}">
                <a16:creationId xmlns:a16="http://schemas.microsoft.com/office/drawing/2014/main" id="{DBD80C53-FE6B-46AB-AA1F-A4BB66B3324F}"/>
              </a:ext>
            </a:extLst>
          </p:cNvPr>
          <p:cNvSpPr>
            <a:spLocks noChangeArrowheads="1"/>
          </p:cNvSpPr>
          <p:nvPr/>
        </p:nvSpPr>
        <p:spPr bwMode="auto">
          <a:xfrm>
            <a:off x="2240241" y="3040215"/>
            <a:ext cx="1371600" cy="114300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sz="1000" dirty="0">
                <a:solidFill>
                  <a:prstClr val="black"/>
                </a:solidFill>
                <a:ea typeface="Tahoma" pitchFamily="34" charset="0"/>
                <a:cs typeface="Tahoma" pitchFamily="34" charset="0"/>
              </a:rPr>
              <a:t>Ability to define  approved variants for each BOM configuration standardized across the company</a:t>
            </a:r>
            <a:endParaRPr lang="en-US" altLang="en-US" sz="1000" dirty="0">
              <a:ea typeface="Tahoma" pitchFamily="34" charset="0"/>
              <a:cs typeface="Tahoma" pitchFamily="34" charset="0"/>
            </a:endParaRPr>
          </a:p>
        </p:txBody>
      </p:sp>
      <p:cxnSp>
        <p:nvCxnSpPr>
          <p:cNvPr id="112" name="AutoShape 57">
            <a:extLst>
              <a:ext uri="{FF2B5EF4-FFF2-40B4-BE49-F238E27FC236}">
                <a16:creationId xmlns:a16="http://schemas.microsoft.com/office/drawing/2014/main" id="{059C3382-0B7C-4807-A918-7B1E49169530}"/>
              </a:ext>
            </a:extLst>
          </p:cNvPr>
          <p:cNvCxnSpPr>
            <a:cxnSpLocks noChangeShapeType="1"/>
            <a:stCxn id="111" idx="0"/>
            <a:endCxn id="110" idx="2"/>
          </p:cNvCxnSpPr>
          <p:nvPr/>
        </p:nvCxnSpPr>
        <p:spPr bwMode="auto">
          <a:xfrm flipV="1">
            <a:off x="2926041" y="2835170"/>
            <a:ext cx="0" cy="20504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13" name="AutoShape 57">
            <a:extLst>
              <a:ext uri="{FF2B5EF4-FFF2-40B4-BE49-F238E27FC236}">
                <a16:creationId xmlns:a16="http://schemas.microsoft.com/office/drawing/2014/main" id="{360DEE1B-479A-47EF-92A0-A2DA5163D152}"/>
              </a:ext>
            </a:extLst>
          </p:cNvPr>
          <p:cNvCxnSpPr>
            <a:cxnSpLocks noChangeShapeType="1"/>
            <a:stCxn id="109" idx="0"/>
            <a:endCxn id="111" idx="2"/>
          </p:cNvCxnSpPr>
          <p:nvPr/>
        </p:nvCxnSpPr>
        <p:spPr bwMode="auto">
          <a:xfrm flipV="1">
            <a:off x="2926041" y="4183215"/>
            <a:ext cx="0" cy="19367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14" name="Rectangle 7">
            <a:extLst>
              <a:ext uri="{FF2B5EF4-FFF2-40B4-BE49-F238E27FC236}">
                <a16:creationId xmlns:a16="http://schemas.microsoft.com/office/drawing/2014/main" id="{A1F9B680-E00C-43EB-9BB9-19366E9E7BDC}"/>
              </a:ext>
            </a:extLst>
          </p:cNvPr>
          <p:cNvSpPr>
            <a:spLocks noChangeArrowheads="1"/>
          </p:cNvSpPr>
          <p:nvPr/>
        </p:nvSpPr>
        <p:spPr bwMode="auto">
          <a:xfrm>
            <a:off x="9960448" y="5687989"/>
            <a:ext cx="1371600" cy="727164"/>
          </a:xfrm>
          <a:prstGeom prst="roundRect">
            <a:avLst/>
          </a:prstGeom>
          <a:solidFill>
            <a:srgbClr val="336600"/>
          </a:solidFill>
          <a:ln w="19050">
            <a:solidFill>
              <a:schemeClr val="tx1"/>
            </a:solidFill>
          </a:ln>
        </p:spPr>
        <p:txBody>
          <a:bodyPr lIns="0" tIns="0" rIns="0" bIns="0" anchor="ctr"/>
          <a:lstStyle/>
          <a:p>
            <a:pPr algn="ctr" defTabSz="1097280" eaLnBrk="0" fontAlgn="base" hangingPunct="0">
              <a:lnSpc>
                <a:spcPct val="90000"/>
              </a:lnSpc>
              <a:spcBef>
                <a:spcPct val="0"/>
              </a:spcBef>
              <a:spcAft>
                <a:spcPct val="0"/>
              </a:spcAft>
              <a:defRPr/>
            </a:pPr>
            <a:r>
              <a:rPr lang="en-US" altLang="en-US" sz="1000" b="1" dirty="0">
                <a:solidFill>
                  <a:schemeClr val="bg1"/>
                </a:solidFill>
                <a:cs typeface="Arial" charset="0"/>
              </a:rPr>
              <a:t>Cost &amp; Scheduling</a:t>
            </a:r>
          </a:p>
        </p:txBody>
      </p:sp>
      <p:sp>
        <p:nvSpPr>
          <p:cNvPr id="115" name="Rectangle 21">
            <a:extLst>
              <a:ext uri="{FF2B5EF4-FFF2-40B4-BE49-F238E27FC236}">
                <a16:creationId xmlns:a16="http://schemas.microsoft.com/office/drawing/2014/main" id="{E837E7F2-18AF-49FD-B353-AA8E26B4CDEC}"/>
              </a:ext>
            </a:extLst>
          </p:cNvPr>
          <p:cNvSpPr>
            <a:spLocks noChangeArrowheads="1"/>
          </p:cNvSpPr>
          <p:nvPr/>
        </p:nvSpPr>
        <p:spPr bwMode="auto">
          <a:xfrm>
            <a:off x="9960448" y="4376891"/>
            <a:ext cx="1371600" cy="1096964"/>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Selected features/options not tied directly to cost/schedule, impacts identified only at gate reviews</a:t>
            </a:r>
          </a:p>
        </p:txBody>
      </p:sp>
      <p:sp>
        <p:nvSpPr>
          <p:cNvPr id="116" name="Rectangle 29">
            <a:extLst>
              <a:ext uri="{FF2B5EF4-FFF2-40B4-BE49-F238E27FC236}">
                <a16:creationId xmlns:a16="http://schemas.microsoft.com/office/drawing/2014/main" id="{ABB9DF85-E878-4116-9CE5-FF2F00E04894}"/>
              </a:ext>
            </a:extLst>
          </p:cNvPr>
          <p:cNvSpPr>
            <a:spLocks noChangeArrowheads="1"/>
          </p:cNvSpPr>
          <p:nvPr/>
        </p:nvSpPr>
        <p:spPr bwMode="auto">
          <a:xfrm>
            <a:off x="9960448" y="1287615"/>
            <a:ext cx="1371600" cy="1547555"/>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Selected features/options drive real-time visibility into proposed program cost/schedule; Exceptions automatically flagged</a:t>
            </a:r>
          </a:p>
        </p:txBody>
      </p:sp>
      <p:sp>
        <p:nvSpPr>
          <p:cNvPr id="117" name="Rectangle 37">
            <a:extLst>
              <a:ext uri="{FF2B5EF4-FFF2-40B4-BE49-F238E27FC236}">
                <a16:creationId xmlns:a16="http://schemas.microsoft.com/office/drawing/2014/main" id="{0AC96229-03F3-4578-953C-A937334679A8}"/>
              </a:ext>
            </a:extLst>
          </p:cNvPr>
          <p:cNvSpPr>
            <a:spLocks noChangeArrowheads="1"/>
          </p:cNvSpPr>
          <p:nvPr/>
        </p:nvSpPr>
        <p:spPr bwMode="auto">
          <a:xfrm>
            <a:off x="9960448" y="3040216"/>
            <a:ext cx="1371600" cy="1143000"/>
          </a:xfrm>
          <a:prstGeom prst="roundRect">
            <a:avLst/>
          </a:prstGeom>
          <a:noFill/>
          <a:ln w="19050" algn="ctr">
            <a:solidFill>
              <a:schemeClr val="tx1"/>
            </a:solidFill>
            <a:miter lim="800000"/>
            <a:headEnd/>
            <a:tailEnd/>
          </a:ln>
        </p:spPr>
        <p:txBody>
          <a:bodyPr lIns="0" tIns="0" rIns="0" bIns="0" anchor="ctr"/>
          <a:lstStyle/>
          <a:p>
            <a:pPr algn="ctr" defTabSz="1097280" eaLnBrk="0" fontAlgn="base" hangingPunct="0">
              <a:lnSpc>
                <a:spcPct val="80000"/>
              </a:lnSpc>
              <a:spcBef>
                <a:spcPct val="50000"/>
              </a:spcBef>
              <a:spcAft>
                <a:spcPct val="0"/>
              </a:spcAft>
              <a:buClr>
                <a:srgbClr val="8099CC"/>
              </a:buClr>
              <a:buSzPct val="100000"/>
              <a:defRPr/>
            </a:pPr>
            <a:r>
              <a:rPr lang="en-US" altLang="en-US" sz="1000" dirty="0">
                <a:ea typeface="Tahoma" pitchFamily="34" charset="0"/>
                <a:cs typeface="Tahoma" pitchFamily="34" charset="0"/>
              </a:rPr>
              <a:t>Selected features/options require some manual work to determine impact to cost/schedule, but available</a:t>
            </a:r>
          </a:p>
        </p:txBody>
      </p:sp>
      <p:cxnSp>
        <p:nvCxnSpPr>
          <p:cNvPr id="118" name="AutoShape 57">
            <a:extLst>
              <a:ext uri="{FF2B5EF4-FFF2-40B4-BE49-F238E27FC236}">
                <a16:creationId xmlns:a16="http://schemas.microsoft.com/office/drawing/2014/main" id="{2A99186F-3F57-4C47-BC57-1D3D7515965E}"/>
              </a:ext>
            </a:extLst>
          </p:cNvPr>
          <p:cNvCxnSpPr>
            <a:cxnSpLocks noChangeShapeType="1"/>
            <a:stCxn id="117" idx="0"/>
            <a:endCxn id="116" idx="2"/>
          </p:cNvCxnSpPr>
          <p:nvPr/>
        </p:nvCxnSpPr>
        <p:spPr bwMode="auto">
          <a:xfrm flipV="1">
            <a:off x="10646248" y="2835170"/>
            <a:ext cx="0" cy="205046"/>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19" name="AutoShape 57">
            <a:extLst>
              <a:ext uri="{FF2B5EF4-FFF2-40B4-BE49-F238E27FC236}">
                <a16:creationId xmlns:a16="http://schemas.microsoft.com/office/drawing/2014/main" id="{D1F79DC8-1368-4DF2-9672-C1B6A0933C13}"/>
              </a:ext>
            </a:extLst>
          </p:cNvPr>
          <p:cNvCxnSpPr>
            <a:cxnSpLocks noChangeShapeType="1"/>
            <a:stCxn id="115" idx="0"/>
            <a:endCxn id="117" idx="2"/>
          </p:cNvCxnSpPr>
          <p:nvPr/>
        </p:nvCxnSpPr>
        <p:spPr bwMode="auto">
          <a:xfrm flipV="1">
            <a:off x="10646248" y="4183216"/>
            <a:ext cx="0" cy="19367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20" name="Text Box 28">
            <a:extLst>
              <a:ext uri="{FF2B5EF4-FFF2-40B4-BE49-F238E27FC236}">
                <a16:creationId xmlns:a16="http://schemas.microsoft.com/office/drawing/2014/main" id="{0B714A89-D153-4EBB-AE9E-B6CEC91B14D0}"/>
              </a:ext>
            </a:extLst>
          </p:cNvPr>
          <p:cNvSpPr txBox="1">
            <a:spLocks noChangeArrowheads="1"/>
          </p:cNvSpPr>
          <p:nvPr/>
        </p:nvSpPr>
        <p:spPr bwMode="auto">
          <a:xfrm>
            <a:off x="585939" y="948071"/>
            <a:ext cx="846138" cy="217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type="none" w="med" len="lg"/>
              </a14:hiddenLine>
            </a:ext>
          </a:extLst>
        </p:spPr>
        <p:txBody>
          <a:bodyPr lIns="0" tIns="45716" rIns="91432" bIns="45716">
            <a:spAutoFit/>
          </a:bodyPr>
          <a:lstStyle>
            <a:lvl1pPr marL="228600" indent="-228600" defTabSz="901700" eaLnBrk="0" hangingPunct="0">
              <a:defRPr sz="2400">
                <a:solidFill>
                  <a:schemeClr val="tx1"/>
                </a:solidFill>
                <a:latin typeface="Tahoma" pitchFamily="34" charset="0"/>
                <a:cs typeface="Arial" pitchFamily="34" charset="0"/>
              </a:defRPr>
            </a:lvl1pPr>
            <a:lvl2pPr marL="742950" indent="-285750" defTabSz="901700" eaLnBrk="0" hangingPunct="0">
              <a:defRPr sz="2400">
                <a:solidFill>
                  <a:schemeClr val="tx1"/>
                </a:solidFill>
                <a:latin typeface="Tahoma" pitchFamily="34" charset="0"/>
                <a:cs typeface="Arial" pitchFamily="34" charset="0"/>
              </a:defRPr>
            </a:lvl2pPr>
            <a:lvl3pPr marL="1143000" indent="-228600" defTabSz="901700" eaLnBrk="0" hangingPunct="0">
              <a:defRPr sz="2400">
                <a:solidFill>
                  <a:schemeClr val="tx1"/>
                </a:solidFill>
                <a:latin typeface="Tahoma" pitchFamily="34" charset="0"/>
                <a:cs typeface="Arial" pitchFamily="34" charset="0"/>
              </a:defRPr>
            </a:lvl3pPr>
            <a:lvl4pPr marL="1600200" indent="-228600" defTabSz="901700" eaLnBrk="0" hangingPunct="0">
              <a:defRPr sz="2400">
                <a:solidFill>
                  <a:schemeClr val="tx1"/>
                </a:solidFill>
                <a:latin typeface="Tahoma" pitchFamily="34" charset="0"/>
                <a:cs typeface="Arial" pitchFamily="34" charset="0"/>
              </a:defRPr>
            </a:lvl4pPr>
            <a:lvl5pPr marL="2057400" indent="-228600" defTabSz="901700" eaLnBrk="0" hangingPunct="0">
              <a:defRPr sz="2400">
                <a:solidFill>
                  <a:schemeClr val="tx1"/>
                </a:solidFill>
                <a:latin typeface="Tahoma" pitchFamily="34" charset="0"/>
                <a:cs typeface="Arial" pitchFamily="34" charset="0"/>
              </a:defRPr>
            </a:lvl5pPr>
            <a:lvl6pPr marL="2514600" indent="-228600" defTabSz="9017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defTabSz="9017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defTabSz="9017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defTabSz="901700" eaLnBrk="0" fontAlgn="base" hangingPunct="0">
              <a:spcBef>
                <a:spcPct val="0"/>
              </a:spcBef>
              <a:spcAft>
                <a:spcPct val="0"/>
              </a:spcAft>
              <a:defRPr sz="2400">
                <a:solidFill>
                  <a:schemeClr val="tx1"/>
                </a:solidFill>
                <a:latin typeface="Tahoma" pitchFamily="34" charset="0"/>
                <a:cs typeface="Arial" pitchFamily="34" charset="0"/>
              </a:defRPr>
            </a:lvl9pPr>
          </a:lstStyle>
          <a:p>
            <a:pPr marL="228600" marR="0" lvl="0" indent="-228600" algn="l" defTabSz="901700" rtl="0" eaLnBrk="0" fontAlgn="auto" latinLnBrk="0" hangingPunct="0">
              <a:lnSpc>
                <a:spcPct val="85000"/>
              </a:lnSpc>
              <a:spcBef>
                <a:spcPts val="0"/>
              </a:spcBef>
              <a:spcAft>
                <a:spcPts val="0"/>
              </a:spcAft>
              <a:buClr>
                <a:srgbClr val="8099CC"/>
              </a:buClr>
              <a:buSzTx/>
              <a:buFontTx/>
              <a:buNone/>
              <a:tabLst/>
              <a:defRPr/>
            </a:pPr>
            <a:r>
              <a:rPr kumimoji="0" lang="en-US" altLang="en-US" sz="960" b="1" i="0" u="none" strike="noStrike" kern="0" cap="none" spc="0" normalizeH="0" baseline="0" noProof="0" dirty="0">
                <a:ln>
                  <a:noFill/>
                </a:ln>
                <a:solidFill>
                  <a:srgbClr val="000000"/>
                </a:solidFill>
                <a:effectLst/>
                <a:uLnTx/>
                <a:uFillTx/>
                <a:latin typeface="Verdana"/>
                <a:ea typeface="+mn-ea"/>
                <a:cs typeface="Arial" pitchFamily="34" charset="0"/>
              </a:rPr>
              <a:t>Maturity</a:t>
            </a:r>
          </a:p>
        </p:txBody>
      </p:sp>
      <p:grpSp>
        <p:nvGrpSpPr>
          <p:cNvPr id="121" name="Group 120">
            <a:extLst>
              <a:ext uri="{FF2B5EF4-FFF2-40B4-BE49-F238E27FC236}">
                <a16:creationId xmlns:a16="http://schemas.microsoft.com/office/drawing/2014/main" id="{CC985F41-2E77-4974-AA77-10423C36639A}"/>
              </a:ext>
            </a:extLst>
          </p:cNvPr>
          <p:cNvGrpSpPr/>
          <p:nvPr/>
        </p:nvGrpSpPr>
        <p:grpSpPr>
          <a:xfrm>
            <a:off x="585939" y="1227745"/>
            <a:ext cx="10750837" cy="4359416"/>
            <a:chOff x="1092839" y="1211825"/>
            <a:chExt cx="10290659" cy="4031777"/>
          </a:xfrm>
        </p:grpSpPr>
        <p:sp>
          <p:nvSpPr>
            <p:cNvPr id="122" name="Line 16">
              <a:extLst>
                <a:ext uri="{FF2B5EF4-FFF2-40B4-BE49-F238E27FC236}">
                  <a16:creationId xmlns:a16="http://schemas.microsoft.com/office/drawing/2014/main" id="{52A3D951-6382-4739-A096-3B594B23E3BB}"/>
                </a:ext>
              </a:extLst>
            </p:cNvPr>
            <p:cNvSpPr>
              <a:spLocks noChangeShapeType="1"/>
            </p:cNvSpPr>
            <p:nvPr/>
          </p:nvSpPr>
          <p:spPr bwMode="auto">
            <a:xfrm flipV="1">
              <a:off x="1092839" y="5243602"/>
              <a:ext cx="10290659" cy="0"/>
            </a:xfrm>
            <a:prstGeom prst="line">
              <a:avLst/>
            </a:prstGeom>
            <a:noFill/>
            <a:ln w="38100">
              <a:solidFill>
                <a:schemeClr val="tx1"/>
              </a:solidFill>
              <a:round/>
              <a:headEnd/>
              <a:tailEnd/>
            </a:ln>
          </p:spPr>
          <p:txBody>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960" b="0" i="0" u="none" strike="noStrike" kern="1200" cap="none" spc="0" normalizeH="0" baseline="0" noProof="0" dirty="0">
                <a:ln>
                  <a:noFill/>
                </a:ln>
                <a:solidFill>
                  <a:srgbClr val="000000"/>
                </a:solidFill>
                <a:effectLst/>
                <a:uLnTx/>
                <a:uFillTx/>
                <a:latin typeface="Verdana"/>
                <a:ea typeface="+mn-ea"/>
                <a:cs typeface="Arial" charset="0"/>
              </a:endParaRPr>
            </a:p>
          </p:txBody>
        </p:sp>
        <p:sp>
          <p:nvSpPr>
            <p:cNvPr id="123" name="Line 15">
              <a:extLst>
                <a:ext uri="{FF2B5EF4-FFF2-40B4-BE49-F238E27FC236}">
                  <a16:creationId xmlns:a16="http://schemas.microsoft.com/office/drawing/2014/main" id="{CF7FA3E5-9E05-467D-AD6B-493EC6673C3C}"/>
                </a:ext>
              </a:extLst>
            </p:cNvPr>
            <p:cNvSpPr>
              <a:spLocks noChangeShapeType="1"/>
            </p:cNvSpPr>
            <p:nvPr/>
          </p:nvSpPr>
          <p:spPr bwMode="auto">
            <a:xfrm flipV="1">
              <a:off x="1111657" y="1211825"/>
              <a:ext cx="0" cy="4031776"/>
            </a:xfrm>
            <a:prstGeom prst="line">
              <a:avLst/>
            </a:prstGeom>
            <a:noFill/>
            <a:ln w="38100">
              <a:solidFill>
                <a:srgbClr val="000066"/>
              </a:solidFill>
              <a:round/>
              <a:headEnd/>
              <a:tailEnd type="triangle" w="med" len="med"/>
            </a:ln>
          </p:spPr>
          <p:txBody>
            <a:bodyPr/>
            <a:lstStyle/>
            <a:p>
              <a:pPr marL="0" marR="0" lvl="0" indent="0" algn="l" defTabSz="1097280" rtl="0" eaLnBrk="0" fontAlgn="auto" latinLnBrk="0" hangingPunct="0">
                <a:lnSpc>
                  <a:spcPct val="106000"/>
                </a:lnSpc>
                <a:spcBef>
                  <a:spcPct val="50000"/>
                </a:spcBef>
                <a:spcAft>
                  <a:spcPts val="0"/>
                </a:spcAft>
                <a:buClrTx/>
                <a:buSzPct val="100000"/>
                <a:buFontTx/>
                <a:buNone/>
                <a:tabLst/>
                <a:defRPr/>
              </a:pPr>
              <a:endParaRPr kumimoji="0" lang="en-US" sz="960" b="0" i="0" u="none" strike="noStrike" kern="0" cap="none" spc="0" normalizeH="0" baseline="0" noProof="0" dirty="0">
                <a:ln>
                  <a:noFill/>
                </a:ln>
                <a:solidFill>
                  <a:srgbClr val="000000"/>
                </a:solidFill>
                <a:effectLst/>
                <a:uLnTx/>
                <a:uFillTx/>
                <a:latin typeface="Verdana"/>
                <a:ea typeface="+mn-ea"/>
                <a:cs typeface="Arial" charset="0"/>
              </a:endParaRPr>
            </a:p>
          </p:txBody>
        </p:sp>
      </p:grpSp>
      <p:sp>
        <p:nvSpPr>
          <p:cNvPr id="124" name="Text Box 11">
            <a:extLst>
              <a:ext uri="{FF2B5EF4-FFF2-40B4-BE49-F238E27FC236}">
                <a16:creationId xmlns:a16="http://schemas.microsoft.com/office/drawing/2014/main" id="{8081D73A-3337-4CFD-A927-64FB4103A56E}"/>
              </a:ext>
            </a:extLst>
          </p:cNvPr>
          <p:cNvSpPr txBox="1">
            <a:spLocks noChangeArrowheads="1"/>
          </p:cNvSpPr>
          <p:nvPr/>
        </p:nvSpPr>
        <p:spPr bwMode="auto">
          <a:xfrm rot="-5400000">
            <a:off x="70986" y="4872832"/>
            <a:ext cx="690563"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b"/>
          <a:lstStyle>
            <a:lvl1pPr defTabSz="901700" eaLnBrk="0" hangingPunct="0">
              <a:defRPr sz="2400">
                <a:solidFill>
                  <a:schemeClr val="tx1"/>
                </a:solidFill>
                <a:latin typeface="Tahoma" pitchFamily="34" charset="0"/>
                <a:cs typeface="Arial" pitchFamily="34" charset="0"/>
              </a:defRPr>
            </a:lvl1pPr>
            <a:lvl2pPr marL="742950" indent="-285750" defTabSz="901700" eaLnBrk="0" hangingPunct="0">
              <a:defRPr sz="2400">
                <a:solidFill>
                  <a:schemeClr val="tx1"/>
                </a:solidFill>
                <a:latin typeface="Tahoma" pitchFamily="34" charset="0"/>
                <a:cs typeface="Arial" pitchFamily="34" charset="0"/>
              </a:defRPr>
            </a:lvl2pPr>
            <a:lvl3pPr marL="1143000" indent="-228600" defTabSz="901700" eaLnBrk="0" hangingPunct="0">
              <a:defRPr sz="2400">
                <a:solidFill>
                  <a:schemeClr val="tx1"/>
                </a:solidFill>
                <a:latin typeface="Tahoma" pitchFamily="34" charset="0"/>
                <a:cs typeface="Arial" pitchFamily="34" charset="0"/>
              </a:defRPr>
            </a:lvl3pPr>
            <a:lvl4pPr marL="1600200" indent="-228600" defTabSz="901700" eaLnBrk="0" hangingPunct="0">
              <a:defRPr sz="2400">
                <a:solidFill>
                  <a:schemeClr val="tx1"/>
                </a:solidFill>
                <a:latin typeface="Tahoma" pitchFamily="34" charset="0"/>
                <a:cs typeface="Arial" pitchFamily="34" charset="0"/>
              </a:defRPr>
            </a:lvl4pPr>
            <a:lvl5pPr marL="2057400" indent="-228600" defTabSz="901700" eaLnBrk="0" hangingPunct="0">
              <a:defRPr sz="2400">
                <a:solidFill>
                  <a:schemeClr val="tx1"/>
                </a:solidFill>
                <a:latin typeface="Tahoma" pitchFamily="34" charset="0"/>
                <a:cs typeface="Arial" pitchFamily="34" charset="0"/>
              </a:defRPr>
            </a:lvl5pPr>
            <a:lvl6pPr marL="2514600" indent="-228600" defTabSz="9017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defTabSz="9017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defTabSz="9017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defTabSz="901700" eaLnBrk="0" fontAlgn="base" hangingPunct="0">
              <a:spcBef>
                <a:spcPct val="0"/>
              </a:spcBef>
              <a:spcAft>
                <a:spcPct val="0"/>
              </a:spcAft>
              <a:defRPr sz="2400">
                <a:solidFill>
                  <a:schemeClr val="tx1"/>
                </a:solidFill>
                <a:latin typeface="Tahoma" pitchFamily="34" charset="0"/>
                <a:cs typeface="Arial" pitchFamily="34" charset="0"/>
              </a:defRPr>
            </a:lvl9pPr>
          </a:lstStyle>
          <a:p>
            <a:pPr marL="0" marR="0" lvl="0" indent="0" algn="ctr" defTabSz="901700" rtl="0" eaLnBrk="0" fontAlgn="auto" latinLnBrk="0" hangingPunct="0">
              <a:lnSpc>
                <a:spcPct val="90000"/>
              </a:lnSpc>
              <a:spcBef>
                <a:spcPct val="50000"/>
              </a:spcBef>
              <a:spcAft>
                <a:spcPts val="0"/>
              </a:spcAft>
              <a:buClr>
                <a:srgbClr val="8099CC"/>
              </a:buClr>
              <a:buSzPct val="100000"/>
              <a:buFont typeface="Monotype Sorts" pitchFamily="2" charset="2"/>
              <a:buNone/>
              <a:tabLst/>
              <a:defRPr/>
            </a:pPr>
            <a:r>
              <a:rPr kumimoji="0" lang="en-US" sz="960" b="1" i="0" u="none" strike="noStrike" kern="1200" cap="none" spc="0" normalizeH="0" baseline="0" noProof="0" dirty="0">
                <a:ln>
                  <a:noFill/>
                </a:ln>
                <a:solidFill>
                  <a:srgbClr val="000000"/>
                </a:solidFill>
                <a:effectLst/>
                <a:uLnTx/>
                <a:uFillTx/>
                <a:latin typeface="Verdana"/>
                <a:ea typeface="+mn-ea"/>
                <a:cs typeface="Arial" pitchFamily="34" charset="0"/>
              </a:rPr>
              <a:t>Low</a:t>
            </a:r>
          </a:p>
        </p:txBody>
      </p:sp>
      <p:sp>
        <p:nvSpPr>
          <p:cNvPr id="125" name="Text Box 12">
            <a:extLst>
              <a:ext uri="{FF2B5EF4-FFF2-40B4-BE49-F238E27FC236}">
                <a16:creationId xmlns:a16="http://schemas.microsoft.com/office/drawing/2014/main" id="{52E05BEC-8886-483A-AFB8-3F10E6677A07}"/>
              </a:ext>
            </a:extLst>
          </p:cNvPr>
          <p:cNvSpPr txBox="1">
            <a:spLocks noChangeArrowheads="1"/>
          </p:cNvSpPr>
          <p:nvPr/>
        </p:nvSpPr>
        <p:spPr bwMode="auto">
          <a:xfrm rot="-5400000">
            <a:off x="67017" y="1685294"/>
            <a:ext cx="781050" cy="248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rIns="0" anchor="b">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marL="0" marR="0" lvl="0" indent="0" algn="ctr" defTabSz="1219170" rtl="0" eaLnBrk="0" fontAlgn="auto" latinLnBrk="0" hangingPunct="0">
              <a:lnSpc>
                <a:spcPct val="106000"/>
              </a:lnSpc>
              <a:spcBef>
                <a:spcPct val="50000"/>
              </a:spcBef>
              <a:spcAft>
                <a:spcPts val="0"/>
              </a:spcAft>
              <a:buClrTx/>
              <a:buSzPct val="100000"/>
              <a:buFont typeface="Wingdings 2" pitchFamily="18" charset="2"/>
              <a:buNone/>
              <a:tabLst/>
              <a:defRPr/>
            </a:pPr>
            <a:r>
              <a:rPr kumimoji="0" lang="en-US" sz="960" b="1" i="0" u="none" strike="noStrike" kern="1200" cap="none" spc="0" normalizeH="0" baseline="0" noProof="0" dirty="0">
                <a:ln>
                  <a:noFill/>
                </a:ln>
                <a:solidFill>
                  <a:srgbClr val="000000"/>
                </a:solidFill>
                <a:effectLst/>
                <a:uLnTx/>
                <a:uFillTx/>
                <a:latin typeface="Verdana"/>
                <a:ea typeface="+mn-ea"/>
                <a:cs typeface="Arial" pitchFamily="34" charset="0"/>
              </a:rPr>
              <a:t>Advanced</a:t>
            </a:r>
          </a:p>
        </p:txBody>
      </p:sp>
      <p:sp>
        <p:nvSpPr>
          <p:cNvPr id="126" name="Text Box 13">
            <a:extLst>
              <a:ext uri="{FF2B5EF4-FFF2-40B4-BE49-F238E27FC236}">
                <a16:creationId xmlns:a16="http://schemas.microsoft.com/office/drawing/2014/main" id="{8EB36AC6-6990-4900-A8C8-AFE11E5B1F9B}"/>
              </a:ext>
            </a:extLst>
          </p:cNvPr>
          <p:cNvSpPr txBox="1">
            <a:spLocks noChangeArrowheads="1"/>
          </p:cNvSpPr>
          <p:nvPr/>
        </p:nvSpPr>
        <p:spPr bwMode="auto">
          <a:xfrm rot="-5400000">
            <a:off x="133692" y="3399794"/>
            <a:ext cx="654050" cy="248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rIns="0" anchor="b">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marL="0" marR="0" lvl="0" indent="0" algn="ctr" defTabSz="1219170" rtl="0" eaLnBrk="0" fontAlgn="auto" latinLnBrk="0" hangingPunct="0">
              <a:lnSpc>
                <a:spcPct val="106000"/>
              </a:lnSpc>
              <a:spcBef>
                <a:spcPct val="50000"/>
              </a:spcBef>
              <a:spcAft>
                <a:spcPts val="0"/>
              </a:spcAft>
              <a:buClrTx/>
              <a:buSzPct val="100000"/>
              <a:buFont typeface="Wingdings 2" pitchFamily="18" charset="2"/>
              <a:buNone/>
              <a:tabLst/>
              <a:defRPr/>
            </a:pPr>
            <a:r>
              <a:rPr kumimoji="0" lang="en-US" sz="960" b="1" i="0" u="none" strike="noStrike" kern="1200" cap="none" spc="0" normalizeH="0" baseline="0" noProof="0" dirty="0">
                <a:ln>
                  <a:noFill/>
                </a:ln>
                <a:solidFill>
                  <a:srgbClr val="000000"/>
                </a:solidFill>
                <a:effectLst/>
                <a:uLnTx/>
                <a:uFillTx/>
                <a:latin typeface="Verdana"/>
                <a:ea typeface="+mn-ea"/>
                <a:cs typeface="Arial" pitchFamily="34" charset="0"/>
              </a:rPr>
              <a:t>Basic</a:t>
            </a:r>
          </a:p>
        </p:txBody>
      </p:sp>
      <p:grpSp>
        <p:nvGrpSpPr>
          <p:cNvPr id="65" name="Group 90"/>
          <p:cNvGrpSpPr/>
          <p:nvPr/>
        </p:nvGrpSpPr>
        <p:grpSpPr>
          <a:xfrm>
            <a:off x="8960144" y="237259"/>
            <a:ext cx="2430508" cy="289004"/>
            <a:chOff x="9447824" y="732559"/>
            <a:chExt cx="2430508" cy="289004"/>
          </a:xfrm>
        </p:grpSpPr>
        <p:grpSp>
          <p:nvGrpSpPr>
            <p:cNvPr id="66"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87"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88"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67"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85"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86"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82"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83"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84"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sp>
        <p:nvSpPr>
          <p:cNvPr id="89" name="Freeform 42">
            <a:extLst>
              <a:ext uri="{FF2B5EF4-FFF2-40B4-BE49-F238E27FC236}">
                <a16:creationId xmlns:a16="http://schemas.microsoft.com/office/drawing/2014/main" id="{BC8D94EB-8CFC-40EB-88DB-8865BA637E4B}"/>
              </a:ext>
            </a:extLst>
          </p:cNvPr>
          <p:cNvSpPr/>
          <p:nvPr/>
        </p:nvSpPr>
        <p:spPr bwMode="auto">
          <a:xfrm>
            <a:off x="1374535" y="1344648"/>
            <a:ext cx="9277993" cy="1775278"/>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869650 w 7136640"/>
              <a:gd name="connsiteY2" fmla="*/ 244077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211883 w 7136640"/>
              <a:gd name="connsiteY5" fmla="*/ 190348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6500954 w 7136640"/>
              <a:gd name="connsiteY8" fmla="*/ 80343 h 360799"/>
              <a:gd name="connsiteX9" fmla="*/ 7136640 w 7136640"/>
              <a:gd name="connsiteY9"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7136640 w 7136640"/>
              <a:gd name="connsiteY8" fmla="*/ 360799 h 360799"/>
              <a:gd name="connsiteX0" fmla="*/ 0 w 7074022"/>
              <a:gd name="connsiteY0" fmla="*/ 280402 h 360576"/>
              <a:gd name="connsiteX1" fmla="*/ 700803 w 7074022"/>
              <a:gd name="connsiteY1" fmla="*/ 203308 h 360576"/>
              <a:gd name="connsiteX2" fmla="*/ 1869650 w 7074022"/>
              <a:gd name="connsiteY2" fmla="*/ 333744 h 360576"/>
              <a:gd name="connsiteX3" fmla="*/ 2744581 w 7074022"/>
              <a:gd name="connsiteY3" fmla="*/ 309399 h 360576"/>
              <a:gd name="connsiteX4" fmla="*/ 3609121 w 7074022"/>
              <a:gd name="connsiteY4" fmla="*/ 9984 h 360576"/>
              <a:gd name="connsiteX5" fmla="*/ 4468614 w 7074022"/>
              <a:gd name="connsiteY5" fmla="*/ 356320 h 360576"/>
              <a:gd name="connsiteX6" fmla="*/ 5280714 w 7074022"/>
              <a:gd name="connsiteY6" fmla="*/ 214988 h 360576"/>
              <a:gd name="connsiteX7" fmla="*/ 6344970 w 7074022"/>
              <a:gd name="connsiteY7" fmla="*/ 208938 h 360576"/>
              <a:gd name="connsiteX8" fmla="*/ 7074022 w 7074022"/>
              <a:gd name="connsiteY8" fmla="*/ 3751 h 360576"/>
              <a:gd name="connsiteX0" fmla="*/ 0 w 7117854"/>
              <a:gd name="connsiteY0" fmla="*/ 287645 h 367819"/>
              <a:gd name="connsiteX1" fmla="*/ 700803 w 7117854"/>
              <a:gd name="connsiteY1" fmla="*/ 210551 h 367819"/>
              <a:gd name="connsiteX2" fmla="*/ 1869650 w 7117854"/>
              <a:gd name="connsiteY2" fmla="*/ 340987 h 367819"/>
              <a:gd name="connsiteX3" fmla="*/ 2744581 w 7117854"/>
              <a:gd name="connsiteY3" fmla="*/ 316642 h 367819"/>
              <a:gd name="connsiteX4" fmla="*/ 3609121 w 7117854"/>
              <a:gd name="connsiteY4" fmla="*/ 17227 h 367819"/>
              <a:gd name="connsiteX5" fmla="*/ 4468614 w 7117854"/>
              <a:gd name="connsiteY5" fmla="*/ 363563 h 367819"/>
              <a:gd name="connsiteX6" fmla="*/ 5280714 w 7117854"/>
              <a:gd name="connsiteY6" fmla="*/ 222231 h 367819"/>
              <a:gd name="connsiteX7" fmla="*/ 6344970 w 7117854"/>
              <a:gd name="connsiteY7" fmla="*/ 216181 h 367819"/>
              <a:gd name="connsiteX8" fmla="*/ 7117854 w 7117854"/>
              <a:gd name="connsiteY8" fmla="*/ 3653 h 367819"/>
              <a:gd name="connsiteX0" fmla="*/ 0 w 7117854"/>
              <a:gd name="connsiteY0" fmla="*/ 287645 h 367819"/>
              <a:gd name="connsiteX1" fmla="*/ 1126601 w 7117854"/>
              <a:gd name="connsiteY1" fmla="*/ 221562 h 367819"/>
              <a:gd name="connsiteX2" fmla="*/ 1869650 w 7117854"/>
              <a:gd name="connsiteY2" fmla="*/ 340987 h 367819"/>
              <a:gd name="connsiteX3" fmla="*/ 2744581 w 7117854"/>
              <a:gd name="connsiteY3" fmla="*/ 316642 h 367819"/>
              <a:gd name="connsiteX4" fmla="*/ 3609121 w 7117854"/>
              <a:gd name="connsiteY4" fmla="*/ 17227 h 367819"/>
              <a:gd name="connsiteX5" fmla="*/ 4468614 w 7117854"/>
              <a:gd name="connsiteY5" fmla="*/ 363563 h 367819"/>
              <a:gd name="connsiteX6" fmla="*/ 5280714 w 7117854"/>
              <a:gd name="connsiteY6" fmla="*/ 222231 h 367819"/>
              <a:gd name="connsiteX7" fmla="*/ 6344970 w 7117854"/>
              <a:gd name="connsiteY7" fmla="*/ 216181 h 367819"/>
              <a:gd name="connsiteX8" fmla="*/ 7117854 w 7117854"/>
              <a:gd name="connsiteY8" fmla="*/ 3653 h 367819"/>
              <a:gd name="connsiteX0" fmla="*/ 0 w 7117854"/>
              <a:gd name="connsiteY0" fmla="*/ 287645 h 367819"/>
              <a:gd name="connsiteX1" fmla="*/ 1126601 w 7117854"/>
              <a:gd name="connsiteY1" fmla="*/ 221562 h 367819"/>
              <a:gd name="connsiteX2" fmla="*/ 2744581 w 7117854"/>
              <a:gd name="connsiteY2" fmla="*/ 316642 h 367819"/>
              <a:gd name="connsiteX3" fmla="*/ 3609121 w 7117854"/>
              <a:gd name="connsiteY3" fmla="*/ 17227 h 367819"/>
              <a:gd name="connsiteX4" fmla="*/ 4468614 w 7117854"/>
              <a:gd name="connsiteY4" fmla="*/ 363563 h 367819"/>
              <a:gd name="connsiteX5" fmla="*/ 5280714 w 7117854"/>
              <a:gd name="connsiteY5" fmla="*/ 222231 h 367819"/>
              <a:gd name="connsiteX6" fmla="*/ 6344970 w 7117854"/>
              <a:gd name="connsiteY6" fmla="*/ 216181 h 367819"/>
              <a:gd name="connsiteX7" fmla="*/ 7117854 w 7117854"/>
              <a:gd name="connsiteY7" fmla="*/ 3653 h 367819"/>
              <a:gd name="connsiteX0" fmla="*/ 0 w 7117854"/>
              <a:gd name="connsiteY0" fmla="*/ 302843 h 383017"/>
              <a:gd name="connsiteX1" fmla="*/ 1126601 w 7117854"/>
              <a:gd name="connsiteY1" fmla="*/ 236760 h 383017"/>
              <a:gd name="connsiteX2" fmla="*/ 2393924 w 7117854"/>
              <a:gd name="connsiteY2" fmla="*/ 19863 h 383017"/>
              <a:gd name="connsiteX3" fmla="*/ 3609121 w 7117854"/>
              <a:gd name="connsiteY3" fmla="*/ 32425 h 383017"/>
              <a:gd name="connsiteX4" fmla="*/ 4468614 w 7117854"/>
              <a:gd name="connsiteY4" fmla="*/ 378761 h 383017"/>
              <a:gd name="connsiteX5" fmla="*/ 5280714 w 7117854"/>
              <a:gd name="connsiteY5" fmla="*/ 237429 h 383017"/>
              <a:gd name="connsiteX6" fmla="*/ 6344970 w 7117854"/>
              <a:gd name="connsiteY6" fmla="*/ 231379 h 383017"/>
              <a:gd name="connsiteX7" fmla="*/ 7117854 w 7117854"/>
              <a:gd name="connsiteY7" fmla="*/ 18851 h 383017"/>
              <a:gd name="connsiteX0" fmla="*/ 0 w 7117854"/>
              <a:gd name="connsiteY0" fmla="*/ 302843 h 381220"/>
              <a:gd name="connsiteX1" fmla="*/ 1126601 w 7117854"/>
              <a:gd name="connsiteY1" fmla="*/ 236760 h 381220"/>
              <a:gd name="connsiteX2" fmla="*/ 2393924 w 7117854"/>
              <a:gd name="connsiteY2" fmla="*/ 19863 h 381220"/>
              <a:gd name="connsiteX3" fmla="*/ 3609121 w 7117854"/>
              <a:gd name="connsiteY3" fmla="*/ 32425 h 381220"/>
              <a:gd name="connsiteX4" fmla="*/ 4581325 w 7117854"/>
              <a:gd name="connsiteY4" fmla="*/ 376926 h 381220"/>
              <a:gd name="connsiteX5" fmla="*/ 5280714 w 7117854"/>
              <a:gd name="connsiteY5" fmla="*/ 237429 h 381220"/>
              <a:gd name="connsiteX6" fmla="*/ 6344970 w 7117854"/>
              <a:gd name="connsiteY6" fmla="*/ 231379 h 381220"/>
              <a:gd name="connsiteX7" fmla="*/ 7117854 w 7117854"/>
              <a:gd name="connsiteY7" fmla="*/ 18851 h 381220"/>
              <a:gd name="connsiteX0" fmla="*/ 0 w 7117854"/>
              <a:gd name="connsiteY0" fmla="*/ 302843 h 382654"/>
              <a:gd name="connsiteX1" fmla="*/ 1126601 w 7117854"/>
              <a:gd name="connsiteY1" fmla="*/ 236760 h 382654"/>
              <a:gd name="connsiteX2" fmla="*/ 2393924 w 7117854"/>
              <a:gd name="connsiteY2" fmla="*/ 19863 h 382654"/>
              <a:gd name="connsiteX3" fmla="*/ 3609121 w 7117854"/>
              <a:gd name="connsiteY3" fmla="*/ 32425 h 382654"/>
              <a:gd name="connsiteX4" fmla="*/ 4581325 w 7117854"/>
              <a:gd name="connsiteY4" fmla="*/ 376926 h 382654"/>
              <a:gd name="connsiteX5" fmla="*/ 6344970 w 7117854"/>
              <a:gd name="connsiteY5" fmla="*/ 231379 h 382654"/>
              <a:gd name="connsiteX6" fmla="*/ 7117854 w 7117854"/>
              <a:gd name="connsiteY6" fmla="*/ 18851 h 382654"/>
              <a:gd name="connsiteX0" fmla="*/ 0 w 7117854"/>
              <a:gd name="connsiteY0" fmla="*/ 302843 h 386161"/>
              <a:gd name="connsiteX1" fmla="*/ 1126601 w 7117854"/>
              <a:gd name="connsiteY1" fmla="*/ 236760 h 386161"/>
              <a:gd name="connsiteX2" fmla="*/ 2393924 w 7117854"/>
              <a:gd name="connsiteY2" fmla="*/ 19863 h 386161"/>
              <a:gd name="connsiteX3" fmla="*/ 3609121 w 7117854"/>
              <a:gd name="connsiteY3" fmla="*/ 32425 h 386161"/>
              <a:gd name="connsiteX4" fmla="*/ 4581325 w 7117854"/>
              <a:gd name="connsiteY4" fmla="*/ 376926 h 386161"/>
              <a:gd name="connsiteX5" fmla="*/ 5881602 w 7117854"/>
              <a:gd name="connsiteY5" fmla="*/ 264412 h 386161"/>
              <a:gd name="connsiteX6" fmla="*/ 7117854 w 7117854"/>
              <a:gd name="connsiteY6" fmla="*/ 18851 h 386161"/>
              <a:gd name="connsiteX0" fmla="*/ 0 w 7105331"/>
              <a:gd name="connsiteY0" fmla="*/ 302843 h 620783"/>
              <a:gd name="connsiteX1" fmla="*/ 1126601 w 7105331"/>
              <a:gd name="connsiteY1" fmla="*/ 236760 h 620783"/>
              <a:gd name="connsiteX2" fmla="*/ 2393924 w 7105331"/>
              <a:gd name="connsiteY2" fmla="*/ 19863 h 620783"/>
              <a:gd name="connsiteX3" fmla="*/ 3609121 w 7105331"/>
              <a:gd name="connsiteY3" fmla="*/ 32425 h 620783"/>
              <a:gd name="connsiteX4" fmla="*/ 4581325 w 7105331"/>
              <a:gd name="connsiteY4" fmla="*/ 376926 h 620783"/>
              <a:gd name="connsiteX5" fmla="*/ 5881602 w 7105331"/>
              <a:gd name="connsiteY5" fmla="*/ 264412 h 620783"/>
              <a:gd name="connsiteX6" fmla="*/ 7105331 w 7105331"/>
              <a:gd name="connsiteY6" fmla="*/ 620783 h 620783"/>
              <a:gd name="connsiteX0" fmla="*/ 0 w 7105331"/>
              <a:gd name="connsiteY0" fmla="*/ 302843 h 382105"/>
              <a:gd name="connsiteX1" fmla="*/ 1126601 w 7105331"/>
              <a:gd name="connsiteY1" fmla="*/ 236760 h 382105"/>
              <a:gd name="connsiteX2" fmla="*/ 2393924 w 7105331"/>
              <a:gd name="connsiteY2" fmla="*/ 19863 h 382105"/>
              <a:gd name="connsiteX3" fmla="*/ 3609121 w 7105331"/>
              <a:gd name="connsiteY3" fmla="*/ 32425 h 382105"/>
              <a:gd name="connsiteX4" fmla="*/ 4581325 w 7105331"/>
              <a:gd name="connsiteY4" fmla="*/ 376926 h 382105"/>
              <a:gd name="connsiteX5" fmla="*/ 5881602 w 7105331"/>
              <a:gd name="connsiteY5" fmla="*/ 264412 h 382105"/>
              <a:gd name="connsiteX6" fmla="*/ 7105331 w 7105331"/>
              <a:gd name="connsiteY6" fmla="*/ 206616 h 382105"/>
              <a:gd name="connsiteX0" fmla="*/ 0 w 7105331"/>
              <a:gd name="connsiteY0" fmla="*/ 270419 h 349681"/>
              <a:gd name="connsiteX1" fmla="*/ 1126601 w 7105331"/>
              <a:gd name="connsiteY1" fmla="*/ 204336 h 349681"/>
              <a:gd name="connsiteX2" fmla="*/ 2387007 w 7105331"/>
              <a:gd name="connsiteY2" fmla="*/ 298068 h 349681"/>
              <a:gd name="connsiteX3" fmla="*/ 3609121 w 7105331"/>
              <a:gd name="connsiteY3" fmla="*/ 1 h 349681"/>
              <a:gd name="connsiteX4" fmla="*/ 4581325 w 7105331"/>
              <a:gd name="connsiteY4" fmla="*/ 344502 h 349681"/>
              <a:gd name="connsiteX5" fmla="*/ 5881602 w 7105331"/>
              <a:gd name="connsiteY5" fmla="*/ 231988 h 349681"/>
              <a:gd name="connsiteX6" fmla="*/ 7105331 w 7105331"/>
              <a:gd name="connsiteY6" fmla="*/ 174192 h 349681"/>
              <a:gd name="connsiteX0" fmla="*/ 0 w 7105331"/>
              <a:gd name="connsiteY0" fmla="*/ 270419 h 349681"/>
              <a:gd name="connsiteX1" fmla="*/ 1126601 w 7105331"/>
              <a:gd name="connsiteY1" fmla="*/ 204336 h 349681"/>
              <a:gd name="connsiteX2" fmla="*/ 2387007 w 7105331"/>
              <a:gd name="connsiteY2" fmla="*/ 298068 h 349681"/>
              <a:gd name="connsiteX3" fmla="*/ 3609121 w 7105331"/>
              <a:gd name="connsiteY3" fmla="*/ 1 h 349681"/>
              <a:gd name="connsiteX4" fmla="*/ 4581325 w 7105331"/>
              <a:gd name="connsiteY4" fmla="*/ 344502 h 349681"/>
              <a:gd name="connsiteX5" fmla="*/ 5881602 w 7105331"/>
              <a:gd name="connsiteY5" fmla="*/ 231988 h 349681"/>
              <a:gd name="connsiteX6" fmla="*/ 7105331 w 7105331"/>
              <a:gd name="connsiteY6" fmla="*/ 174192 h 349681"/>
              <a:gd name="connsiteX0" fmla="*/ 0 w 7105331"/>
              <a:gd name="connsiteY0" fmla="*/ 4714408 h 4747999"/>
              <a:gd name="connsiteX1" fmla="*/ 1126601 w 7105331"/>
              <a:gd name="connsiteY1" fmla="*/ 4648325 h 4747999"/>
              <a:gd name="connsiteX2" fmla="*/ 2387007 w 7105331"/>
              <a:gd name="connsiteY2" fmla="*/ 4742057 h 4747999"/>
              <a:gd name="connsiteX3" fmla="*/ 3609121 w 7105331"/>
              <a:gd name="connsiteY3" fmla="*/ 4443990 h 4747999"/>
              <a:gd name="connsiteX4" fmla="*/ 4667144 w 7105331"/>
              <a:gd name="connsiteY4" fmla="*/ 253 h 4747999"/>
              <a:gd name="connsiteX5" fmla="*/ 5881602 w 7105331"/>
              <a:gd name="connsiteY5" fmla="*/ 4675977 h 4747999"/>
              <a:gd name="connsiteX6" fmla="*/ 7105331 w 7105331"/>
              <a:gd name="connsiteY6" fmla="*/ 4618181 h 4747999"/>
              <a:gd name="connsiteX0" fmla="*/ 0 w 7105331"/>
              <a:gd name="connsiteY0" fmla="*/ 270419 h 580550"/>
              <a:gd name="connsiteX1" fmla="*/ 1126601 w 7105331"/>
              <a:gd name="connsiteY1" fmla="*/ 204336 h 580550"/>
              <a:gd name="connsiteX2" fmla="*/ 2387007 w 7105331"/>
              <a:gd name="connsiteY2" fmla="*/ 298068 h 580550"/>
              <a:gd name="connsiteX3" fmla="*/ 3609121 w 7105331"/>
              <a:gd name="connsiteY3" fmla="*/ 1 h 580550"/>
              <a:gd name="connsiteX4" fmla="*/ 4620334 w 7105331"/>
              <a:gd name="connsiteY4" fmla="*/ 578067 h 580550"/>
              <a:gd name="connsiteX5" fmla="*/ 5881602 w 7105331"/>
              <a:gd name="connsiteY5" fmla="*/ 231988 h 580550"/>
              <a:gd name="connsiteX6" fmla="*/ 7105331 w 7105331"/>
              <a:gd name="connsiteY6" fmla="*/ 174192 h 580550"/>
              <a:gd name="connsiteX0" fmla="*/ 0 w 6842787"/>
              <a:gd name="connsiteY0" fmla="*/ 11665128 h 11665128"/>
              <a:gd name="connsiteX1" fmla="*/ 864057 w 6842787"/>
              <a:gd name="connsiteY1" fmla="*/ 769410 h 11665128"/>
              <a:gd name="connsiteX2" fmla="*/ 2124463 w 6842787"/>
              <a:gd name="connsiteY2" fmla="*/ 863142 h 11665128"/>
              <a:gd name="connsiteX3" fmla="*/ 3346577 w 6842787"/>
              <a:gd name="connsiteY3" fmla="*/ 565075 h 11665128"/>
              <a:gd name="connsiteX4" fmla="*/ 4357790 w 6842787"/>
              <a:gd name="connsiteY4" fmla="*/ 1143141 h 11665128"/>
              <a:gd name="connsiteX5" fmla="*/ 5619058 w 6842787"/>
              <a:gd name="connsiteY5" fmla="*/ 797062 h 11665128"/>
              <a:gd name="connsiteX6" fmla="*/ 6842787 w 6842787"/>
              <a:gd name="connsiteY6" fmla="*/ 739266 h 11665128"/>
              <a:gd name="connsiteX0" fmla="*/ 0 w 6883627"/>
              <a:gd name="connsiteY0" fmla="*/ 24703443 h 24703443"/>
              <a:gd name="connsiteX1" fmla="*/ 904897 w 6883627"/>
              <a:gd name="connsiteY1" fmla="*/ 1668052 h 24703443"/>
              <a:gd name="connsiteX2" fmla="*/ 2165303 w 6883627"/>
              <a:gd name="connsiteY2" fmla="*/ 1761784 h 24703443"/>
              <a:gd name="connsiteX3" fmla="*/ 3387417 w 6883627"/>
              <a:gd name="connsiteY3" fmla="*/ 1463717 h 24703443"/>
              <a:gd name="connsiteX4" fmla="*/ 4398630 w 6883627"/>
              <a:gd name="connsiteY4" fmla="*/ 2041783 h 24703443"/>
              <a:gd name="connsiteX5" fmla="*/ 5659898 w 6883627"/>
              <a:gd name="connsiteY5" fmla="*/ 1695704 h 24703443"/>
              <a:gd name="connsiteX6" fmla="*/ 6883627 w 6883627"/>
              <a:gd name="connsiteY6" fmla="*/ 1637908 h 24703443"/>
              <a:gd name="connsiteX0" fmla="*/ 0 w 6883627"/>
              <a:gd name="connsiteY0" fmla="*/ 24703443 h 24703443"/>
              <a:gd name="connsiteX1" fmla="*/ 904897 w 6883627"/>
              <a:gd name="connsiteY1" fmla="*/ 1668052 h 24703443"/>
              <a:gd name="connsiteX2" fmla="*/ 2165303 w 6883627"/>
              <a:gd name="connsiteY2" fmla="*/ 1761784 h 24703443"/>
              <a:gd name="connsiteX3" fmla="*/ 3387417 w 6883627"/>
              <a:gd name="connsiteY3" fmla="*/ 1463717 h 24703443"/>
              <a:gd name="connsiteX4" fmla="*/ 4398630 w 6883627"/>
              <a:gd name="connsiteY4" fmla="*/ 2041783 h 24703443"/>
              <a:gd name="connsiteX5" fmla="*/ 5659898 w 6883627"/>
              <a:gd name="connsiteY5" fmla="*/ 1695704 h 24703443"/>
              <a:gd name="connsiteX6" fmla="*/ 6883627 w 6883627"/>
              <a:gd name="connsiteY6" fmla="*/ 1637908 h 24703443"/>
              <a:gd name="connsiteX0" fmla="*/ 0 w 6883627"/>
              <a:gd name="connsiteY0" fmla="*/ 23239728 h 24394314"/>
              <a:gd name="connsiteX1" fmla="*/ 1173275 w 6883627"/>
              <a:gd name="connsiteY1" fmla="*/ 23173627 h 24394314"/>
              <a:gd name="connsiteX2" fmla="*/ 2165303 w 6883627"/>
              <a:gd name="connsiteY2" fmla="*/ 298069 h 24394314"/>
              <a:gd name="connsiteX3" fmla="*/ 3387417 w 6883627"/>
              <a:gd name="connsiteY3" fmla="*/ 2 h 24394314"/>
              <a:gd name="connsiteX4" fmla="*/ 4398630 w 6883627"/>
              <a:gd name="connsiteY4" fmla="*/ 578068 h 24394314"/>
              <a:gd name="connsiteX5" fmla="*/ 5659898 w 6883627"/>
              <a:gd name="connsiteY5" fmla="*/ 231989 h 24394314"/>
              <a:gd name="connsiteX6" fmla="*/ 6883627 w 6883627"/>
              <a:gd name="connsiteY6" fmla="*/ 174193 h 24394314"/>
              <a:gd name="connsiteX0" fmla="*/ 0 w 6883627"/>
              <a:gd name="connsiteY0" fmla="*/ 23239728 h 23239727"/>
              <a:gd name="connsiteX1" fmla="*/ 1173275 w 6883627"/>
              <a:gd name="connsiteY1" fmla="*/ 23173627 h 23239727"/>
              <a:gd name="connsiteX2" fmla="*/ 2165303 w 6883627"/>
              <a:gd name="connsiteY2" fmla="*/ 298069 h 23239727"/>
              <a:gd name="connsiteX3" fmla="*/ 3387417 w 6883627"/>
              <a:gd name="connsiteY3" fmla="*/ 2 h 23239727"/>
              <a:gd name="connsiteX4" fmla="*/ 4398630 w 6883627"/>
              <a:gd name="connsiteY4" fmla="*/ 578068 h 23239727"/>
              <a:gd name="connsiteX5" fmla="*/ 5659898 w 6883627"/>
              <a:gd name="connsiteY5" fmla="*/ 231989 h 23239727"/>
              <a:gd name="connsiteX6" fmla="*/ 6883627 w 6883627"/>
              <a:gd name="connsiteY6" fmla="*/ 174193 h 23239727"/>
              <a:gd name="connsiteX0" fmla="*/ 0 w 6883627"/>
              <a:gd name="connsiteY0" fmla="*/ 23239728 h 23312627"/>
              <a:gd name="connsiteX1" fmla="*/ 1173275 w 6883627"/>
              <a:gd name="connsiteY1" fmla="*/ 23173627 h 23312627"/>
              <a:gd name="connsiteX2" fmla="*/ 2165303 w 6883627"/>
              <a:gd name="connsiteY2" fmla="*/ 298069 h 23312627"/>
              <a:gd name="connsiteX3" fmla="*/ 3387417 w 6883627"/>
              <a:gd name="connsiteY3" fmla="*/ 2 h 23312627"/>
              <a:gd name="connsiteX4" fmla="*/ 4398630 w 6883627"/>
              <a:gd name="connsiteY4" fmla="*/ 578068 h 23312627"/>
              <a:gd name="connsiteX5" fmla="*/ 5659898 w 6883627"/>
              <a:gd name="connsiteY5" fmla="*/ 231989 h 23312627"/>
              <a:gd name="connsiteX6" fmla="*/ 6883627 w 6883627"/>
              <a:gd name="connsiteY6" fmla="*/ 174193 h 23312627"/>
              <a:gd name="connsiteX0" fmla="*/ 0 w 6883627"/>
              <a:gd name="connsiteY0" fmla="*/ 23239728 h 23312627"/>
              <a:gd name="connsiteX1" fmla="*/ 1173275 w 6883627"/>
              <a:gd name="connsiteY1" fmla="*/ 23173627 h 23312627"/>
              <a:gd name="connsiteX2" fmla="*/ 2165303 w 6883627"/>
              <a:gd name="connsiteY2" fmla="*/ 298069 h 23312627"/>
              <a:gd name="connsiteX3" fmla="*/ 3387417 w 6883627"/>
              <a:gd name="connsiteY3" fmla="*/ 2 h 23312627"/>
              <a:gd name="connsiteX4" fmla="*/ 4398630 w 6883627"/>
              <a:gd name="connsiteY4" fmla="*/ 578068 h 23312627"/>
              <a:gd name="connsiteX5" fmla="*/ 5659898 w 6883627"/>
              <a:gd name="connsiteY5" fmla="*/ 231989 h 23312627"/>
              <a:gd name="connsiteX6" fmla="*/ 6883627 w 6883627"/>
              <a:gd name="connsiteY6" fmla="*/ 174193 h 23312627"/>
              <a:gd name="connsiteX0" fmla="*/ 0 w 6883627"/>
              <a:gd name="connsiteY0" fmla="*/ 23239728 h 23312627"/>
              <a:gd name="connsiteX1" fmla="*/ 1173275 w 6883627"/>
              <a:gd name="connsiteY1" fmla="*/ 23173627 h 23312627"/>
              <a:gd name="connsiteX2" fmla="*/ 2165303 w 6883627"/>
              <a:gd name="connsiteY2" fmla="*/ 298069 h 23312627"/>
              <a:gd name="connsiteX3" fmla="*/ 3387417 w 6883627"/>
              <a:gd name="connsiteY3" fmla="*/ 2 h 23312627"/>
              <a:gd name="connsiteX4" fmla="*/ 4398630 w 6883627"/>
              <a:gd name="connsiteY4" fmla="*/ 578068 h 23312627"/>
              <a:gd name="connsiteX5" fmla="*/ 5659898 w 6883627"/>
              <a:gd name="connsiteY5" fmla="*/ 231989 h 23312627"/>
              <a:gd name="connsiteX6" fmla="*/ 6883627 w 6883627"/>
              <a:gd name="connsiteY6" fmla="*/ 174193 h 23312627"/>
              <a:gd name="connsiteX0" fmla="*/ 0 w 6854456"/>
              <a:gd name="connsiteY0" fmla="*/ 23414392 h 24991120"/>
              <a:gd name="connsiteX1" fmla="*/ 1144104 w 6854456"/>
              <a:gd name="connsiteY1" fmla="*/ 23173627 h 24991120"/>
              <a:gd name="connsiteX2" fmla="*/ 2136132 w 6854456"/>
              <a:gd name="connsiteY2" fmla="*/ 298069 h 24991120"/>
              <a:gd name="connsiteX3" fmla="*/ 3358246 w 6854456"/>
              <a:gd name="connsiteY3" fmla="*/ 2 h 24991120"/>
              <a:gd name="connsiteX4" fmla="*/ 4369459 w 6854456"/>
              <a:gd name="connsiteY4" fmla="*/ 578068 h 24991120"/>
              <a:gd name="connsiteX5" fmla="*/ 5630727 w 6854456"/>
              <a:gd name="connsiteY5" fmla="*/ 231989 h 24991120"/>
              <a:gd name="connsiteX6" fmla="*/ 6854456 w 6854456"/>
              <a:gd name="connsiteY6" fmla="*/ 174193 h 24991120"/>
              <a:gd name="connsiteX0" fmla="*/ 0 w 6854456"/>
              <a:gd name="connsiteY0" fmla="*/ 23414392 h 24969943"/>
              <a:gd name="connsiteX1" fmla="*/ 1144104 w 6854456"/>
              <a:gd name="connsiteY1" fmla="*/ 23173627 h 24969943"/>
              <a:gd name="connsiteX2" fmla="*/ 2136132 w 6854456"/>
              <a:gd name="connsiteY2" fmla="*/ 298069 h 24969943"/>
              <a:gd name="connsiteX3" fmla="*/ 3358246 w 6854456"/>
              <a:gd name="connsiteY3" fmla="*/ 2 h 24969943"/>
              <a:gd name="connsiteX4" fmla="*/ 4369459 w 6854456"/>
              <a:gd name="connsiteY4" fmla="*/ 578068 h 24969943"/>
              <a:gd name="connsiteX5" fmla="*/ 5630727 w 6854456"/>
              <a:gd name="connsiteY5" fmla="*/ 231989 h 24969943"/>
              <a:gd name="connsiteX6" fmla="*/ 6854456 w 6854456"/>
              <a:gd name="connsiteY6" fmla="*/ 174193 h 24969943"/>
              <a:gd name="connsiteX0" fmla="*/ 0 w 6854456"/>
              <a:gd name="connsiteY0" fmla="*/ 23414392 h 23890101"/>
              <a:gd name="connsiteX1" fmla="*/ 1144104 w 6854456"/>
              <a:gd name="connsiteY1" fmla="*/ 23173627 h 23890101"/>
              <a:gd name="connsiteX2" fmla="*/ 2136132 w 6854456"/>
              <a:gd name="connsiteY2" fmla="*/ 298069 h 23890101"/>
              <a:gd name="connsiteX3" fmla="*/ 3358246 w 6854456"/>
              <a:gd name="connsiteY3" fmla="*/ 2 h 23890101"/>
              <a:gd name="connsiteX4" fmla="*/ 4369459 w 6854456"/>
              <a:gd name="connsiteY4" fmla="*/ 578068 h 23890101"/>
              <a:gd name="connsiteX5" fmla="*/ 5630727 w 6854456"/>
              <a:gd name="connsiteY5" fmla="*/ 231989 h 23890101"/>
              <a:gd name="connsiteX6" fmla="*/ 6854456 w 6854456"/>
              <a:gd name="connsiteY6" fmla="*/ 174193 h 23890101"/>
              <a:gd name="connsiteX0" fmla="*/ 0 w 6854456"/>
              <a:gd name="connsiteY0" fmla="*/ 23414392 h 23428835"/>
              <a:gd name="connsiteX1" fmla="*/ 1144104 w 6854456"/>
              <a:gd name="connsiteY1" fmla="*/ 23173627 h 23428835"/>
              <a:gd name="connsiteX2" fmla="*/ 2252818 w 6854456"/>
              <a:gd name="connsiteY2" fmla="*/ 23180030 h 23428835"/>
              <a:gd name="connsiteX3" fmla="*/ 3358246 w 6854456"/>
              <a:gd name="connsiteY3" fmla="*/ 2 h 23428835"/>
              <a:gd name="connsiteX4" fmla="*/ 4369459 w 6854456"/>
              <a:gd name="connsiteY4" fmla="*/ 578068 h 23428835"/>
              <a:gd name="connsiteX5" fmla="*/ 5630727 w 6854456"/>
              <a:gd name="connsiteY5" fmla="*/ 231989 h 23428835"/>
              <a:gd name="connsiteX6" fmla="*/ 6854456 w 6854456"/>
              <a:gd name="connsiteY6" fmla="*/ 174193 h 23428835"/>
              <a:gd name="connsiteX0" fmla="*/ 0 w 6854456"/>
              <a:gd name="connsiteY0" fmla="*/ 23414392 h 23428275"/>
              <a:gd name="connsiteX1" fmla="*/ 1144104 w 6854456"/>
              <a:gd name="connsiteY1" fmla="*/ 23173627 h 23428275"/>
              <a:gd name="connsiteX2" fmla="*/ 2258652 w 6854456"/>
              <a:gd name="connsiteY2" fmla="*/ 23267362 h 23428275"/>
              <a:gd name="connsiteX3" fmla="*/ 3358246 w 6854456"/>
              <a:gd name="connsiteY3" fmla="*/ 2 h 23428275"/>
              <a:gd name="connsiteX4" fmla="*/ 4369459 w 6854456"/>
              <a:gd name="connsiteY4" fmla="*/ 578068 h 23428275"/>
              <a:gd name="connsiteX5" fmla="*/ 5630727 w 6854456"/>
              <a:gd name="connsiteY5" fmla="*/ 231989 h 23428275"/>
              <a:gd name="connsiteX6" fmla="*/ 6854456 w 6854456"/>
              <a:gd name="connsiteY6" fmla="*/ 174193 h 23428275"/>
              <a:gd name="connsiteX0" fmla="*/ 0 w 6854456"/>
              <a:gd name="connsiteY0" fmla="*/ 23414392 h 23428835"/>
              <a:gd name="connsiteX1" fmla="*/ 1144104 w 6854456"/>
              <a:gd name="connsiteY1" fmla="*/ 23173627 h 23428835"/>
              <a:gd name="connsiteX2" fmla="*/ 2258652 w 6854456"/>
              <a:gd name="connsiteY2" fmla="*/ 23180030 h 23428835"/>
              <a:gd name="connsiteX3" fmla="*/ 3358246 w 6854456"/>
              <a:gd name="connsiteY3" fmla="*/ 2 h 23428835"/>
              <a:gd name="connsiteX4" fmla="*/ 4369459 w 6854456"/>
              <a:gd name="connsiteY4" fmla="*/ 578068 h 23428835"/>
              <a:gd name="connsiteX5" fmla="*/ 5630727 w 6854456"/>
              <a:gd name="connsiteY5" fmla="*/ 231989 h 23428835"/>
              <a:gd name="connsiteX6" fmla="*/ 6854456 w 6854456"/>
              <a:gd name="connsiteY6" fmla="*/ 174193 h 23428835"/>
              <a:gd name="connsiteX0" fmla="*/ 0 w 6854456"/>
              <a:gd name="connsiteY0" fmla="*/ 24328927 h 24343370"/>
              <a:gd name="connsiteX1" fmla="*/ 1144104 w 6854456"/>
              <a:gd name="connsiteY1" fmla="*/ 24088162 h 24343370"/>
              <a:gd name="connsiteX2" fmla="*/ 2258652 w 6854456"/>
              <a:gd name="connsiteY2" fmla="*/ 24094565 h 24343370"/>
              <a:gd name="connsiteX3" fmla="*/ 3404921 w 6854456"/>
              <a:gd name="connsiteY3" fmla="*/ 19866386 h 24343370"/>
              <a:gd name="connsiteX4" fmla="*/ 4369459 w 6854456"/>
              <a:gd name="connsiteY4" fmla="*/ 1492603 h 24343370"/>
              <a:gd name="connsiteX5" fmla="*/ 5630727 w 6854456"/>
              <a:gd name="connsiteY5" fmla="*/ 1146524 h 24343370"/>
              <a:gd name="connsiteX6" fmla="*/ 6854456 w 6854456"/>
              <a:gd name="connsiteY6" fmla="*/ 1088728 h 24343370"/>
              <a:gd name="connsiteX0" fmla="*/ 0 w 6854456"/>
              <a:gd name="connsiteY0" fmla="*/ 23245768 h 23260211"/>
              <a:gd name="connsiteX1" fmla="*/ 1144104 w 6854456"/>
              <a:gd name="connsiteY1" fmla="*/ 23005003 h 23260211"/>
              <a:gd name="connsiteX2" fmla="*/ 2258652 w 6854456"/>
              <a:gd name="connsiteY2" fmla="*/ 23011406 h 23260211"/>
              <a:gd name="connsiteX3" fmla="*/ 3404921 w 6854456"/>
              <a:gd name="connsiteY3" fmla="*/ 18783227 h 23260211"/>
              <a:gd name="connsiteX4" fmla="*/ 4538654 w 6854456"/>
              <a:gd name="connsiteY4" fmla="*/ 18662613 h 23260211"/>
              <a:gd name="connsiteX5" fmla="*/ 5630727 w 6854456"/>
              <a:gd name="connsiteY5" fmla="*/ 63365 h 23260211"/>
              <a:gd name="connsiteX6" fmla="*/ 6854456 w 6854456"/>
              <a:gd name="connsiteY6" fmla="*/ 5569 h 23260211"/>
              <a:gd name="connsiteX0" fmla="*/ 0 w 6854456"/>
              <a:gd name="connsiteY0" fmla="*/ 23245768 h 23260211"/>
              <a:gd name="connsiteX1" fmla="*/ 1144104 w 6854456"/>
              <a:gd name="connsiteY1" fmla="*/ 23005003 h 23260211"/>
              <a:gd name="connsiteX2" fmla="*/ 2258652 w 6854456"/>
              <a:gd name="connsiteY2" fmla="*/ 23011406 h 23260211"/>
              <a:gd name="connsiteX3" fmla="*/ 3404921 w 6854456"/>
              <a:gd name="connsiteY3" fmla="*/ 18783227 h 23260211"/>
              <a:gd name="connsiteX4" fmla="*/ 4538654 w 6854456"/>
              <a:gd name="connsiteY4" fmla="*/ 18662613 h 23260211"/>
              <a:gd name="connsiteX5" fmla="*/ 5630727 w 6854456"/>
              <a:gd name="connsiteY5" fmla="*/ 63365 h 23260211"/>
              <a:gd name="connsiteX6" fmla="*/ 6854456 w 6854456"/>
              <a:gd name="connsiteY6" fmla="*/ 5569 h 23260211"/>
              <a:gd name="connsiteX0" fmla="*/ 0 w 6854456"/>
              <a:gd name="connsiteY0" fmla="*/ 23240276 h 23254719"/>
              <a:gd name="connsiteX1" fmla="*/ 1144104 w 6854456"/>
              <a:gd name="connsiteY1" fmla="*/ 22999511 h 23254719"/>
              <a:gd name="connsiteX2" fmla="*/ 2258652 w 6854456"/>
              <a:gd name="connsiteY2" fmla="*/ 23005914 h 23254719"/>
              <a:gd name="connsiteX3" fmla="*/ 3404921 w 6854456"/>
              <a:gd name="connsiteY3" fmla="*/ 18777735 h 23254719"/>
              <a:gd name="connsiteX4" fmla="*/ 4538654 w 6854456"/>
              <a:gd name="connsiteY4" fmla="*/ 18657121 h 23254719"/>
              <a:gd name="connsiteX5" fmla="*/ 5648230 w 6854456"/>
              <a:gd name="connsiteY5" fmla="*/ 11498854 h 23254719"/>
              <a:gd name="connsiteX6" fmla="*/ 6854456 w 6854456"/>
              <a:gd name="connsiteY6" fmla="*/ 77 h 23254719"/>
              <a:gd name="connsiteX0" fmla="*/ 0 w 6854456"/>
              <a:gd name="connsiteY0" fmla="*/ 23240276 h 23254719"/>
              <a:gd name="connsiteX1" fmla="*/ 1144104 w 6854456"/>
              <a:gd name="connsiteY1" fmla="*/ 22999511 h 23254719"/>
              <a:gd name="connsiteX2" fmla="*/ 2258652 w 6854456"/>
              <a:gd name="connsiteY2" fmla="*/ 23005914 h 23254719"/>
              <a:gd name="connsiteX3" fmla="*/ 3404921 w 6854456"/>
              <a:gd name="connsiteY3" fmla="*/ 18777735 h 23254719"/>
              <a:gd name="connsiteX4" fmla="*/ 4538654 w 6854456"/>
              <a:gd name="connsiteY4" fmla="*/ 18657121 h 23254719"/>
              <a:gd name="connsiteX5" fmla="*/ 5648230 w 6854456"/>
              <a:gd name="connsiteY5" fmla="*/ 11498854 h 23254719"/>
              <a:gd name="connsiteX6" fmla="*/ 6854456 w 6854456"/>
              <a:gd name="connsiteY6" fmla="*/ 77 h 23254719"/>
              <a:gd name="connsiteX0" fmla="*/ 0 w 6854456"/>
              <a:gd name="connsiteY0" fmla="*/ 23240276 h 23254719"/>
              <a:gd name="connsiteX1" fmla="*/ 1144104 w 6854456"/>
              <a:gd name="connsiteY1" fmla="*/ 22999511 h 23254719"/>
              <a:gd name="connsiteX2" fmla="*/ 2258652 w 6854456"/>
              <a:gd name="connsiteY2" fmla="*/ 23005914 h 23254719"/>
              <a:gd name="connsiteX3" fmla="*/ 3404921 w 6854456"/>
              <a:gd name="connsiteY3" fmla="*/ 18777735 h 23254719"/>
              <a:gd name="connsiteX4" fmla="*/ 4538654 w 6854456"/>
              <a:gd name="connsiteY4" fmla="*/ 18657121 h 23254719"/>
              <a:gd name="connsiteX5" fmla="*/ 5648230 w 6854456"/>
              <a:gd name="connsiteY5" fmla="*/ 11498854 h 23254719"/>
              <a:gd name="connsiteX6" fmla="*/ 6854456 w 6854456"/>
              <a:gd name="connsiteY6" fmla="*/ 77 h 23254719"/>
              <a:gd name="connsiteX0" fmla="*/ 0 w 6807781"/>
              <a:gd name="connsiteY0" fmla="*/ 19484874 h 19499317"/>
              <a:gd name="connsiteX1" fmla="*/ 1144104 w 6807781"/>
              <a:gd name="connsiteY1" fmla="*/ 19244109 h 19499317"/>
              <a:gd name="connsiteX2" fmla="*/ 2258652 w 6807781"/>
              <a:gd name="connsiteY2" fmla="*/ 19250512 h 19499317"/>
              <a:gd name="connsiteX3" fmla="*/ 3404921 w 6807781"/>
              <a:gd name="connsiteY3" fmla="*/ 15022333 h 19499317"/>
              <a:gd name="connsiteX4" fmla="*/ 4538654 w 6807781"/>
              <a:gd name="connsiteY4" fmla="*/ 14901719 h 19499317"/>
              <a:gd name="connsiteX5" fmla="*/ 5648230 w 6807781"/>
              <a:gd name="connsiteY5" fmla="*/ 7743452 h 19499317"/>
              <a:gd name="connsiteX6" fmla="*/ 6807781 w 6807781"/>
              <a:gd name="connsiteY6" fmla="*/ 110 h 19499317"/>
              <a:gd name="connsiteX0" fmla="*/ 0 w 6807781"/>
              <a:gd name="connsiteY0" fmla="*/ 19484896 h 19499339"/>
              <a:gd name="connsiteX1" fmla="*/ 1144104 w 6807781"/>
              <a:gd name="connsiteY1" fmla="*/ 19244131 h 19499339"/>
              <a:gd name="connsiteX2" fmla="*/ 2258652 w 6807781"/>
              <a:gd name="connsiteY2" fmla="*/ 19250534 h 19499339"/>
              <a:gd name="connsiteX3" fmla="*/ 3404921 w 6807781"/>
              <a:gd name="connsiteY3" fmla="*/ 15022355 h 19499339"/>
              <a:gd name="connsiteX4" fmla="*/ 4538654 w 6807781"/>
              <a:gd name="connsiteY4" fmla="*/ 14901741 h 19499339"/>
              <a:gd name="connsiteX5" fmla="*/ 5648230 w 6807781"/>
              <a:gd name="connsiteY5" fmla="*/ 7743474 h 19499339"/>
              <a:gd name="connsiteX6" fmla="*/ 6807781 w 6807781"/>
              <a:gd name="connsiteY6" fmla="*/ 132 h 19499339"/>
              <a:gd name="connsiteX0" fmla="*/ 0 w 6807781"/>
              <a:gd name="connsiteY0" fmla="*/ 19484896 h 19499339"/>
              <a:gd name="connsiteX1" fmla="*/ 1144104 w 6807781"/>
              <a:gd name="connsiteY1" fmla="*/ 19244131 h 19499339"/>
              <a:gd name="connsiteX2" fmla="*/ 2258652 w 6807781"/>
              <a:gd name="connsiteY2" fmla="*/ 19250534 h 19499339"/>
              <a:gd name="connsiteX3" fmla="*/ 3404921 w 6807781"/>
              <a:gd name="connsiteY3" fmla="*/ 15022355 h 19499339"/>
              <a:gd name="connsiteX4" fmla="*/ 4538654 w 6807781"/>
              <a:gd name="connsiteY4" fmla="*/ 14901741 h 19499339"/>
              <a:gd name="connsiteX5" fmla="*/ 5648230 w 6807781"/>
              <a:gd name="connsiteY5" fmla="*/ 7743474 h 19499339"/>
              <a:gd name="connsiteX6" fmla="*/ 6807781 w 6807781"/>
              <a:gd name="connsiteY6" fmla="*/ 132 h 19499339"/>
              <a:gd name="connsiteX0" fmla="*/ 0 w 6807781"/>
              <a:gd name="connsiteY0" fmla="*/ 19484896 h 19499339"/>
              <a:gd name="connsiteX1" fmla="*/ 1144104 w 6807781"/>
              <a:gd name="connsiteY1" fmla="*/ 19244131 h 19499339"/>
              <a:gd name="connsiteX2" fmla="*/ 2258652 w 6807781"/>
              <a:gd name="connsiteY2" fmla="*/ 19250534 h 19499339"/>
              <a:gd name="connsiteX3" fmla="*/ 3404921 w 6807781"/>
              <a:gd name="connsiteY3" fmla="*/ 15022355 h 19499339"/>
              <a:gd name="connsiteX4" fmla="*/ 4538654 w 6807781"/>
              <a:gd name="connsiteY4" fmla="*/ 14465069 h 19499339"/>
              <a:gd name="connsiteX5" fmla="*/ 5648230 w 6807781"/>
              <a:gd name="connsiteY5" fmla="*/ 7743474 h 19499339"/>
              <a:gd name="connsiteX6" fmla="*/ 6807781 w 6807781"/>
              <a:gd name="connsiteY6" fmla="*/ 132 h 19499339"/>
              <a:gd name="connsiteX0" fmla="*/ 0 w 6807781"/>
              <a:gd name="connsiteY0" fmla="*/ 19484896 h 19499339"/>
              <a:gd name="connsiteX1" fmla="*/ 1144104 w 6807781"/>
              <a:gd name="connsiteY1" fmla="*/ 19244131 h 19499339"/>
              <a:gd name="connsiteX2" fmla="*/ 2258652 w 6807781"/>
              <a:gd name="connsiteY2" fmla="*/ 19250534 h 19499339"/>
              <a:gd name="connsiteX3" fmla="*/ 3404921 w 6807781"/>
              <a:gd name="connsiteY3" fmla="*/ 15022355 h 19499339"/>
              <a:gd name="connsiteX4" fmla="*/ 4538654 w 6807781"/>
              <a:gd name="connsiteY4" fmla="*/ 14465069 h 19499339"/>
              <a:gd name="connsiteX5" fmla="*/ 5648230 w 6807781"/>
              <a:gd name="connsiteY5" fmla="*/ 7743474 h 19499339"/>
              <a:gd name="connsiteX6" fmla="*/ 6807781 w 6807781"/>
              <a:gd name="connsiteY6" fmla="*/ 132 h 19499339"/>
              <a:gd name="connsiteX0" fmla="*/ 0 w 6807781"/>
              <a:gd name="connsiteY0" fmla="*/ 19484896 h 19499339"/>
              <a:gd name="connsiteX1" fmla="*/ 1144104 w 6807781"/>
              <a:gd name="connsiteY1" fmla="*/ 19244131 h 19499339"/>
              <a:gd name="connsiteX2" fmla="*/ 2258652 w 6807781"/>
              <a:gd name="connsiteY2" fmla="*/ 19250534 h 19499339"/>
              <a:gd name="connsiteX3" fmla="*/ 3404921 w 6807781"/>
              <a:gd name="connsiteY3" fmla="*/ 15109687 h 19499339"/>
              <a:gd name="connsiteX4" fmla="*/ 4538654 w 6807781"/>
              <a:gd name="connsiteY4" fmla="*/ 14465069 h 19499339"/>
              <a:gd name="connsiteX5" fmla="*/ 5648230 w 6807781"/>
              <a:gd name="connsiteY5" fmla="*/ 7743474 h 19499339"/>
              <a:gd name="connsiteX6" fmla="*/ 6807781 w 6807781"/>
              <a:gd name="connsiteY6" fmla="*/ 132 h 19499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07781" h="19499339">
                <a:moveTo>
                  <a:pt x="0" y="19484896"/>
                </a:moveTo>
                <a:cubicBezTo>
                  <a:pt x="431138" y="19565660"/>
                  <a:pt x="767662" y="19283191"/>
                  <a:pt x="1144104" y="19244131"/>
                </a:cubicBezTo>
                <a:cubicBezTo>
                  <a:pt x="1520546" y="19205071"/>
                  <a:pt x="1844899" y="19284590"/>
                  <a:pt x="2258652" y="19250534"/>
                </a:cubicBezTo>
                <a:cubicBezTo>
                  <a:pt x="2548564" y="19196574"/>
                  <a:pt x="3211121" y="15117051"/>
                  <a:pt x="3404921" y="15109687"/>
                </a:cubicBezTo>
                <a:cubicBezTo>
                  <a:pt x="3720248" y="15121375"/>
                  <a:pt x="4164769" y="15692771"/>
                  <a:pt x="4538654" y="14465069"/>
                </a:cubicBezTo>
                <a:cubicBezTo>
                  <a:pt x="4912539" y="13237367"/>
                  <a:pt x="5385090" y="9362204"/>
                  <a:pt x="5648230" y="7743474"/>
                </a:cubicBezTo>
                <a:cubicBezTo>
                  <a:pt x="5946378" y="6299409"/>
                  <a:pt x="6642850" y="-33586"/>
                  <a:pt x="6807781" y="132"/>
                </a:cubicBezTo>
              </a:path>
            </a:pathLst>
          </a:custGeom>
          <a:noFill/>
          <a:ln w="136525" cap="rnd" cmpd="sng" algn="ctr">
            <a:solidFill>
              <a:srgbClr val="A1D794"/>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90" name="Freeform 42">
            <a:extLst>
              <a:ext uri="{FF2B5EF4-FFF2-40B4-BE49-F238E27FC236}">
                <a16:creationId xmlns:a16="http://schemas.microsoft.com/office/drawing/2014/main" id="{D5F54926-8116-461F-A5E6-C66DF802732A}"/>
              </a:ext>
            </a:extLst>
          </p:cNvPr>
          <p:cNvSpPr/>
          <p:nvPr/>
        </p:nvSpPr>
        <p:spPr bwMode="auto">
          <a:xfrm>
            <a:off x="1343851" y="4086759"/>
            <a:ext cx="9285944" cy="1555185"/>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869650 w 7136640"/>
              <a:gd name="connsiteY2" fmla="*/ 244077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211883 w 7136640"/>
              <a:gd name="connsiteY5" fmla="*/ 190348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6500954 w 7136640"/>
              <a:gd name="connsiteY8" fmla="*/ 80343 h 360799"/>
              <a:gd name="connsiteX9" fmla="*/ 7136640 w 7136640"/>
              <a:gd name="connsiteY9"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7136640 w 7136640"/>
              <a:gd name="connsiteY8" fmla="*/ 360799 h 360799"/>
              <a:gd name="connsiteX0" fmla="*/ 0 w 7074022"/>
              <a:gd name="connsiteY0" fmla="*/ 280402 h 360576"/>
              <a:gd name="connsiteX1" fmla="*/ 700803 w 7074022"/>
              <a:gd name="connsiteY1" fmla="*/ 203308 h 360576"/>
              <a:gd name="connsiteX2" fmla="*/ 1869650 w 7074022"/>
              <a:gd name="connsiteY2" fmla="*/ 333744 h 360576"/>
              <a:gd name="connsiteX3" fmla="*/ 2744581 w 7074022"/>
              <a:gd name="connsiteY3" fmla="*/ 309399 h 360576"/>
              <a:gd name="connsiteX4" fmla="*/ 3609121 w 7074022"/>
              <a:gd name="connsiteY4" fmla="*/ 9984 h 360576"/>
              <a:gd name="connsiteX5" fmla="*/ 4468614 w 7074022"/>
              <a:gd name="connsiteY5" fmla="*/ 356320 h 360576"/>
              <a:gd name="connsiteX6" fmla="*/ 5280714 w 7074022"/>
              <a:gd name="connsiteY6" fmla="*/ 214988 h 360576"/>
              <a:gd name="connsiteX7" fmla="*/ 6344970 w 7074022"/>
              <a:gd name="connsiteY7" fmla="*/ 208938 h 360576"/>
              <a:gd name="connsiteX8" fmla="*/ 7074022 w 7074022"/>
              <a:gd name="connsiteY8" fmla="*/ 3751 h 360576"/>
              <a:gd name="connsiteX0" fmla="*/ 0 w 7117854"/>
              <a:gd name="connsiteY0" fmla="*/ 287645 h 367819"/>
              <a:gd name="connsiteX1" fmla="*/ 700803 w 7117854"/>
              <a:gd name="connsiteY1" fmla="*/ 210551 h 367819"/>
              <a:gd name="connsiteX2" fmla="*/ 1869650 w 7117854"/>
              <a:gd name="connsiteY2" fmla="*/ 340987 h 367819"/>
              <a:gd name="connsiteX3" fmla="*/ 2744581 w 7117854"/>
              <a:gd name="connsiteY3" fmla="*/ 316642 h 367819"/>
              <a:gd name="connsiteX4" fmla="*/ 3609121 w 7117854"/>
              <a:gd name="connsiteY4" fmla="*/ 17227 h 367819"/>
              <a:gd name="connsiteX5" fmla="*/ 4468614 w 7117854"/>
              <a:gd name="connsiteY5" fmla="*/ 363563 h 367819"/>
              <a:gd name="connsiteX6" fmla="*/ 5280714 w 7117854"/>
              <a:gd name="connsiteY6" fmla="*/ 222231 h 367819"/>
              <a:gd name="connsiteX7" fmla="*/ 6344970 w 7117854"/>
              <a:gd name="connsiteY7" fmla="*/ 216181 h 367819"/>
              <a:gd name="connsiteX8" fmla="*/ 7117854 w 7117854"/>
              <a:gd name="connsiteY8" fmla="*/ 3653 h 367819"/>
              <a:gd name="connsiteX0" fmla="*/ 0 w 7117854"/>
              <a:gd name="connsiteY0" fmla="*/ 287645 h 367819"/>
              <a:gd name="connsiteX1" fmla="*/ 1126601 w 7117854"/>
              <a:gd name="connsiteY1" fmla="*/ 221562 h 367819"/>
              <a:gd name="connsiteX2" fmla="*/ 1869650 w 7117854"/>
              <a:gd name="connsiteY2" fmla="*/ 340987 h 367819"/>
              <a:gd name="connsiteX3" fmla="*/ 2744581 w 7117854"/>
              <a:gd name="connsiteY3" fmla="*/ 316642 h 367819"/>
              <a:gd name="connsiteX4" fmla="*/ 3609121 w 7117854"/>
              <a:gd name="connsiteY4" fmla="*/ 17227 h 367819"/>
              <a:gd name="connsiteX5" fmla="*/ 4468614 w 7117854"/>
              <a:gd name="connsiteY5" fmla="*/ 363563 h 367819"/>
              <a:gd name="connsiteX6" fmla="*/ 5280714 w 7117854"/>
              <a:gd name="connsiteY6" fmla="*/ 222231 h 367819"/>
              <a:gd name="connsiteX7" fmla="*/ 6344970 w 7117854"/>
              <a:gd name="connsiteY7" fmla="*/ 216181 h 367819"/>
              <a:gd name="connsiteX8" fmla="*/ 7117854 w 7117854"/>
              <a:gd name="connsiteY8" fmla="*/ 3653 h 367819"/>
              <a:gd name="connsiteX0" fmla="*/ 0 w 7117854"/>
              <a:gd name="connsiteY0" fmla="*/ 287645 h 367819"/>
              <a:gd name="connsiteX1" fmla="*/ 1126601 w 7117854"/>
              <a:gd name="connsiteY1" fmla="*/ 221562 h 367819"/>
              <a:gd name="connsiteX2" fmla="*/ 2744581 w 7117854"/>
              <a:gd name="connsiteY2" fmla="*/ 316642 h 367819"/>
              <a:gd name="connsiteX3" fmla="*/ 3609121 w 7117854"/>
              <a:gd name="connsiteY3" fmla="*/ 17227 h 367819"/>
              <a:gd name="connsiteX4" fmla="*/ 4468614 w 7117854"/>
              <a:gd name="connsiteY4" fmla="*/ 363563 h 367819"/>
              <a:gd name="connsiteX5" fmla="*/ 5280714 w 7117854"/>
              <a:gd name="connsiteY5" fmla="*/ 222231 h 367819"/>
              <a:gd name="connsiteX6" fmla="*/ 6344970 w 7117854"/>
              <a:gd name="connsiteY6" fmla="*/ 216181 h 367819"/>
              <a:gd name="connsiteX7" fmla="*/ 7117854 w 7117854"/>
              <a:gd name="connsiteY7" fmla="*/ 3653 h 367819"/>
              <a:gd name="connsiteX0" fmla="*/ 0 w 7117854"/>
              <a:gd name="connsiteY0" fmla="*/ 302843 h 383017"/>
              <a:gd name="connsiteX1" fmla="*/ 1126601 w 7117854"/>
              <a:gd name="connsiteY1" fmla="*/ 236760 h 383017"/>
              <a:gd name="connsiteX2" fmla="*/ 2393924 w 7117854"/>
              <a:gd name="connsiteY2" fmla="*/ 19863 h 383017"/>
              <a:gd name="connsiteX3" fmla="*/ 3609121 w 7117854"/>
              <a:gd name="connsiteY3" fmla="*/ 32425 h 383017"/>
              <a:gd name="connsiteX4" fmla="*/ 4468614 w 7117854"/>
              <a:gd name="connsiteY4" fmla="*/ 378761 h 383017"/>
              <a:gd name="connsiteX5" fmla="*/ 5280714 w 7117854"/>
              <a:gd name="connsiteY5" fmla="*/ 237429 h 383017"/>
              <a:gd name="connsiteX6" fmla="*/ 6344970 w 7117854"/>
              <a:gd name="connsiteY6" fmla="*/ 231379 h 383017"/>
              <a:gd name="connsiteX7" fmla="*/ 7117854 w 7117854"/>
              <a:gd name="connsiteY7" fmla="*/ 18851 h 383017"/>
              <a:gd name="connsiteX0" fmla="*/ 0 w 7117854"/>
              <a:gd name="connsiteY0" fmla="*/ 302843 h 381220"/>
              <a:gd name="connsiteX1" fmla="*/ 1126601 w 7117854"/>
              <a:gd name="connsiteY1" fmla="*/ 236760 h 381220"/>
              <a:gd name="connsiteX2" fmla="*/ 2393924 w 7117854"/>
              <a:gd name="connsiteY2" fmla="*/ 19863 h 381220"/>
              <a:gd name="connsiteX3" fmla="*/ 3609121 w 7117854"/>
              <a:gd name="connsiteY3" fmla="*/ 32425 h 381220"/>
              <a:gd name="connsiteX4" fmla="*/ 4581325 w 7117854"/>
              <a:gd name="connsiteY4" fmla="*/ 376926 h 381220"/>
              <a:gd name="connsiteX5" fmla="*/ 5280714 w 7117854"/>
              <a:gd name="connsiteY5" fmla="*/ 237429 h 381220"/>
              <a:gd name="connsiteX6" fmla="*/ 6344970 w 7117854"/>
              <a:gd name="connsiteY6" fmla="*/ 231379 h 381220"/>
              <a:gd name="connsiteX7" fmla="*/ 7117854 w 7117854"/>
              <a:gd name="connsiteY7" fmla="*/ 18851 h 381220"/>
              <a:gd name="connsiteX0" fmla="*/ 0 w 7117854"/>
              <a:gd name="connsiteY0" fmla="*/ 302843 h 382654"/>
              <a:gd name="connsiteX1" fmla="*/ 1126601 w 7117854"/>
              <a:gd name="connsiteY1" fmla="*/ 236760 h 382654"/>
              <a:gd name="connsiteX2" fmla="*/ 2393924 w 7117854"/>
              <a:gd name="connsiteY2" fmla="*/ 19863 h 382654"/>
              <a:gd name="connsiteX3" fmla="*/ 3609121 w 7117854"/>
              <a:gd name="connsiteY3" fmla="*/ 32425 h 382654"/>
              <a:gd name="connsiteX4" fmla="*/ 4581325 w 7117854"/>
              <a:gd name="connsiteY4" fmla="*/ 376926 h 382654"/>
              <a:gd name="connsiteX5" fmla="*/ 6344970 w 7117854"/>
              <a:gd name="connsiteY5" fmla="*/ 231379 h 382654"/>
              <a:gd name="connsiteX6" fmla="*/ 7117854 w 7117854"/>
              <a:gd name="connsiteY6" fmla="*/ 18851 h 382654"/>
              <a:gd name="connsiteX0" fmla="*/ 0 w 7117854"/>
              <a:gd name="connsiteY0" fmla="*/ 302843 h 386161"/>
              <a:gd name="connsiteX1" fmla="*/ 1126601 w 7117854"/>
              <a:gd name="connsiteY1" fmla="*/ 236760 h 386161"/>
              <a:gd name="connsiteX2" fmla="*/ 2393924 w 7117854"/>
              <a:gd name="connsiteY2" fmla="*/ 19863 h 386161"/>
              <a:gd name="connsiteX3" fmla="*/ 3609121 w 7117854"/>
              <a:gd name="connsiteY3" fmla="*/ 32425 h 386161"/>
              <a:gd name="connsiteX4" fmla="*/ 4581325 w 7117854"/>
              <a:gd name="connsiteY4" fmla="*/ 376926 h 386161"/>
              <a:gd name="connsiteX5" fmla="*/ 5881602 w 7117854"/>
              <a:gd name="connsiteY5" fmla="*/ 264412 h 386161"/>
              <a:gd name="connsiteX6" fmla="*/ 7117854 w 7117854"/>
              <a:gd name="connsiteY6" fmla="*/ 18851 h 386161"/>
              <a:gd name="connsiteX0" fmla="*/ 0 w 7105331"/>
              <a:gd name="connsiteY0" fmla="*/ 302843 h 620783"/>
              <a:gd name="connsiteX1" fmla="*/ 1126601 w 7105331"/>
              <a:gd name="connsiteY1" fmla="*/ 236760 h 620783"/>
              <a:gd name="connsiteX2" fmla="*/ 2393924 w 7105331"/>
              <a:gd name="connsiteY2" fmla="*/ 19863 h 620783"/>
              <a:gd name="connsiteX3" fmla="*/ 3609121 w 7105331"/>
              <a:gd name="connsiteY3" fmla="*/ 32425 h 620783"/>
              <a:gd name="connsiteX4" fmla="*/ 4581325 w 7105331"/>
              <a:gd name="connsiteY4" fmla="*/ 376926 h 620783"/>
              <a:gd name="connsiteX5" fmla="*/ 5881602 w 7105331"/>
              <a:gd name="connsiteY5" fmla="*/ 264412 h 620783"/>
              <a:gd name="connsiteX6" fmla="*/ 7105331 w 7105331"/>
              <a:gd name="connsiteY6" fmla="*/ 620783 h 620783"/>
              <a:gd name="connsiteX0" fmla="*/ 0 w 7105331"/>
              <a:gd name="connsiteY0" fmla="*/ 302843 h 382105"/>
              <a:gd name="connsiteX1" fmla="*/ 1126601 w 7105331"/>
              <a:gd name="connsiteY1" fmla="*/ 236760 h 382105"/>
              <a:gd name="connsiteX2" fmla="*/ 2393924 w 7105331"/>
              <a:gd name="connsiteY2" fmla="*/ 19863 h 382105"/>
              <a:gd name="connsiteX3" fmla="*/ 3609121 w 7105331"/>
              <a:gd name="connsiteY3" fmla="*/ 32425 h 382105"/>
              <a:gd name="connsiteX4" fmla="*/ 4581325 w 7105331"/>
              <a:gd name="connsiteY4" fmla="*/ 376926 h 382105"/>
              <a:gd name="connsiteX5" fmla="*/ 5881602 w 7105331"/>
              <a:gd name="connsiteY5" fmla="*/ 264412 h 382105"/>
              <a:gd name="connsiteX6" fmla="*/ 7105331 w 7105331"/>
              <a:gd name="connsiteY6" fmla="*/ 206616 h 382105"/>
              <a:gd name="connsiteX0" fmla="*/ 0 w 7105331"/>
              <a:gd name="connsiteY0" fmla="*/ 270419 h 349681"/>
              <a:gd name="connsiteX1" fmla="*/ 1126601 w 7105331"/>
              <a:gd name="connsiteY1" fmla="*/ 204336 h 349681"/>
              <a:gd name="connsiteX2" fmla="*/ 2387007 w 7105331"/>
              <a:gd name="connsiteY2" fmla="*/ 298068 h 349681"/>
              <a:gd name="connsiteX3" fmla="*/ 3609121 w 7105331"/>
              <a:gd name="connsiteY3" fmla="*/ 1 h 349681"/>
              <a:gd name="connsiteX4" fmla="*/ 4581325 w 7105331"/>
              <a:gd name="connsiteY4" fmla="*/ 344502 h 349681"/>
              <a:gd name="connsiteX5" fmla="*/ 5881602 w 7105331"/>
              <a:gd name="connsiteY5" fmla="*/ 231988 h 349681"/>
              <a:gd name="connsiteX6" fmla="*/ 7105331 w 7105331"/>
              <a:gd name="connsiteY6" fmla="*/ 174192 h 349681"/>
              <a:gd name="connsiteX0" fmla="*/ 0 w 7105331"/>
              <a:gd name="connsiteY0" fmla="*/ 270419 h 349681"/>
              <a:gd name="connsiteX1" fmla="*/ 1126601 w 7105331"/>
              <a:gd name="connsiteY1" fmla="*/ 204336 h 349681"/>
              <a:gd name="connsiteX2" fmla="*/ 2387007 w 7105331"/>
              <a:gd name="connsiteY2" fmla="*/ 298068 h 349681"/>
              <a:gd name="connsiteX3" fmla="*/ 3609121 w 7105331"/>
              <a:gd name="connsiteY3" fmla="*/ 1 h 349681"/>
              <a:gd name="connsiteX4" fmla="*/ 4581325 w 7105331"/>
              <a:gd name="connsiteY4" fmla="*/ 344502 h 349681"/>
              <a:gd name="connsiteX5" fmla="*/ 5881602 w 7105331"/>
              <a:gd name="connsiteY5" fmla="*/ 231988 h 349681"/>
              <a:gd name="connsiteX6" fmla="*/ 7105331 w 7105331"/>
              <a:gd name="connsiteY6" fmla="*/ 174192 h 349681"/>
              <a:gd name="connsiteX0" fmla="*/ 0 w 7105331"/>
              <a:gd name="connsiteY0" fmla="*/ 4714408 h 4747999"/>
              <a:gd name="connsiteX1" fmla="*/ 1126601 w 7105331"/>
              <a:gd name="connsiteY1" fmla="*/ 4648325 h 4747999"/>
              <a:gd name="connsiteX2" fmla="*/ 2387007 w 7105331"/>
              <a:gd name="connsiteY2" fmla="*/ 4742057 h 4747999"/>
              <a:gd name="connsiteX3" fmla="*/ 3609121 w 7105331"/>
              <a:gd name="connsiteY3" fmla="*/ 4443990 h 4747999"/>
              <a:gd name="connsiteX4" fmla="*/ 4667144 w 7105331"/>
              <a:gd name="connsiteY4" fmla="*/ 253 h 4747999"/>
              <a:gd name="connsiteX5" fmla="*/ 5881602 w 7105331"/>
              <a:gd name="connsiteY5" fmla="*/ 4675977 h 4747999"/>
              <a:gd name="connsiteX6" fmla="*/ 7105331 w 7105331"/>
              <a:gd name="connsiteY6" fmla="*/ 4618181 h 4747999"/>
              <a:gd name="connsiteX0" fmla="*/ 0 w 7105331"/>
              <a:gd name="connsiteY0" fmla="*/ 270419 h 580550"/>
              <a:gd name="connsiteX1" fmla="*/ 1126601 w 7105331"/>
              <a:gd name="connsiteY1" fmla="*/ 204336 h 580550"/>
              <a:gd name="connsiteX2" fmla="*/ 2387007 w 7105331"/>
              <a:gd name="connsiteY2" fmla="*/ 298068 h 580550"/>
              <a:gd name="connsiteX3" fmla="*/ 3609121 w 7105331"/>
              <a:gd name="connsiteY3" fmla="*/ 1 h 580550"/>
              <a:gd name="connsiteX4" fmla="*/ 4620334 w 7105331"/>
              <a:gd name="connsiteY4" fmla="*/ 578067 h 580550"/>
              <a:gd name="connsiteX5" fmla="*/ 5881602 w 7105331"/>
              <a:gd name="connsiteY5" fmla="*/ 231988 h 580550"/>
              <a:gd name="connsiteX6" fmla="*/ 7105331 w 7105331"/>
              <a:gd name="connsiteY6" fmla="*/ 174192 h 580550"/>
              <a:gd name="connsiteX0" fmla="*/ 0 w 7251188"/>
              <a:gd name="connsiteY0" fmla="*/ 0 h 18448178"/>
              <a:gd name="connsiteX1" fmla="*/ 1272458 w 7251188"/>
              <a:gd name="connsiteY1" fmla="*/ 17139053 h 18448178"/>
              <a:gd name="connsiteX2" fmla="*/ 2532864 w 7251188"/>
              <a:gd name="connsiteY2" fmla="*/ 17232785 h 18448178"/>
              <a:gd name="connsiteX3" fmla="*/ 3754978 w 7251188"/>
              <a:gd name="connsiteY3" fmla="*/ 16934718 h 18448178"/>
              <a:gd name="connsiteX4" fmla="*/ 4766191 w 7251188"/>
              <a:gd name="connsiteY4" fmla="*/ 17512784 h 18448178"/>
              <a:gd name="connsiteX5" fmla="*/ 6027459 w 7251188"/>
              <a:gd name="connsiteY5" fmla="*/ 17166705 h 18448178"/>
              <a:gd name="connsiteX6" fmla="*/ 7251188 w 7251188"/>
              <a:gd name="connsiteY6" fmla="*/ 17108909 h 18448178"/>
              <a:gd name="connsiteX0" fmla="*/ 0 w 7251188"/>
              <a:gd name="connsiteY0" fmla="*/ 11 h 17515278"/>
              <a:gd name="connsiteX1" fmla="*/ 1068258 w 7251188"/>
              <a:gd name="connsiteY1" fmla="*/ 5785411 h 17515278"/>
              <a:gd name="connsiteX2" fmla="*/ 2532864 w 7251188"/>
              <a:gd name="connsiteY2" fmla="*/ 17232796 h 17515278"/>
              <a:gd name="connsiteX3" fmla="*/ 3754978 w 7251188"/>
              <a:gd name="connsiteY3" fmla="*/ 16934729 h 17515278"/>
              <a:gd name="connsiteX4" fmla="*/ 4766191 w 7251188"/>
              <a:gd name="connsiteY4" fmla="*/ 17512795 h 17515278"/>
              <a:gd name="connsiteX5" fmla="*/ 6027459 w 7251188"/>
              <a:gd name="connsiteY5" fmla="*/ 17166716 h 17515278"/>
              <a:gd name="connsiteX6" fmla="*/ 7251188 w 7251188"/>
              <a:gd name="connsiteY6" fmla="*/ 17108920 h 17515278"/>
              <a:gd name="connsiteX0" fmla="*/ 0 w 7251188"/>
              <a:gd name="connsiteY0" fmla="*/ 8968018 h 26483285"/>
              <a:gd name="connsiteX1" fmla="*/ 1068258 w 7251188"/>
              <a:gd name="connsiteY1" fmla="*/ 14753418 h 26483285"/>
              <a:gd name="connsiteX2" fmla="*/ 2299492 w 7251188"/>
              <a:gd name="connsiteY2" fmla="*/ 88 h 26483285"/>
              <a:gd name="connsiteX3" fmla="*/ 3754978 w 7251188"/>
              <a:gd name="connsiteY3" fmla="*/ 25902736 h 26483285"/>
              <a:gd name="connsiteX4" fmla="*/ 4766191 w 7251188"/>
              <a:gd name="connsiteY4" fmla="*/ 26480802 h 26483285"/>
              <a:gd name="connsiteX5" fmla="*/ 6027459 w 7251188"/>
              <a:gd name="connsiteY5" fmla="*/ 26134723 h 26483285"/>
              <a:gd name="connsiteX6" fmla="*/ 7251188 w 7251188"/>
              <a:gd name="connsiteY6" fmla="*/ 26076927 h 26483285"/>
              <a:gd name="connsiteX0" fmla="*/ 0 w 7251188"/>
              <a:gd name="connsiteY0" fmla="*/ 11973412 h 31550123"/>
              <a:gd name="connsiteX1" fmla="*/ 1068258 w 7251188"/>
              <a:gd name="connsiteY1" fmla="*/ 17758812 h 31550123"/>
              <a:gd name="connsiteX2" fmla="*/ 2299492 w 7251188"/>
              <a:gd name="connsiteY2" fmla="*/ 3005482 h 31550123"/>
              <a:gd name="connsiteX3" fmla="*/ 3416588 w 7251188"/>
              <a:gd name="connsiteY3" fmla="*/ 0 h 31550123"/>
              <a:gd name="connsiteX4" fmla="*/ 4766191 w 7251188"/>
              <a:gd name="connsiteY4" fmla="*/ 29486196 h 31550123"/>
              <a:gd name="connsiteX5" fmla="*/ 6027459 w 7251188"/>
              <a:gd name="connsiteY5" fmla="*/ 29140117 h 31550123"/>
              <a:gd name="connsiteX6" fmla="*/ 7251188 w 7251188"/>
              <a:gd name="connsiteY6" fmla="*/ 29082321 h 31550123"/>
              <a:gd name="connsiteX0" fmla="*/ 0 w 7251188"/>
              <a:gd name="connsiteY0" fmla="*/ 8968062 h 27064955"/>
              <a:gd name="connsiteX1" fmla="*/ 1068258 w 7251188"/>
              <a:gd name="connsiteY1" fmla="*/ 14753462 h 27064955"/>
              <a:gd name="connsiteX2" fmla="*/ 2299492 w 7251188"/>
              <a:gd name="connsiteY2" fmla="*/ 132 h 27064955"/>
              <a:gd name="connsiteX3" fmla="*/ 3410753 w 7251188"/>
              <a:gd name="connsiteY3" fmla="*/ 17081867 h 27064955"/>
              <a:gd name="connsiteX4" fmla="*/ 4766191 w 7251188"/>
              <a:gd name="connsiteY4" fmla="*/ 26480846 h 27064955"/>
              <a:gd name="connsiteX5" fmla="*/ 6027459 w 7251188"/>
              <a:gd name="connsiteY5" fmla="*/ 26134767 h 27064955"/>
              <a:gd name="connsiteX6" fmla="*/ 7251188 w 7251188"/>
              <a:gd name="connsiteY6" fmla="*/ 26076971 h 27064955"/>
              <a:gd name="connsiteX0" fmla="*/ 0 w 7251188"/>
              <a:gd name="connsiteY0" fmla="*/ 8968062 h 26142610"/>
              <a:gd name="connsiteX1" fmla="*/ 1068258 w 7251188"/>
              <a:gd name="connsiteY1" fmla="*/ 14753462 h 26142610"/>
              <a:gd name="connsiteX2" fmla="*/ 2299492 w 7251188"/>
              <a:gd name="connsiteY2" fmla="*/ 132 h 26142610"/>
              <a:gd name="connsiteX3" fmla="*/ 3410753 w 7251188"/>
              <a:gd name="connsiteY3" fmla="*/ 17081867 h 26142610"/>
              <a:gd name="connsiteX4" fmla="*/ 4532819 w 7251188"/>
              <a:gd name="connsiteY4" fmla="*/ 14253840 h 26142610"/>
              <a:gd name="connsiteX5" fmla="*/ 6027459 w 7251188"/>
              <a:gd name="connsiteY5" fmla="*/ 26134767 h 26142610"/>
              <a:gd name="connsiteX6" fmla="*/ 7251188 w 7251188"/>
              <a:gd name="connsiteY6" fmla="*/ 26076971 h 26142610"/>
              <a:gd name="connsiteX0" fmla="*/ 0 w 7251188"/>
              <a:gd name="connsiteY0" fmla="*/ 8968062 h 26142610"/>
              <a:gd name="connsiteX1" fmla="*/ 1068258 w 7251188"/>
              <a:gd name="connsiteY1" fmla="*/ 14753462 h 26142610"/>
              <a:gd name="connsiteX2" fmla="*/ 2299492 w 7251188"/>
              <a:gd name="connsiteY2" fmla="*/ 132 h 26142610"/>
              <a:gd name="connsiteX3" fmla="*/ 3410753 w 7251188"/>
              <a:gd name="connsiteY3" fmla="*/ 17081867 h 26142610"/>
              <a:gd name="connsiteX4" fmla="*/ 4532819 w 7251188"/>
              <a:gd name="connsiteY4" fmla="*/ 14253840 h 26142610"/>
              <a:gd name="connsiteX5" fmla="*/ 6027459 w 7251188"/>
              <a:gd name="connsiteY5" fmla="*/ 26134767 h 26142610"/>
              <a:gd name="connsiteX6" fmla="*/ 7251188 w 7251188"/>
              <a:gd name="connsiteY6" fmla="*/ 26076971 h 26142610"/>
              <a:gd name="connsiteX0" fmla="*/ 0 w 7251188"/>
              <a:gd name="connsiteY0" fmla="*/ 8968062 h 26142610"/>
              <a:gd name="connsiteX1" fmla="*/ 1068258 w 7251188"/>
              <a:gd name="connsiteY1" fmla="*/ 14753462 h 26142610"/>
              <a:gd name="connsiteX2" fmla="*/ 2299492 w 7251188"/>
              <a:gd name="connsiteY2" fmla="*/ 132 h 26142610"/>
              <a:gd name="connsiteX3" fmla="*/ 3410753 w 7251188"/>
              <a:gd name="connsiteY3" fmla="*/ 17081867 h 26142610"/>
              <a:gd name="connsiteX4" fmla="*/ 4567825 w 7251188"/>
              <a:gd name="connsiteY4" fmla="*/ 3948223 h 26142610"/>
              <a:gd name="connsiteX5" fmla="*/ 6027459 w 7251188"/>
              <a:gd name="connsiteY5" fmla="*/ 26134767 h 26142610"/>
              <a:gd name="connsiteX6" fmla="*/ 7251188 w 7251188"/>
              <a:gd name="connsiteY6" fmla="*/ 26076971 h 26142610"/>
              <a:gd name="connsiteX0" fmla="*/ 0 w 7251188"/>
              <a:gd name="connsiteY0" fmla="*/ 8968062 h 26076971"/>
              <a:gd name="connsiteX1" fmla="*/ 1068258 w 7251188"/>
              <a:gd name="connsiteY1" fmla="*/ 14753462 h 26076971"/>
              <a:gd name="connsiteX2" fmla="*/ 2299492 w 7251188"/>
              <a:gd name="connsiteY2" fmla="*/ 132 h 26076971"/>
              <a:gd name="connsiteX3" fmla="*/ 3410753 w 7251188"/>
              <a:gd name="connsiteY3" fmla="*/ 17081867 h 26076971"/>
              <a:gd name="connsiteX4" fmla="*/ 4567825 w 7251188"/>
              <a:gd name="connsiteY4" fmla="*/ 3948223 h 26076971"/>
              <a:gd name="connsiteX5" fmla="*/ 5642395 w 7251188"/>
              <a:gd name="connsiteY5" fmla="*/ 17488521 h 26076971"/>
              <a:gd name="connsiteX6" fmla="*/ 7251188 w 7251188"/>
              <a:gd name="connsiteY6" fmla="*/ 26076971 h 26076971"/>
              <a:gd name="connsiteX0" fmla="*/ 0 w 7251188"/>
              <a:gd name="connsiteY0" fmla="*/ 14798386 h 31907295"/>
              <a:gd name="connsiteX1" fmla="*/ 1068258 w 7251188"/>
              <a:gd name="connsiteY1" fmla="*/ 20583786 h 31907295"/>
              <a:gd name="connsiteX2" fmla="*/ 2299492 w 7251188"/>
              <a:gd name="connsiteY2" fmla="*/ 5830456 h 31907295"/>
              <a:gd name="connsiteX3" fmla="*/ 3410753 w 7251188"/>
              <a:gd name="connsiteY3" fmla="*/ 22912191 h 31907295"/>
              <a:gd name="connsiteX4" fmla="*/ 4567825 w 7251188"/>
              <a:gd name="connsiteY4" fmla="*/ 9778547 h 31907295"/>
              <a:gd name="connsiteX5" fmla="*/ 5689070 w 7251188"/>
              <a:gd name="connsiteY5" fmla="*/ 209 h 31907295"/>
              <a:gd name="connsiteX6" fmla="*/ 7251188 w 7251188"/>
              <a:gd name="connsiteY6" fmla="*/ 31907295 h 31907295"/>
              <a:gd name="connsiteX0" fmla="*/ 0 w 7251188"/>
              <a:gd name="connsiteY0" fmla="*/ 14798386 h 31907295"/>
              <a:gd name="connsiteX1" fmla="*/ 1068258 w 7251188"/>
              <a:gd name="connsiteY1" fmla="*/ 20583786 h 31907295"/>
              <a:gd name="connsiteX2" fmla="*/ 2299492 w 7251188"/>
              <a:gd name="connsiteY2" fmla="*/ 5830456 h 31907295"/>
              <a:gd name="connsiteX3" fmla="*/ 3410753 w 7251188"/>
              <a:gd name="connsiteY3" fmla="*/ 22912191 h 31907295"/>
              <a:gd name="connsiteX4" fmla="*/ 4567825 w 7251188"/>
              <a:gd name="connsiteY4" fmla="*/ 9778547 h 31907295"/>
              <a:gd name="connsiteX5" fmla="*/ 5689070 w 7251188"/>
              <a:gd name="connsiteY5" fmla="*/ 209 h 31907295"/>
              <a:gd name="connsiteX6" fmla="*/ 7251188 w 7251188"/>
              <a:gd name="connsiteY6" fmla="*/ 31907295 h 31907295"/>
              <a:gd name="connsiteX0" fmla="*/ 0 w 7251188"/>
              <a:gd name="connsiteY0" fmla="*/ 14800165 h 31909074"/>
              <a:gd name="connsiteX1" fmla="*/ 1068258 w 7251188"/>
              <a:gd name="connsiteY1" fmla="*/ 20585565 h 31909074"/>
              <a:gd name="connsiteX2" fmla="*/ 2299492 w 7251188"/>
              <a:gd name="connsiteY2" fmla="*/ 5832235 h 31909074"/>
              <a:gd name="connsiteX3" fmla="*/ 3410753 w 7251188"/>
              <a:gd name="connsiteY3" fmla="*/ 22913970 h 31909074"/>
              <a:gd name="connsiteX4" fmla="*/ 4567825 w 7251188"/>
              <a:gd name="connsiteY4" fmla="*/ 9780326 h 31909074"/>
              <a:gd name="connsiteX5" fmla="*/ 5689070 w 7251188"/>
              <a:gd name="connsiteY5" fmla="*/ 1988 h 31909074"/>
              <a:gd name="connsiteX6" fmla="*/ 7251188 w 7251188"/>
              <a:gd name="connsiteY6" fmla="*/ 31909074 h 31909074"/>
              <a:gd name="connsiteX0" fmla="*/ 0 w 7251188"/>
              <a:gd name="connsiteY0" fmla="*/ 8968062 h 26076971"/>
              <a:gd name="connsiteX1" fmla="*/ 1068258 w 7251188"/>
              <a:gd name="connsiteY1" fmla="*/ 14753462 h 26076971"/>
              <a:gd name="connsiteX2" fmla="*/ 2299492 w 7251188"/>
              <a:gd name="connsiteY2" fmla="*/ 132 h 26076971"/>
              <a:gd name="connsiteX3" fmla="*/ 3410753 w 7251188"/>
              <a:gd name="connsiteY3" fmla="*/ 17081867 h 26076971"/>
              <a:gd name="connsiteX4" fmla="*/ 4567825 w 7251188"/>
              <a:gd name="connsiteY4" fmla="*/ 3948223 h 26076971"/>
              <a:gd name="connsiteX5" fmla="*/ 5694904 w 7251188"/>
              <a:gd name="connsiteY5" fmla="*/ 3427469 h 26076971"/>
              <a:gd name="connsiteX6" fmla="*/ 7251188 w 7251188"/>
              <a:gd name="connsiteY6" fmla="*/ 26076971 h 26076971"/>
              <a:gd name="connsiteX0" fmla="*/ 0 w 7251188"/>
              <a:gd name="connsiteY0" fmla="*/ 8968062 h 26076971"/>
              <a:gd name="connsiteX1" fmla="*/ 1068258 w 7251188"/>
              <a:gd name="connsiteY1" fmla="*/ 14753462 h 26076971"/>
              <a:gd name="connsiteX2" fmla="*/ 2299492 w 7251188"/>
              <a:gd name="connsiteY2" fmla="*/ 132 h 26076971"/>
              <a:gd name="connsiteX3" fmla="*/ 3410753 w 7251188"/>
              <a:gd name="connsiteY3" fmla="*/ 17081867 h 26076971"/>
              <a:gd name="connsiteX4" fmla="*/ 4567825 w 7251188"/>
              <a:gd name="connsiteY4" fmla="*/ 3948223 h 26076971"/>
              <a:gd name="connsiteX5" fmla="*/ 5694904 w 7251188"/>
              <a:gd name="connsiteY5" fmla="*/ 3427469 h 26076971"/>
              <a:gd name="connsiteX6" fmla="*/ 7251188 w 7251188"/>
              <a:gd name="connsiteY6" fmla="*/ 26076971 h 26076971"/>
              <a:gd name="connsiteX0" fmla="*/ 0 w 7251188"/>
              <a:gd name="connsiteY0" fmla="*/ 8968062 h 26076971"/>
              <a:gd name="connsiteX1" fmla="*/ 1068258 w 7251188"/>
              <a:gd name="connsiteY1" fmla="*/ 14753462 h 26076971"/>
              <a:gd name="connsiteX2" fmla="*/ 2299492 w 7251188"/>
              <a:gd name="connsiteY2" fmla="*/ 132 h 26076971"/>
              <a:gd name="connsiteX3" fmla="*/ 3410753 w 7251188"/>
              <a:gd name="connsiteY3" fmla="*/ 17081867 h 26076971"/>
              <a:gd name="connsiteX4" fmla="*/ 4567825 w 7251188"/>
              <a:gd name="connsiteY4" fmla="*/ 3948223 h 26076971"/>
              <a:gd name="connsiteX5" fmla="*/ 5694904 w 7251188"/>
              <a:gd name="connsiteY5" fmla="*/ 3602134 h 26076971"/>
              <a:gd name="connsiteX6" fmla="*/ 7251188 w 7251188"/>
              <a:gd name="connsiteY6" fmla="*/ 26076971 h 26076971"/>
              <a:gd name="connsiteX0" fmla="*/ 0 w 7251188"/>
              <a:gd name="connsiteY0" fmla="*/ 8968062 h 26076971"/>
              <a:gd name="connsiteX1" fmla="*/ 1068258 w 7251188"/>
              <a:gd name="connsiteY1" fmla="*/ 14753462 h 26076971"/>
              <a:gd name="connsiteX2" fmla="*/ 2299492 w 7251188"/>
              <a:gd name="connsiteY2" fmla="*/ 132 h 26076971"/>
              <a:gd name="connsiteX3" fmla="*/ 3410753 w 7251188"/>
              <a:gd name="connsiteY3" fmla="*/ 17081867 h 26076971"/>
              <a:gd name="connsiteX4" fmla="*/ 4567825 w 7251188"/>
              <a:gd name="connsiteY4" fmla="*/ 3948223 h 26076971"/>
              <a:gd name="connsiteX5" fmla="*/ 5694904 w 7251188"/>
              <a:gd name="connsiteY5" fmla="*/ 3602134 h 26076971"/>
              <a:gd name="connsiteX6" fmla="*/ 7251188 w 7251188"/>
              <a:gd name="connsiteY6" fmla="*/ 26076971 h 26076971"/>
              <a:gd name="connsiteX0" fmla="*/ 0 w 7006147"/>
              <a:gd name="connsiteY0" fmla="*/ 9266690 h 17380506"/>
              <a:gd name="connsiteX1" fmla="*/ 1068258 w 7006147"/>
              <a:gd name="connsiteY1" fmla="*/ 15052090 h 17380506"/>
              <a:gd name="connsiteX2" fmla="*/ 2299492 w 7006147"/>
              <a:gd name="connsiteY2" fmla="*/ 298760 h 17380506"/>
              <a:gd name="connsiteX3" fmla="*/ 3410753 w 7006147"/>
              <a:gd name="connsiteY3" fmla="*/ 17380495 h 17380506"/>
              <a:gd name="connsiteX4" fmla="*/ 4567825 w 7006147"/>
              <a:gd name="connsiteY4" fmla="*/ 4246851 h 17380506"/>
              <a:gd name="connsiteX5" fmla="*/ 5694904 w 7006147"/>
              <a:gd name="connsiteY5" fmla="*/ 3900762 h 17380506"/>
              <a:gd name="connsiteX6" fmla="*/ 7006147 w 7006147"/>
              <a:gd name="connsiteY6" fmla="*/ 208 h 17380506"/>
              <a:gd name="connsiteX0" fmla="*/ 0 w 6813615"/>
              <a:gd name="connsiteY0" fmla="*/ 8968062 h 17081878"/>
              <a:gd name="connsiteX1" fmla="*/ 1068258 w 6813615"/>
              <a:gd name="connsiteY1" fmla="*/ 14753462 h 17081878"/>
              <a:gd name="connsiteX2" fmla="*/ 2299492 w 6813615"/>
              <a:gd name="connsiteY2" fmla="*/ 132 h 17081878"/>
              <a:gd name="connsiteX3" fmla="*/ 3410753 w 6813615"/>
              <a:gd name="connsiteY3" fmla="*/ 17081867 h 17081878"/>
              <a:gd name="connsiteX4" fmla="*/ 4567825 w 6813615"/>
              <a:gd name="connsiteY4" fmla="*/ 3948223 h 17081878"/>
              <a:gd name="connsiteX5" fmla="*/ 5694904 w 6813615"/>
              <a:gd name="connsiteY5" fmla="*/ 3602134 h 17081878"/>
              <a:gd name="connsiteX6" fmla="*/ 6813615 w 6813615"/>
              <a:gd name="connsiteY6" fmla="*/ 312929 h 17081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3615" h="17081878">
                <a:moveTo>
                  <a:pt x="0" y="8968062"/>
                </a:moveTo>
                <a:cubicBezTo>
                  <a:pt x="541990" y="8961483"/>
                  <a:pt x="685009" y="16248117"/>
                  <a:pt x="1068258" y="14753462"/>
                </a:cubicBezTo>
                <a:cubicBezTo>
                  <a:pt x="1451507" y="13258807"/>
                  <a:pt x="1885739" y="34188"/>
                  <a:pt x="2299492" y="132"/>
                </a:cubicBezTo>
                <a:cubicBezTo>
                  <a:pt x="2589404" y="-53828"/>
                  <a:pt x="3216953" y="17089231"/>
                  <a:pt x="3410753" y="17081867"/>
                </a:cubicBezTo>
                <a:cubicBezTo>
                  <a:pt x="3726080" y="17093555"/>
                  <a:pt x="4163796" y="4535462"/>
                  <a:pt x="4567825" y="3948223"/>
                </a:cubicBezTo>
                <a:cubicBezTo>
                  <a:pt x="4971854" y="3360984"/>
                  <a:pt x="5478437" y="3474161"/>
                  <a:pt x="5694904" y="3602134"/>
                </a:cubicBezTo>
                <a:cubicBezTo>
                  <a:pt x="5963880" y="3642774"/>
                  <a:pt x="6648684" y="279211"/>
                  <a:pt x="6813615" y="312929"/>
                </a:cubicBezTo>
              </a:path>
            </a:pathLst>
          </a:custGeom>
          <a:noFill/>
          <a:ln w="136525" cap="rnd" cmpd="sng" algn="ctr">
            <a:solidFill>
              <a:srgbClr val="FFCD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91" name="Freeform 42">
            <a:extLst>
              <a:ext uri="{FF2B5EF4-FFF2-40B4-BE49-F238E27FC236}">
                <a16:creationId xmlns:a16="http://schemas.microsoft.com/office/drawing/2014/main" id="{E2DB8159-3AA5-4231-8707-72E39B90851D}"/>
              </a:ext>
            </a:extLst>
          </p:cNvPr>
          <p:cNvSpPr/>
          <p:nvPr/>
        </p:nvSpPr>
        <p:spPr bwMode="auto">
          <a:xfrm>
            <a:off x="1375653" y="4072299"/>
            <a:ext cx="9285943" cy="1611435"/>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869650 w 7136640"/>
              <a:gd name="connsiteY2" fmla="*/ 244077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211883 w 7136640"/>
              <a:gd name="connsiteY5" fmla="*/ 190348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6500954 w 7136640"/>
              <a:gd name="connsiteY8" fmla="*/ 80343 h 360799"/>
              <a:gd name="connsiteX9" fmla="*/ 7136640 w 7136640"/>
              <a:gd name="connsiteY9"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7136640 w 7136640"/>
              <a:gd name="connsiteY8" fmla="*/ 360799 h 360799"/>
              <a:gd name="connsiteX0" fmla="*/ 0 w 7074022"/>
              <a:gd name="connsiteY0" fmla="*/ 280402 h 360576"/>
              <a:gd name="connsiteX1" fmla="*/ 700803 w 7074022"/>
              <a:gd name="connsiteY1" fmla="*/ 203308 h 360576"/>
              <a:gd name="connsiteX2" fmla="*/ 1869650 w 7074022"/>
              <a:gd name="connsiteY2" fmla="*/ 333744 h 360576"/>
              <a:gd name="connsiteX3" fmla="*/ 2744581 w 7074022"/>
              <a:gd name="connsiteY3" fmla="*/ 309399 h 360576"/>
              <a:gd name="connsiteX4" fmla="*/ 3609121 w 7074022"/>
              <a:gd name="connsiteY4" fmla="*/ 9984 h 360576"/>
              <a:gd name="connsiteX5" fmla="*/ 4468614 w 7074022"/>
              <a:gd name="connsiteY5" fmla="*/ 356320 h 360576"/>
              <a:gd name="connsiteX6" fmla="*/ 5280714 w 7074022"/>
              <a:gd name="connsiteY6" fmla="*/ 214988 h 360576"/>
              <a:gd name="connsiteX7" fmla="*/ 6344970 w 7074022"/>
              <a:gd name="connsiteY7" fmla="*/ 208938 h 360576"/>
              <a:gd name="connsiteX8" fmla="*/ 7074022 w 7074022"/>
              <a:gd name="connsiteY8" fmla="*/ 3751 h 360576"/>
              <a:gd name="connsiteX0" fmla="*/ 0 w 7117854"/>
              <a:gd name="connsiteY0" fmla="*/ 287645 h 367819"/>
              <a:gd name="connsiteX1" fmla="*/ 700803 w 7117854"/>
              <a:gd name="connsiteY1" fmla="*/ 210551 h 367819"/>
              <a:gd name="connsiteX2" fmla="*/ 1869650 w 7117854"/>
              <a:gd name="connsiteY2" fmla="*/ 340987 h 367819"/>
              <a:gd name="connsiteX3" fmla="*/ 2744581 w 7117854"/>
              <a:gd name="connsiteY3" fmla="*/ 316642 h 367819"/>
              <a:gd name="connsiteX4" fmla="*/ 3609121 w 7117854"/>
              <a:gd name="connsiteY4" fmla="*/ 17227 h 367819"/>
              <a:gd name="connsiteX5" fmla="*/ 4468614 w 7117854"/>
              <a:gd name="connsiteY5" fmla="*/ 363563 h 367819"/>
              <a:gd name="connsiteX6" fmla="*/ 5280714 w 7117854"/>
              <a:gd name="connsiteY6" fmla="*/ 222231 h 367819"/>
              <a:gd name="connsiteX7" fmla="*/ 6344970 w 7117854"/>
              <a:gd name="connsiteY7" fmla="*/ 216181 h 367819"/>
              <a:gd name="connsiteX8" fmla="*/ 7117854 w 7117854"/>
              <a:gd name="connsiteY8" fmla="*/ 3653 h 367819"/>
              <a:gd name="connsiteX0" fmla="*/ 0 w 7117854"/>
              <a:gd name="connsiteY0" fmla="*/ 287645 h 367819"/>
              <a:gd name="connsiteX1" fmla="*/ 1126601 w 7117854"/>
              <a:gd name="connsiteY1" fmla="*/ 221562 h 367819"/>
              <a:gd name="connsiteX2" fmla="*/ 1869650 w 7117854"/>
              <a:gd name="connsiteY2" fmla="*/ 340987 h 367819"/>
              <a:gd name="connsiteX3" fmla="*/ 2744581 w 7117854"/>
              <a:gd name="connsiteY3" fmla="*/ 316642 h 367819"/>
              <a:gd name="connsiteX4" fmla="*/ 3609121 w 7117854"/>
              <a:gd name="connsiteY4" fmla="*/ 17227 h 367819"/>
              <a:gd name="connsiteX5" fmla="*/ 4468614 w 7117854"/>
              <a:gd name="connsiteY5" fmla="*/ 363563 h 367819"/>
              <a:gd name="connsiteX6" fmla="*/ 5280714 w 7117854"/>
              <a:gd name="connsiteY6" fmla="*/ 222231 h 367819"/>
              <a:gd name="connsiteX7" fmla="*/ 6344970 w 7117854"/>
              <a:gd name="connsiteY7" fmla="*/ 216181 h 367819"/>
              <a:gd name="connsiteX8" fmla="*/ 7117854 w 7117854"/>
              <a:gd name="connsiteY8" fmla="*/ 3653 h 367819"/>
              <a:gd name="connsiteX0" fmla="*/ 0 w 7117854"/>
              <a:gd name="connsiteY0" fmla="*/ 287645 h 367819"/>
              <a:gd name="connsiteX1" fmla="*/ 1126601 w 7117854"/>
              <a:gd name="connsiteY1" fmla="*/ 221562 h 367819"/>
              <a:gd name="connsiteX2" fmla="*/ 2744581 w 7117854"/>
              <a:gd name="connsiteY2" fmla="*/ 316642 h 367819"/>
              <a:gd name="connsiteX3" fmla="*/ 3609121 w 7117854"/>
              <a:gd name="connsiteY3" fmla="*/ 17227 h 367819"/>
              <a:gd name="connsiteX4" fmla="*/ 4468614 w 7117854"/>
              <a:gd name="connsiteY4" fmla="*/ 363563 h 367819"/>
              <a:gd name="connsiteX5" fmla="*/ 5280714 w 7117854"/>
              <a:gd name="connsiteY5" fmla="*/ 222231 h 367819"/>
              <a:gd name="connsiteX6" fmla="*/ 6344970 w 7117854"/>
              <a:gd name="connsiteY6" fmla="*/ 216181 h 367819"/>
              <a:gd name="connsiteX7" fmla="*/ 7117854 w 7117854"/>
              <a:gd name="connsiteY7" fmla="*/ 3653 h 367819"/>
              <a:gd name="connsiteX0" fmla="*/ 0 w 7117854"/>
              <a:gd name="connsiteY0" fmla="*/ 302843 h 383017"/>
              <a:gd name="connsiteX1" fmla="*/ 1126601 w 7117854"/>
              <a:gd name="connsiteY1" fmla="*/ 236760 h 383017"/>
              <a:gd name="connsiteX2" fmla="*/ 2393924 w 7117854"/>
              <a:gd name="connsiteY2" fmla="*/ 19863 h 383017"/>
              <a:gd name="connsiteX3" fmla="*/ 3609121 w 7117854"/>
              <a:gd name="connsiteY3" fmla="*/ 32425 h 383017"/>
              <a:gd name="connsiteX4" fmla="*/ 4468614 w 7117854"/>
              <a:gd name="connsiteY4" fmla="*/ 378761 h 383017"/>
              <a:gd name="connsiteX5" fmla="*/ 5280714 w 7117854"/>
              <a:gd name="connsiteY5" fmla="*/ 237429 h 383017"/>
              <a:gd name="connsiteX6" fmla="*/ 6344970 w 7117854"/>
              <a:gd name="connsiteY6" fmla="*/ 231379 h 383017"/>
              <a:gd name="connsiteX7" fmla="*/ 7117854 w 7117854"/>
              <a:gd name="connsiteY7" fmla="*/ 18851 h 383017"/>
              <a:gd name="connsiteX0" fmla="*/ 0 w 7117854"/>
              <a:gd name="connsiteY0" fmla="*/ 302843 h 381220"/>
              <a:gd name="connsiteX1" fmla="*/ 1126601 w 7117854"/>
              <a:gd name="connsiteY1" fmla="*/ 236760 h 381220"/>
              <a:gd name="connsiteX2" fmla="*/ 2393924 w 7117854"/>
              <a:gd name="connsiteY2" fmla="*/ 19863 h 381220"/>
              <a:gd name="connsiteX3" fmla="*/ 3609121 w 7117854"/>
              <a:gd name="connsiteY3" fmla="*/ 32425 h 381220"/>
              <a:gd name="connsiteX4" fmla="*/ 4581325 w 7117854"/>
              <a:gd name="connsiteY4" fmla="*/ 376926 h 381220"/>
              <a:gd name="connsiteX5" fmla="*/ 5280714 w 7117854"/>
              <a:gd name="connsiteY5" fmla="*/ 237429 h 381220"/>
              <a:gd name="connsiteX6" fmla="*/ 6344970 w 7117854"/>
              <a:gd name="connsiteY6" fmla="*/ 231379 h 381220"/>
              <a:gd name="connsiteX7" fmla="*/ 7117854 w 7117854"/>
              <a:gd name="connsiteY7" fmla="*/ 18851 h 381220"/>
              <a:gd name="connsiteX0" fmla="*/ 0 w 7117854"/>
              <a:gd name="connsiteY0" fmla="*/ 302843 h 382654"/>
              <a:gd name="connsiteX1" fmla="*/ 1126601 w 7117854"/>
              <a:gd name="connsiteY1" fmla="*/ 236760 h 382654"/>
              <a:gd name="connsiteX2" fmla="*/ 2393924 w 7117854"/>
              <a:gd name="connsiteY2" fmla="*/ 19863 h 382654"/>
              <a:gd name="connsiteX3" fmla="*/ 3609121 w 7117854"/>
              <a:gd name="connsiteY3" fmla="*/ 32425 h 382654"/>
              <a:gd name="connsiteX4" fmla="*/ 4581325 w 7117854"/>
              <a:gd name="connsiteY4" fmla="*/ 376926 h 382654"/>
              <a:gd name="connsiteX5" fmla="*/ 6344970 w 7117854"/>
              <a:gd name="connsiteY5" fmla="*/ 231379 h 382654"/>
              <a:gd name="connsiteX6" fmla="*/ 7117854 w 7117854"/>
              <a:gd name="connsiteY6" fmla="*/ 18851 h 382654"/>
              <a:gd name="connsiteX0" fmla="*/ 0 w 7117854"/>
              <a:gd name="connsiteY0" fmla="*/ 302843 h 386161"/>
              <a:gd name="connsiteX1" fmla="*/ 1126601 w 7117854"/>
              <a:gd name="connsiteY1" fmla="*/ 236760 h 386161"/>
              <a:gd name="connsiteX2" fmla="*/ 2393924 w 7117854"/>
              <a:gd name="connsiteY2" fmla="*/ 19863 h 386161"/>
              <a:gd name="connsiteX3" fmla="*/ 3609121 w 7117854"/>
              <a:gd name="connsiteY3" fmla="*/ 32425 h 386161"/>
              <a:gd name="connsiteX4" fmla="*/ 4581325 w 7117854"/>
              <a:gd name="connsiteY4" fmla="*/ 376926 h 386161"/>
              <a:gd name="connsiteX5" fmla="*/ 5881602 w 7117854"/>
              <a:gd name="connsiteY5" fmla="*/ 264412 h 386161"/>
              <a:gd name="connsiteX6" fmla="*/ 7117854 w 7117854"/>
              <a:gd name="connsiteY6" fmla="*/ 18851 h 386161"/>
              <a:gd name="connsiteX0" fmla="*/ 0 w 7105331"/>
              <a:gd name="connsiteY0" fmla="*/ 302843 h 620783"/>
              <a:gd name="connsiteX1" fmla="*/ 1126601 w 7105331"/>
              <a:gd name="connsiteY1" fmla="*/ 236760 h 620783"/>
              <a:gd name="connsiteX2" fmla="*/ 2393924 w 7105331"/>
              <a:gd name="connsiteY2" fmla="*/ 19863 h 620783"/>
              <a:gd name="connsiteX3" fmla="*/ 3609121 w 7105331"/>
              <a:gd name="connsiteY3" fmla="*/ 32425 h 620783"/>
              <a:gd name="connsiteX4" fmla="*/ 4581325 w 7105331"/>
              <a:gd name="connsiteY4" fmla="*/ 376926 h 620783"/>
              <a:gd name="connsiteX5" fmla="*/ 5881602 w 7105331"/>
              <a:gd name="connsiteY5" fmla="*/ 264412 h 620783"/>
              <a:gd name="connsiteX6" fmla="*/ 7105331 w 7105331"/>
              <a:gd name="connsiteY6" fmla="*/ 620783 h 620783"/>
              <a:gd name="connsiteX0" fmla="*/ 0 w 7105331"/>
              <a:gd name="connsiteY0" fmla="*/ 302843 h 382105"/>
              <a:gd name="connsiteX1" fmla="*/ 1126601 w 7105331"/>
              <a:gd name="connsiteY1" fmla="*/ 236760 h 382105"/>
              <a:gd name="connsiteX2" fmla="*/ 2393924 w 7105331"/>
              <a:gd name="connsiteY2" fmla="*/ 19863 h 382105"/>
              <a:gd name="connsiteX3" fmla="*/ 3609121 w 7105331"/>
              <a:gd name="connsiteY3" fmla="*/ 32425 h 382105"/>
              <a:gd name="connsiteX4" fmla="*/ 4581325 w 7105331"/>
              <a:gd name="connsiteY4" fmla="*/ 376926 h 382105"/>
              <a:gd name="connsiteX5" fmla="*/ 5881602 w 7105331"/>
              <a:gd name="connsiteY5" fmla="*/ 264412 h 382105"/>
              <a:gd name="connsiteX6" fmla="*/ 7105331 w 7105331"/>
              <a:gd name="connsiteY6" fmla="*/ 206616 h 382105"/>
              <a:gd name="connsiteX0" fmla="*/ 0 w 7105331"/>
              <a:gd name="connsiteY0" fmla="*/ 270419 h 349681"/>
              <a:gd name="connsiteX1" fmla="*/ 1126601 w 7105331"/>
              <a:gd name="connsiteY1" fmla="*/ 204336 h 349681"/>
              <a:gd name="connsiteX2" fmla="*/ 2387007 w 7105331"/>
              <a:gd name="connsiteY2" fmla="*/ 298068 h 349681"/>
              <a:gd name="connsiteX3" fmla="*/ 3609121 w 7105331"/>
              <a:gd name="connsiteY3" fmla="*/ 1 h 349681"/>
              <a:gd name="connsiteX4" fmla="*/ 4581325 w 7105331"/>
              <a:gd name="connsiteY4" fmla="*/ 344502 h 349681"/>
              <a:gd name="connsiteX5" fmla="*/ 5881602 w 7105331"/>
              <a:gd name="connsiteY5" fmla="*/ 231988 h 349681"/>
              <a:gd name="connsiteX6" fmla="*/ 7105331 w 7105331"/>
              <a:gd name="connsiteY6" fmla="*/ 174192 h 349681"/>
              <a:gd name="connsiteX0" fmla="*/ 0 w 7105331"/>
              <a:gd name="connsiteY0" fmla="*/ 270419 h 349681"/>
              <a:gd name="connsiteX1" fmla="*/ 1126601 w 7105331"/>
              <a:gd name="connsiteY1" fmla="*/ 204336 h 349681"/>
              <a:gd name="connsiteX2" fmla="*/ 2387007 w 7105331"/>
              <a:gd name="connsiteY2" fmla="*/ 298068 h 349681"/>
              <a:gd name="connsiteX3" fmla="*/ 3609121 w 7105331"/>
              <a:gd name="connsiteY3" fmla="*/ 1 h 349681"/>
              <a:gd name="connsiteX4" fmla="*/ 4581325 w 7105331"/>
              <a:gd name="connsiteY4" fmla="*/ 344502 h 349681"/>
              <a:gd name="connsiteX5" fmla="*/ 5881602 w 7105331"/>
              <a:gd name="connsiteY5" fmla="*/ 231988 h 349681"/>
              <a:gd name="connsiteX6" fmla="*/ 7105331 w 7105331"/>
              <a:gd name="connsiteY6" fmla="*/ 174192 h 349681"/>
              <a:gd name="connsiteX0" fmla="*/ 0 w 7105331"/>
              <a:gd name="connsiteY0" fmla="*/ 4714408 h 4747999"/>
              <a:gd name="connsiteX1" fmla="*/ 1126601 w 7105331"/>
              <a:gd name="connsiteY1" fmla="*/ 4648325 h 4747999"/>
              <a:gd name="connsiteX2" fmla="*/ 2387007 w 7105331"/>
              <a:gd name="connsiteY2" fmla="*/ 4742057 h 4747999"/>
              <a:gd name="connsiteX3" fmla="*/ 3609121 w 7105331"/>
              <a:gd name="connsiteY3" fmla="*/ 4443990 h 4747999"/>
              <a:gd name="connsiteX4" fmla="*/ 4667144 w 7105331"/>
              <a:gd name="connsiteY4" fmla="*/ 253 h 4747999"/>
              <a:gd name="connsiteX5" fmla="*/ 5881602 w 7105331"/>
              <a:gd name="connsiteY5" fmla="*/ 4675977 h 4747999"/>
              <a:gd name="connsiteX6" fmla="*/ 7105331 w 7105331"/>
              <a:gd name="connsiteY6" fmla="*/ 4618181 h 4747999"/>
              <a:gd name="connsiteX0" fmla="*/ 0 w 7105331"/>
              <a:gd name="connsiteY0" fmla="*/ 270419 h 580550"/>
              <a:gd name="connsiteX1" fmla="*/ 1126601 w 7105331"/>
              <a:gd name="connsiteY1" fmla="*/ 204336 h 580550"/>
              <a:gd name="connsiteX2" fmla="*/ 2387007 w 7105331"/>
              <a:gd name="connsiteY2" fmla="*/ 298068 h 580550"/>
              <a:gd name="connsiteX3" fmla="*/ 3609121 w 7105331"/>
              <a:gd name="connsiteY3" fmla="*/ 1 h 580550"/>
              <a:gd name="connsiteX4" fmla="*/ 4620334 w 7105331"/>
              <a:gd name="connsiteY4" fmla="*/ 578067 h 580550"/>
              <a:gd name="connsiteX5" fmla="*/ 5881602 w 7105331"/>
              <a:gd name="connsiteY5" fmla="*/ 231988 h 580550"/>
              <a:gd name="connsiteX6" fmla="*/ 7105331 w 7105331"/>
              <a:gd name="connsiteY6" fmla="*/ 174192 h 580550"/>
              <a:gd name="connsiteX0" fmla="*/ 0 w 7227851"/>
              <a:gd name="connsiteY0" fmla="*/ 0 h 20793213"/>
              <a:gd name="connsiteX1" fmla="*/ 1249121 w 7227851"/>
              <a:gd name="connsiteY1" fmla="*/ 19322450 h 20793213"/>
              <a:gd name="connsiteX2" fmla="*/ 2509527 w 7227851"/>
              <a:gd name="connsiteY2" fmla="*/ 19416182 h 20793213"/>
              <a:gd name="connsiteX3" fmla="*/ 3731641 w 7227851"/>
              <a:gd name="connsiteY3" fmla="*/ 19118115 h 20793213"/>
              <a:gd name="connsiteX4" fmla="*/ 4742854 w 7227851"/>
              <a:gd name="connsiteY4" fmla="*/ 19696181 h 20793213"/>
              <a:gd name="connsiteX5" fmla="*/ 6004122 w 7227851"/>
              <a:gd name="connsiteY5" fmla="*/ 19350102 h 20793213"/>
              <a:gd name="connsiteX6" fmla="*/ 7227851 w 7227851"/>
              <a:gd name="connsiteY6" fmla="*/ 19292306 h 20793213"/>
              <a:gd name="connsiteX0" fmla="*/ 0 w 7227851"/>
              <a:gd name="connsiteY0" fmla="*/ 11 h 19698675"/>
              <a:gd name="connsiteX1" fmla="*/ 1114932 w 7227851"/>
              <a:gd name="connsiteY1" fmla="*/ 5960086 h 19698675"/>
              <a:gd name="connsiteX2" fmla="*/ 2509527 w 7227851"/>
              <a:gd name="connsiteY2" fmla="*/ 19416193 h 19698675"/>
              <a:gd name="connsiteX3" fmla="*/ 3731641 w 7227851"/>
              <a:gd name="connsiteY3" fmla="*/ 19118126 h 19698675"/>
              <a:gd name="connsiteX4" fmla="*/ 4742854 w 7227851"/>
              <a:gd name="connsiteY4" fmla="*/ 19696192 h 19698675"/>
              <a:gd name="connsiteX5" fmla="*/ 6004122 w 7227851"/>
              <a:gd name="connsiteY5" fmla="*/ 19350113 h 19698675"/>
              <a:gd name="connsiteX6" fmla="*/ 7227851 w 7227851"/>
              <a:gd name="connsiteY6" fmla="*/ 19292317 h 19698675"/>
              <a:gd name="connsiteX0" fmla="*/ 0 w 7227851"/>
              <a:gd name="connsiteY0" fmla="*/ 11 h 19698675"/>
              <a:gd name="connsiteX1" fmla="*/ 1114932 w 7227851"/>
              <a:gd name="connsiteY1" fmla="*/ 5960086 h 19698675"/>
              <a:gd name="connsiteX2" fmla="*/ 2509527 w 7227851"/>
              <a:gd name="connsiteY2" fmla="*/ 19416193 h 19698675"/>
              <a:gd name="connsiteX3" fmla="*/ 3731641 w 7227851"/>
              <a:gd name="connsiteY3" fmla="*/ 19118126 h 19698675"/>
              <a:gd name="connsiteX4" fmla="*/ 4742854 w 7227851"/>
              <a:gd name="connsiteY4" fmla="*/ 19696192 h 19698675"/>
              <a:gd name="connsiteX5" fmla="*/ 6004122 w 7227851"/>
              <a:gd name="connsiteY5" fmla="*/ 19350113 h 19698675"/>
              <a:gd name="connsiteX6" fmla="*/ 7227851 w 7227851"/>
              <a:gd name="connsiteY6" fmla="*/ 19292317 h 19698675"/>
              <a:gd name="connsiteX0" fmla="*/ 0 w 7227851"/>
              <a:gd name="connsiteY0" fmla="*/ 11 h 19698675"/>
              <a:gd name="connsiteX1" fmla="*/ 1114932 w 7227851"/>
              <a:gd name="connsiteY1" fmla="*/ 5960086 h 19698675"/>
              <a:gd name="connsiteX2" fmla="*/ 2311160 w 7227851"/>
              <a:gd name="connsiteY2" fmla="*/ 6228498 h 19698675"/>
              <a:gd name="connsiteX3" fmla="*/ 3731641 w 7227851"/>
              <a:gd name="connsiteY3" fmla="*/ 19118126 h 19698675"/>
              <a:gd name="connsiteX4" fmla="*/ 4742854 w 7227851"/>
              <a:gd name="connsiteY4" fmla="*/ 19696192 h 19698675"/>
              <a:gd name="connsiteX5" fmla="*/ 6004122 w 7227851"/>
              <a:gd name="connsiteY5" fmla="*/ 19350113 h 19698675"/>
              <a:gd name="connsiteX6" fmla="*/ 7227851 w 7227851"/>
              <a:gd name="connsiteY6" fmla="*/ 19292317 h 19698675"/>
              <a:gd name="connsiteX0" fmla="*/ 0 w 7227851"/>
              <a:gd name="connsiteY0" fmla="*/ 11 h 19698675"/>
              <a:gd name="connsiteX1" fmla="*/ 1114932 w 7227851"/>
              <a:gd name="connsiteY1" fmla="*/ 5960086 h 19698675"/>
              <a:gd name="connsiteX2" fmla="*/ 2258651 w 7227851"/>
              <a:gd name="connsiteY2" fmla="*/ 6228498 h 19698675"/>
              <a:gd name="connsiteX3" fmla="*/ 3731641 w 7227851"/>
              <a:gd name="connsiteY3" fmla="*/ 19118126 h 19698675"/>
              <a:gd name="connsiteX4" fmla="*/ 4742854 w 7227851"/>
              <a:gd name="connsiteY4" fmla="*/ 19696192 h 19698675"/>
              <a:gd name="connsiteX5" fmla="*/ 6004122 w 7227851"/>
              <a:gd name="connsiteY5" fmla="*/ 19350113 h 19698675"/>
              <a:gd name="connsiteX6" fmla="*/ 7227851 w 7227851"/>
              <a:gd name="connsiteY6" fmla="*/ 19292317 h 19698675"/>
              <a:gd name="connsiteX0" fmla="*/ 0 w 7227851"/>
              <a:gd name="connsiteY0" fmla="*/ 11 h 20452682"/>
              <a:gd name="connsiteX1" fmla="*/ 1114932 w 7227851"/>
              <a:gd name="connsiteY1" fmla="*/ 5960086 h 20452682"/>
              <a:gd name="connsiteX2" fmla="*/ 2258651 w 7227851"/>
              <a:gd name="connsiteY2" fmla="*/ 6228498 h 20452682"/>
              <a:gd name="connsiteX3" fmla="*/ 3346576 w 7227851"/>
              <a:gd name="connsiteY3" fmla="*/ 7939152 h 20452682"/>
              <a:gd name="connsiteX4" fmla="*/ 4742854 w 7227851"/>
              <a:gd name="connsiteY4" fmla="*/ 19696192 h 20452682"/>
              <a:gd name="connsiteX5" fmla="*/ 6004122 w 7227851"/>
              <a:gd name="connsiteY5" fmla="*/ 19350113 h 20452682"/>
              <a:gd name="connsiteX6" fmla="*/ 7227851 w 7227851"/>
              <a:gd name="connsiteY6" fmla="*/ 19292317 h 20452682"/>
              <a:gd name="connsiteX0" fmla="*/ 0 w 7227851"/>
              <a:gd name="connsiteY0" fmla="*/ 8998322 h 28356268"/>
              <a:gd name="connsiteX1" fmla="*/ 1114932 w 7227851"/>
              <a:gd name="connsiteY1" fmla="*/ 14958397 h 28356268"/>
              <a:gd name="connsiteX2" fmla="*/ 2258651 w 7227851"/>
              <a:gd name="connsiteY2" fmla="*/ 15226809 h 28356268"/>
              <a:gd name="connsiteX3" fmla="*/ 3346576 w 7227851"/>
              <a:gd name="connsiteY3" fmla="*/ 16937463 h 28356268"/>
              <a:gd name="connsiteX4" fmla="*/ 4538654 w 7227851"/>
              <a:gd name="connsiteY4" fmla="*/ 135716 h 28356268"/>
              <a:gd name="connsiteX5" fmla="*/ 6004122 w 7227851"/>
              <a:gd name="connsiteY5" fmla="*/ 28348424 h 28356268"/>
              <a:gd name="connsiteX6" fmla="*/ 7227851 w 7227851"/>
              <a:gd name="connsiteY6" fmla="*/ 28290628 h 28356268"/>
              <a:gd name="connsiteX0" fmla="*/ 0 w 7227851"/>
              <a:gd name="connsiteY0" fmla="*/ 8862815 h 28220761"/>
              <a:gd name="connsiteX1" fmla="*/ 1114932 w 7227851"/>
              <a:gd name="connsiteY1" fmla="*/ 14822890 h 28220761"/>
              <a:gd name="connsiteX2" fmla="*/ 2258651 w 7227851"/>
              <a:gd name="connsiteY2" fmla="*/ 15091302 h 28220761"/>
              <a:gd name="connsiteX3" fmla="*/ 3346576 w 7227851"/>
              <a:gd name="connsiteY3" fmla="*/ 16801956 h 28220761"/>
              <a:gd name="connsiteX4" fmla="*/ 4538654 w 7227851"/>
              <a:gd name="connsiteY4" fmla="*/ 209 h 28220761"/>
              <a:gd name="connsiteX5" fmla="*/ 6004122 w 7227851"/>
              <a:gd name="connsiteY5" fmla="*/ 28212917 h 28220761"/>
              <a:gd name="connsiteX6" fmla="*/ 7227851 w 7227851"/>
              <a:gd name="connsiteY6" fmla="*/ 28155121 h 28220761"/>
              <a:gd name="connsiteX0" fmla="*/ 0 w 7227851"/>
              <a:gd name="connsiteY0" fmla="*/ 8863309 h 28155616"/>
              <a:gd name="connsiteX1" fmla="*/ 1114932 w 7227851"/>
              <a:gd name="connsiteY1" fmla="*/ 14823384 h 28155616"/>
              <a:gd name="connsiteX2" fmla="*/ 2258651 w 7227851"/>
              <a:gd name="connsiteY2" fmla="*/ 15091796 h 28155616"/>
              <a:gd name="connsiteX3" fmla="*/ 3346576 w 7227851"/>
              <a:gd name="connsiteY3" fmla="*/ 16802450 h 28155616"/>
              <a:gd name="connsiteX4" fmla="*/ 4538654 w 7227851"/>
              <a:gd name="connsiteY4" fmla="*/ 703 h 28155616"/>
              <a:gd name="connsiteX5" fmla="*/ 5671567 w 7227851"/>
              <a:gd name="connsiteY5" fmla="*/ 17558455 h 28155616"/>
              <a:gd name="connsiteX6" fmla="*/ 7227851 w 7227851"/>
              <a:gd name="connsiteY6" fmla="*/ 28155615 h 28155616"/>
              <a:gd name="connsiteX0" fmla="*/ 0 w 6813614"/>
              <a:gd name="connsiteY0" fmla="*/ 9004506 h 17699718"/>
              <a:gd name="connsiteX1" fmla="*/ 1114932 w 6813614"/>
              <a:gd name="connsiteY1" fmla="*/ 14964581 h 17699718"/>
              <a:gd name="connsiteX2" fmla="*/ 2258651 w 6813614"/>
              <a:gd name="connsiteY2" fmla="*/ 15232993 h 17699718"/>
              <a:gd name="connsiteX3" fmla="*/ 3346576 w 6813614"/>
              <a:gd name="connsiteY3" fmla="*/ 16943647 h 17699718"/>
              <a:gd name="connsiteX4" fmla="*/ 4538654 w 6813614"/>
              <a:gd name="connsiteY4" fmla="*/ 141900 h 17699718"/>
              <a:gd name="connsiteX5" fmla="*/ 5671567 w 6813614"/>
              <a:gd name="connsiteY5" fmla="*/ 17699652 h 17699718"/>
              <a:gd name="connsiteX6" fmla="*/ 6813614 w 6813614"/>
              <a:gd name="connsiteY6" fmla="*/ 44 h 1769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3614" h="17699718">
                <a:moveTo>
                  <a:pt x="0" y="9004506"/>
                </a:moveTo>
                <a:cubicBezTo>
                  <a:pt x="541990" y="8997927"/>
                  <a:pt x="738490" y="13926500"/>
                  <a:pt x="1114932" y="14964581"/>
                </a:cubicBezTo>
                <a:cubicBezTo>
                  <a:pt x="1491374" y="16002662"/>
                  <a:pt x="1844898" y="15267049"/>
                  <a:pt x="2258651" y="15232993"/>
                </a:cubicBezTo>
                <a:cubicBezTo>
                  <a:pt x="2548563" y="15179033"/>
                  <a:pt x="3152776" y="16951011"/>
                  <a:pt x="3346576" y="16943647"/>
                </a:cubicBezTo>
                <a:cubicBezTo>
                  <a:pt x="3661903" y="16955335"/>
                  <a:pt x="4151156" y="15899"/>
                  <a:pt x="4538654" y="141900"/>
                </a:cubicBezTo>
                <a:cubicBezTo>
                  <a:pt x="4926152" y="267901"/>
                  <a:pt x="5250899" y="17659009"/>
                  <a:pt x="5671567" y="17699652"/>
                </a:cubicBezTo>
                <a:cubicBezTo>
                  <a:pt x="6092235" y="17740295"/>
                  <a:pt x="6648683" y="-33674"/>
                  <a:pt x="6813614" y="44"/>
                </a:cubicBezTo>
              </a:path>
            </a:pathLst>
          </a:custGeom>
          <a:noFill/>
          <a:ln w="136525" cap="rnd" cmpd="sng" algn="ctr">
            <a:solidFill>
              <a:srgbClr val="32E9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62836176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Group 29"/>
          <p:cNvGraphicFramePr>
            <a:graphicFrameLocks noGrp="1"/>
          </p:cNvGraphicFramePr>
          <p:nvPr>
            <p:extLst>
              <p:ext uri="{D42A27DB-BD31-4B8C-83A1-F6EECF244321}">
                <p14:modId xmlns:p14="http://schemas.microsoft.com/office/powerpoint/2010/main" val="4043934328"/>
              </p:ext>
            </p:extLst>
          </p:nvPr>
        </p:nvGraphicFramePr>
        <p:xfrm>
          <a:off x="373085" y="1129608"/>
          <a:ext cx="11445832" cy="3456000"/>
        </p:xfrm>
        <a:graphic>
          <a:graphicData uri="http://schemas.openxmlformats.org/drawingml/2006/table">
            <a:tbl>
              <a:tblPr/>
              <a:tblGrid>
                <a:gridCol w="1923228">
                  <a:extLst>
                    <a:ext uri="{9D8B030D-6E8A-4147-A177-3AD203B41FA5}">
                      <a16:colId xmlns:a16="http://schemas.microsoft.com/office/drawing/2014/main" val="20000"/>
                    </a:ext>
                  </a:extLst>
                </a:gridCol>
                <a:gridCol w="4761302">
                  <a:extLst>
                    <a:ext uri="{9D8B030D-6E8A-4147-A177-3AD203B41FA5}">
                      <a16:colId xmlns:a16="http://schemas.microsoft.com/office/drawing/2014/main" val="20001"/>
                    </a:ext>
                  </a:extLst>
                </a:gridCol>
                <a:gridCol w="4761302">
                  <a:extLst>
                    <a:ext uri="{9D8B030D-6E8A-4147-A177-3AD203B41FA5}">
                      <a16:colId xmlns:a16="http://schemas.microsoft.com/office/drawing/2014/main" val="20002"/>
                    </a:ext>
                  </a:extLst>
                </a:gridCol>
              </a:tblGrid>
              <a:tr h="43200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50" b="1" i="0" u="none" strike="noStrike" cap="none" normalizeH="0" baseline="0" dirty="0">
                        <a:ln>
                          <a:noFill/>
                        </a:ln>
                        <a:solidFill>
                          <a:srgbClr val="002776"/>
                        </a:solidFill>
                        <a:effectLst/>
                        <a:latin typeface="+mj-lt"/>
                        <a:cs typeface="Arial" pitchFamily="34" charset="0"/>
                      </a:endParaRPr>
                    </a:p>
                  </a:txBody>
                  <a:tcPr marL="54864" marR="54864" marT="36576" marB="3657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Key</a:t>
                      </a:r>
                      <a:r>
                        <a:rPr lang="en-US" altLang="en-US" sz="1050" b="1" kern="1200" baseline="0" dirty="0">
                          <a:solidFill>
                            <a:schemeClr val="bg1"/>
                          </a:solidFill>
                          <a:latin typeface="+mn-lt"/>
                          <a:ea typeface="+mn-ea"/>
                          <a:cs typeface="+mn-cs"/>
                        </a:rPr>
                        <a:t> Observations</a:t>
                      </a:r>
                      <a:endParaRPr lang="en-US" altLang="en-US" sz="1050" b="1" kern="1200" dirty="0">
                        <a:solidFill>
                          <a:schemeClr val="bg1"/>
                        </a:solidFill>
                        <a:latin typeface="+mn-lt"/>
                        <a:ea typeface="+mn-ea"/>
                        <a:cs typeface="+mn-cs"/>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Business Implica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ules Based Selec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Manage variation</a:t>
                      </a:r>
                      <a:r>
                        <a:rPr lang="en-US" altLang="ja-JP" sz="1050" baseline="0" dirty="0">
                          <a:solidFill>
                            <a:schemeClr val="tx1"/>
                          </a:solidFill>
                        </a:rPr>
                        <a:t> </a:t>
                      </a:r>
                      <a:r>
                        <a:rPr lang="en-US" altLang="ja-JP" sz="1050" dirty="0">
                          <a:solidFill>
                            <a:schemeClr val="tx1"/>
                          </a:solidFill>
                        </a:rPr>
                        <a:t>in</a:t>
                      </a:r>
                      <a:r>
                        <a:rPr lang="ja-JP" altLang="en-US" sz="1050" dirty="0">
                          <a:solidFill>
                            <a:schemeClr val="tx1"/>
                          </a:solidFill>
                        </a:rPr>
                        <a:t> </a:t>
                      </a:r>
                      <a:r>
                        <a:rPr lang="en-US" altLang="ja-JP" sz="1050" dirty="0">
                          <a:solidFill>
                            <a:schemeClr val="tx1"/>
                          </a:solidFill>
                        </a:rPr>
                        <a:t>Spreadsheet but there is</a:t>
                      </a:r>
                      <a:r>
                        <a:rPr lang="en-US" altLang="ja-JP" sz="1050" baseline="0" dirty="0">
                          <a:solidFill>
                            <a:schemeClr val="tx1"/>
                          </a:solidFill>
                        </a:rPr>
                        <a:t> no logic in it.</a:t>
                      </a:r>
                      <a:endParaRPr lang="en-US"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Variation Management have large effect because reduce working </a:t>
                      </a:r>
                      <a:r>
                        <a:rPr lang="en-US" altLang="ja-JP" sz="1050" baseline="0" dirty="0">
                          <a:solidFill>
                            <a:schemeClr val="tx1"/>
                          </a:solidFill>
                        </a:rPr>
                        <a:t>time of making BOM</a:t>
                      </a:r>
                      <a:endParaRPr lang="ja-JP" altLang="en-US"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432000">
                <a:tc>
                  <a:txBody>
                    <a:bodyPr/>
                    <a:lstStyle/>
                    <a:p>
                      <a:pPr algn="l"/>
                      <a:r>
                        <a:rPr lang="en-US" sz="1050" b="1" dirty="0">
                          <a:solidFill>
                            <a:schemeClr val="bg1"/>
                          </a:solidFill>
                        </a:rPr>
                        <a:t>Linkage to BOM</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Manage BOM by each client. Don’t link variation to BOM</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dirty="0">
                          <a:solidFill>
                            <a:schemeClr val="tx1"/>
                          </a:solidFill>
                        </a:rPr>
                        <a:t>Advance effect</a:t>
                      </a:r>
                      <a:r>
                        <a:rPr lang="en-US" altLang="ja-JP" sz="1050" baseline="0" dirty="0">
                          <a:solidFill>
                            <a:schemeClr val="tx1"/>
                          </a:solidFill>
                        </a:rPr>
                        <a:t> isn’t much big so plot in Basic.</a:t>
                      </a:r>
                      <a:endParaRPr lang="en-US" altLang="ja-JP"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mn-lt"/>
                          <a:ea typeface="+mn-ea"/>
                          <a:cs typeface="Arial" pitchFamily="34" charset="0"/>
                        </a:rPr>
                        <a:t>Change Control Linkage / Ramifica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Conform impact of the whole BOM when change material.</a:t>
                      </a:r>
                      <a:r>
                        <a:rPr lang="ja-JP" altLang="en-US" sz="1050" b="0" baseline="0" dirty="0">
                          <a:solidFill>
                            <a:schemeClr val="tx1"/>
                          </a:solidFill>
                        </a:rPr>
                        <a:t> </a:t>
                      </a:r>
                      <a:r>
                        <a:rPr lang="en-US" altLang="ja-JP" sz="1050" b="0" baseline="0" dirty="0">
                          <a:solidFill>
                            <a:schemeClr val="tx1"/>
                          </a:solidFill>
                        </a:rPr>
                        <a:t>(PSBU)</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Change management of BOM are managed. (MSBU)</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dirty="0">
                          <a:solidFill>
                            <a:schemeClr val="tx1"/>
                          </a:solidFill>
                        </a:rPr>
                        <a:t>Advance effect</a:t>
                      </a:r>
                      <a:r>
                        <a:rPr lang="en-US" altLang="ja-JP" sz="1050" baseline="0" dirty="0">
                          <a:solidFill>
                            <a:schemeClr val="tx1"/>
                          </a:solidFill>
                        </a:rPr>
                        <a:t> isn’t much big so plot in Basic.</a:t>
                      </a:r>
                      <a:endParaRPr lang="en-US" altLang="ja-JP" sz="1050" dirty="0">
                        <a:solidFill>
                          <a:schemeClr val="tx1"/>
                        </a:solidFill>
                      </a:endParaRPr>
                    </a:p>
                    <a:p>
                      <a:pPr marL="171450" indent="-171450">
                        <a:lnSpc>
                          <a:spcPct val="100000"/>
                        </a:lnSpc>
                        <a:spcBef>
                          <a:spcPts val="0"/>
                        </a:spcBef>
                        <a:buFont typeface="Arial" panose="020B0604020202020204" pitchFamily="34" charset="0"/>
                        <a:buChar char="•"/>
                      </a:pP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0" normalizeH="0" baseline="0" noProof="0" dirty="0">
                          <a:ln>
                            <a:noFill/>
                          </a:ln>
                          <a:solidFill>
                            <a:prstClr val="white"/>
                          </a:solidFill>
                          <a:effectLst/>
                          <a:uLnTx/>
                          <a:uFillTx/>
                          <a:latin typeface="+mn-lt"/>
                          <a:ea typeface="+mn-ea"/>
                          <a:cs typeface="+mn-cs"/>
                        </a:rPr>
                        <a:t>Change Control of Op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t>NA</a:t>
                      </a:r>
                      <a:endParaRPr lang="en-US" sz="1050" dirty="0"/>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Change Control is needed when we manage variation.</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96658287"/>
                  </a:ext>
                </a:extLst>
              </a:tr>
              <a:tr h="432000">
                <a:tc>
                  <a:txBody>
                    <a:bodyPr/>
                    <a:lstStyle/>
                    <a:p>
                      <a:pPr algn="l"/>
                      <a:r>
                        <a:rPr lang="en-US" sz="1050" b="1" dirty="0">
                          <a:solidFill>
                            <a:schemeClr val="bg1"/>
                          </a:solidFill>
                        </a:rPr>
                        <a:t>Rationaliz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Standardized rule are used</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baseline="0" dirty="0">
                          <a:solidFill>
                            <a:schemeClr val="tx1"/>
                          </a:solidFill>
                        </a:rPr>
                        <a:t>Need to variate the option when we manage variation</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3551714"/>
                  </a:ext>
                </a:extLst>
              </a:tr>
              <a:tr h="432000">
                <a:tc>
                  <a:txBody>
                    <a:bodyPr/>
                    <a:lstStyle/>
                    <a:p>
                      <a:pPr algn="l"/>
                      <a:r>
                        <a:rPr lang="en-US" sz="1050" b="1" dirty="0">
                          <a:solidFill>
                            <a:schemeClr val="bg1"/>
                          </a:solidFill>
                        </a:rPr>
                        <a:t>Option Classific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Manage classification in property at the limited product. (MSBU)</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NA</a:t>
                      </a:r>
                      <a:r>
                        <a:rPr lang="ja-JP" altLang="en-US" sz="1050" b="0" baseline="0" dirty="0">
                          <a:solidFill>
                            <a:schemeClr val="tx1"/>
                          </a:solidFill>
                        </a:rPr>
                        <a:t>（</a:t>
                      </a:r>
                      <a:r>
                        <a:rPr lang="en-US" altLang="ja-JP" sz="1050" b="0" baseline="0" dirty="0">
                          <a:solidFill>
                            <a:schemeClr val="tx1"/>
                          </a:solidFill>
                        </a:rPr>
                        <a:t>PSBU</a:t>
                      </a:r>
                      <a:r>
                        <a:rPr lang="ja-JP" altLang="en-US" sz="1050" b="0" baseline="0" dirty="0">
                          <a:solidFill>
                            <a:schemeClr val="tx1"/>
                          </a:solidFill>
                        </a:rPr>
                        <a:t>）</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here is value for reuse.</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86354471"/>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altLang="en-US" sz="1050" b="1" dirty="0">
                          <a:solidFill>
                            <a:schemeClr val="bg1"/>
                          </a:solidFill>
                          <a:cs typeface="Arial" charset="0"/>
                        </a:rPr>
                        <a:t>Cost &amp; Scheduling</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Figure cost and schedule by manual</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Feedback cost and scheduling to product development real-time and automatically is big value</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46147242"/>
                  </a:ext>
                </a:extLst>
              </a:tr>
            </a:tbl>
          </a:graphicData>
        </a:graphic>
      </p:graphicFrame>
      <p:sp>
        <p:nvSpPr>
          <p:cNvPr id="4" name="Title 3">
            <a:extLst>
              <a:ext uri="{FF2B5EF4-FFF2-40B4-BE49-F238E27FC236}">
                <a16:creationId xmlns:a16="http://schemas.microsoft.com/office/drawing/2014/main" id="{026705D2-9A1E-4A1F-80F4-6BC1AE8E4025}"/>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lvl="0" defTabSz="914400">
              <a:defRPr/>
            </a:pPr>
            <a:r>
              <a:rPr lang="en-US" sz="2400" b="1" dirty="0"/>
              <a:t>Variants &amp; Options Management</a:t>
            </a:r>
            <a:endParaRPr lang="en-US" sz="2400" b="1" dirty="0">
              <a:solidFill>
                <a:prstClr val="black"/>
              </a:solidFill>
            </a:endParaRPr>
          </a:p>
        </p:txBody>
      </p:sp>
    </p:spTree>
    <p:extLst>
      <p:ext uri="{BB962C8B-B14F-4D97-AF65-F5344CB8AC3E}">
        <p14:creationId xmlns:p14="http://schemas.microsoft.com/office/powerpoint/2010/main" val="37294603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5FC00B6-A750-4378-99E0-96A8EAA005FF}"/>
              </a:ext>
            </a:extLst>
          </p:cNvPr>
          <p:cNvSpPr>
            <a:spLocks noGrp="1"/>
          </p:cNvSpPr>
          <p:nvPr>
            <p:ph type="body" sz="quarter" idx="13"/>
          </p:nvPr>
        </p:nvSpPr>
        <p:spPr/>
        <p:txBody>
          <a:bodyPr/>
          <a:lstStyle/>
          <a:p>
            <a:r>
              <a:rPr lang="en-US" altLang="ja-JP" sz="1600" b="1" dirty="0">
                <a:solidFill>
                  <a:schemeClr val="tx1"/>
                </a:solidFill>
              </a:rPr>
              <a:t>Talent &amp; Operating Model</a:t>
            </a:r>
          </a:p>
          <a:p>
            <a:endParaRPr lang="en-US" sz="1600" dirty="0">
              <a:latin typeface="+mj-lt"/>
            </a:endParaRPr>
          </a:p>
        </p:txBody>
      </p:sp>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en-US" dirty="0"/>
              <a:t>Current-State Capability Demonstration</a:t>
            </a:r>
          </a:p>
        </p:txBody>
      </p:sp>
      <p:sp>
        <p:nvSpPr>
          <p:cNvPr id="5" name="Content Placeholder 2">
            <a:extLst>
              <a:ext uri="{FF2B5EF4-FFF2-40B4-BE49-F238E27FC236}">
                <a16:creationId xmlns:a16="http://schemas.microsoft.com/office/drawing/2014/main" id="{D105B340-91FE-4713-91F6-44138599D7D9}"/>
              </a:ext>
            </a:extLst>
          </p:cNvPr>
          <p:cNvSpPr txBox="1">
            <a:spLocks/>
          </p:cNvSpPr>
          <p:nvPr/>
        </p:nvSpPr>
        <p:spPr>
          <a:xfrm>
            <a:off x="1446207" y="4832737"/>
            <a:ext cx="4394433" cy="1485306"/>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Pain Points </a:t>
            </a:r>
          </a:p>
          <a:p>
            <a:pPr marL="344487" lvl="1" indent="-342900">
              <a:buFont typeface="Arial" panose="020B0604020202020204" pitchFamily="34" charset="0"/>
              <a:buAutoNum type="arabicPeriod"/>
            </a:pPr>
            <a:r>
              <a:rPr lang="en-US" dirty="0">
                <a:latin typeface="+mj-lt"/>
              </a:rPr>
              <a:t>Employee/Company branding </a:t>
            </a:r>
          </a:p>
          <a:p>
            <a:pPr marL="344487" lvl="1" indent="-342900">
              <a:buFont typeface="Arial" panose="020B0604020202020204" pitchFamily="34" charset="0"/>
              <a:buAutoNum type="arabicPeriod"/>
            </a:pPr>
            <a:r>
              <a:rPr lang="en-US" dirty="0">
                <a:latin typeface="+mj-lt"/>
              </a:rPr>
              <a:t>Talent allocation strategy</a:t>
            </a:r>
          </a:p>
          <a:p>
            <a:pPr marL="344487" lvl="1" indent="-342900">
              <a:buFont typeface="Arial" panose="020B0604020202020204" pitchFamily="34" charset="0"/>
              <a:buAutoNum type="arabicPeriod"/>
            </a:pPr>
            <a:r>
              <a:rPr lang="en-US" dirty="0">
                <a:latin typeface="+mj-lt"/>
              </a:rPr>
              <a:t>Development capabilities to be different depending on BU or SV</a:t>
            </a:r>
          </a:p>
          <a:p>
            <a:pPr marL="344487" lvl="1" indent="-342900">
              <a:buFont typeface="Arial" panose="020B0604020202020204" pitchFamily="34" charset="0"/>
              <a:buAutoNum type="arabicPeriod"/>
            </a:pPr>
            <a:endParaRPr lang="en-US" sz="1400" dirty="0">
              <a:latin typeface="+mj-lt"/>
            </a:endParaRPr>
          </a:p>
          <a:p>
            <a:pPr lvl="1"/>
            <a:endParaRPr lang="en-US" dirty="0">
              <a:latin typeface="+mj-lt"/>
            </a:endParaRPr>
          </a:p>
          <a:p>
            <a:pPr lvl="1"/>
            <a:endParaRPr lang="en-US" dirty="0">
              <a:latin typeface="+mj-lt"/>
            </a:endParaRPr>
          </a:p>
          <a:p>
            <a:pPr lvl="1"/>
            <a:endParaRPr lang="en-US" dirty="0">
              <a:latin typeface="+mj-lt"/>
            </a:endParaRPr>
          </a:p>
        </p:txBody>
      </p:sp>
      <p:sp>
        <p:nvSpPr>
          <p:cNvPr id="7" name="Rectangle 6">
            <a:extLst>
              <a:ext uri="{FF2B5EF4-FFF2-40B4-BE49-F238E27FC236}">
                <a16:creationId xmlns:a16="http://schemas.microsoft.com/office/drawing/2014/main" id="{1617907B-D8E2-4123-ACEC-F245D7D4077D}"/>
              </a:ext>
            </a:extLst>
          </p:cNvPr>
          <p:cNvSpPr>
            <a:spLocks noChangeArrowheads="1"/>
          </p:cNvSpPr>
          <p:nvPr/>
        </p:nvSpPr>
        <p:spPr bwMode="gray">
          <a:xfrm>
            <a:off x="1512503" y="1484425"/>
            <a:ext cx="3085363" cy="215444"/>
          </a:xfrm>
          <a:prstGeom prst="rect">
            <a:avLst/>
          </a:prstGeom>
          <a:solidFill>
            <a:schemeClr val="bg1"/>
          </a:solidFill>
          <a:ln w="12700" cap="rnd" algn="ctr">
            <a:noFill/>
            <a:miter lim="800000"/>
            <a:headEnd/>
            <a:tailEnd/>
          </a:ln>
        </p:spPr>
        <p:txBody>
          <a:bodyPr wrap="square" lIns="71966" tIns="0" rIns="71966" bIns="0" anchor="ctr" anchorCtr="1">
            <a:spAutoFit/>
          </a:bodyPr>
          <a:lstStyle/>
          <a:p>
            <a:pPr defTabSz="913961" fontAlgn="base">
              <a:spcBef>
                <a:spcPct val="20000"/>
              </a:spcBef>
              <a:spcAft>
                <a:spcPct val="0"/>
              </a:spcAft>
            </a:pPr>
            <a:r>
              <a:rPr lang="en-US" sz="1400" b="1" dirty="0">
                <a:solidFill>
                  <a:srgbClr val="92D400"/>
                </a:solidFill>
                <a:latin typeface="+mj-lt"/>
                <a:cs typeface="Arial" pitchFamily="34" charset="0"/>
              </a:rPr>
              <a:t>Current State Journey</a:t>
            </a:r>
          </a:p>
        </p:txBody>
      </p:sp>
      <p:pic>
        <p:nvPicPr>
          <p:cNvPr id="8" name="Picture 7">
            <a:extLst>
              <a:ext uri="{FF2B5EF4-FFF2-40B4-BE49-F238E27FC236}">
                <a16:creationId xmlns:a16="http://schemas.microsoft.com/office/drawing/2014/main" id="{F58A16F7-C5FE-4FA0-95B9-317D632AC5C9}"/>
              </a:ext>
            </a:extLst>
          </p:cNvPr>
          <p:cNvPicPr>
            <a:picLocks noChangeAspect="1" noChangeArrowheads="1"/>
          </p:cNvPicPr>
          <p:nvPr/>
        </p:nvPicPr>
        <p:blipFill>
          <a:blip r:embed="rId2">
            <a:lum contrast="22000"/>
            <a:extLst>
              <a:ext uri="{28A0092B-C50C-407E-A947-70E740481C1C}">
                <a14:useLocalDpi xmlns:a14="http://schemas.microsoft.com/office/drawing/2010/main" val="0"/>
              </a:ext>
            </a:extLst>
          </a:blip>
          <a:srcRect/>
          <a:stretch>
            <a:fillRect/>
          </a:stretch>
        </p:blipFill>
        <p:spPr bwMode="auto">
          <a:xfrm>
            <a:off x="1464126" y="1911569"/>
            <a:ext cx="9311976" cy="2749079"/>
          </a:xfrm>
          <a:prstGeom prst="rect">
            <a:avLst/>
          </a:prstGeom>
          <a:solidFill>
            <a:schemeClr val="accent1">
              <a:lumMod val="20000"/>
              <a:lumOff val="80000"/>
            </a:schemeClr>
          </a:solidFill>
          <a:ln>
            <a:noFill/>
          </a:ln>
          <a:effectLst/>
        </p:spPr>
      </p:pic>
      <p:sp>
        <p:nvSpPr>
          <p:cNvPr id="9" name="Rectangle 8">
            <a:extLst>
              <a:ext uri="{FF2B5EF4-FFF2-40B4-BE49-F238E27FC236}">
                <a16:creationId xmlns:a16="http://schemas.microsoft.com/office/drawing/2014/main" id="{7B1A2920-D963-46D7-9BBE-A417E9448C54}"/>
              </a:ext>
            </a:extLst>
          </p:cNvPr>
          <p:cNvSpPr/>
          <p:nvPr/>
        </p:nvSpPr>
        <p:spPr bwMode="invGray">
          <a:xfrm>
            <a:off x="7551070" y="2283177"/>
            <a:ext cx="1354655" cy="230832"/>
          </a:xfrm>
          <a:prstGeom prst="rect">
            <a:avLst/>
          </a:prstGeom>
          <a:scene3d>
            <a:camera prst="orthographicFront">
              <a:rot lat="0" lon="0" rev="0"/>
            </a:camera>
            <a:lightRig rig="threePt" dir="t"/>
          </a:scene3d>
        </p:spPr>
        <p:txBody>
          <a:bodyPr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900" dirty="0">
              <a:solidFill>
                <a:prstClr val="white"/>
              </a:solidFill>
              <a:latin typeface="+mj-lt"/>
            </a:endParaRPr>
          </a:p>
        </p:txBody>
      </p:sp>
      <p:sp>
        <p:nvSpPr>
          <p:cNvPr id="10" name="Text Box 24">
            <a:extLst>
              <a:ext uri="{FF2B5EF4-FFF2-40B4-BE49-F238E27FC236}">
                <a16:creationId xmlns:a16="http://schemas.microsoft.com/office/drawing/2014/main" id="{EE00105A-566B-47B3-A87C-CAE93F806529}"/>
              </a:ext>
            </a:extLst>
          </p:cNvPr>
          <p:cNvSpPr txBox="1">
            <a:spLocks noChangeArrowheads="1"/>
          </p:cNvSpPr>
          <p:nvPr/>
        </p:nvSpPr>
        <p:spPr bwMode="auto">
          <a:xfrm>
            <a:off x="3868697" y="3977114"/>
            <a:ext cx="2095323" cy="34414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 Clarify necessary capabilities or future HC is identified </a:t>
            </a:r>
          </a:p>
        </p:txBody>
      </p:sp>
      <p:sp>
        <p:nvSpPr>
          <p:cNvPr id="11" name="Text Box 24">
            <a:extLst>
              <a:ext uri="{FF2B5EF4-FFF2-40B4-BE49-F238E27FC236}">
                <a16:creationId xmlns:a16="http://schemas.microsoft.com/office/drawing/2014/main" id="{FEC057F0-58B4-4B1B-BE17-B6AD277A3863}"/>
              </a:ext>
            </a:extLst>
          </p:cNvPr>
          <p:cNvSpPr txBox="1">
            <a:spLocks noChangeArrowheads="1"/>
          </p:cNvSpPr>
          <p:nvPr/>
        </p:nvSpPr>
        <p:spPr bwMode="auto">
          <a:xfrm>
            <a:off x="4545766" y="2271253"/>
            <a:ext cx="1889780" cy="33237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Hire, transfer or develop employees for the identified role </a:t>
            </a:r>
          </a:p>
        </p:txBody>
      </p:sp>
      <p:sp>
        <p:nvSpPr>
          <p:cNvPr id="12" name="Text Box 9">
            <a:extLst>
              <a:ext uri="{FF2B5EF4-FFF2-40B4-BE49-F238E27FC236}">
                <a16:creationId xmlns:a16="http://schemas.microsoft.com/office/drawing/2014/main" id="{C8A41943-F33A-4533-A39B-9CD8C84306AD}"/>
              </a:ext>
            </a:extLst>
          </p:cNvPr>
          <p:cNvSpPr txBox="1">
            <a:spLocks noChangeArrowheads="1"/>
          </p:cNvSpPr>
          <p:nvPr/>
        </p:nvSpPr>
        <p:spPr bwMode="gray">
          <a:xfrm>
            <a:off x="2404898" y="2315024"/>
            <a:ext cx="855935" cy="176095"/>
          </a:xfrm>
          <a:prstGeom prst="rect">
            <a:avLst/>
          </a:prstGeom>
          <a:noFill/>
          <a:ln w="12700" algn="ctr">
            <a:noFill/>
            <a:miter lim="800000"/>
            <a:headEnd/>
            <a:tailEnd/>
          </a:ln>
          <a:effectLst/>
        </p:spPr>
        <p:txBody>
          <a:bodyPr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1</a:t>
            </a:r>
          </a:p>
        </p:txBody>
      </p:sp>
      <p:sp>
        <p:nvSpPr>
          <p:cNvPr id="13" name="Oval 12">
            <a:extLst>
              <a:ext uri="{FF2B5EF4-FFF2-40B4-BE49-F238E27FC236}">
                <a16:creationId xmlns:a16="http://schemas.microsoft.com/office/drawing/2014/main" id="{032AF74C-4888-4BB8-A919-D966CF10B213}"/>
              </a:ext>
            </a:extLst>
          </p:cNvPr>
          <p:cNvSpPr>
            <a:spLocks noChangeArrowheads="1"/>
          </p:cNvSpPr>
          <p:nvPr/>
        </p:nvSpPr>
        <p:spPr bwMode="gray">
          <a:xfrm>
            <a:off x="1934774" y="2267631"/>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1</a:t>
            </a:r>
          </a:p>
        </p:txBody>
      </p:sp>
      <p:sp>
        <p:nvSpPr>
          <p:cNvPr id="14" name="Text Box 10">
            <a:extLst>
              <a:ext uri="{FF2B5EF4-FFF2-40B4-BE49-F238E27FC236}">
                <a16:creationId xmlns:a16="http://schemas.microsoft.com/office/drawing/2014/main" id="{9AB60634-0756-4848-9686-A7E0E572378C}"/>
              </a:ext>
            </a:extLst>
          </p:cNvPr>
          <p:cNvSpPr txBox="1">
            <a:spLocks noChangeArrowheads="1"/>
          </p:cNvSpPr>
          <p:nvPr/>
        </p:nvSpPr>
        <p:spPr bwMode="gray">
          <a:xfrm>
            <a:off x="3879179" y="3759756"/>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2</a:t>
            </a:r>
          </a:p>
        </p:txBody>
      </p:sp>
      <p:sp>
        <p:nvSpPr>
          <p:cNvPr id="15" name="Line 28">
            <a:extLst>
              <a:ext uri="{FF2B5EF4-FFF2-40B4-BE49-F238E27FC236}">
                <a16:creationId xmlns:a16="http://schemas.microsoft.com/office/drawing/2014/main" id="{888E09D3-4434-4D5C-8407-D2929B50A26B}"/>
              </a:ext>
            </a:extLst>
          </p:cNvPr>
          <p:cNvSpPr>
            <a:spLocks noChangeShapeType="1"/>
          </p:cNvSpPr>
          <p:nvPr/>
        </p:nvSpPr>
        <p:spPr bwMode="auto">
          <a:xfrm flipV="1">
            <a:off x="3625692" y="3546524"/>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16" name="Text Box 11">
            <a:extLst>
              <a:ext uri="{FF2B5EF4-FFF2-40B4-BE49-F238E27FC236}">
                <a16:creationId xmlns:a16="http://schemas.microsoft.com/office/drawing/2014/main" id="{46B996A9-99E3-4826-B6E1-B3F9341EA480}"/>
              </a:ext>
            </a:extLst>
          </p:cNvPr>
          <p:cNvSpPr txBox="1">
            <a:spLocks noChangeArrowheads="1"/>
          </p:cNvSpPr>
          <p:nvPr/>
        </p:nvSpPr>
        <p:spPr bwMode="gray">
          <a:xfrm>
            <a:off x="4545768" y="2056681"/>
            <a:ext cx="1477186" cy="177539"/>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3</a:t>
            </a:r>
          </a:p>
        </p:txBody>
      </p:sp>
      <p:sp>
        <p:nvSpPr>
          <p:cNvPr id="17" name="Rectangle 16">
            <a:extLst>
              <a:ext uri="{FF2B5EF4-FFF2-40B4-BE49-F238E27FC236}">
                <a16:creationId xmlns:a16="http://schemas.microsoft.com/office/drawing/2014/main" id="{9EB41562-1EC8-4C34-977A-A1ADF53BCBD8}"/>
              </a:ext>
            </a:extLst>
          </p:cNvPr>
          <p:cNvSpPr/>
          <p:nvPr/>
        </p:nvSpPr>
        <p:spPr bwMode="auto">
          <a:xfrm>
            <a:off x="1433818" y="1391113"/>
            <a:ext cx="9313296" cy="326953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defPPr>
              <a:defRPr lang="en-US"/>
            </a:defPPr>
            <a:lvl1pPr algn="ctr" rtl="0" fontAlgn="base">
              <a:spcBef>
                <a:spcPct val="20000"/>
              </a:spcBef>
              <a:spcAft>
                <a:spcPct val="0"/>
              </a:spcAft>
              <a:defRPr sz="1100" b="1" kern="1200">
                <a:solidFill>
                  <a:schemeClr val="lt1"/>
                </a:solidFill>
                <a:latin typeface="+mn-lt"/>
                <a:ea typeface="+mn-ea"/>
                <a:cs typeface="+mn-cs"/>
              </a:defRPr>
            </a:lvl1pPr>
            <a:lvl2pPr marL="457200" algn="ctr" rtl="0" fontAlgn="base">
              <a:spcBef>
                <a:spcPct val="20000"/>
              </a:spcBef>
              <a:spcAft>
                <a:spcPct val="0"/>
              </a:spcAft>
              <a:defRPr sz="1100" b="1" kern="1200">
                <a:solidFill>
                  <a:schemeClr val="lt1"/>
                </a:solidFill>
                <a:latin typeface="+mn-lt"/>
                <a:ea typeface="+mn-ea"/>
                <a:cs typeface="+mn-cs"/>
              </a:defRPr>
            </a:lvl2pPr>
            <a:lvl3pPr marL="914400" algn="ctr" rtl="0" fontAlgn="base">
              <a:spcBef>
                <a:spcPct val="20000"/>
              </a:spcBef>
              <a:spcAft>
                <a:spcPct val="0"/>
              </a:spcAft>
              <a:defRPr sz="1100" b="1" kern="1200">
                <a:solidFill>
                  <a:schemeClr val="lt1"/>
                </a:solidFill>
                <a:latin typeface="+mn-lt"/>
                <a:ea typeface="+mn-ea"/>
                <a:cs typeface="+mn-cs"/>
              </a:defRPr>
            </a:lvl3pPr>
            <a:lvl4pPr marL="1371600" algn="ctr" rtl="0" fontAlgn="base">
              <a:spcBef>
                <a:spcPct val="20000"/>
              </a:spcBef>
              <a:spcAft>
                <a:spcPct val="0"/>
              </a:spcAft>
              <a:defRPr sz="1100" b="1" kern="1200">
                <a:solidFill>
                  <a:schemeClr val="lt1"/>
                </a:solidFill>
                <a:latin typeface="+mn-lt"/>
                <a:ea typeface="+mn-ea"/>
                <a:cs typeface="+mn-cs"/>
              </a:defRPr>
            </a:lvl4pPr>
            <a:lvl5pPr marL="1828800" algn="ctr" rtl="0" fontAlgn="base">
              <a:spcBef>
                <a:spcPct val="20000"/>
              </a:spcBef>
              <a:spcAft>
                <a:spcPct val="0"/>
              </a:spcAft>
              <a:defRPr sz="1100" b="1" kern="1200">
                <a:solidFill>
                  <a:schemeClr val="lt1"/>
                </a:solidFill>
                <a:latin typeface="+mn-lt"/>
                <a:ea typeface="+mn-ea"/>
                <a:cs typeface="+mn-cs"/>
              </a:defRPr>
            </a:lvl5pPr>
            <a:lvl6pPr marL="2286000" algn="l" defTabSz="914400" rtl="0" eaLnBrk="1" latinLnBrk="0" hangingPunct="1">
              <a:defRPr sz="1100" b="1" kern="1200">
                <a:solidFill>
                  <a:schemeClr val="lt1"/>
                </a:solidFill>
                <a:latin typeface="+mn-lt"/>
                <a:ea typeface="+mn-ea"/>
                <a:cs typeface="+mn-cs"/>
              </a:defRPr>
            </a:lvl6pPr>
            <a:lvl7pPr marL="2743200" algn="l" defTabSz="914400" rtl="0" eaLnBrk="1" latinLnBrk="0" hangingPunct="1">
              <a:defRPr sz="1100" b="1" kern="1200">
                <a:solidFill>
                  <a:schemeClr val="lt1"/>
                </a:solidFill>
                <a:latin typeface="+mn-lt"/>
                <a:ea typeface="+mn-ea"/>
                <a:cs typeface="+mn-cs"/>
              </a:defRPr>
            </a:lvl7pPr>
            <a:lvl8pPr marL="3200400" algn="l" defTabSz="914400" rtl="0" eaLnBrk="1" latinLnBrk="0" hangingPunct="1">
              <a:defRPr sz="1100" b="1" kern="1200">
                <a:solidFill>
                  <a:schemeClr val="lt1"/>
                </a:solidFill>
                <a:latin typeface="+mn-lt"/>
                <a:ea typeface="+mn-ea"/>
                <a:cs typeface="+mn-cs"/>
              </a:defRPr>
            </a:lvl8pPr>
            <a:lvl9pPr marL="3657600" algn="l" defTabSz="914400" rtl="0" eaLnBrk="1" latinLnBrk="0" hangingPunct="1">
              <a:defRPr sz="1100" b="1" kern="1200">
                <a:solidFill>
                  <a:schemeClr val="lt1"/>
                </a:solidFill>
                <a:latin typeface="+mn-lt"/>
                <a:ea typeface="+mn-ea"/>
                <a:cs typeface="+mn-cs"/>
              </a:defRPr>
            </a:lvl9pPr>
          </a:lstStyle>
          <a:p>
            <a:pPr defTabSz="913961" fontAlgn="auto">
              <a:spcBef>
                <a:spcPts val="0"/>
              </a:spcBef>
              <a:spcAft>
                <a:spcPts val="0"/>
              </a:spcAft>
              <a:defRPr/>
            </a:pPr>
            <a:endParaRPr lang="en-US" sz="1050" dirty="0">
              <a:solidFill>
                <a:prstClr val="white"/>
              </a:solidFill>
              <a:latin typeface="+mj-lt"/>
            </a:endParaRPr>
          </a:p>
        </p:txBody>
      </p:sp>
      <p:sp>
        <p:nvSpPr>
          <p:cNvPr id="18" name="Text Box 24">
            <a:extLst>
              <a:ext uri="{FF2B5EF4-FFF2-40B4-BE49-F238E27FC236}">
                <a16:creationId xmlns:a16="http://schemas.microsoft.com/office/drawing/2014/main" id="{FFC98F6A-C43A-4D2B-AF2D-DF855F9BFC67}"/>
              </a:ext>
            </a:extLst>
          </p:cNvPr>
          <p:cNvSpPr txBox="1">
            <a:spLocks noChangeArrowheads="1"/>
          </p:cNvSpPr>
          <p:nvPr/>
        </p:nvSpPr>
        <p:spPr bwMode="auto">
          <a:xfrm>
            <a:off x="2391646" y="2573419"/>
            <a:ext cx="1809293" cy="580598"/>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Organization needs</a:t>
            </a:r>
          </a:p>
          <a:p>
            <a:pPr algn="l" defTabSz="913961" fontAlgn="auto">
              <a:spcBef>
                <a:spcPts val="0"/>
              </a:spcBef>
              <a:spcAft>
                <a:spcPts val="0"/>
              </a:spcAft>
              <a:defRPr/>
            </a:pPr>
            <a:r>
              <a:rPr lang="en-US" kern="0" dirty="0">
                <a:solidFill>
                  <a:srgbClr val="002776"/>
                </a:solidFill>
                <a:latin typeface="+mj-lt"/>
              </a:rPr>
              <a:t>or new organization plan rise</a:t>
            </a:r>
          </a:p>
        </p:txBody>
      </p:sp>
      <p:sp>
        <p:nvSpPr>
          <p:cNvPr id="19" name="Text Box 24">
            <a:extLst>
              <a:ext uri="{FF2B5EF4-FFF2-40B4-BE49-F238E27FC236}">
                <a16:creationId xmlns:a16="http://schemas.microsoft.com/office/drawing/2014/main" id="{FE7CF495-07E0-40DF-B5B1-35D4E6592281}"/>
              </a:ext>
            </a:extLst>
          </p:cNvPr>
          <p:cNvSpPr txBox="1">
            <a:spLocks noChangeArrowheads="1"/>
          </p:cNvSpPr>
          <p:nvPr/>
        </p:nvSpPr>
        <p:spPr bwMode="auto">
          <a:xfrm>
            <a:off x="6481436" y="1880946"/>
            <a:ext cx="2174050" cy="625361"/>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endParaRPr lang="en-US" kern="0" spc="-20" dirty="0">
              <a:solidFill>
                <a:srgbClr val="002776"/>
              </a:solidFill>
              <a:latin typeface="+mj-lt"/>
            </a:endParaRPr>
          </a:p>
        </p:txBody>
      </p:sp>
      <p:sp>
        <p:nvSpPr>
          <p:cNvPr id="20" name="Text Box 11">
            <a:extLst>
              <a:ext uri="{FF2B5EF4-FFF2-40B4-BE49-F238E27FC236}">
                <a16:creationId xmlns:a16="http://schemas.microsoft.com/office/drawing/2014/main" id="{D580D44A-823E-476D-8183-36AB135B8253}"/>
              </a:ext>
            </a:extLst>
          </p:cNvPr>
          <p:cNvSpPr txBox="1">
            <a:spLocks noChangeArrowheads="1"/>
          </p:cNvSpPr>
          <p:nvPr/>
        </p:nvSpPr>
        <p:spPr bwMode="gray">
          <a:xfrm>
            <a:off x="6481435" y="1685588"/>
            <a:ext cx="1341777"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5</a:t>
            </a:r>
          </a:p>
        </p:txBody>
      </p:sp>
      <p:sp>
        <p:nvSpPr>
          <p:cNvPr id="21" name="Text Box 24">
            <a:extLst>
              <a:ext uri="{FF2B5EF4-FFF2-40B4-BE49-F238E27FC236}">
                <a16:creationId xmlns:a16="http://schemas.microsoft.com/office/drawing/2014/main" id="{97A0FE0F-77A4-4B69-ABDE-A9988C3C23AA}"/>
              </a:ext>
            </a:extLst>
          </p:cNvPr>
          <p:cNvSpPr txBox="1">
            <a:spLocks noChangeArrowheads="1"/>
          </p:cNvSpPr>
          <p:nvPr/>
        </p:nvSpPr>
        <p:spPr bwMode="auto">
          <a:xfrm>
            <a:off x="6320729" y="3695687"/>
            <a:ext cx="1846892" cy="480337"/>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Review after the new organization is formed and analyze gap and take actions if necessary = back to Step #1 </a:t>
            </a:r>
          </a:p>
        </p:txBody>
      </p:sp>
      <p:sp>
        <p:nvSpPr>
          <p:cNvPr id="22" name="Text Box 14">
            <a:extLst>
              <a:ext uri="{FF2B5EF4-FFF2-40B4-BE49-F238E27FC236}">
                <a16:creationId xmlns:a16="http://schemas.microsoft.com/office/drawing/2014/main" id="{957A023C-F13B-4843-A681-19BADC0F0BE1}"/>
              </a:ext>
            </a:extLst>
          </p:cNvPr>
          <p:cNvSpPr txBox="1">
            <a:spLocks noChangeArrowheads="1"/>
          </p:cNvSpPr>
          <p:nvPr/>
        </p:nvSpPr>
        <p:spPr bwMode="gray">
          <a:xfrm>
            <a:off x="6320728" y="3465268"/>
            <a:ext cx="1151165" cy="176095"/>
          </a:xfrm>
          <a:prstGeom prst="rect">
            <a:avLst/>
          </a:prstGeom>
          <a:noFill/>
          <a:ln w="12700" algn="ctr">
            <a:noFill/>
            <a:miter lim="800000"/>
            <a:headEnd/>
            <a:tailEnd/>
          </a:ln>
          <a:effectLst/>
        </p:spPr>
        <p:txBody>
          <a:bodyPr wrap="non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4</a:t>
            </a:r>
          </a:p>
        </p:txBody>
      </p:sp>
      <p:sp>
        <p:nvSpPr>
          <p:cNvPr id="23" name="Text Box 24">
            <a:extLst>
              <a:ext uri="{FF2B5EF4-FFF2-40B4-BE49-F238E27FC236}">
                <a16:creationId xmlns:a16="http://schemas.microsoft.com/office/drawing/2014/main" id="{FF7A872D-426A-4D46-A4A4-DABD2E0C69F0}"/>
              </a:ext>
            </a:extLst>
          </p:cNvPr>
          <p:cNvSpPr txBox="1">
            <a:spLocks noChangeArrowheads="1"/>
          </p:cNvSpPr>
          <p:nvPr/>
        </p:nvSpPr>
        <p:spPr bwMode="auto">
          <a:xfrm>
            <a:off x="8533228" y="3391885"/>
            <a:ext cx="2004334" cy="501152"/>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endParaRPr lang="en-US" kern="0" dirty="0">
              <a:solidFill>
                <a:srgbClr val="002776"/>
              </a:solidFill>
              <a:latin typeface="+mj-lt"/>
            </a:endParaRPr>
          </a:p>
        </p:txBody>
      </p:sp>
      <p:sp>
        <p:nvSpPr>
          <p:cNvPr id="24" name="Text Box 10">
            <a:extLst>
              <a:ext uri="{FF2B5EF4-FFF2-40B4-BE49-F238E27FC236}">
                <a16:creationId xmlns:a16="http://schemas.microsoft.com/office/drawing/2014/main" id="{9CFBC63D-CE03-4161-9C29-FAB75D09F3AC}"/>
              </a:ext>
            </a:extLst>
          </p:cNvPr>
          <p:cNvSpPr txBox="1">
            <a:spLocks noChangeArrowheads="1"/>
          </p:cNvSpPr>
          <p:nvPr/>
        </p:nvSpPr>
        <p:spPr bwMode="gray">
          <a:xfrm>
            <a:off x="8533228" y="3170641"/>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6</a:t>
            </a:r>
          </a:p>
        </p:txBody>
      </p:sp>
      <p:sp>
        <p:nvSpPr>
          <p:cNvPr id="25" name="Oval 24">
            <a:extLst>
              <a:ext uri="{FF2B5EF4-FFF2-40B4-BE49-F238E27FC236}">
                <a16:creationId xmlns:a16="http://schemas.microsoft.com/office/drawing/2014/main" id="{562825D5-3D20-41DE-A3D7-832BE944793B}"/>
              </a:ext>
            </a:extLst>
          </p:cNvPr>
          <p:cNvSpPr>
            <a:spLocks noChangeArrowheads="1"/>
          </p:cNvSpPr>
          <p:nvPr/>
        </p:nvSpPr>
        <p:spPr bwMode="gray">
          <a:xfrm>
            <a:off x="3459906" y="3847802"/>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2</a:t>
            </a:r>
          </a:p>
        </p:txBody>
      </p:sp>
      <p:sp>
        <p:nvSpPr>
          <p:cNvPr id="26" name="Oval 25">
            <a:extLst>
              <a:ext uri="{FF2B5EF4-FFF2-40B4-BE49-F238E27FC236}">
                <a16:creationId xmlns:a16="http://schemas.microsoft.com/office/drawing/2014/main" id="{2955288C-C806-4891-9240-DFB031C3690C}"/>
              </a:ext>
            </a:extLst>
          </p:cNvPr>
          <p:cNvSpPr>
            <a:spLocks noChangeArrowheads="1"/>
          </p:cNvSpPr>
          <p:nvPr/>
        </p:nvSpPr>
        <p:spPr bwMode="gray">
          <a:xfrm>
            <a:off x="4165150" y="1972164"/>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3</a:t>
            </a:r>
          </a:p>
        </p:txBody>
      </p:sp>
      <p:sp>
        <p:nvSpPr>
          <p:cNvPr id="27" name="Oval 26">
            <a:extLst>
              <a:ext uri="{FF2B5EF4-FFF2-40B4-BE49-F238E27FC236}">
                <a16:creationId xmlns:a16="http://schemas.microsoft.com/office/drawing/2014/main" id="{6EABAB19-C5C1-49C9-8BC5-5F7CA5E9D95E}"/>
              </a:ext>
            </a:extLst>
          </p:cNvPr>
          <p:cNvSpPr>
            <a:spLocks noChangeArrowheads="1"/>
          </p:cNvSpPr>
          <p:nvPr/>
        </p:nvSpPr>
        <p:spPr bwMode="gray">
          <a:xfrm>
            <a:off x="7564953" y="3407820"/>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4</a:t>
            </a:r>
          </a:p>
        </p:txBody>
      </p:sp>
      <p:sp>
        <p:nvSpPr>
          <p:cNvPr id="28" name="Oval 27">
            <a:extLst>
              <a:ext uri="{FF2B5EF4-FFF2-40B4-BE49-F238E27FC236}">
                <a16:creationId xmlns:a16="http://schemas.microsoft.com/office/drawing/2014/main" id="{2E12D42A-ECC4-48E8-9A65-F5076BFE4749}"/>
              </a:ext>
            </a:extLst>
          </p:cNvPr>
          <p:cNvSpPr>
            <a:spLocks noChangeArrowheads="1"/>
          </p:cNvSpPr>
          <p:nvPr/>
        </p:nvSpPr>
        <p:spPr bwMode="gray">
          <a:xfrm>
            <a:off x="8529116" y="1636654"/>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5</a:t>
            </a:r>
          </a:p>
        </p:txBody>
      </p:sp>
      <p:sp>
        <p:nvSpPr>
          <p:cNvPr id="29" name="Line 28">
            <a:extLst>
              <a:ext uri="{FF2B5EF4-FFF2-40B4-BE49-F238E27FC236}">
                <a16:creationId xmlns:a16="http://schemas.microsoft.com/office/drawing/2014/main" id="{E47B6F27-9413-4D13-9C97-7C4233E36561}"/>
              </a:ext>
            </a:extLst>
          </p:cNvPr>
          <p:cNvSpPr>
            <a:spLocks noChangeShapeType="1"/>
          </p:cNvSpPr>
          <p:nvPr/>
        </p:nvSpPr>
        <p:spPr bwMode="auto">
          <a:xfrm flipH="1">
            <a:off x="8687078" y="2032080"/>
            <a:ext cx="0" cy="708058"/>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0" name="Oval 29">
            <a:extLst>
              <a:ext uri="{FF2B5EF4-FFF2-40B4-BE49-F238E27FC236}">
                <a16:creationId xmlns:a16="http://schemas.microsoft.com/office/drawing/2014/main" id="{1F289621-C8DD-44CC-94E4-CCBBE5737121}"/>
              </a:ext>
            </a:extLst>
          </p:cNvPr>
          <p:cNvSpPr>
            <a:spLocks noChangeArrowheads="1"/>
          </p:cNvSpPr>
          <p:nvPr/>
        </p:nvSpPr>
        <p:spPr bwMode="gray">
          <a:xfrm>
            <a:off x="9970188" y="3109977"/>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6</a:t>
            </a:r>
          </a:p>
        </p:txBody>
      </p:sp>
      <p:sp>
        <p:nvSpPr>
          <p:cNvPr id="33" name="Line 28">
            <a:extLst>
              <a:ext uri="{FF2B5EF4-FFF2-40B4-BE49-F238E27FC236}">
                <a16:creationId xmlns:a16="http://schemas.microsoft.com/office/drawing/2014/main" id="{312CD55C-5FB0-4E6D-A463-1F16AF8532D2}"/>
              </a:ext>
            </a:extLst>
          </p:cNvPr>
          <p:cNvSpPr>
            <a:spLocks noChangeShapeType="1"/>
          </p:cNvSpPr>
          <p:nvPr/>
        </p:nvSpPr>
        <p:spPr bwMode="auto">
          <a:xfrm flipH="1">
            <a:off x="4323113" y="2345516"/>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4" name="Line 28">
            <a:extLst>
              <a:ext uri="{FF2B5EF4-FFF2-40B4-BE49-F238E27FC236}">
                <a16:creationId xmlns:a16="http://schemas.microsoft.com/office/drawing/2014/main" id="{3751E61F-80AC-4F1D-A479-3A6E82BAF3B1}"/>
              </a:ext>
            </a:extLst>
          </p:cNvPr>
          <p:cNvSpPr>
            <a:spLocks noChangeShapeType="1"/>
          </p:cNvSpPr>
          <p:nvPr/>
        </p:nvSpPr>
        <p:spPr bwMode="auto">
          <a:xfrm flipH="1">
            <a:off x="2092737" y="2623939"/>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5" name="Line 28">
            <a:extLst>
              <a:ext uri="{FF2B5EF4-FFF2-40B4-BE49-F238E27FC236}">
                <a16:creationId xmlns:a16="http://schemas.microsoft.com/office/drawing/2014/main" id="{68083D47-6964-4128-A1EE-ED0743EC6C88}"/>
              </a:ext>
            </a:extLst>
          </p:cNvPr>
          <p:cNvSpPr>
            <a:spLocks noChangeShapeType="1"/>
          </p:cNvSpPr>
          <p:nvPr/>
        </p:nvSpPr>
        <p:spPr bwMode="auto">
          <a:xfrm flipV="1">
            <a:off x="7139127" y="3052259"/>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6" name="Line 28">
            <a:extLst>
              <a:ext uri="{FF2B5EF4-FFF2-40B4-BE49-F238E27FC236}">
                <a16:creationId xmlns:a16="http://schemas.microsoft.com/office/drawing/2014/main" id="{46D2E657-231D-4CAB-8C61-68DEC1453E60}"/>
              </a:ext>
            </a:extLst>
          </p:cNvPr>
          <p:cNvSpPr>
            <a:spLocks noChangeShapeType="1"/>
          </p:cNvSpPr>
          <p:nvPr/>
        </p:nvSpPr>
        <p:spPr bwMode="auto">
          <a:xfrm flipV="1">
            <a:off x="10126311" y="2711267"/>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8" name="Content Placeholder 2">
            <a:extLst>
              <a:ext uri="{FF2B5EF4-FFF2-40B4-BE49-F238E27FC236}">
                <a16:creationId xmlns:a16="http://schemas.microsoft.com/office/drawing/2014/main" id="{1CC05C0C-D496-46EE-A944-9B2BB98AFC14}"/>
              </a:ext>
            </a:extLst>
          </p:cNvPr>
          <p:cNvSpPr txBox="1">
            <a:spLocks/>
          </p:cNvSpPr>
          <p:nvPr/>
        </p:nvSpPr>
        <p:spPr>
          <a:xfrm>
            <a:off x="6352681" y="4832737"/>
            <a:ext cx="4394433" cy="1737880"/>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Improvement Opportunities  </a:t>
            </a:r>
          </a:p>
          <a:p>
            <a:pPr marL="230187" lvl="1" indent="-228600">
              <a:buFont typeface="+mj-lt"/>
              <a:buAutoNum type="arabicPeriod"/>
            </a:pPr>
            <a:r>
              <a:rPr lang="en-US" altLang="ja-JP" dirty="0">
                <a:latin typeface="+mj-lt"/>
              </a:rPr>
              <a:t>Branding will help retention and talent acquisition </a:t>
            </a:r>
          </a:p>
          <a:p>
            <a:pPr marL="182563" lvl="1" indent="-182563">
              <a:buFont typeface="Arial" panose="020B0604020202020204" pitchFamily="34" charset="0"/>
              <a:buAutoNum type="arabicPeriod"/>
            </a:pPr>
            <a:r>
              <a:rPr lang="en-US" dirty="0">
                <a:latin typeface="+mj-lt"/>
              </a:rPr>
              <a:t>Form/plan organization not based on the current capabilities but based on future biz. Growth</a:t>
            </a:r>
          </a:p>
          <a:p>
            <a:pPr marL="182563" lvl="1" indent="-182563">
              <a:buFont typeface="Arial" panose="020B0604020202020204" pitchFamily="34" charset="0"/>
              <a:buAutoNum type="arabicPeriod"/>
            </a:pPr>
            <a:r>
              <a:rPr lang="ja-JP" altLang="en-US" dirty="0">
                <a:latin typeface="+mj-lt"/>
              </a:rPr>
              <a:t>“</a:t>
            </a:r>
            <a:r>
              <a:rPr lang="en-US" altLang="ja-JP" dirty="0">
                <a:latin typeface="+mj-lt"/>
              </a:rPr>
              <a:t>Develop self and others” culture has not been cultivated yet</a:t>
            </a:r>
            <a:endParaRPr lang="en-US" dirty="0">
              <a:latin typeface="+mj-lt"/>
            </a:endParaRPr>
          </a:p>
          <a:p>
            <a:pPr lvl="1"/>
            <a:endParaRPr lang="en-US" dirty="0">
              <a:latin typeface="+mj-lt"/>
            </a:endParaRPr>
          </a:p>
          <a:p>
            <a:pPr lvl="1"/>
            <a:endParaRPr lang="en-US" dirty="0">
              <a:latin typeface="+mj-lt"/>
            </a:endParaRPr>
          </a:p>
          <a:p>
            <a:pPr lvl="1"/>
            <a:endParaRPr lang="en-US" dirty="0">
              <a:latin typeface="+mj-lt"/>
            </a:endParaRPr>
          </a:p>
        </p:txBody>
      </p:sp>
    </p:spTree>
    <p:extLst>
      <p:ext uri="{BB962C8B-B14F-4D97-AF65-F5344CB8AC3E}">
        <p14:creationId xmlns:p14="http://schemas.microsoft.com/office/powerpoint/2010/main" val="352381637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26">
            <a:extLst>
              <a:ext uri="{FF2B5EF4-FFF2-40B4-BE49-F238E27FC236}">
                <a16:creationId xmlns:a16="http://schemas.microsoft.com/office/drawing/2014/main" id="{34F2DFF2-F031-4AF1-B0BF-C58B3DB4034E}"/>
              </a:ext>
            </a:extLst>
          </p:cNvPr>
          <p:cNvSpPr>
            <a:spLocks noChangeArrowheads="1"/>
          </p:cNvSpPr>
          <p:nvPr/>
        </p:nvSpPr>
        <p:spPr bwMode="auto">
          <a:xfrm>
            <a:off x="714801" y="1206834"/>
            <a:ext cx="1981619" cy="1172145"/>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Competencies are role-specific, defined jointly by HR and functions, and aligned to strategic priorities; organization has long term view of skills it requires and defines competencies accordingly; key skills are linked to jobs and updated frequently</a:t>
            </a:r>
          </a:p>
        </p:txBody>
      </p:sp>
      <p:sp>
        <p:nvSpPr>
          <p:cNvPr id="4" name="Title 3">
            <a:extLst>
              <a:ext uri="{FF2B5EF4-FFF2-40B4-BE49-F238E27FC236}">
                <a16:creationId xmlns:a16="http://schemas.microsoft.com/office/drawing/2014/main" id="{026705D2-9A1E-4A1F-80F4-6BC1AE8E4025}"/>
              </a:ext>
            </a:extLst>
          </p:cNvPr>
          <p:cNvSpPr>
            <a:spLocks noGrp="1"/>
          </p:cNvSpPr>
          <p:nvPr>
            <p:ph type="title"/>
          </p:nvPr>
        </p:nvSpPr>
        <p:spPr>
          <a:xfrm>
            <a:off x="469900" y="402587"/>
            <a:ext cx="11252200" cy="334102"/>
          </a:xfrm>
        </p:spPr>
        <p:txBody>
          <a:bodyPr/>
          <a:lstStyle/>
          <a:p>
            <a:pPr lvl="0" defTabSz="914400">
              <a:defRPr/>
            </a:pPr>
            <a:r>
              <a:rPr lang="en-US" sz="2400" b="1" dirty="0">
                <a:solidFill>
                  <a:prstClr val="black"/>
                </a:solidFill>
              </a:rPr>
              <a:t>R&amp;D Talent</a:t>
            </a:r>
          </a:p>
        </p:txBody>
      </p:sp>
      <p:sp>
        <p:nvSpPr>
          <p:cNvPr id="53" name="Rectangle 4">
            <a:extLst>
              <a:ext uri="{FF2B5EF4-FFF2-40B4-BE49-F238E27FC236}">
                <a16:creationId xmlns:a16="http://schemas.microsoft.com/office/drawing/2014/main" id="{D55C8F7B-0DEE-4B8B-A316-50F447A87FF9}"/>
              </a:ext>
            </a:extLst>
          </p:cNvPr>
          <p:cNvSpPr>
            <a:spLocks noChangeArrowheads="1"/>
          </p:cNvSpPr>
          <p:nvPr/>
        </p:nvSpPr>
        <p:spPr bwMode="auto">
          <a:xfrm>
            <a:off x="714801" y="5416422"/>
            <a:ext cx="1981619" cy="731520"/>
          </a:xfrm>
          <a:prstGeom prst="roundRect">
            <a:avLst/>
          </a:prstGeom>
          <a:solidFill>
            <a:srgbClr val="A3B400"/>
          </a:solidFill>
          <a:ln w="12700" algn="ctr">
            <a:solidFill>
              <a:schemeClr val="tx1"/>
            </a:solidFill>
            <a:miter lim="800000"/>
            <a:headEnd/>
            <a:tailEnd/>
          </a:ln>
        </p:spPr>
        <p:txBody>
          <a:bodyPr lIns="18288" tIns="0" rIns="18288" bIns="0" anchor="ctr"/>
          <a:lstStyle/>
          <a:p>
            <a:pPr marL="0" marR="0" lvl="0" indent="0" algn="ctr" defTabSz="1219170" rtl="0" eaLnBrk="0" fontAlgn="auto" latinLnBrk="0" hangingPunct="0">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a:ea typeface="+mn-ea"/>
                <a:cs typeface="Arial" pitchFamily="34" charset="0"/>
              </a:rPr>
              <a:t>Skill &amp; Proficiency Definition and Planning</a:t>
            </a:r>
          </a:p>
        </p:txBody>
      </p:sp>
      <p:sp>
        <p:nvSpPr>
          <p:cNvPr id="54" name="Rectangle 7">
            <a:extLst>
              <a:ext uri="{FF2B5EF4-FFF2-40B4-BE49-F238E27FC236}">
                <a16:creationId xmlns:a16="http://schemas.microsoft.com/office/drawing/2014/main" id="{A67DF007-CCFE-4694-8FFC-EBCC95207769}"/>
              </a:ext>
            </a:extLst>
          </p:cNvPr>
          <p:cNvSpPr>
            <a:spLocks noChangeArrowheads="1"/>
          </p:cNvSpPr>
          <p:nvPr/>
        </p:nvSpPr>
        <p:spPr bwMode="auto">
          <a:xfrm>
            <a:off x="6486396" y="5416422"/>
            <a:ext cx="1981619" cy="731520"/>
          </a:xfrm>
          <a:prstGeom prst="roundRect">
            <a:avLst/>
          </a:prstGeom>
          <a:solidFill>
            <a:srgbClr val="A3B400"/>
          </a:solidFill>
          <a:ln w="12700" algn="ctr">
            <a:solidFill>
              <a:schemeClr val="tx1"/>
            </a:solidFill>
            <a:miter lim="800000"/>
            <a:headEnd/>
            <a:tailEnd/>
          </a:ln>
        </p:spPr>
        <p:txBody>
          <a:bodyPr lIns="18288" tIns="0" rIns="18288" bIns="0"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a:ea typeface="+mn-ea"/>
                <a:cs typeface="Arial" pitchFamily="34" charset="0"/>
              </a:rPr>
              <a:t>Knowledge Management</a:t>
            </a:r>
          </a:p>
        </p:txBody>
      </p:sp>
      <p:sp>
        <p:nvSpPr>
          <p:cNvPr id="55" name="Rectangle 10">
            <a:extLst>
              <a:ext uri="{FF2B5EF4-FFF2-40B4-BE49-F238E27FC236}">
                <a16:creationId xmlns:a16="http://schemas.microsoft.com/office/drawing/2014/main" id="{66BAAA36-0575-4A12-958C-7C53A7023DCB}"/>
              </a:ext>
            </a:extLst>
          </p:cNvPr>
          <p:cNvSpPr>
            <a:spLocks noChangeArrowheads="1"/>
          </p:cNvSpPr>
          <p:nvPr/>
        </p:nvSpPr>
        <p:spPr bwMode="auto">
          <a:xfrm>
            <a:off x="3600598" y="5416422"/>
            <a:ext cx="1981619" cy="731520"/>
          </a:xfrm>
          <a:prstGeom prst="roundRect">
            <a:avLst/>
          </a:prstGeom>
          <a:solidFill>
            <a:srgbClr val="A3B400"/>
          </a:solidFill>
          <a:ln w="12700" algn="ctr">
            <a:solidFill>
              <a:schemeClr val="tx1"/>
            </a:solidFill>
            <a:miter lim="800000"/>
            <a:headEnd/>
            <a:tailEnd/>
          </a:ln>
        </p:spPr>
        <p:txBody>
          <a:bodyPr lIns="18288" tIns="0" rIns="18288" bIns="0"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en-US" sz="1000" b="1" i="0" u="none" strike="noStrike" kern="0" cap="none" spc="0" normalizeH="0" baseline="0" noProof="0" dirty="0">
                <a:ln>
                  <a:noFill/>
                </a:ln>
                <a:solidFill>
                  <a:prstClr val="white"/>
                </a:solidFill>
                <a:effectLst/>
                <a:uLnTx/>
                <a:uFillTx/>
                <a:latin typeface="Verdana"/>
                <a:ea typeface="+mn-ea"/>
                <a:cs typeface="Arial" pitchFamily="34" charset="0"/>
              </a:rPr>
              <a:t>Talent Recruitment &amp; Retention</a:t>
            </a:r>
          </a:p>
        </p:txBody>
      </p:sp>
      <p:sp>
        <p:nvSpPr>
          <p:cNvPr id="56" name="Rectangle 7">
            <a:extLst>
              <a:ext uri="{FF2B5EF4-FFF2-40B4-BE49-F238E27FC236}">
                <a16:creationId xmlns:a16="http://schemas.microsoft.com/office/drawing/2014/main" id="{46445F54-D329-4089-B801-24BF6302709F}"/>
              </a:ext>
            </a:extLst>
          </p:cNvPr>
          <p:cNvSpPr>
            <a:spLocks noChangeArrowheads="1"/>
          </p:cNvSpPr>
          <p:nvPr/>
        </p:nvSpPr>
        <p:spPr bwMode="auto">
          <a:xfrm>
            <a:off x="9372191" y="5416422"/>
            <a:ext cx="1981619" cy="731520"/>
          </a:xfrm>
          <a:prstGeom prst="roundRect">
            <a:avLst/>
          </a:prstGeom>
          <a:solidFill>
            <a:srgbClr val="A3B400"/>
          </a:solidFill>
          <a:ln w="12700" algn="ctr">
            <a:solidFill>
              <a:schemeClr val="tx1"/>
            </a:solidFill>
            <a:miter lim="800000"/>
            <a:headEnd/>
            <a:tailEnd/>
          </a:ln>
        </p:spPr>
        <p:txBody>
          <a:bodyPr lIns="18288" tIns="0" rIns="18288" bIns="0"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a:ea typeface="+mn-ea"/>
                <a:cs typeface="Arial" pitchFamily="34" charset="0"/>
              </a:rPr>
              <a:t>Learning &amp; Development</a:t>
            </a:r>
          </a:p>
        </p:txBody>
      </p:sp>
      <p:sp>
        <p:nvSpPr>
          <p:cNvPr id="58" name="Text Box 28">
            <a:extLst>
              <a:ext uri="{FF2B5EF4-FFF2-40B4-BE49-F238E27FC236}">
                <a16:creationId xmlns:a16="http://schemas.microsoft.com/office/drawing/2014/main" id="{9AFD16F3-9026-40D3-8BBE-1D206E17504D}"/>
              </a:ext>
            </a:extLst>
          </p:cNvPr>
          <p:cNvSpPr txBox="1">
            <a:spLocks noChangeArrowheads="1"/>
          </p:cNvSpPr>
          <p:nvPr/>
        </p:nvSpPr>
        <p:spPr bwMode="auto">
          <a:xfrm>
            <a:off x="232751" y="954777"/>
            <a:ext cx="850504" cy="236337"/>
          </a:xfrm>
          <a:prstGeom prst="rect">
            <a:avLst/>
          </a:prstGeom>
          <a:noFill/>
          <a:ln w="25400">
            <a:noFill/>
            <a:miter lim="800000"/>
            <a:headEnd/>
            <a:tailEnd type="none" w="med" len="lg"/>
          </a:ln>
        </p:spPr>
        <p:txBody>
          <a:bodyPr wrap="square" lIns="0" tIns="54859" rIns="109718" bIns="54859">
            <a:spAutoFit/>
          </a:bodyPr>
          <a:lstStyle/>
          <a:p>
            <a:pPr marL="274320" marR="0" lvl="0" indent="-274320" algn="r" defTabSz="1082040" rtl="0" eaLnBrk="0" fontAlgn="base" latinLnBrk="0" hangingPunct="0">
              <a:lnSpc>
                <a:spcPct val="85000"/>
              </a:lnSpc>
              <a:spcBef>
                <a:spcPct val="0"/>
              </a:spcBef>
              <a:spcAft>
                <a:spcPct val="0"/>
              </a:spcAft>
              <a:buClr>
                <a:srgbClr val="8099CC"/>
              </a:buClr>
              <a:buSzTx/>
              <a:buFontTx/>
              <a:buNone/>
              <a:tabLst/>
              <a:defRPr/>
            </a:pPr>
            <a:r>
              <a:rPr kumimoji="0" lang="en-US" altLang="en-US" sz="960" b="1" i="0" u="none" strike="noStrike" kern="1200" cap="none" spc="0" normalizeH="0" baseline="0" noProof="0" dirty="0">
                <a:ln>
                  <a:noFill/>
                </a:ln>
                <a:solidFill>
                  <a:srgbClr val="000000"/>
                </a:solidFill>
                <a:effectLst/>
                <a:uLnTx/>
                <a:uFillTx/>
                <a:latin typeface="Arial" charset="0"/>
                <a:ea typeface="+mn-ea"/>
                <a:cs typeface="Arial" charset="0"/>
              </a:rPr>
              <a:t>Maturity</a:t>
            </a:r>
          </a:p>
        </p:txBody>
      </p:sp>
      <p:sp>
        <p:nvSpPr>
          <p:cNvPr id="59" name="Text Box 11">
            <a:extLst>
              <a:ext uri="{FF2B5EF4-FFF2-40B4-BE49-F238E27FC236}">
                <a16:creationId xmlns:a16="http://schemas.microsoft.com/office/drawing/2014/main" id="{7AEC346F-D1BF-4451-99B6-AF89642D698E}"/>
              </a:ext>
            </a:extLst>
          </p:cNvPr>
          <p:cNvSpPr txBox="1">
            <a:spLocks noChangeArrowheads="1"/>
          </p:cNvSpPr>
          <p:nvPr/>
        </p:nvSpPr>
        <p:spPr bwMode="auto">
          <a:xfrm rot="-5400000">
            <a:off x="91599" y="4355441"/>
            <a:ext cx="574558" cy="322882"/>
          </a:xfrm>
          <a:prstGeom prst="rect">
            <a:avLst/>
          </a:prstGeom>
          <a:noFill/>
          <a:ln w="12700" algn="ctr">
            <a:noFill/>
            <a:miter lim="800000"/>
            <a:headEnd/>
            <a:tailEnd/>
          </a:ln>
        </p:spPr>
        <p:txBody>
          <a:bodyPr lIns="0" tIns="0" rIns="0" bIns="0" anchor="b"/>
          <a:lstStyle/>
          <a:p>
            <a:pPr marL="0" marR="0" lvl="0" indent="0" algn="ctr" defTabSz="1082040" rtl="0" eaLnBrk="0" fontAlgn="base" latinLnBrk="0" hangingPunct="0">
              <a:lnSpc>
                <a:spcPct val="90000"/>
              </a:lnSpc>
              <a:spcBef>
                <a:spcPct val="50000"/>
              </a:spcBef>
              <a:spcAft>
                <a:spcPct val="0"/>
              </a:spcAft>
              <a:buClr>
                <a:srgbClr val="8099CC"/>
              </a:buClr>
              <a:buSzPct val="100000"/>
              <a:buFontTx/>
              <a:buNone/>
              <a:tabLst/>
              <a:defRPr/>
            </a:pPr>
            <a:r>
              <a:rPr kumimoji="0" lang="en-US" sz="960" b="1" i="0" u="none" strike="noStrike" kern="1200" cap="none" spc="0" normalizeH="0" baseline="0" noProof="0" dirty="0">
                <a:ln>
                  <a:noFill/>
                </a:ln>
                <a:solidFill>
                  <a:srgbClr val="000000"/>
                </a:solidFill>
                <a:effectLst/>
                <a:uLnTx/>
                <a:uFillTx/>
                <a:latin typeface="Arial" charset="0"/>
                <a:ea typeface="+mn-ea"/>
                <a:cs typeface="Arial" charset="0"/>
              </a:rPr>
              <a:t>Low</a:t>
            </a:r>
          </a:p>
        </p:txBody>
      </p:sp>
      <p:sp>
        <p:nvSpPr>
          <p:cNvPr id="67" name="Text Box 12">
            <a:extLst>
              <a:ext uri="{FF2B5EF4-FFF2-40B4-BE49-F238E27FC236}">
                <a16:creationId xmlns:a16="http://schemas.microsoft.com/office/drawing/2014/main" id="{09765549-8070-4429-A9A3-09A22C90AE49}"/>
              </a:ext>
            </a:extLst>
          </p:cNvPr>
          <p:cNvSpPr txBox="1">
            <a:spLocks noChangeArrowheads="1"/>
          </p:cNvSpPr>
          <p:nvPr/>
        </p:nvSpPr>
        <p:spPr bwMode="auto">
          <a:xfrm rot="-5400000">
            <a:off x="139476" y="1652373"/>
            <a:ext cx="649841" cy="248914"/>
          </a:xfrm>
          <a:prstGeom prst="rect">
            <a:avLst/>
          </a:prstGeom>
          <a:noFill/>
          <a:ln w="12700" algn="ctr">
            <a:noFill/>
            <a:miter lim="800000"/>
            <a:headEnd/>
            <a:tailEnd/>
          </a:ln>
        </p:spPr>
        <p:txBody>
          <a:bodyPr wrap="square" lIns="0" rIns="0" anchor="b">
            <a:spAutoFit/>
          </a:bodyPr>
          <a:lstStyle/>
          <a:p>
            <a:pPr marL="0" marR="0" lvl="0" indent="0" algn="ctr" defTabSz="1097280" rtl="0" eaLnBrk="0" fontAlgn="base" latinLnBrk="0" hangingPunct="0">
              <a:lnSpc>
                <a:spcPct val="106000"/>
              </a:lnSpc>
              <a:spcBef>
                <a:spcPct val="50000"/>
              </a:spcBef>
              <a:spcAft>
                <a:spcPct val="0"/>
              </a:spcAft>
              <a:buClrTx/>
              <a:buSzPct val="100000"/>
              <a:buFontTx/>
              <a:buNone/>
              <a:tabLst/>
              <a:defRPr/>
            </a:pPr>
            <a:r>
              <a:rPr kumimoji="0" lang="en-US" sz="960" b="1" i="0" u="none" strike="noStrike" kern="1200" cap="none" spc="0" normalizeH="0" baseline="0" noProof="0" dirty="0">
                <a:ln>
                  <a:noFill/>
                </a:ln>
                <a:solidFill>
                  <a:srgbClr val="000000"/>
                </a:solidFill>
                <a:effectLst/>
                <a:uLnTx/>
                <a:uFillTx/>
                <a:latin typeface="Arial" charset="0"/>
                <a:ea typeface="+mn-ea"/>
                <a:cs typeface="Arial" charset="0"/>
              </a:rPr>
              <a:t>Advanced</a:t>
            </a:r>
          </a:p>
        </p:txBody>
      </p:sp>
      <p:sp>
        <p:nvSpPr>
          <p:cNvPr id="68" name="Text Box 13">
            <a:extLst>
              <a:ext uri="{FF2B5EF4-FFF2-40B4-BE49-F238E27FC236}">
                <a16:creationId xmlns:a16="http://schemas.microsoft.com/office/drawing/2014/main" id="{CCA2212D-D56A-4B91-965B-BC56CDAC6AAF}"/>
              </a:ext>
            </a:extLst>
          </p:cNvPr>
          <p:cNvSpPr txBox="1">
            <a:spLocks noChangeArrowheads="1"/>
          </p:cNvSpPr>
          <p:nvPr/>
        </p:nvSpPr>
        <p:spPr bwMode="auto">
          <a:xfrm rot="-5400000">
            <a:off x="196119" y="3020165"/>
            <a:ext cx="544176" cy="248914"/>
          </a:xfrm>
          <a:prstGeom prst="rect">
            <a:avLst/>
          </a:prstGeom>
          <a:noFill/>
          <a:ln w="12700" algn="ctr">
            <a:noFill/>
            <a:miter lim="800000"/>
            <a:headEnd/>
            <a:tailEnd/>
          </a:ln>
        </p:spPr>
        <p:txBody>
          <a:bodyPr wrap="square" lIns="0" rIns="0" anchor="b">
            <a:spAutoFit/>
          </a:bodyPr>
          <a:lstStyle/>
          <a:p>
            <a:pPr marL="0" marR="0" lvl="0" indent="0" algn="ctr" defTabSz="1097280" rtl="0" eaLnBrk="0" fontAlgn="base" latinLnBrk="0" hangingPunct="0">
              <a:lnSpc>
                <a:spcPct val="106000"/>
              </a:lnSpc>
              <a:spcBef>
                <a:spcPct val="50000"/>
              </a:spcBef>
              <a:spcAft>
                <a:spcPct val="0"/>
              </a:spcAft>
              <a:buClrTx/>
              <a:buSzPct val="100000"/>
              <a:buFontTx/>
              <a:buNone/>
              <a:tabLst/>
              <a:defRPr/>
            </a:pPr>
            <a:r>
              <a:rPr kumimoji="0" lang="en-US" sz="960" b="1" i="0" u="none" strike="noStrike" kern="1200" cap="none" spc="0" normalizeH="0" baseline="0" noProof="0" dirty="0">
                <a:ln>
                  <a:noFill/>
                </a:ln>
                <a:solidFill>
                  <a:srgbClr val="000000"/>
                </a:solidFill>
                <a:effectLst/>
                <a:uLnTx/>
                <a:uFillTx/>
                <a:latin typeface="Arial" charset="0"/>
                <a:ea typeface="+mn-ea"/>
                <a:cs typeface="Arial" charset="0"/>
              </a:rPr>
              <a:t>Basic</a:t>
            </a:r>
          </a:p>
        </p:txBody>
      </p:sp>
      <p:grpSp>
        <p:nvGrpSpPr>
          <p:cNvPr id="69" name="Group 68">
            <a:extLst>
              <a:ext uri="{FF2B5EF4-FFF2-40B4-BE49-F238E27FC236}">
                <a16:creationId xmlns:a16="http://schemas.microsoft.com/office/drawing/2014/main" id="{1857B454-9BB2-4532-88A6-7D2F0A4A7ECA}"/>
              </a:ext>
            </a:extLst>
          </p:cNvPr>
          <p:cNvGrpSpPr/>
          <p:nvPr/>
        </p:nvGrpSpPr>
        <p:grpSpPr>
          <a:xfrm>
            <a:off x="602971" y="1211825"/>
            <a:ext cx="10750837" cy="4031777"/>
            <a:chOff x="1092839" y="1211825"/>
            <a:chExt cx="10290659" cy="4031777"/>
          </a:xfrm>
        </p:grpSpPr>
        <p:sp>
          <p:nvSpPr>
            <p:cNvPr id="70" name="Line 16">
              <a:extLst>
                <a:ext uri="{FF2B5EF4-FFF2-40B4-BE49-F238E27FC236}">
                  <a16:creationId xmlns:a16="http://schemas.microsoft.com/office/drawing/2014/main" id="{DFFD5FFC-7EE1-4B1D-A1A4-9C36CD3ABBF2}"/>
                </a:ext>
              </a:extLst>
            </p:cNvPr>
            <p:cNvSpPr>
              <a:spLocks noChangeShapeType="1"/>
            </p:cNvSpPr>
            <p:nvPr/>
          </p:nvSpPr>
          <p:spPr bwMode="auto">
            <a:xfrm flipV="1">
              <a:off x="1092839" y="5243602"/>
              <a:ext cx="10290659" cy="0"/>
            </a:xfrm>
            <a:prstGeom prst="line">
              <a:avLst/>
            </a:prstGeom>
            <a:noFill/>
            <a:ln w="38100">
              <a:solidFill>
                <a:schemeClr val="tx1"/>
              </a:solidFill>
              <a:round/>
              <a:headEnd/>
              <a:tailEnd/>
            </a:ln>
          </p:spPr>
          <p:txBody>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96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8" name="Line 15">
              <a:extLst>
                <a:ext uri="{FF2B5EF4-FFF2-40B4-BE49-F238E27FC236}">
                  <a16:creationId xmlns:a16="http://schemas.microsoft.com/office/drawing/2014/main" id="{3BE836A4-065B-44CC-A485-E5F0287127B4}"/>
                </a:ext>
              </a:extLst>
            </p:cNvPr>
            <p:cNvSpPr>
              <a:spLocks noChangeShapeType="1"/>
            </p:cNvSpPr>
            <p:nvPr/>
          </p:nvSpPr>
          <p:spPr bwMode="auto">
            <a:xfrm flipV="1">
              <a:off x="1111657" y="1211825"/>
              <a:ext cx="0" cy="4031776"/>
            </a:xfrm>
            <a:prstGeom prst="line">
              <a:avLst/>
            </a:prstGeom>
            <a:noFill/>
            <a:ln w="38100">
              <a:solidFill>
                <a:srgbClr val="000066"/>
              </a:solidFill>
              <a:round/>
              <a:headEnd/>
              <a:tailEnd type="triangle" w="med" len="med"/>
            </a:ln>
          </p:spPr>
          <p:txBody>
            <a:bodyPr/>
            <a:lstStyle/>
            <a:p>
              <a:pPr marL="0" marR="0" lvl="0" indent="0" algn="l" defTabSz="1097280" rtl="0" eaLnBrk="0" fontAlgn="auto" latinLnBrk="0" hangingPunct="0">
                <a:lnSpc>
                  <a:spcPct val="106000"/>
                </a:lnSpc>
                <a:spcBef>
                  <a:spcPct val="50000"/>
                </a:spcBef>
                <a:spcAft>
                  <a:spcPts val="0"/>
                </a:spcAft>
                <a:buClrTx/>
                <a:buSzPct val="100000"/>
                <a:buFontTx/>
                <a:buNone/>
                <a:tabLst/>
                <a:defRPr/>
              </a:pPr>
              <a:endParaRPr kumimoji="0" lang="en-US" sz="960" b="0" i="0" u="none" strike="noStrike" kern="0" cap="none" spc="0" normalizeH="0" baseline="0" noProof="0" dirty="0">
                <a:ln>
                  <a:noFill/>
                </a:ln>
                <a:solidFill>
                  <a:srgbClr val="000000"/>
                </a:solidFill>
                <a:effectLst/>
                <a:uLnTx/>
                <a:uFillTx/>
                <a:latin typeface="Arial"/>
                <a:ea typeface="+mn-ea"/>
                <a:cs typeface="Arial" charset="0"/>
              </a:endParaRPr>
            </a:p>
          </p:txBody>
        </p:sp>
      </p:grpSp>
      <p:cxnSp>
        <p:nvCxnSpPr>
          <p:cNvPr id="79" name="AutoShape 55">
            <a:extLst>
              <a:ext uri="{FF2B5EF4-FFF2-40B4-BE49-F238E27FC236}">
                <a16:creationId xmlns:a16="http://schemas.microsoft.com/office/drawing/2014/main" id="{E54B20A4-7CFC-4DDC-98B8-042DC008A437}"/>
              </a:ext>
            </a:extLst>
          </p:cNvPr>
          <p:cNvCxnSpPr>
            <a:cxnSpLocks noChangeShapeType="1"/>
          </p:cNvCxnSpPr>
          <p:nvPr/>
        </p:nvCxnSpPr>
        <p:spPr bwMode="auto">
          <a:xfrm flipV="1">
            <a:off x="1705611" y="2384253"/>
            <a:ext cx="0" cy="186411"/>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80" name="AutoShape 55">
            <a:extLst>
              <a:ext uri="{FF2B5EF4-FFF2-40B4-BE49-F238E27FC236}">
                <a16:creationId xmlns:a16="http://schemas.microsoft.com/office/drawing/2014/main" id="{BD453C82-40AE-4515-A765-B06DE5372AD7}"/>
              </a:ext>
            </a:extLst>
          </p:cNvPr>
          <p:cNvCxnSpPr>
            <a:cxnSpLocks noChangeShapeType="1"/>
          </p:cNvCxnSpPr>
          <p:nvPr/>
        </p:nvCxnSpPr>
        <p:spPr bwMode="auto">
          <a:xfrm flipV="1">
            <a:off x="1705611" y="3742810"/>
            <a:ext cx="0" cy="177199"/>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sp>
        <p:nvSpPr>
          <p:cNvPr id="83" name="Rectangle 18">
            <a:extLst>
              <a:ext uri="{FF2B5EF4-FFF2-40B4-BE49-F238E27FC236}">
                <a16:creationId xmlns:a16="http://schemas.microsoft.com/office/drawing/2014/main" id="{B8160963-7F88-4CC5-87AA-342DA95101F5}"/>
              </a:ext>
            </a:extLst>
          </p:cNvPr>
          <p:cNvSpPr>
            <a:spLocks noChangeArrowheads="1"/>
          </p:cNvSpPr>
          <p:nvPr/>
        </p:nvSpPr>
        <p:spPr bwMode="auto">
          <a:xfrm>
            <a:off x="714801" y="3914735"/>
            <a:ext cx="1981619" cy="1172145"/>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No formal competency model or behavioral definitions exist; no formal skills and proficiency planning process exists at functional level</a:t>
            </a:r>
          </a:p>
        </p:txBody>
      </p:sp>
      <p:sp>
        <p:nvSpPr>
          <p:cNvPr id="85" name="Rectangle: Rounded Corners 84">
            <a:extLst>
              <a:ext uri="{FF2B5EF4-FFF2-40B4-BE49-F238E27FC236}">
                <a16:creationId xmlns:a16="http://schemas.microsoft.com/office/drawing/2014/main" id="{263FE376-BF6E-42B5-BC0E-625F882F90FD}"/>
              </a:ext>
            </a:extLst>
          </p:cNvPr>
          <p:cNvSpPr>
            <a:spLocks noChangeArrowheads="1"/>
          </p:cNvSpPr>
          <p:nvPr/>
        </p:nvSpPr>
        <p:spPr bwMode="auto">
          <a:xfrm>
            <a:off x="714801" y="2565390"/>
            <a:ext cx="1981619" cy="1172145"/>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Leadership and functional competencies defined by HR; skills and proficiency planning occurs within functions but not aligned to formal strategy; skills are not linked to jobs</a:t>
            </a:r>
          </a:p>
        </p:txBody>
      </p:sp>
      <p:sp>
        <p:nvSpPr>
          <p:cNvPr id="86" name="Rectangle 21">
            <a:extLst>
              <a:ext uri="{FF2B5EF4-FFF2-40B4-BE49-F238E27FC236}">
                <a16:creationId xmlns:a16="http://schemas.microsoft.com/office/drawing/2014/main" id="{53ACA2E7-0F32-4E8E-9F71-383BE1387082}"/>
              </a:ext>
            </a:extLst>
          </p:cNvPr>
          <p:cNvSpPr>
            <a:spLocks noChangeArrowheads="1"/>
          </p:cNvSpPr>
          <p:nvPr/>
        </p:nvSpPr>
        <p:spPr bwMode="auto">
          <a:xfrm>
            <a:off x="6486395" y="3914735"/>
            <a:ext cx="1981619" cy="1172145"/>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No consistent approach to knowledge management (KM) across functions</a:t>
            </a:r>
          </a:p>
        </p:txBody>
      </p:sp>
      <p:sp>
        <p:nvSpPr>
          <p:cNvPr id="87" name="Rectangle 29">
            <a:extLst>
              <a:ext uri="{FF2B5EF4-FFF2-40B4-BE49-F238E27FC236}">
                <a16:creationId xmlns:a16="http://schemas.microsoft.com/office/drawing/2014/main" id="{045D7AAF-A069-4D15-B6A4-2C110DFE41F3}"/>
              </a:ext>
            </a:extLst>
          </p:cNvPr>
          <p:cNvSpPr>
            <a:spLocks noChangeArrowheads="1"/>
          </p:cNvSpPr>
          <p:nvPr/>
        </p:nvSpPr>
        <p:spPr bwMode="auto">
          <a:xfrm>
            <a:off x="6486396" y="1206834"/>
            <a:ext cx="1981619" cy="1172145"/>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Knowledge management (KM) is focused on information sharing and connecting people; methods, tools, and processes are in place to enable knowledge sharing across the organization</a:t>
            </a:r>
          </a:p>
        </p:txBody>
      </p:sp>
      <p:sp>
        <p:nvSpPr>
          <p:cNvPr id="88" name="Rectangle 37">
            <a:extLst>
              <a:ext uri="{FF2B5EF4-FFF2-40B4-BE49-F238E27FC236}">
                <a16:creationId xmlns:a16="http://schemas.microsoft.com/office/drawing/2014/main" id="{1DFCA3CC-5DED-4253-A1AD-7F4220C2CF3F}"/>
              </a:ext>
            </a:extLst>
          </p:cNvPr>
          <p:cNvSpPr>
            <a:spLocks noChangeArrowheads="1"/>
          </p:cNvSpPr>
          <p:nvPr/>
        </p:nvSpPr>
        <p:spPr bwMode="auto">
          <a:xfrm>
            <a:off x="6486396" y="2565390"/>
            <a:ext cx="1981619" cy="1172145"/>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Some formal KM strategies exists at group or functional level; leaders model and drive the right KM sharing and collaborative behaviors</a:t>
            </a:r>
          </a:p>
        </p:txBody>
      </p:sp>
      <p:cxnSp>
        <p:nvCxnSpPr>
          <p:cNvPr id="89" name="AutoShape 57">
            <a:extLst>
              <a:ext uri="{FF2B5EF4-FFF2-40B4-BE49-F238E27FC236}">
                <a16:creationId xmlns:a16="http://schemas.microsoft.com/office/drawing/2014/main" id="{7E5EA7E9-9497-4656-9189-C71E23B4BC46}"/>
              </a:ext>
            </a:extLst>
          </p:cNvPr>
          <p:cNvCxnSpPr>
            <a:cxnSpLocks noChangeShapeType="1"/>
          </p:cNvCxnSpPr>
          <p:nvPr/>
        </p:nvCxnSpPr>
        <p:spPr bwMode="auto">
          <a:xfrm flipV="1">
            <a:off x="7477204" y="2384253"/>
            <a:ext cx="0" cy="186411"/>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90" name="AutoShape 57">
            <a:extLst>
              <a:ext uri="{FF2B5EF4-FFF2-40B4-BE49-F238E27FC236}">
                <a16:creationId xmlns:a16="http://schemas.microsoft.com/office/drawing/2014/main" id="{82691978-6879-4E14-8BBF-F2B960825002}"/>
              </a:ext>
            </a:extLst>
          </p:cNvPr>
          <p:cNvCxnSpPr>
            <a:cxnSpLocks noChangeShapeType="1"/>
          </p:cNvCxnSpPr>
          <p:nvPr/>
        </p:nvCxnSpPr>
        <p:spPr bwMode="auto">
          <a:xfrm flipV="1">
            <a:off x="7477204" y="3742810"/>
            <a:ext cx="0" cy="177199"/>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sp>
        <p:nvSpPr>
          <p:cNvPr id="92" name="Rectangle 24">
            <a:extLst>
              <a:ext uri="{FF2B5EF4-FFF2-40B4-BE49-F238E27FC236}">
                <a16:creationId xmlns:a16="http://schemas.microsoft.com/office/drawing/2014/main" id="{35D94D7A-1DF8-4300-9217-5012D0254F3D}"/>
              </a:ext>
            </a:extLst>
          </p:cNvPr>
          <p:cNvSpPr>
            <a:spLocks noChangeArrowheads="1"/>
          </p:cNvSpPr>
          <p:nvPr/>
        </p:nvSpPr>
        <p:spPr bwMode="auto">
          <a:xfrm>
            <a:off x="3600598" y="3914735"/>
            <a:ext cx="1981619" cy="1172145"/>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alt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Minimal link between recruiting efforts and corporate goals; No formal retention program for high-potential employees; recruiting performed  reactively</a:t>
            </a:r>
          </a:p>
        </p:txBody>
      </p:sp>
      <p:sp>
        <p:nvSpPr>
          <p:cNvPr id="95" name="Rectangle 32">
            <a:extLst>
              <a:ext uri="{FF2B5EF4-FFF2-40B4-BE49-F238E27FC236}">
                <a16:creationId xmlns:a16="http://schemas.microsoft.com/office/drawing/2014/main" id="{B02D67EA-9BEE-482D-8C33-B9EE14D2E15D}"/>
              </a:ext>
            </a:extLst>
          </p:cNvPr>
          <p:cNvSpPr>
            <a:spLocks noChangeArrowheads="1"/>
          </p:cNvSpPr>
          <p:nvPr/>
        </p:nvSpPr>
        <p:spPr bwMode="auto">
          <a:xfrm>
            <a:off x="3600598" y="1206834"/>
            <a:ext cx="1981619" cy="1172145"/>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alt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Managers work strategically and proactively with recruiters to source talent; strong tools &amp; systems in place for talent sourcing; retention programs are in place and used effectively</a:t>
            </a:r>
          </a:p>
        </p:txBody>
      </p:sp>
      <p:sp>
        <p:nvSpPr>
          <p:cNvPr id="96" name="Rectangle 40">
            <a:extLst>
              <a:ext uri="{FF2B5EF4-FFF2-40B4-BE49-F238E27FC236}">
                <a16:creationId xmlns:a16="http://schemas.microsoft.com/office/drawing/2014/main" id="{949E80E4-A8C0-473B-82B0-8009332E45AD}"/>
              </a:ext>
            </a:extLst>
          </p:cNvPr>
          <p:cNvSpPr>
            <a:spLocks noChangeArrowheads="1"/>
          </p:cNvSpPr>
          <p:nvPr/>
        </p:nvSpPr>
        <p:spPr bwMode="auto">
          <a:xfrm>
            <a:off x="3600598" y="2565390"/>
            <a:ext cx="1981619" cy="1172145"/>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alt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Recruiting partners with function leaders to set objectives and align on recruiting needs; formal retention programs for high-potential employees</a:t>
            </a:r>
          </a:p>
        </p:txBody>
      </p:sp>
      <p:cxnSp>
        <p:nvCxnSpPr>
          <p:cNvPr id="97" name="AutoShape 54">
            <a:extLst>
              <a:ext uri="{FF2B5EF4-FFF2-40B4-BE49-F238E27FC236}">
                <a16:creationId xmlns:a16="http://schemas.microsoft.com/office/drawing/2014/main" id="{E08C068F-728A-48FE-A9A4-2CE5D0D328FB}"/>
              </a:ext>
            </a:extLst>
          </p:cNvPr>
          <p:cNvCxnSpPr>
            <a:cxnSpLocks noChangeShapeType="1"/>
          </p:cNvCxnSpPr>
          <p:nvPr/>
        </p:nvCxnSpPr>
        <p:spPr bwMode="auto">
          <a:xfrm flipV="1">
            <a:off x="4591408" y="2384253"/>
            <a:ext cx="0" cy="186411"/>
          </a:xfrm>
          <a:prstGeom prst="straightConnector1">
            <a:avLst/>
          </a:prstGeom>
          <a:noFill/>
          <a:ln w="19050">
            <a:solidFill>
              <a:schemeClr val="tx1"/>
            </a:solidFill>
            <a:round/>
            <a:headEnd/>
            <a:tailEnd type="stealth" w="lg" len="lg"/>
          </a:ln>
        </p:spPr>
      </p:cxnSp>
      <p:cxnSp>
        <p:nvCxnSpPr>
          <p:cNvPr id="98" name="AutoShape 66">
            <a:extLst>
              <a:ext uri="{FF2B5EF4-FFF2-40B4-BE49-F238E27FC236}">
                <a16:creationId xmlns:a16="http://schemas.microsoft.com/office/drawing/2014/main" id="{23A6642E-B4B6-4602-B232-07FD4E04C745}"/>
              </a:ext>
            </a:extLst>
          </p:cNvPr>
          <p:cNvCxnSpPr>
            <a:cxnSpLocks noChangeShapeType="1"/>
          </p:cNvCxnSpPr>
          <p:nvPr/>
        </p:nvCxnSpPr>
        <p:spPr bwMode="auto">
          <a:xfrm flipV="1">
            <a:off x="4591408" y="3742810"/>
            <a:ext cx="0" cy="177199"/>
          </a:xfrm>
          <a:prstGeom prst="straightConnector1">
            <a:avLst/>
          </a:prstGeom>
          <a:noFill/>
          <a:ln w="19050">
            <a:solidFill>
              <a:schemeClr val="tx1"/>
            </a:solidFill>
            <a:round/>
            <a:headEnd/>
            <a:tailEnd type="stealth" w="lg" len="lg"/>
          </a:ln>
        </p:spPr>
      </p:cxnSp>
      <p:sp>
        <p:nvSpPr>
          <p:cNvPr id="99" name="Rectangle 21">
            <a:extLst>
              <a:ext uri="{FF2B5EF4-FFF2-40B4-BE49-F238E27FC236}">
                <a16:creationId xmlns:a16="http://schemas.microsoft.com/office/drawing/2014/main" id="{19B5340C-39C9-4A82-8071-79006BDF0849}"/>
              </a:ext>
            </a:extLst>
          </p:cNvPr>
          <p:cNvSpPr>
            <a:spLocks noChangeArrowheads="1"/>
          </p:cNvSpPr>
          <p:nvPr/>
        </p:nvSpPr>
        <p:spPr bwMode="auto">
          <a:xfrm>
            <a:off x="9372191" y="3914735"/>
            <a:ext cx="1981619" cy="1172145"/>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L&amp;D driven wholly by HR function and focuses primarily on compliance; learning and training largely reactive and locally fragmented</a:t>
            </a:r>
          </a:p>
        </p:txBody>
      </p:sp>
      <p:sp>
        <p:nvSpPr>
          <p:cNvPr id="100" name="Rectangle 29">
            <a:extLst>
              <a:ext uri="{FF2B5EF4-FFF2-40B4-BE49-F238E27FC236}">
                <a16:creationId xmlns:a16="http://schemas.microsoft.com/office/drawing/2014/main" id="{1F785ECC-076B-49DF-9AF2-760C7870446D}"/>
              </a:ext>
            </a:extLst>
          </p:cNvPr>
          <p:cNvSpPr>
            <a:spLocks noChangeArrowheads="1"/>
          </p:cNvSpPr>
          <p:nvPr/>
        </p:nvSpPr>
        <p:spPr bwMode="auto">
          <a:xfrm>
            <a:off x="9372191" y="1206834"/>
            <a:ext cx="1981619" cy="1172145"/>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L&amp;D delivers function-specific development and training opportunities aligned with desired skills and competences; organization rationalizes vendor spend and measures impact</a:t>
            </a:r>
          </a:p>
        </p:txBody>
      </p:sp>
      <p:sp>
        <p:nvSpPr>
          <p:cNvPr id="118" name="Rectangle: Rounded Corners 117">
            <a:extLst>
              <a:ext uri="{FF2B5EF4-FFF2-40B4-BE49-F238E27FC236}">
                <a16:creationId xmlns:a16="http://schemas.microsoft.com/office/drawing/2014/main" id="{A1C87AD3-F3B1-4196-8F97-EFD14738D816}"/>
              </a:ext>
            </a:extLst>
          </p:cNvPr>
          <p:cNvSpPr>
            <a:spLocks noChangeArrowheads="1"/>
          </p:cNvSpPr>
          <p:nvPr/>
        </p:nvSpPr>
        <p:spPr bwMode="auto">
          <a:xfrm>
            <a:off x="9372191" y="2565390"/>
            <a:ext cx="1981619" cy="1172145"/>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L&amp;D considered a partnership between HR and functional leaders; some function-specific programs offered when requested; vendor landscape is fragmented or unknown</a:t>
            </a:r>
          </a:p>
        </p:txBody>
      </p:sp>
      <p:cxnSp>
        <p:nvCxnSpPr>
          <p:cNvPr id="119" name="AutoShape 57">
            <a:extLst>
              <a:ext uri="{FF2B5EF4-FFF2-40B4-BE49-F238E27FC236}">
                <a16:creationId xmlns:a16="http://schemas.microsoft.com/office/drawing/2014/main" id="{AD9F4FEF-3C4E-40E0-ADE1-624CC9E363A0}"/>
              </a:ext>
            </a:extLst>
          </p:cNvPr>
          <p:cNvCxnSpPr>
            <a:cxnSpLocks noChangeShapeType="1"/>
          </p:cNvCxnSpPr>
          <p:nvPr/>
        </p:nvCxnSpPr>
        <p:spPr bwMode="auto">
          <a:xfrm flipV="1">
            <a:off x="10363000" y="2373706"/>
            <a:ext cx="0" cy="186411"/>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20" name="AutoShape 57">
            <a:extLst>
              <a:ext uri="{FF2B5EF4-FFF2-40B4-BE49-F238E27FC236}">
                <a16:creationId xmlns:a16="http://schemas.microsoft.com/office/drawing/2014/main" id="{CCF66788-8F8F-4DB3-B224-AF0FC6D35AFC}"/>
              </a:ext>
            </a:extLst>
          </p:cNvPr>
          <p:cNvCxnSpPr>
            <a:cxnSpLocks noChangeShapeType="1"/>
          </p:cNvCxnSpPr>
          <p:nvPr/>
        </p:nvCxnSpPr>
        <p:spPr bwMode="auto">
          <a:xfrm flipV="1">
            <a:off x="10363000" y="3742810"/>
            <a:ext cx="0" cy="177199"/>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grpSp>
        <p:nvGrpSpPr>
          <p:cNvPr id="47" name="Group 90"/>
          <p:cNvGrpSpPr/>
          <p:nvPr/>
        </p:nvGrpSpPr>
        <p:grpSpPr>
          <a:xfrm>
            <a:off x="8960144" y="237259"/>
            <a:ext cx="2430508" cy="289004"/>
            <a:chOff x="9447824" y="732559"/>
            <a:chExt cx="2430508" cy="289004"/>
          </a:xfrm>
        </p:grpSpPr>
        <p:grpSp>
          <p:nvGrpSpPr>
            <p:cNvPr id="48"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61"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62"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49"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57"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60"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50"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51"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52"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sp>
        <p:nvSpPr>
          <p:cNvPr id="63" name="Freeform 42">
            <a:extLst>
              <a:ext uri="{FF2B5EF4-FFF2-40B4-BE49-F238E27FC236}">
                <a16:creationId xmlns:a16="http://schemas.microsoft.com/office/drawing/2014/main" id="{8865535F-1D28-4834-B01B-219E2A53769E}"/>
              </a:ext>
            </a:extLst>
          </p:cNvPr>
          <p:cNvSpPr/>
          <p:nvPr/>
        </p:nvSpPr>
        <p:spPr bwMode="auto">
          <a:xfrm flipV="1">
            <a:off x="1680151" y="1302163"/>
            <a:ext cx="8697224" cy="983736"/>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1317807 w 7136640"/>
              <a:gd name="connsiteY1" fmla="*/ 54363 h 308134"/>
              <a:gd name="connsiteX2" fmla="*/ 1992056 w 7136640"/>
              <a:gd name="connsiteY2" fmla="*/ 307577 h 308134"/>
              <a:gd name="connsiteX3" fmla="*/ 2642777 w 7136640"/>
              <a:gd name="connsiteY3" fmla="*/ 124402 h 308134"/>
              <a:gd name="connsiteX4" fmla="*/ 3302093 w 7136640"/>
              <a:gd name="connsiteY4" fmla="*/ 189711 h 308134"/>
              <a:gd name="connsiteX5" fmla="*/ 3964644 w 7136640"/>
              <a:gd name="connsiteY5" fmla="*/ 417 h 308134"/>
              <a:gd name="connsiteX6" fmla="*/ 4578995 w 7136640"/>
              <a:gd name="connsiteY6" fmla="*/ 255894 h 308134"/>
              <a:gd name="connsiteX7" fmla="*/ 5236906 w 7136640"/>
              <a:gd name="connsiteY7" fmla="*/ 128120 h 308134"/>
              <a:gd name="connsiteX8" fmla="*/ 5843222 w 7136640"/>
              <a:gd name="connsiteY8" fmla="*/ 271154 h 308134"/>
              <a:gd name="connsiteX9" fmla="*/ 6486411 w 7136640"/>
              <a:gd name="connsiteY9" fmla="*/ 18281 h 308134"/>
              <a:gd name="connsiteX10" fmla="*/ 7136640 w 7136640"/>
              <a:gd name="connsiteY10" fmla="*/ 141032 h 308134"/>
              <a:gd name="connsiteX0" fmla="*/ 0 w 7136640"/>
              <a:gd name="connsiteY0" fmla="*/ 50651 h 308191"/>
              <a:gd name="connsiteX1" fmla="*/ 1992056 w 7136640"/>
              <a:gd name="connsiteY1" fmla="*/ 307577 h 308191"/>
              <a:gd name="connsiteX2" fmla="*/ 2642777 w 7136640"/>
              <a:gd name="connsiteY2" fmla="*/ 124402 h 308191"/>
              <a:gd name="connsiteX3" fmla="*/ 3302093 w 7136640"/>
              <a:gd name="connsiteY3" fmla="*/ 189711 h 308191"/>
              <a:gd name="connsiteX4" fmla="*/ 3964644 w 7136640"/>
              <a:gd name="connsiteY4" fmla="*/ 417 h 308191"/>
              <a:gd name="connsiteX5" fmla="*/ 4578995 w 7136640"/>
              <a:gd name="connsiteY5" fmla="*/ 255894 h 308191"/>
              <a:gd name="connsiteX6" fmla="*/ 5236906 w 7136640"/>
              <a:gd name="connsiteY6" fmla="*/ 128120 h 308191"/>
              <a:gd name="connsiteX7" fmla="*/ 5843222 w 7136640"/>
              <a:gd name="connsiteY7" fmla="*/ 271154 h 308191"/>
              <a:gd name="connsiteX8" fmla="*/ 6486411 w 7136640"/>
              <a:gd name="connsiteY8" fmla="*/ 18281 h 308191"/>
              <a:gd name="connsiteX9" fmla="*/ 7136640 w 7136640"/>
              <a:gd name="connsiteY9" fmla="*/ 141032 h 308191"/>
              <a:gd name="connsiteX0" fmla="*/ 0 w 7136640"/>
              <a:gd name="connsiteY0" fmla="*/ 50651 h 272623"/>
              <a:gd name="connsiteX1" fmla="*/ 2642777 w 7136640"/>
              <a:gd name="connsiteY1" fmla="*/ 124402 h 272623"/>
              <a:gd name="connsiteX2" fmla="*/ 3302093 w 7136640"/>
              <a:gd name="connsiteY2" fmla="*/ 189711 h 272623"/>
              <a:gd name="connsiteX3" fmla="*/ 3964644 w 7136640"/>
              <a:gd name="connsiteY3" fmla="*/ 417 h 272623"/>
              <a:gd name="connsiteX4" fmla="*/ 4578995 w 7136640"/>
              <a:gd name="connsiteY4" fmla="*/ 255894 h 272623"/>
              <a:gd name="connsiteX5" fmla="*/ 5236906 w 7136640"/>
              <a:gd name="connsiteY5" fmla="*/ 128120 h 272623"/>
              <a:gd name="connsiteX6" fmla="*/ 5843222 w 7136640"/>
              <a:gd name="connsiteY6" fmla="*/ 271154 h 272623"/>
              <a:gd name="connsiteX7" fmla="*/ 6486411 w 7136640"/>
              <a:gd name="connsiteY7" fmla="*/ 18281 h 272623"/>
              <a:gd name="connsiteX8" fmla="*/ 7136640 w 7136640"/>
              <a:gd name="connsiteY8" fmla="*/ 141032 h 272623"/>
              <a:gd name="connsiteX0" fmla="*/ 0 w 7136640"/>
              <a:gd name="connsiteY0" fmla="*/ 52596 h 274568"/>
              <a:gd name="connsiteX1" fmla="*/ 2642777 w 7136640"/>
              <a:gd name="connsiteY1" fmla="*/ 126347 h 274568"/>
              <a:gd name="connsiteX2" fmla="*/ 3964644 w 7136640"/>
              <a:gd name="connsiteY2" fmla="*/ 2362 h 274568"/>
              <a:gd name="connsiteX3" fmla="*/ 4578995 w 7136640"/>
              <a:gd name="connsiteY3" fmla="*/ 257839 h 274568"/>
              <a:gd name="connsiteX4" fmla="*/ 5236906 w 7136640"/>
              <a:gd name="connsiteY4" fmla="*/ 130065 h 274568"/>
              <a:gd name="connsiteX5" fmla="*/ 5843222 w 7136640"/>
              <a:gd name="connsiteY5" fmla="*/ 273099 h 274568"/>
              <a:gd name="connsiteX6" fmla="*/ 6486411 w 7136640"/>
              <a:gd name="connsiteY6" fmla="*/ 20226 h 274568"/>
              <a:gd name="connsiteX7" fmla="*/ 7136640 w 7136640"/>
              <a:gd name="connsiteY7" fmla="*/ 142977 h 274568"/>
              <a:gd name="connsiteX0" fmla="*/ 0 w 7136640"/>
              <a:gd name="connsiteY0" fmla="*/ 52596 h 275037"/>
              <a:gd name="connsiteX1" fmla="*/ 2642777 w 7136640"/>
              <a:gd name="connsiteY1" fmla="*/ 126347 h 275037"/>
              <a:gd name="connsiteX2" fmla="*/ 3964644 w 7136640"/>
              <a:gd name="connsiteY2" fmla="*/ 2362 h 275037"/>
              <a:gd name="connsiteX3" fmla="*/ 5236906 w 7136640"/>
              <a:gd name="connsiteY3" fmla="*/ 130065 h 275037"/>
              <a:gd name="connsiteX4" fmla="*/ 5843222 w 7136640"/>
              <a:gd name="connsiteY4" fmla="*/ 273099 h 275037"/>
              <a:gd name="connsiteX5" fmla="*/ 6486411 w 7136640"/>
              <a:gd name="connsiteY5" fmla="*/ 20226 h 275037"/>
              <a:gd name="connsiteX6" fmla="*/ 7136640 w 7136640"/>
              <a:gd name="connsiteY6" fmla="*/ 142977 h 275037"/>
              <a:gd name="connsiteX0" fmla="*/ 0 w 7136640"/>
              <a:gd name="connsiteY0" fmla="*/ 52596 h 273099"/>
              <a:gd name="connsiteX1" fmla="*/ 2642777 w 7136640"/>
              <a:gd name="connsiteY1" fmla="*/ 126347 h 273099"/>
              <a:gd name="connsiteX2" fmla="*/ 3964644 w 7136640"/>
              <a:gd name="connsiteY2" fmla="*/ 2362 h 273099"/>
              <a:gd name="connsiteX3" fmla="*/ 5843222 w 7136640"/>
              <a:gd name="connsiteY3" fmla="*/ 273099 h 273099"/>
              <a:gd name="connsiteX4" fmla="*/ 6486411 w 7136640"/>
              <a:gd name="connsiteY4" fmla="*/ 20226 h 273099"/>
              <a:gd name="connsiteX5" fmla="*/ 7136640 w 7136640"/>
              <a:gd name="connsiteY5" fmla="*/ 142977 h 273099"/>
              <a:gd name="connsiteX0" fmla="*/ 0 w 7136640"/>
              <a:gd name="connsiteY0" fmla="*/ 58671 h 149052"/>
              <a:gd name="connsiteX1" fmla="*/ 2642777 w 7136640"/>
              <a:gd name="connsiteY1" fmla="*/ 132422 h 149052"/>
              <a:gd name="connsiteX2" fmla="*/ 3964644 w 7136640"/>
              <a:gd name="connsiteY2" fmla="*/ 8437 h 149052"/>
              <a:gd name="connsiteX3" fmla="*/ 6486411 w 7136640"/>
              <a:gd name="connsiteY3" fmla="*/ 26301 h 149052"/>
              <a:gd name="connsiteX4" fmla="*/ 7136640 w 7136640"/>
              <a:gd name="connsiteY4" fmla="*/ 149052 h 149052"/>
              <a:gd name="connsiteX0" fmla="*/ 0 w 6486411"/>
              <a:gd name="connsiteY0" fmla="*/ 58671 h 132422"/>
              <a:gd name="connsiteX1" fmla="*/ 2642777 w 6486411"/>
              <a:gd name="connsiteY1" fmla="*/ 132422 h 132422"/>
              <a:gd name="connsiteX2" fmla="*/ 3964644 w 6486411"/>
              <a:gd name="connsiteY2" fmla="*/ 8437 h 132422"/>
              <a:gd name="connsiteX3" fmla="*/ 6486411 w 6486411"/>
              <a:gd name="connsiteY3" fmla="*/ 26301 h 132422"/>
              <a:gd name="connsiteX0" fmla="*/ 0 w 7206511"/>
              <a:gd name="connsiteY0" fmla="*/ 50234 h 123985"/>
              <a:gd name="connsiteX1" fmla="*/ 2642777 w 7206511"/>
              <a:gd name="connsiteY1" fmla="*/ 123985 h 123985"/>
              <a:gd name="connsiteX2" fmla="*/ 3964644 w 7206511"/>
              <a:gd name="connsiteY2" fmla="*/ 0 h 123985"/>
              <a:gd name="connsiteX3" fmla="*/ 7206511 w 7206511"/>
              <a:gd name="connsiteY3" fmla="*/ 60073 h 123985"/>
              <a:gd name="connsiteX0" fmla="*/ 0 w 7206511"/>
              <a:gd name="connsiteY0" fmla="*/ 0 h 218374"/>
              <a:gd name="connsiteX1" fmla="*/ 2642777 w 7206511"/>
              <a:gd name="connsiteY1" fmla="*/ 73751 h 218374"/>
              <a:gd name="connsiteX2" fmla="*/ 4572033 w 7206511"/>
              <a:gd name="connsiteY2" fmla="*/ 217699 h 218374"/>
              <a:gd name="connsiteX3" fmla="*/ 7206511 w 7206511"/>
              <a:gd name="connsiteY3" fmla="*/ 9839 h 218374"/>
              <a:gd name="connsiteX0" fmla="*/ 0 w 7206511"/>
              <a:gd name="connsiteY0" fmla="*/ 0 h 217849"/>
              <a:gd name="connsiteX1" fmla="*/ 2517543 w 7206511"/>
              <a:gd name="connsiteY1" fmla="*/ 42553 h 217849"/>
              <a:gd name="connsiteX2" fmla="*/ 4572033 w 7206511"/>
              <a:gd name="connsiteY2" fmla="*/ 217699 h 217849"/>
              <a:gd name="connsiteX3" fmla="*/ 7206511 w 7206511"/>
              <a:gd name="connsiteY3" fmla="*/ 9839 h 217849"/>
              <a:gd name="connsiteX0" fmla="*/ 0 w 7143893"/>
              <a:gd name="connsiteY0" fmla="*/ 247083 h 247083"/>
              <a:gd name="connsiteX1" fmla="*/ 2454925 w 7143893"/>
              <a:gd name="connsiteY1" fmla="*/ 32714 h 247083"/>
              <a:gd name="connsiteX2" fmla="*/ 4509415 w 7143893"/>
              <a:gd name="connsiteY2" fmla="*/ 207860 h 247083"/>
              <a:gd name="connsiteX3" fmla="*/ 7143893 w 7143893"/>
              <a:gd name="connsiteY3" fmla="*/ 0 h 247083"/>
              <a:gd name="connsiteX0" fmla="*/ 0 w 7143893"/>
              <a:gd name="connsiteY0" fmla="*/ 247083 h 247083"/>
              <a:gd name="connsiteX1" fmla="*/ 2454925 w 7143893"/>
              <a:gd name="connsiteY1" fmla="*/ 32714 h 247083"/>
              <a:gd name="connsiteX2" fmla="*/ 4622127 w 7143893"/>
              <a:gd name="connsiteY2" fmla="*/ 48201 h 247083"/>
              <a:gd name="connsiteX3" fmla="*/ 7143893 w 7143893"/>
              <a:gd name="connsiteY3" fmla="*/ 0 h 247083"/>
              <a:gd name="connsiteX0" fmla="*/ 0 w 7136921"/>
              <a:gd name="connsiteY0" fmla="*/ 43300 h 48839"/>
              <a:gd name="connsiteX1" fmla="*/ 2447953 w 7136921"/>
              <a:gd name="connsiteY1" fmla="*/ 32714 h 48839"/>
              <a:gd name="connsiteX2" fmla="*/ 4615155 w 7136921"/>
              <a:gd name="connsiteY2" fmla="*/ 48201 h 48839"/>
              <a:gd name="connsiteX3" fmla="*/ 7136921 w 7136921"/>
              <a:gd name="connsiteY3" fmla="*/ 0 h 48839"/>
              <a:gd name="connsiteX0" fmla="*/ 0 w 7136921"/>
              <a:gd name="connsiteY0" fmla="*/ 43300 h 48839"/>
              <a:gd name="connsiteX1" fmla="*/ 2447953 w 7136921"/>
              <a:gd name="connsiteY1" fmla="*/ 32714 h 48839"/>
              <a:gd name="connsiteX2" fmla="*/ 4615155 w 7136921"/>
              <a:gd name="connsiteY2" fmla="*/ 48201 h 48839"/>
              <a:gd name="connsiteX3" fmla="*/ 7136921 w 7136921"/>
              <a:gd name="connsiteY3" fmla="*/ 0 h 48839"/>
              <a:gd name="connsiteX0" fmla="*/ 0 w 7136921"/>
              <a:gd name="connsiteY0" fmla="*/ 47663 h 53200"/>
              <a:gd name="connsiteX1" fmla="*/ 2447953 w 7136921"/>
              <a:gd name="connsiteY1" fmla="*/ 6867 h 53200"/>
              <a:gd name="connsiteX2" fmla="*/ 4615155 w 7136921"/>
              <a:gd name="connsiteY2" fmla="*/ 52564 h 53200"/>
              <a:gd name="connsiteX3" fmla="*/ 7136921 w 7136921"/>
              <a:gd name="connsiteY3" fmla="*/ 4363 h 53200"/>
              <a:gd name="connsiteX0" fmla="*/ 0 w 7136921"/>
              <a:gd name="connsiteY0" fmla="*/ 47663 h 47663"/>
              <a:gd name="connsiteX1" fmla="*/ 2447953 w 7136921"/>
              <a:gd name="connsiteY1" fmla="*/ 6867 h 47663"/>
              <a:gd name="connsiteX2" fmla="*/ 4615155 w 7136921"/>
              <a:gd name="connsiteY2" fmla="*/ 22354 h 47663"/>
              <a:gd name="connsiteX3" fmla="*/ 7136921 w 7136921"/>
              <a:gd name="connsiteY3" fmla="*/ 4363 h 47663"/>
              <a:gd name="connsiteX0" fmla="*/ 0 w 7136921"/>
              <a:gd name="connsiteY0" fmla="*/ 55767 h 55767"/>
              <a:gd name="connsiteX1" fmla="*/ 2447953 w 7136921"/>
              <a:gd name="connsiteY1" fmla="*/ 14971 h 55767"/>
              <a:gd name="connsiteX2" fmla="*/ 4628770 w 7136921"/>
              <a:gd name="connsiteY2" fmla="*/ 248 h 55767"/>
              <a:gd name="connsiteX3" fmla="*/ 7136921 w 7136921"/>
              <a:gd name="connsiteY3" fmla="*/ 12467 h 55767"/>
              <a:gd name="connsiteX0" fmla="*/ 0 w 6823788"/>
              <a:gd name="connsiteY0" fmla="*/ 1062787 h 1062787"/>
              <a:gd name="connsiteX1" fmla="*/ 2134820 w 6823788"/>
              <a:gd name="connsiteY1" fmla="*/ 14971 h 1062787"/>
              <a:gd name="connsiteX2" fmla="*/ 4315637 w 6823788"/>
              <a:gd name="connsiteY2" fmla="*/ 248 h 1062787"/>
              <a:gd name="connsiteX3" fmla="*/ 6823788 w 6823788"/>
              <a:gd name="connsiteY3" fmla="*/ 12467 h 1062787"/>
              <a:gd name="connsiteX0" fmla="*/ 0 w 6714872"/>
              <a:gd name="connsiteY0" fmla="*/ 770751 h 770751"/>
              <a:gd name="connsiteX1" fmla="*/ 2025904 w 6714872"/>
              <a:gd name="connsiteY1" fmla="*/ 14971 h 770751"/>
              <a:gd name="connsiteX2" fmla="*/ 4206721 w 6714872"/>
              <a:gd name="connsiteY2" fmla="*/ 248 h 770751"/>
              <a:gd name="connsiteX3" fmla="*/ 6714872 w 6714872"/>
              <a:gd name="connsiteY3" fmla="*/ 12467 h 770751"/>
              <a:gd name="connsiteX0" fmla="*/ 0 w 6714872"/>
              <a:gd name="connsiteY0" fmla="*/ 770751 h 2351256"/>
              <a:gd name="connsiteX1" fmla="*/ 2168856 w 6714872"/>
              <a:gd name="connsiteY1" fmla="*/ 2351256 h 2351256"/>
              <a:gd name="connsiteX2" fmla="*/ 4206721 w 6714872"/>
              <a:gd name="connsiteY2" fmla="*/ 248 h 2351256"/>
              <a:gd name="connsiteX3" fmla="*/ 6714872 w 6714872"/>
              <a:gd name="connsiteY3" fmla="*/ 12467 h 2351256"/>
              <a:gd name="connsiteX0" fmla="*/ 0 w 6714872"/>
              <a:gd name="connsiteY0" fmla="*/ 758285 h 2338790"/>
              <a:gd name="connsiteX1" fmla="*/ 2168856 w 6714872"/>
              <a:gd name="connsiteY1" fmla="*/ 2338790 h 2338790"/>
              <a:gd name="connsiteX2" fmla="*/ 4131842 w 6714872"/>
              <a:gd name="connsiteY2" fmla="*/ 571853 h 2338790"/>
              <a:gd name="connsiteX3" fmla="*/ 6714872 w 6714872"/>
              <a:gd name="connsiteY3" fmla="*/ 1 h 2338790"/>
              <a:gd name="connsiteX0" fmla="*/ 0 w 6537883"/>
              <a:gd name="connsiteY0" fmla="*/ 186446 h 1766951"/>
              <a:gd name="connsiteX1" fmla="*/ 2168856 w 6537883"/>
              <a:gd name="connsiteY1" fmla="*/ 1766951 h 1766951"/>
              <a:gd name="connsiteX2" fmla="*/ 4131842 w 6537883"/>
              <a:gd name="connsiteY2" fmla="*/ 14 h 1766951"/>
              <a:gd name="connsiteX3" fmla="*/ 6537883 w 6537883"/>
              <a:gd name="connsiteY3" fmla="*/ 1734238 h 1766951"/>
              <a:gd name="connsiteX0" fmla="*/ 0 w 6497040"/>
              <a:gd name="connsiteY0" fmla="*/ 1579 h 2307137"/>
              <a:gd name="connsiteX1" fmla="*/ 2128013 w 6497040"/>
              <a:gd name="connsiteY1" fmla="*/ 2307137 h 2307137"/>
              <a:gd name="connsiteX2" fmla="*/ 4090999 w 6497040"/>
              <a:gd name="connsiteY2" fmla="*/ 540200 h 2307137"/>
              <a:gd name="connsiteX3" fmla="*/ 6497040 w 6497040"/>
              <a:gd name="connsiteY3" fmla="*/ 2274424 h 2307137"/>
              <a:gd name="connsiteX0" fmla="*/ 0 w 6497040"/>
              <a:gd name="connsiteY0" fmla="*/ 19225 h 2294010"/>
              <a:gd name="connsiteX1" fmla="*/ 2155242 w 6497040"/>
              <a:gd name="connsiteY1" fmla="*/ 99268 h 2294010"/>
              <a:gd name="connsiteX2" fmla="*/ 4090999 w 6497040"/>
              <a:gd name="connsiteY2" fmla="*/ 557846 h 2294010"/>
              <a:gd name="connsiteX3" fmla="*/ 6497040 w 6497040"/>
              <a:gd name="connsiteY3" fmla="*/ 2292070 h 2294010"/>
              <a:gd name="connsiteX0" fmla="*/ 0 w 6497040"/>
              <a:gd name="connsiteY0" fmla="*/ 35389 h 2309715"/>
              <a:gd name="connsiteX1" fmla="*/ 2155242 w 6497040"/>
              <a:gd name="connsiteY1" fmla="*/ 115432 h 2309715"/>
              <a:gd name="connsiteX2" fmla="*/ 4090999 w 6497040"/>
              <a:gd name="connsiteY2" fmla="*/ 9 h 2309715"/>
              <a:gd name="connsiteX3" fmla="*/ 6497040 w 6497040"/>
              <a:gd name="connsiteY3" fmla="*/ 2308234 h 2309715"/>
              <a:gd name="connsiteX0" fmla="*/ 0 w 6483426"/>
              <a:gd name="connsiteY0" fmla="*/ 35472 h 176022"/>
              <a:gd name="connsiteX1" fmla="*/ 2155242 w 6483426"/>
              <a:gd name="connsiteY1" fmla="*/ 115515 h 176022"/>
              <a:gd name="connsiteX2" fmla="*/ 4090999 w 6483426"/>
              <a:gd name="connsiteY2" fmla="*/ 92 h 176022"/>
              <a:gd name="connsiteX3" fmla="*/ 6483426 w 6483426"/>
              <a:gd name="connsiteY3" fmla="*/ 163365 h 176022"/>
              <a:gd name="connsiteX0" fmla="*/ 0 w 6483426"/>
              <a:gd name="connsiteY0" fmla="*/ 63440 h 143483"/>
              <a:gd name="connsiteX1" fmla="*/ 2155242 w 6483426"/>
              <a:gd name="connsiteY1" fmla="*/ 143483 h 143483"/>
              <a:gd name="connsiteX2" fmla="*/ 4090999 w 6483426"/>
              <a:gd name="connsiteY2" fmla="*/ 28060 h 143483"/>
              <a:gd name="connsiteX3" fmla="*/ 6483426 w 6483426"/>
              <a:gd name="connsiteY3" fmla="*/ 0 h 143483"/>
              <a:gd name="connsiteX0" fmla="*/ 0 w 6365515"/>
              <a:gd name="connsiteY0" fmla="*/ 3543316 h 3543316"/>
              <a:gd name="connsiteX1" fmla="*/ 2037331 w 6365515"/>
              <a:gd name="connsiteY1" fmla="*/ 143483 h 3543316"/>
              <a:gd name="connsiteX2" fmla="*/ 3973088 w 6365515"/>
              <a:gd name="connsiteY2" fmla="*/ 28060 h 3543316"/>
              <a:gd name="connsiteX3" fmla="*/ 6365515 w 6365515"/>
              <a:gd name="connsiteY3" fmla="*/ 0 h 3543316"/>
              <a:gd name="connsiteX0" fmla="*/ 0 w 6400889"/>
              <a:gd name="connsiteY0" fmla="*/ 3839846 h 3839846"/>
              <a:gd name="connsiteX1" fmla="*/ 2072705 w 6400889"/>
              <a:gd name="connsiteY1" fmla="*/ 143483 h 3839846"/>
              <a:gd name="connsiteX2" fmla="*/ 4008462 w 6400889"/>
              <a:gd name="connsiteY2" fmla="*/ 28060 h 3839846"/>
              <a:gd name="connsiteX3" fmla="*/ 6400889 w 6400889"/>
              <a:gd name="connsiteY3" fmla="*/ 0 h 3839846"/>
              <a:gd name="connsiteX0" fmla="*/ 0 w 6400889"/>
              <a:gd name="connsiteY0" fmla="*/ 3839846 h 3839846"/>
              <a:gd name="connsiteX1" fmla="*/ 2137557 w 6400889"/>
              <a:gd name="connsiteY1" fmla="*/ 3771624 h 3839846"/>
              <a:gd name="connsiteX2" fmla="*/ 4008462 w 6400889"/>
              <a:gd name="connsiteY2" fmla="*/ 28060 h 3839846"/>
              <a:gd name="connsiteX3" fmla="*/ 6400889 w 6400889"/>
              <a:gd name="connsiteY3" fmla="*/ 0 h 3839846"/>
              <a:gd name="connsiteX0" fmla="*/ 0 w 6400889"/>
              <a:gd name="connsiteY0" fmla="*/ 3839846 h 3839846"/>
              <a:gd name="connsiteX1" fmla="*/ 2137557 w 6400889"/>
              <a:gd name="connsiteY1" fmla="*/ 3771624 h 3839846"/>
              <a:gd name="connsiteX2" fmla="*/ 4303240 w 6400889"/>
              <a:gd name="connsiteY2" fmla="*/ 3760860 h 3839846"/>
              <a:gd name="connsiteX3" fmla="*/ 6400889 w 6400889"/>
              <a:gd name="connsiteY3" fmla="*/ 0 h 3839846"/>
              <a:gd name="connsiteX0" fmla="*/ 0 w 6324247"/>
              <a:gd name="connsiteY0" fmla="*/ 761160 h 761160"/>
              <a:gd name="connsiteX1" fmla="*/ 2137557 w 6324247"/>
              <a:gd name="connsiteY1" fmla="*/ 692938 h 761160"/>
              <a:gd name="connsiteX2" fmla="*/ 4303240 w 6324247"/>
              <a:gd name="connsiteY2" fmla="*/ 682174 h 761160"/>
              <a:gd name="connsiteX3" fmla="*/ 6324247 w 6324247"/>
              <a:gd name="connsiteY3" fmla="*/ 0 h 761160"/>
              <a:gd name="connsiteX0" fmla="*/ 0 w 6341934"/>
              <a:gd name="connsiteY0" fmla="*/ 124491 h 124491"/>
              <a:gd name="connsiteX1" fmla="*/ 2137557 w 6341934"/>
              <a:gd name="connsiteY1" fmla="*/ 56269 h 124491"/>
              <a:gd name="connsiteX2" fmla="*/ 4303240 w 6341934"/>
              <a:gd name="connsiteY2" fmla="*/ 45505 h 124491"/>
              <a:gd name="connsiteX3" fmla="*/ 6341934 w 6341934"/>
              <a:gd name="connsiteY3" fmla="*/ 0 h 124491"/>
              <a:gd name="connsiteX0" fmla="*/ 0 w 6341934"/>
              <a:gd name="connsiteY0" fmla="*/ 124491 h 247603"/>
              <a:gd name="connsiteX1" fmla="*/ 2137557 w 6341934"/>
              <a:gd name="connsiteY1" fmla="*/ 247603 h 247603"/>
              <a:gd name="connsiteX2" fmla="*/ 4303240 w 6341934"/>
              <a:gd name="connsiteY2" fmla="*/ 45505 h 247603"/>
              <a:gd name="connsiteX3" fmla="*/ 6341934 w 6341934"/>
              <a:gd name="connsiteY3" fmla="*/ 0 h 247603"/>
              <a:gd name="connsiteX0" fmla="*/ 0 w 6382778"/>
              <a:gd name="connsiteY0" fmla="*/ 79068 h 207607"/>
              <a:gd name="connsiteX1" fmla="*/ 2137557 w 6382778"/>
              <a:gd name="connsiteY1" fmla="*/ 202180 h 207607"/>
              <a:gd name="connsiteX2" fmla="*/ 4303240 w 6382778"/>
              <a:gd name="connsiteY2" fmla="*/ 82 h 207607"/>
              <a:gd name="connsiteX3" fmla="*/ 6382778 w 6382778"/>
              <a:gd name="connsiteY3" fmla="*/ 196262 h 207607"/>
              <a:gd name="connsiteX0" fmla="*/ 0 w 6449320"/>
              <a:gd name="connsiteY0" fmla="*/ 4135 h 957116"/>
              <a:gd name="connsiteX1" fmla="*/ 2204099 w 6449320"/>
              <a:gd name="connsiteY1" fmla="*/ 929899 h 957116"/>
              <a:gd name="connsiteX2" fmla="*/ 4369782 w 6449320"/>
              <a:gd name="connsiteY2" fmla="*/ 727801 h 957116"/>
              <a:gd name="connsiteX3" fmla="*/ 6449320 w 6449320"/>
              <a:gd name="connsiteY3" fmla="*/ 923981 h 957116"/>
              <a:gd name="connsiteX0" fmla="*/ 0 w 6449320"/>
              <a:gd name="connsiteY0" fmla="*/ 8352 h 939543"/>
              <a:gd name="connsiteX1" fmla="*/ 2117083 w 6449320"/>
              <a:gd name="connsiteY1" fmla="*/ 464640 h 939543"/>
              <a:gd name="connsiteX2" fmla="*/ 4369782 w 6449320"/>
              <a:gd name="connsiteY2" fmla="*/ 732018 h 939543"/>
              <a:gd name="connsiteX3" fmla="*/ 6449320 w 6449320"/>
              <a:gd name="connsiteY3" fmla="*/ 928198 h 939543"/>
              <a:gd name="connsiteX0" fmla="*/ 0 w 6449320"/>
              <a:gd name="connsiteY0" fmla="*/ 6867 h 938058"/>
              <a:gd name="connsiteX1" fmla="*/ 2117083 w 6449320"/>
              <a:gd name="connsiteY1" fmla="*/ 463155 h 938058"/>
              <a:gd name="connsiteX2" fmla="*/ 4369782 w 6449320"/>
              <a:gd name="connsiteY2" fmla="*/ 730533 h 938058"/>
              <a:gd name="connsiteX3" fmla="*/ 6449320 w 6449320"/>
              <a:gd name="connsiteY3" fmla="*/ 926713 h 938058"/>
              <a:gd name="connsiteX0" fmla="*/ 0 w 6449320"/>
              <a:gd name="connsiteY0" fmla="*/ 7149 h 938340"/>
              <a:gd name="connsiteX1" fmla="*/ 2117083 w 6449320"/>
              <a:gd name="connsiteY1" fmla="*/ 463437 h 938340"/>
              <a:gd name="connsiteX2" fmla="*/ 4369782 w 6449320"/>
              <a:gd name="connsiteY2" fmla="*/ 730815 h 938340"/>
              <a:gd name="connsiteX3" fmla="*/ 6449320 w 6449320"/>
              <a:gd name="connsiteY3" fmla="*/ 926995 h 938340"/>
              <a:gd name="connsiteX0" fmla="*/ 0 w 6449320"/>
              <a:gd name="connsiteY0" fmla="*/ 0 h 931191"/>
              <a:gd name="connsiteX1" fmla="*/ 2117083 w 6449320"/>
              <a:gd name="connsiteY1" fmla="*/ 456288 h 931191"/>
              <a:gd name="connsiteX2" fmla="*/ 4369782 w 6449320"/>
              <a:gd name="connsiteY2" fmla="*/ 723666 h 931191"/>
              <a:gd name="connsiteX3" fmla="*/ 6449320 w 6449320"/>
              <a:gd name="connsiteY3" fmla="*/ 919846 h 931191"/>
              <a:gd name="connsiteX0" fmla="*/ 0 w 6449320"/>
              <a:gd name="connsiteY0" fmla="*/ 3287 h 926581"/>
              <a:gd name="connsiteX1" fmla="*/ 2117083 w 6449320"/>
              <a:gd name="connsiteY1" fmla="*/ 459575 h 926581"/>
              <a:gd name="connsiteX2" fmla="*/ 4170155 w 6449320"/>
              <a:gd name="connsiteY2" fmla="*/ 22 h 926581"/>
              <a:gd name="connsiteX3" fmla="*/ 6449320 w 6449320"/>
              <a:gd name="connsiteY3" fmla="*/ 923133 h 926581"/>
              <a:gd name="connsiteX0" fmla="*/ 0 w 6449320"/>
              <a:gd name="connsiteY0" fmla="*/ 3287 h 926581"/>
              <a:gd name="connsiteX1" fmla="*/ 2117083 w 6449320"/>
              <a:gd name="connsiteY1" fmla="*/ 459575 h 926581"/>
              <a:gd name="connsiteX2" fmla="*/ 4170155 w 6449320"/>
              <a:gd name="connsiteY2" fmla="*/ 22 h 926581"/>
              <a:gd name="connsiteX3" fmla="*/ 6449320 w 6449320"/>
              <a:gd name="connsiteY3" fmla="*/ 923133 h 926581"/>
              <a:gd name="connsiteX0" fmla="*/ 0 w 6449320"/>
              <a:gd name="connsiteY0" fmla="*/ 3265 h 926634"/>
              <a:gd name="connsiteX1" fmla="*/ 2117083 w 6449320"/>
              <a:gd name="connsiteY1" fmla="*/ 459553 h 926634"/>
              <a:gd name="connsiteX2" fmla="*/ 4170155 w 6449320"/>
              <a:gd name="connsiteY2" fmla="*/ 0 h 926634"/>
              <a:gd name="connsiteX3" fmla="*/ 6449320 w 6449320"/>
              <a:gd name="connsiteY3" fmla="*/ 923111 h 926634"/>
              <a:gd name="connsiteX0" fmla="*/ 0 w 6449320"/>
              <a:gd name="connsiteY0" fmla="*/ 4326 h 927696"/>
              <a:gd name="connsiteX1" fmla="*/ 2117083 w 6449320"/>
              <a:gd name="connsiteY1" fmla="*/ 460614 h 927696"/>
              <a:gd name="connsiteX2" fmla="*/ 4170155 w 6449320"/>
              <a:gd name="connsiteY2" fmla="*/ 1061 h 927696"/>
              <a:gd name="connsiteX3" fmla="*/ 6449320 w 6449320"/>
              <a:gd name="connsiteY3" fmla="*/ 924172 h 927696"/>
              <a:gd name="connsiteX0" fmla="*/ 0 w 6326473"/>
              <a:gd name="connsiteY0" fmla="*/ 4326 h 460614"/>
              <a:gd name="connsiteX1" fmla="*/ 2117083 w 6326473"/>
              <a:gd name="connsiteY1" fmla="*/ 460614 h 460614"/>
              <a:gd name="connsiteX2" fmla="*/ 4170155 w 6326473"/>
              <a:gd name="connsiteY2" fmla="*/ 1061 h 460614"/>
              <a:gd name="connsiteX3" fmla="*/ 6326473 w 6326473"/>
              <a:gd name="connsiteY3" fmla="*/ 447124 h 460614"/>
              <a:gd name="connsiteX0" fmla="*/ 0 w 6326473"/>
              <a:gd name="connsiteY0" fmla="*/ 4326 h 460614"/>
              <a:gd name="connsiteX1" fmla="*/ 2117083 w 6326473"/>
              <a:gd name="connsiteY1" fmla="*/ 460614 h 460614"/>
              <a:gd name="connsiteX2" fmla="*/ 4170155 w 6326473"/>
              <a:gd name="connsiteY2" fmla="*/ 1061 h 460614"/>
              <a:gd name="connsiteX3" fmla="*/ 6326473 w 6326473"/>
              <a:gd name="connsiteY3" fmla="*/ 447124 h 460614"/>
              <a:gd name="connsiteX0" fmla="*/ 0 w 6311117"/>
              <a:gd name="connsiteY0" fmla="*/ 621841 h 1078129"/>
              <a:gd name="connsiteX1" fmla="*/ 2117083 w 6311117"/>
              <a:gd name="connsiteY1" fmla="*/ 1078129 h 1078129"/>
              <a:gd name="connsiteX2" fmla="*/ 4170155 w 6311117"/>
              <a:gd name="connsiteY2" fmla="*/ 618576 h 1078129"/>
              <a:gd name="connsiteX3" fmla="*/ 6311117 w 6311117"/>
              <a:gd name="connsiteY3" fmla="*/ 4533 h 1078129"/>
              <a:gd name="connsiteX0" fmla="*/ 0 w 6311117"/>
              <a:gd name="connsiteY0" fmla="*/ 617308 h 1073596"/>
              <a:gd name="connsiteX1" fmla="*/ 2117083 w 6311117"/>
              <a:gd name="connsiteY1" fmla="*/ 1073596 h 1073596"/>
              <a:gd name="connsiteX2" fmla="*/ 4170155 w 6311117"/>
              <a:gd name="connsiteY2" fmla="*/ 614043 h 1073596"/>
              <a:gd name="connsiteX3" fmla="*/ 6311117 w 6311117"/>
              <a:gd name="connsiteY3" fmla="*/ 0 h 1073596"/>
              <a:gd name="connsiteX0" fmla="*/ 0 w 6311117"/>
              <a:gd name="connsiteY0" fmla="*/ 617308 h 1073596"/>
              <a:gd name="connsiteX1" fmla="*/ 2117083 w 6311117"/>
              <a:gd name="connsiteY1" fmla="*/ 1073596 h 1073596"/>
              <a:gd name="connsiteX2" fmla="*/ 4170155 w 6311117"/>
              <a:gd name="connsiteY2" fmla="*/ 614043 h 1073596"/>
              <a:gd name="connsiteX3" fmla="*/ 6311117 w 6311117"/>
              <a:gd name="connsiteY3" fmla="*/ 0 h 1073596"/>
              <a:gd name="connsiteX0" fmla="*/ 0 w 6311117"/>
              <a:gd name="connsiteY0" fmla="*/ 617308 h 1073596"/>
              <a:gd name="connsiteX1" fmla="*/ 2117083 w 6311117"/>
              <a:gd name="connsiteY1" fmla="*/ 1073596 h 1073596"/>
              <a:gd name="connsiteX2" fmla="*/ 4170155 w 6311117"/>
              <a:gd name="connsiteY2" fmla="*/ 614043 h 1073596"/>
              <a:gd name="connsiteX3" fmla="*/ 6311117 w 6311117"/>
              <a:gd name="connsiteY3" fmla="*/ 0 h 1073596"/>
              <a:gd name="connsiteX0" fmla="*/ 0 w 6290643"/>
              <a:gd name="connsiteY0" fmla="*/ 102400 h 558688"/>
              <a:gd name="connsiteX1" fmla="*/ 2117083 w 6290643"/>
              <a:gd name="connsiteY1" fmla="*/ 558688 h 558688"/>
              <a:gd name="connsiteX2" fmla="*/ 4170155 w 6290643"/>
              <a:gd name="connsiteY2" fmla="*/ 99135 h 558688"/>
              <a:gd name="connsiteX3" fmla="*/ 6290643 w 6290643"/>
              <a:gd name="connsiteY3" fmla="*/ 0 h 558688"/>
              <a:gd name="connsiteX0" fmla="*/ 0 w 6290643"/>
              <a:gd name="connsiteY0" fmla="*/ 64539 h 520827"/>
              <a:gd name="connsiteX1" fmla="*/ 2117083 w 6290643"/>
              <a:gd name="connsiteY1" fmla="*/ 520827 h 520827"/>
              <a:gd name="connsiteX2" fmla="*/ 4170155 w 6290643"/>
              <a:gd name="connsiteY2" fmla="*/ 61274 h 520827"/>
              <a:gd name="connsiteX3" fmla="*/ 6290643 w 6290643"/>
              <a:gd name="connsiteY3" fmla="*/ 0 h 520827"/>
              <a:gd name="connsiteX0" fmla="*/ 0 w 6290643"/>
              <a:gd name="connsiteY0" fmla="*/ 64539 h 520827"/>
              <a:gd name="connsiteX1" fmla="*/ 2117083 w 6290643"/>
              <a:gd name="connsiteY1" fmla="*/ 520827 h 520827"/>
              <a:gd name="connsiteX2" fmla="*/ 4170155 w 6290643"/>
              <a:gd name="connsiteY2" fmla="*/ 61274 h 520827"/>
              <a:gd name="connsiteX3" fmla="*/ 6290643 w 6290643"/>
              <a:gd name="connsiteY3" fmla="*/ 0 h 520827"/>
              <a:gd name="connsiteX0" fmla="*/ 0 w 6280406"/>
              <a:gd name="connsiteY0" fmla="*/ 594591 h 1050879"/>
              <a:gd name="connsiteX1" fmla="*/ 2117083 w 6280406"/>
              <a:gd name="connsiteY1" fmla="*/ 1050879 h 1050879"/>
              <a:gd name="connsiteX2" fmla="*/ 4170155 w 6280406"/>
              <a:gd name="connsiteY2" fmla="*/ 591326 h 1050879"/>
              <a:gd name="connsiteX3" fmla="*/ 6280406 w 6280406"/>
              <a:gd name="connsiteY3" fmla="*/ 0 h 1050879"/>
              <a:gd name="connsiteX0" fmla="*/ 0 w 6280406"/>
              <a:gd name="connsiteY0" fmla="*/ 594591 h 1050879"/>
              <a:gd name="connsiteX1" fmla="*/ 2117083 w 6280406"/>
              <a:gd name="connsiteY1" fmla="*/ 1050879 h 1050879"/>
              <a:gd name="connsiteX2" fmla="*/ 4170155 w 6280406"/>
              <a:gd name="connsiteY2" fmla="*/ 591326 h 1050879"/>
              <a:gd name="connsiteX3" fmla="*/ 6280406 w 6280406"/>
              <a:gd name="connsiteY3" fmla="*/ 0 h 1050879"/>
            </a:gdLst>
            <a:ahLst/>
            <a:cxnLst>
              <a:cxn ang="0">
                <a:pos x="connsiteX0" y="connsiteY0"/>
              </a:cxn>
              <a:cxn ang="0">
                <a:pos x="connsiteX1" y="connsiteY1"/>
              </a:cxn>
              <a:cxn ang="0">
                <a:pos x="connsiteX2" y="connsiteY2"/>
              </a:cxn>
              <a:cxn ang="0">
                <a:pos x="connsiteX3" y="connsiteY3"/>
              </a:cxn>
            </a:cxnLst>
            <a:rect l="l" t="t" r="r" b="b"/>
            <a:pathLst>
              <a:path w="6280406" h="1050879">
                <a:moveTo>
                  <a:pt x="0" y="594591"/>
                </a:moveTo>
                <a:cubicBezTo>
                  <a:pt x="485597" y="667007"/>
                  <a:pt x="1422057" y="1051423"/>
                  <a:pt x="2117083" y="1050879"/>
                </a:cubicBezTo>
                <a:cubicBezTo>
                  <a:pt x="2812109" y="1050335"/>
                  <a:pt x="3898700" y="625202"/>
                  <a:pt x="4170155" y="591326"/>
                </a:cubicBezTo>
                <a:cubicBezTo>
                  <a:pt x="4460263" y="532869"/>
                  <a:pt x="5955060" y="84432"/>
                  <a:pt x="6280406" y="0"/>
                </a:cubicBezTo>
              </a:path>
            </a:pathLst>
          </a:custGeom>
          <a:noFill/>
          <a:ln w="136525" cap="rnd" cmpd="sng" algn="ctr">
            <a:solidFill>
              <a:srgbClr val="43B02A">
                <a:alpha val="50000"/>
              </a:srgb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64" name="Freeform 42">
            <a:extLst>
              <a:ext uri="{FF2B5EF4-FFF2-40B4-BE49-F238E27FC236}">
                <a16:creationId xmlns:a16="http://schemas.microsoft.com/office/drawing/2014/main" id="{6C9416A1-06B7-4964-814A-CD29CFBA9CE0}"/>
              </a:ext>
            </a:extLst>
          </p:cNvPr>
          <p:cNvSpPr/>
          <p:nvPr/>
        </p:nvSpPr>
        <p:spPr bwMode="auto">
          <a:xfrm flipV="1">
            <a:off x="1744519" y="2689229"/>
            <a:ext cx="8626339" cy="1371110"/>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1317807 w 7136640"/>
              <a:gd name="connsiteY1" fmla="*/ 54363 h 308134"/>
              <a:gd name="connsiteX2" fmla="*/ 1992056 w 7136640"/>
              <a:gd name="connsiteY2" fmla="*/ 307577 h 308134"/>
              <a:gd name="connsiteX3" fmla="*/ 2642777 w 7136640"/>
              <a:gd name="connsiteY3" fmla="*/ 124402 h 308134"/>
              <a:gd name="connsiteX4" fmla="*/ 3302093 w 7136640"/>
              <a:gd name="connsiteY4" fmla="*/ 189711 h 308134"/>
              <a:gd name="connsiteX5" fmla="*/ 3964644 w 7136640"/>
              <a:gd name="connsiteY5" fmla="*/ 417 h 308134"/>
              <a:gd name="connsiteX6" fmla="*/ 4578995 w 7136640"/>
              <a:gd name="connsiteY6" fmla="*/ 255894 h 308134"/>
              <a:gd name="connsiteX7" fmla="*/ 5236906 w 7136640"/>
              <a:gd name="connsiteY7" fmla="*/ 128120 h 308134"/>
              <a:gd name="connsiteX8" fmla="*/ 5843222 w 7136640"/>
              <a:gd name="connsiteY8" fmla="*/ 271154 h 308134"/>
              <a:gd name="connsiteX9" fmla="*/ 6486411 w 7136640"/>
              <a:gd name="connsiteY9" fmla="*/ 18281 h 308134"/>
              <a:gd name="connsiteX10" fmla="*/ 7136640 w 7136640"/>
              <a:gd name="connsiteY10" fmla="*/ 141032 h 308134"/>
              <a:gd name="connsiteX0" fmla="*/ 0 w 7136640"/>
              <a:gd name="connsiteY0" fmla="*/ 50651 h 308191"/>
              <a:gd name="connsiteX1" fmla="*/ 1992056 w 7136640"/>
              <a:gd name="connsiteY1" fmla="*/ 307577 h 308191"/>
              <a:gd name="connsiteX2" fmla="*/ 2642777 w 7136640"/>
              <a:gd name="connsiteY2" fmla="*/ 124402 h 308191"/>
              <a:gd name="connsiteX3" fmla="*/ 3302093 w 7136640"/>
              <a:gd name="connsiteY3" fmla="*/ 189711 h 308191"/>
              <a:gd name="connsiteX4" fmla="*/ 3964644 w 7136640"/>
              <a:gd name="connsiteY4" fmla="*/ 417 h 308191"/>
              <a:gd name="connsiteX5" fmla="*/ 4578995 w 7136640"/>
              <a:gd name="connsiteY5" fmla="*/ 255894 h 308191"/>
              <a:gd name="connsiteX6" fmla="*/ 5236906 w 7136640"/>
              <a:gd name="connsiteY6" fmla="*/ 128120 h 308191"/>
              <a:gd name="connsiteX7" fmla="*/ 5843222 w 7136640"/>
              <a:gd name="connsiteY7" fmla="*/ 271154 h 308191"/>
              <a:gd name="connsiteX8" fmla="*/ 6486411 w 7136640"/>
              <a:gd name="connsiteY8" fmla="*/ 18281 h 308191"/>
              <a:gd name="connsiteX9" fmla="*/ 7136640 w 7136640"/>
              <a:gd name="connsiteY9" fmla="*/ 141032 h 308191"/>
              <a:gd name="connsiteX0" fmla="*/ 0 w 7136640"/>
              <a:gd name="connsiteY0" fmla="*/ 50651 h 272623"/>
              <a:gd name="connsiteX1" fmla="*/ 2642777 w 7136640"/>
              <a:gd name="connsiteY1" fmla="*/ 124402 h 272623"/>
              <a:gd name="connsiteX2" fmla="*/ 3302093 w 7136640"/>
              <a:gd name="connsiteY2" fmla="*/ 189711 h 272623"/>
              <a:gd name="connsiteX3" fmla="*/ 3964644 w 7136640"/>
              <a:gd name="connsiteY3" fmla="*/ 417 h 272623"/>
              <a:gd name="connsiteX4" fmla="*/ 4578995 w 7136640"/>
              <a:gd name="connsiteY4" fmla="*/ 255894 h 272623"/>
              <a:gd name="connsiteX5" fmla="*/ 5236906 w 7136640"/>
              <a:gd name="connsiteY5" fmla="*/ 128120 h 272623"/>
              <a:gd name="connsiteX6" fmla="*/ 5843222 w 7136640"/>
              <a:gd name="connsiteY6" fmla="*/ 271154 h 272623"/>
              <a:gd name="connsiteX7" fmla="*/ 6486411 w 7136640"/>
              <a:gd name="connsiteY7" fmla="*/ 18281 h 272623"/>
              <a:gd name="connsiteX8" fmla="*/ 7136640 w 7136640"/>
              <a:gd name="connsiteY8" fmla="*/ 141032 h 272623"/>
              <a:gd name="connsiteX0" fmla="*/ 0 w 7136640"/>
              <a:gd name="connsiteY0" fmla="*/ 52596 h 274568"/>
              <a:gd name="connsiteX1" fmla="*/ 2642777 w 7136640"/>
              <a:gd name="connsiteY1" fmla="*/ 126347 h 274568"/>
              <a:gd name="connsiteX2" fmla="*/ 3964644 w 7136640"/>
              <a:gd name="connsiteY2" fmla="*/ 2362 h 274568"/>
              <a:gd name="connsiteX3" fmla="*/ 4578995 w 7136640"/>
              <a:gd name="connsiteY3" fmla="*/ 257839 h 274568"/>
              <a:gd name="connsiteX4" fmla="*/ 5236906 w 7136640"/>
              <a:gd name="connsiteY4" fmla="*/ 130065 h 274568"/>
              <a:gd name="connsiteX5" fmla="*/ 5843222 w 7136640"/>
              <a:gd name="connsiteY5" fmla="*/ 273099 h 274568"/>
              <a:gd name="connsiteX6" fmla="*/ 6486411 w 7136640"/>
              <a:gd name="connsiteY6" fmla="*/ 20226 h 274568"/>
              <a:gd name="connsiteX7" fmla="*/ 7136640 w 7136640"/>
              <a:gd name="connsiteY7" fmla="*/ 142977 h 274568"/>
              <a:gd name="connsiteX0" fmla="*/ 0 w 7136640"/>
              <a:gd name="connsiteY0" fmla="*/ 52596 h 275037"/>
              <a:gd name="connsiteX1" fmla="*/ 2642777 w 7136640"/>
              <a:gd name="connsiteY1" fmla="*/ 126347 h 275037"/>
              <a:gd name="connsiteX2" fmla="*/ 3964644 w 7136640"/>
              <a:gd name="connsiteY2" fmla="*/ 2362 h 275037"/>
              <a:gd name="connsiteX3" fmla="*/ 5236906 w 7136640"/>
              <a:gd name="connsiteY3" fmla="*/ 130065 h 275037"/>
              <a:gd name="connsiteX4" fmla="*/ 5843222 w 7136640"/>
              <a:gd name="connsiteY4" fmla="*/ 273099 h 275037"/>
              <a:gd name="connsiteX5" fmla="*/ 6486411 w 7136640"/>
              <a:gd name="connsiteY5" fmla="*/ 20226 h 275037"/>
              <a:gd name="connsiteX6" fmla="*/ 7136640 w 7136640"/>
              <a:gd name="connsiteY6" fmla="*/ 142977 h 275037"/>
              <a:gd name="connsiteX0" fmla="*/ 0 w 7136640"/>
              <a:gd name="connsiteY0" fmla="*/ 52596 h 273099"/>
              <a:gd name="connsiteX1" fmla="*/ 2642777 w 7136640"/>
              <a:gd name="connsiteY1" fmla="*/ 126347 h 273099"/>
              <a:gd name="connsiteX2" fmla="*/ 3964644 w 7136640"/>
              <a:gd name="connsiteY2" fmla="*/ 2362 h 273099"/>
              <a:gd name="connsiteX3" fmla="*/ 5843222 w 7136640"/>
              <a:gd name="connsiteY3" fmla="*/ 273099 h 273099"/>
              <a:gd name="connsiteX4" fmla="*/ 6486411 w 7136640"/>
              <a:gd name="connsiteY4" fmla="*/ 20226 h 273099"/>
              <a:gd name="connsiteX5" fmla="*/ 7136640 w 7136640"/>
              <a:gd name="connsiteY5" fmla="*/ 142977 h 273099"/>
              <a:gd name="connsiteX0" fmla="*/ 0 w 7136640"/>
              <a:gd name="connsiteY0" fmla="*/ 58671 h 149052"/>
              <a:gd name="connsiteX1" fmla="*/ 2642777 w 7136640"/>
              <a:gd name="connsiteY1" fmla="*/ 132422 h 149052"/>
              <a:gd name="connsiteX2" fmla="*/ 3964644 w 7136640"/>
              <a:gd name="connsiteY2" fmla="*/ 8437 h 149052"/>
              <a:gd name="connsiteX3" fmla="*/ 6486411 w 7136640"/>
              <a:gd name="connsiteY3" fmla="*/ 26301 h 149052"/>
              <a:gd name="connsiteX4" fmla="*/ 7136640 w 7136640"/>
              <a:gd name="connsiteY4" fmla="*/ 149052 h 149052"/>
              <a:gd name="connsiteX0" fmla="*/ 0 w 6486411"/>
              <a:gd name="connsiteY0" fmla="*/ 58671 h 132422"/>
              <a:gd name="connsiteX1" fmla="*/ 2642777 w 6486411"/>
              <a:gd name="connsiteY1" fmla="*/ 132422 h 132422"/>
              <a:gd name="connsiteX2" fmla="*/ 3964644 w 6486411"/>
              <a:gd name="connsiteY2" fmla="*/ 8437 h 132422"/>
              <a:gd name="connsiteX3" fmla="*/ 6486411 w 6486411"/>
              <a:gd name="connsiteY3" fmla="*/ 26301 h 132422"/>
              <a:gd name="connsiteX0" fmla="*/ 0 w 7206511"/>
              <a:gd name="connsiteY0" fmla="*/ 50234 h 123985"/>
              <a:gd name="connsiteX1" fmla="*/ 2642777 w 7206511"/>
              <a:gd name="connsiteY1" fmla="*/ 123985 h 123985"/>
              <a:gd name="connsiteX2" fmla="*/ 3964644 w 7206511"/>
              <a:gd name="connsiteY2" fmla="*/ 0 h 123985"/>
              <a:gd name="connsiteX3" fmla="*/ 7206511 w 7206511"/>
              <a:gd name="connsiteY3" fmla="*/ 60073 h 123985"/>
              <a:gd name="connsiteX0" fmla="*/ 0 w 7206511"/>
              <a:gd name="connsiteY0" fmla="*/ 0 h 218374"/>
              <a:gd name="connsiteX1" fmla="*/ 2642777 w 7206511"/>
              <a:gd name="connsiteY1" fmla="*/ 73751 h 218374"/>
              <a:gd name="connsiteX2" fmla="*/ 4572033 w 7206511"/>
              <a:gd name="connsiteY2" fmla="*/ 217699 h 218374"/>
              <a:gd name="connsiteX3" fmla="*/ 7206511 w 7206511"/>
              <a:gd name="connsiteY3" fmla="*/ 9839 h 218374"/>
              <a:gd name="connsiteX0" fmla="*/ 0 w 7206511"/>
              <a:gd name="connsiteY0" fmla="*/ 0 h 217849"/>
              <a:gd name="connsiteX1" fmla="*/ 2517543 w 7206511"/>
              <a:gd name="connsiteY1" fmla="*/ 42553 h 217849"/>
              <a:gd name="connsiteX2" fmla="*/ 4572033 w 7206511"/>
              <a:gd name="connsiteY2" fmla="*/ 217699 h 217849"/>
              <a:gd name="connsiteX3" fmla="*/ 7206511 w 7206511"/>
              <a:gd name="connsiteY3" fmla="*/ 9839 h 217849"/>
              <a:gd name="connsiteX0" fmla="*/ 0 w 7143893"/>
              <a:gd name="connsiteY0" fmla="*/ 247083 h 247083"/>
              <a:gd name="connsiteX1" fmla="*/ 2454925 w 7143893"/>
              <a:gd name="connsiteY1" fmla="*/ 32714 h 247083"/>
              <a:gd name="connsiteX2" fmla="*/ 4509415 w 7143893"/>
              <a:gd name="connsiteY2" fmla="*/ 207860 h 247083"/>
              <a:gd name="connsiteX3" fmla="*/ 7143893 w 7143893"/>
              <a:gd name="connsiteY3" fmla="*/ 0 h 247083"/>
              <a:gd name="connsiteX0" fmla="*/ 0 w 7143893"/>
              <a:gd name="connsiteY0" fmla="*/ 247083 h 247083"/>
              <a:gd name="connsiteX1" fmla="*/ 2454925 w 7143893"/>
              <a:gd name="connsiteY1" fmla="*/ 32714 h 247083"/>
              <a:gd name="connsiteX2" fmla="*/ 4622127 w 7143893"/>
              <a:gd name="connsiteY2" fmla="*/ 48201 h 247083"/>
              <a:gd name="connsiteX3" fmla="*/ 7143893 w 7143893"/>
              <a:gd name="connsiteY3" fmla="*/ 0 h 247083"/>
              <a:gd name="connsiteX0" fmla="*/ 0 w 7136921"/>
              <a:gd name="connsiteY0" fmla="*/ 43300 h 48839"/>
              <a:gd name="connsiteX1" fmla="*/ 2447953 w 7136921"/>
              <a:gd name="connsiteY1" fmla="*/ 32714 h 48839"/>
              <a:gd name="connsiteX2" fmla="*/ 4615155 w 7136921"/>
              <a:gd name="connsiteY2" fmla="*/ 48201 h 48839"/>
              <a:gd name="connsiteX3" fmla="*/ 7136921 w 7136921"/>
              <a:gd name="connsiteY3" fmla="*/ 0 h 48839"/>
              <a:gd name="connsiteX0" fmla="*/ 0 w 7136921"/>
              <a:gd name="connsiteY0" fmla="*/ 43300 h 48839"/>
              <a:gd name="connsiteX1" fmla="*/ 2447953 w 7136921"/>
              <a:gd name="connsiteY1" fmla="*/ 32714 h 48839"/>
              <a:gd name="connsiteX2" fmla="*/ 4615155 w 7136921"/>
              <a:gd name="connsiteY2" fmla="*/ 48201 h 48839"/>
              <a:gd name="connsiteX3" fmla="*/ 7136921 w 7136921"/>
              <a:gd name="connsiteY3" fmla="*/ 0 h 48839"/>
              <a:gd name="connsiteX0" fmla="*/ 0 w 7136921"/>
              <a:gd name="connsiteY0" fmla="*/ 47663 h 53200"/>
              <a:gd name="connsiteX1" fmla="*/ 2447953 w 7136921"/>
              <a:gd name="connsiteY1" fmla="*/ 6867 h 53200"/>
              <a:gd name="connsiteX2" fmla="*/ 4615155 w 7136921"/>
              <a:gd name="connsiteY2" fmla="*/ 52564 h 53200"/>
              <a:gd name="connsiteX3" fmla="*/ 7136921 w 7136921"/>
              <a:gd name="connsiteY3" fmla="*/ 4363 h 53200"/>
              <a:gd name="connsiteX0" fmla="*/ 0 w 7136921"/>
              <a:gd name="connsiteY0" fmla="*/ 47663 h 47663"/>
              <a:gd name="connsiteX1" fmla="*/ 2447953 w 7136921"/>
              <a:gd name="connsiteY1" fmla="*/ 6867 h 47663"/>
              <a:gd name="connsiteX2" fmla="*/ 4615155 w 7136921"/>
              <a:gd name="connsiteY2" fmla="*/ 22354 h 47663"/>
              <a:gd name="connsiteX3" fmla="*/ 7136921 w 7136921"/>
              <a:gd name="connsiteY3" fmla="*/ 4363 h 47663"/>
              <a:gd name="connsiteX0" fmla="*/ 0 w 7136921"/>
              <a:gd name="connsiteY0" fmla="*/ 55767 h 55767"/>
              <a:gd name="connsiteX1" fmla="*/ 2447953 w 7136921"/>
              <a:gd name="connsiteY1" fmla="*/ 14971 h 55767"/>
              <a:gd name="connsiteX2" fmla="*/ 4628770 w 7136921"/>
              <a:gd name="connsiteY2" fmla="*/ 248 h 55767"/>
              <a:gd name="connsiteX3" fmla="*/ 7136921 w 7136921"/>
              <a:gd name="connsiteY3" fmla="*/ 12467 h 55767"/>
              <a:gd name="connsiteX0" fmla="*/ 0 w 6823788"/>
              <a:gd name="connsiteY0" fmla="*/ 1062787 h 1062787"/>
              <a:gd name="connsiteX1" fmla="*/ 2134820 w 6823788"/>
              <a:gd name="connsiteY1" fmla="*/ 14971 h 1062787"/>
              <a:gd name="connsiteX2" fmla="*/ 4315637 w 6823788"/>
              <a:gd name="connsiteY2" fmla="*/ 248 h 1062787"/>
              <a:gd name="connsiteX3" fmla="*/ 6823788 w 6823788"/>
              <a:gd name="connsiteY3" fmla="*/ 12467 h 1062787"/>
              <a:gd name="connsiteX0" fmla="*/ 0 w 6714872"/>
              <a:gd name="connsiteY0" fmla="*/ 770751 h 770751"/>
              <a:gd name="connsiteX1" fmla="*/ 2025904 w 6714872"/>
              <a:gd name="connsiteY1" fmla="*/ 14971 h 770751"/>
              <a:gd name="connsiteX2" fmla="*/ 4206721 w 6714872"/>
              <a:gd name="connsiteY2" fmla="*/ 248 h 770751"/>
              <a:gd name="connsiteX3" fmla="*/ 6714872 w 6714872"/>
              <a:gd name="connsiteY3" fmla="*/ 12467 h 770751"/>
              <a:gd name="connsiteX0" fmla="*/ 0 w 6714872"/>
              <a:gd name="connsiteY0" fmla="*/ 770751 h 2351256"/>
              <a:gd name="connsiteX1" fmla="*/ 2168856 w 6714872"/>
              <a:gd name="connsiteY1" fmla="*/ 2351256 h 2351256"/>
              <a:gd name="connsiteX2" fmla="*/ 4206721 w 6714872"/>
              <a:gd name="connsiteY2" fmla="*/ 248 h 2351256"/>
              <a:gd name="connsiteX3" fmla="*/ 6714872 w 6714872"/>
              <a:gd name="connsiteY3" fmla="*/ 12467 h 2351256"/>
              <a:gd name="connsiteX0" fmla="*/ 0 w 6714872"/>
              <a:gd name="connsiteY0" fmla="*/ 758285 h 2338790"/>
              <a:gd name="connsiteX1" fmla="*/ 2168856 w 6714872"/>
              <a:gd name="connsiteY1" fmla="*/ 2338790 h 2338790"/>
              <a:gd name="connsiteX2" fmla="*/ 4131842 w 6714872"/>
              <a:gd name="connsiteY2" fmla="*/ 571853 h 2338790"/>
              <a:gd name="connsiteX3" fmla="*/ 6714872 w 6714872"/>
              <a:gd name="connsiteY3" fmla="*/ 1 h 2338790"/>
              <a:gd name="connsiteX0" fmla="*/ 0 w 6537883"/>
              <a:gd name="connsiteY0" fmla="*/ 186446 h 1766951"/>
              <a:gd name="connsiteX1" fmla="*/ 2168856 w 6537883"/>
              <a:gd name="connsiteY1" fmla="*/ 1766951 h 1766951"/>
              <a:gd name="connsiteX2" fmla="*/ 4131842 w 6537883"/>
              <a:gd name="connsiteY2" fmla="*/ 14 h 1766951"/>
              <a:gd name="connsiteX3" fmla="*/ 6537883 w 6537883"/>
              <a:gd name="connsiteY3" fmla="*/ 1734238 h 1766951"/>
              <a:gd name="connsiteX0" fmla="*/ 0 w 6497040"/>
              <a:gd name="connsiteY0" fmla="*/ 1579 h 2307137"/>
              <a:gd name="connsiteX1" fmla="*/ 2128013 w 6497040"/>
              <a:gd name="connsiteY1" fmla="*/ 2307137 h 2307137"/>
              <a:gd name="connsiteX2" fmla="*/ 4090999 w 6497040"/>
              <a:gd name="connsiteY2" fmla="*/ 540200 h 2307137"/>
              <a:gd name="connsiteX3" fmla="*/ 6497040 w 6497040"/>
              <a:gd name="connsiteY3" fmla="*/ 2274424 h 2307137"/>
              <a:gd name="connsiteX0" fmla="*/ 0 w 6497040"/>
              <a:gd name="connsiteY0" fmla="*/ 19225 h 2294010"/>
              <a:gd name="connsiteX1" fmla="*/ 2155242 w 6497040"/>
              <a:gd name="connsiteY1" fmla="*/ 99268 h 2294010"/>
              <a:gd name="connsiteX2" fmla="*/ 4090999 w 6497040"/>
              <a:gd name="connsiteY2" fmla="*/ 557846 h 2294010"/>
              <a:gd name="connsiteX3" fmla="*/ 6497040 w 6497040"/>
              <a:gd name="connsiteY3" fmla="*/ 2292070 h 2294010"/>
              <a:gd name="connsiteX0" fmla="*/ 0 w 6497040"/>
              <a:gd name="connsiteY0" fmla="*/ 35389 h 2309715"/>
              <a:gd name="connsiteX1" fmla="*/ 2155242 w 6497040"/>
              <a:gd name="connsiteY1" fmla="*/ 115432 h 2309715"/>
              <a:gd name="connsiteX2" fmla="*/ 4090999 w 6497040"/>
              <a:gd name="connsiteY2" fmla="*/ 9 h 2309715"/>
              <a:gd name="connsiteX3" fmla="*/ 6497040 w 6497040"/>
              <a:gd name="connsiteY3" fmla="*/ 2308234 h 2309715"/>
              <a:gd name="connsiteX0" fmla="*/ 0 w 6483426"/>
              <a:gd name="connsiteY0" fmla="*/ 35472 h 176022"/>
              <a:gd name="connsiteX1" fmla="*/ 2155242 w 6483426"/>
              <a:gd name="connsiteY1" fmla="*/ 115515 h 176022"/>
              <a:gd name="connsiteX2" fmla="*/ 4090999 w 6483426"/>
              <a:gd name="connsiteY2" fmla="*/ 92 h 176022"/>
              <a:gd name="connsiteX3" fmla="*/ 6483426 w 6483426"/>
              <a:gd name="connsiteY3" fmla="*/ 163365 h 176022"/>
              <a:gd name="connsiteX0" fmla="*/ 0 w 6483426"/>
              <a:gd name="connsiteY0" fmla="*/ 63440 h 143483"/>
              <a:gd name="connsiteX1" fmla="*/ 2155242 w 6483426"/>
              <a:gd name="connsiteY1" fmla="*/ 143483 h 143483"/>
              <a:gd name="connsiteX2" fmla="*/ 4090999 w 6483426"/>
              <a:gd name="connsiteY2" fmla="*/ 28060 h 143483"/>
              <a:gd name="connsiteX3" fmla="*/ 6483426 w 6483426"/>
              <a:gd name="connsiteY3" fmla="*/ 0 h 143483"/>
              <a:gd name="connsiteX0" fmla="*/ 0 w 6365515"/>
              <a:gd name="connsiteY0" fmla="*/ 3543316 h 3543316"/>
              <a:gd name="connsiteX1" fmla="*/ 2037331 w 6365515"/>
              <a:gd name="connsiteY1" fmla="*/ 143483 h 3543316"/>
              <a:gd name="connsiteX2" fmla="*/ 3973088 w 6365515"/>
              <a:gd name="connsiteY2" fmla="*/ 28060 h 3543316"/>
              <a:gd name="connsiteX3" fmla="*/ 6365515 w 6365515"/>
              <a:gd name="connsiteY3" fmla="*/ 0 h 3543316"/>
              <a:gd name="connsiteX0" fmla="*/ 0 w 6400889"/>
              <a:gd name="connsiteY0" fmla="*/ 3839846 h 3839846"/>
              <a:gd name="connsiteX1" fmla="*/ 2072705 w 6400889"/>
              <a:gd name="connsiteY1" fmla="*/ 143483 h 3839846"/>
              <a:gd name="connsiteX2" fmla="*/ 4008462 w 6400889"/>
              <a:gd name="connsiteY2" fmla="*/ 28060 h 3839846"/>
              <a:gd name="connsiteX3" fmla="*/ 6400889 w 6400889"/>
              <a:gd name="connsiteY3" fmla="*/ 0 h 3839846"/>
              <a:gd name="connsiteX0" fmla="*/ 0 w 6400889"/>
              <a:gd name="connsiteY0" fmla="*/ 3839846 h 3839846"/>
              <a:gd name="connsiteX1" fmla="*/ 2137557 w 6400889"/>
              <a:gd name="connsiteY1" fmla="*/ 3771624 h 3839846"/>
              <a:gd name="connsiteX2" fmla="*/ 4008462 w 6400889"/>
              <a:gd name="connsiteY2" fmla="*/ 28060 h 3839846"/>
              <a:gd name="connsiteX3" fmla="*/ 6400889 w 6400889"/>
              <a:gd name="connsiteY3" fmla="*/ 0 h 3839846"/>
              <a:gd name="connsiteX0" fmla="*/ 0 w 6400889"/>
              <a:gd name="connsiteY0" fmla="*/ 3839846 h 3839846"/>
              <a:gd name="connsiteX1" fmla="*/ 2137557 w 6400889"/>
              <a:gd name="connsiteY1" fmla="*/ 3771624 h 3839846"/>
              <a:gd name="connsiteX2" fmla="*/ 4303240 w 6400889"/>
              <a:gd name="connsiteY2" fmla="*/ 3760860 h 3839846"/>
              <a:gd name="connsiteX3" fmla="*/ 6400889 w 6400889"/>
              <a:gd name="connsiteY3" fmla="*/ 0 h 3839846"/>
              <a:gd name="connsiteX0" fmla="*/ 0 w 6324247"/>
              <a:gd name="connsiteY0" fmla="*/ 761160 h 761160"/>
              <a:gd name="connsiteX1" fmla="*/ 2137557 w 6324247"/>
              <a:gd name="connsiteY1" fmla="*/ 692938 h 761160"/>
              <a:gd name="connsiteX2" fmla="*/ 4303240 w 6324247"/>
              <a:gd name="connsiteY2" fmla="*/ 682174 h 761160"/>
              <a:gd name="connsiteX3" fmla="*/ 6324247 w 6324247"/>
              <a:gd name="connsiteY3" fmla="*/ 0 h 761160"/>
              <a:gd name="connsiteX0" fmla="*/ 0 w 6341934"/>
              <a:gd name="connsiteY0" fmla="*/ 124491 h 124491"/>
              <a:gd name="connsiteX1" fmla="*/ 2137557 w 6341934"/>
              <a:gd name="connsiteY1" fmla="*/ 56269 h 124491"/>
              <a:gd name="connsiteX2" fmla="*/ 4303240 w 6341934"/>
              <a:gd name="connsiteY2" fmla="*/ 45505 h 124491"/>
              <a:gd name="connsiteX3" fmla="*/ 6341934 w 6341934"/>
              <a:gd name="connsiteY3" fmla="*/ 0 h 124491"/>
              <a:gd name="connsiteX0" fmla="*/ 0 w 6341934"/>
              <a:gd name="connsiteY0" fmla="*/ 124491 h 247603"/>
              <a:gd name="connsiteX1" fmla="*/ 2137557 w 6341934"/>
              <a:gd name="connsiteY1" fmla="*/ 247603 h 247603"/>
              <a:gd name="connsiteX2" fmla="*/ 4303240 w 6341934"/>
              <a:gd name="connsiteY2" fmla="*/ 45505 h 247603"/>
              <a:gd name="connsiteX3" fmla="*/ 6341934 w 6341934"/>
              <a:gd name="connsiteY3" fmla="*/ 0 h 247603"/>
              <a:gd name="connsiteX0" fmla="*/ 0 w 6382778"/>
              <a:gd name="connsiteY0" fmla="*/ 79068 h 207607"/>
              <a:gd name="connsiteX1" fmla="*/ 2137557 w 6382778"/>
              <a:gd name="connsiteY1" fmla="*/ 202180 h 207607"/>
              <a:gd name="connsiteX2" fmla="*/ 4303240 w 6382778"/>
              <a:gd name="connsiteY2" fmla="*/ 82 h 207607"/>
              <a:gd name="connsiteX3" fmla="*/ 6382778 w 6382778"/>
              <a:gd name="connsiteY3" fmla="*/ 196262 h 207607"/>
              <a:gd name="connsiteX0" fmla="*/ 0 w 6669421"/>
              <a:gd name="connsiteY0" fmla="*/ 3817403 h 3817403"/>
              <a:gd name="connsiteX1" fmla="*/ 2424200 w 6669421"/>
              <a:gd name="connsiteY1" fmla="*/ 336150 h 3817403"/>
              <a:gd name="connsiteX2" fmla="*/ 4589883 w 6669421"/>
              <a:gd name="connsiteY2" fmla="*/ 134052 h 3817403"/>
              <a:gd name="connsiteX3" fmla="*/ 6669421 w 6669421"/>
              <a:gd name="connsiteY3" fmla="*/ 330232 h 3817403"/>
              <a:gd name="connsiteX0" fmla="*/ 0 w 6623354"/>
              <a:gd name="connsiteY0" fmla="*/ 4352526 h 4352527"/>
              <a:gd name="connsiteX1" fmla="*/ 2378133 w 6623354"/>
              <a:gd name="connsiteY1" fmla="*/ 371508 h 4352527"/>
              <a:gd name="connsiteX2" fmla="*/ 4543816 w 6623354"/>
              <a:gd name="connsiteY2" fmla="*/ 169410 h 4352527"/>
              <a:gd name="connsiteX3" fmla="*/ 6623354 w 6623354"/>
              <a:gd name="connsiteY3" fmla="*/ 365590 h 4352527"/>
              <a:gd name="connsiteX0" fmla="*/ 0 w 6623354"/>
              <a:gd name="connsiteY0" fmla="*/ 4352526 h 4352526"/>
              <a:gd name="connsiteX1" fmla="*/ 2378133 w 6623354"/>
              <a:gd name="connsiteY1" fmla="*/ 371508 h 4352526"/>
              <a:gd name="connsiteX2" fmla="*/ 4543816 w 6623354"/>
              <a:gd name="connsiteY2" fmla="*/ 169410 h 4352526"/>
              <a:gd name="connsiteX3" fmla="*/ 6623354 w 6623354"/>
              <a:gd name="connsiteY3" fmla="*/ 365590 h 4352526"/>
              <a:gd name="connsiteX0" fmla="*/ 0 w 6623354"/>
              <a:gd name="connsiteY0" fmla="*/ 4183198 h 4183198"/>
              <a:gd name="connsiteX1" fmla="*/ 2045422 w 6623354"/>
              <a:gd name="connsiteY1" fmla="*/ 3155337 h 4183198"/>
              <a:gd name="connsiteX2" fmla="*/ 4543816 w 6623354"/>
              <a:gd name="connsiteY2" fmla="*/ 82 h 4183198"/>
              <a:gd name="connsiteX3" fmla="*/ 6623354 w 6623354"/>
              <a:gd name="connsiteY3" fmla="*/ 196262 h 4183198"/>
              <a:gd name="connsiteX0" fmla="*/ 0 w 6623354"/>
              <a:gd name="connsiteY0" fmla="*/ 4183198 h 4183198"/>
              <a:gd name="connsiteX1" fmla="*/ 2045422 w 6623354"/>
              <a:gd name="connsiteY1" fmla="*/ 3155337 h 4183198"/>
              <a:gd name="connsiteX2" fmla="*/ 4543816 w 6623354"/>
              <a:gd name="connsiteY2" fmla="*/ 82 h 4183198"/>
              <a:gd name="connsiteX3" fmla="*/ 6623354 w 6623354"/>
              <a:gd name="connsiteY3" fmla="*/ 196262 h 4183198"/>
              <a:gd name="connsiteX0" fmla="*/ 0 w 6623354"/>
              <a:gd name="connsiteY0" fmla="*/ 4183198 h 4183198"/>
              <a:gd name="connsiteX1" fmla="*/ 2045422 w 6623354"/>
              <a:gd name="connsiteY1" fmla="*/ 3155337 h 4183198"/>
              <a:gd name="connsiteX2" fmla="*/ 4543816 w 6623354"/>
              <a:gd name="connsiteY2" fmla="*/ 82 h 4183198"/>
              <a:gd name="connsiteX3" fmla="*/ 6623354 w 6623354"/>
              <a:gd name="connsiteY3" fmla="*/ 196262 h 4183198"/>
              <a:gd name="connsiteX0" fmla="*/ 0 w 6623354"/>
              <a:gd name="connsiteY0" fmla="*/ 4183198 h 4183198"/>
              <a:gd name="connsiteX1" fmla="*/ 2045422 w 6623354"/>
              <a:gd name="connsiteY1" fmla="*/ 3155337 h 4183198"/>
              <a:gd name="connsiteX2" fmla="*/ 4543816 w 6623354"/>
              <a:gd name="connsiteY2" fmla="*/ 82 h 4183198"/>
              <a:gd name="connsiteX3" fmla="*/ 6623354 w 6623354"/>
              <a:gd name="connsiteY3" fmla="*/ 196262 h 4183198"/>
              <a:gd name="connsiteX0" fmla="*/ 0 w 6623354"/>
              <a:gd name="connsiteY0" fmla="*/ 4183198 h 4183198"/>
              <a:gd name="connsiteX1" fmla="*/ 2045422 w 6623354"/>
              <a:gd name="connsiteY1" fmla="*/ 3155337 h 4183198"/>
              <a:gd name="connsiteX2" fmla="*/ 4543816 w 6623354"/>
              <a:gd name="connsiteY2" fmla="*/ 82 h 4183198"/>
              <a:gd name="connsiteX3" fmla="*/ 6623354 w 6623354"/>
              <a:gd name="connsiteY3" fmla="*/ 196262 h 4183198"/>
              <a:gd name="connsiteX0" fmla="*/ 0 w 6623354"/>
              <a:gd name="connsiteY0" fmla="*/ 4183198 h 4183198"/>
              <a:gd name="connsiteX1" fmla="*/ 2045422 w 6623354"/>
              <a:gd name="connsiteY1" fmla="*/ 3155337 h 4183198"/>
              <a:gd name="connsiteX2" fmla="*/ 4543816 w 6623354"/>
              <a:gd name="connsiteY2" fmla="*/ 82 h 4183198"/>
              <a:gd name="connsiteX3" fmla="*/ 6623354 w 6623354"/>
              <a:gd name="connsiteY3" fmla="*/ 196262 h 4183198"/>
              <a:gd name="connsiteX0" fmla="*/ 0 w 6623354"/>
              <a:gd name="connsiteY0" fmla="*/ 3986936 h 3986936"/>
              <a:gd name="connsiteX1" fmla="*/ 2045422 w 6623354"/>
              <a:gd name="connsiteY1" fmla="*/ 2959075 h 3986936"/>
              <a:gd name="connsiteX2" fmla="*/ 4108733 w 6623354"/>
              <a:gd name="connsiteY2" fmla="*/ 2522239 h 3986936"/>
              <a:gd name="connsiteX3" fmla="*/ 6623354 w 6623354"/>
              <a:gd name="connsiteY3" fmla="*/ 0 h 3986936"/>
              <a:gd name="connsiteX0" fmla="*/ 0 w 6623354"/>
              <a:gd name="connsiteY0" fmla="*/ 3986936 h 3986936"/>
              <a:gd name="connsiteX1" fmla="*/ 2045422 w 6623354"/>
              <a:gd name="connsiteY1" fmla="*/ 2959075 h 3986936"/>
              <a:gd name="connsiteX2" fmla="*/ 4108733 w 6623354"/>
              <a:gd name="connsiteY2" fmla="*/ 2522239 h 3986936"/>
              <a:gd name="connsiteX3" fmla="*/ 6623354 w 6623354"/>
              <a:gd name="connsiteY3" fmla="*/ 0 h 3986936"/>
              <a:gd name="connsiteX0" fmla="*/ 0 w 6623354"/>
              <a:gd name="connsiteY0" fmla="*/ 3986936 h 3986936"/>
              <a:gd name="connsiteX1" fmla="*/ 2045422 w 6623354"/>
              <a:gd name="connsiteY1" fmla="*/ 2959075 h 3986936"/>
              <a:gd name="connsiteX2" fmla="*/ 4108733 w 6623354"/>
              <a:gd name="connsiteY2" fmla="*/ 2522239 h 3986936"/>
              <a:gd name="connsiteX3" fmla="*/ 6623354 w 6623354"/>
              <a:gd name="connsiteY3" fmla="*/ 0 h 3986936"/>
              <a:gd name="connsiteX0" fmla="*/ 0 w 6623354"/>
              <a:gd name="connsiteY0" fmla="*/ 3986936 h 3986936"/>
              <a:gd name="connsiteX1" fmla="*/ 2045422 w 6623354"/>
              <a:gd name="connsiteY1" fmla="*/ 2959075 h 3986936"/>
              <a:gd name="connsiteX2" fmla="*/ 4108733 w 6623354"/>
              <a:gd name="connsiteY2" fmla="*/ 2522239 h 3986936"/>
              <a:gd name="connsiteX3" fmla="*/ 6623354 w 6623354"/>
              <a:gd name="connsiteY3" fmla="*/ 0 h 3986936"/>
              <a:gd name="connsiteX0" fmla="*/ 0 w 6229219"/>
              <a:gd name="connsiteY0" fmla="*/ 1464738 h 1464738"/>
              <a:gd name="connsiteX1" fmla="*/ 2045422 w 6229219"/>
              <a:gd name="connsiteY1" fmla="*/ 436877 h 1464738"/>
              <a:gd name="connsiteX2" fmla="*/ 4108733 w 6229219"/>
              <a:gd name="connsiteY2" fmla="*/ 41 h 1464738"/>
              <a:gd name="connsiteX3" fmla="*/ 6229219 w 6229219"/>
              <a:gd name="connsiteY3" fmla="*/ 476392 h 1464738"/>
              <a:gd name="connsiteX0" fmla="*/ 0 w 6229219"/>
              <a:gd name="connsiteY0" fmla="*/ 1464763 h 1464763"/>
              <a:gd name="connsiteX1" fmla="*/ 2045422 w 6229219"/>
              <a:gd name="connsiteY1" fmla="*/ 436902 h 1464763"/>
              <a:gd name="connsiteX2" fmla="*/ 4108733 w 6229219"/>
              <a:gd name="connsiteY2" fmla="*/ 66 h 1464763"/>
              <a:gd name="connsiteX3" fmla="*/ 6229219 w 6229219"/>
              <a:gd name="connsiteY3" fmla="*/ 476417 h 1464763"/>
              <a:gd name="connsiteX0" fmla="*/ 0 w 6229219"/>
              <a:gd name="connsiteY0" fmla="*/ 1464697 h 1464697"/>
              <a:gd name="connsiteX1" fmla="*/ 2045422 w 6229219"/>
              <a:gd name="connsiteY1" fmla="*/ 436836 h 1464697"/>
              <a:gd name="connsiteX2" fmla="*/ 4108733 w 6229219"/>
              <a:gd name="connsiteY2" fmla="*/ 0 h 1464697"/>
              <a:gd name="connsiteX3" fmla="*/ 6229219 w 6229219"/>
              <a:gd name="connsiteY3" fmla="*/ 476351 h 1464697"/>
            </a:gdLst>
            <a:ahLst/>
            <a:cxnLst>
              <a:cxn ang="0">
                <a:pos x="connsiteX0" y="connsiteY0"/>
              </a:cxn>
              <a:cxn ang="0">
                <a:pos x="connsiteX1" y="connsiteY1"/>
              </a:cxn>
              <a:cxn ang="0">
                <a:pos x="connsiteX2" y="connsiteY2"/>
              </a:cxn>
              <a:cxn ang="0">
                <a:pos x="connsiteX3" y="connsiteY3"/>
              </a:cxn>
            </a:cxnLst>
            <a:rect l="l" t="t" r="r" b="b"/>
            <a:pathLst>
              <a:path w="6229219" h="1464697">
                <a:moveTo>
                  <a:pt x="0" y="1464697"/>
                </a:moveTo>
                <a:cubicBezTo>
                  <a:pt x="700580" y="1128216"/>
                  <a:pt x="1349312" y="646501"/>
                  <a:pt x="2045422" y="436836"/>
                </a:cubicBezTo>
                <a:cubicBezTo>
                  <a:pt x="2730211" y="230581"/>
                  <a:pt x="3806567" y="11160"/>
                  <a:pt x="4108733" y="0"/>
                </a:cubicBezTo>
                <a:cubicBezTo>
                  <a:pt x="4726432" y="70270"/>
                  <a:pt x="5525094" y="326044"/>
                  <a:pt x="6229219" y="476351"/>
                </a:cubicBezTo>
              </a:path>
            </a:pathLst>
          </a:custGeom>
          <a:noFill/>
          <a:ln w="136525" cap="rnd" cmpd="sng" algn="ctr">
            <a:solidFill>
              <a:srgbClr val="FFCD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65" name="Freeform 42">
            <a:extLst>
              <a:ext uri="{FF2B5EF4-FFF2-40B4-BE49-F238E27FC236}">
                <a16:creationId xmlns:a16="http://schemas.microsoft.com/office/drawing/2014/main" id="{5C40D4EF-9516-4889-8CDE-DAA7887C3A8A}"/>
              </a:ext>
            </a:extLst>
          </p:cNvPr>
          <p:cNvSpPr/>
          <p:nvPr/>
        </p:nvSpPr>
        <p:spPr bwMode="auto">
          <a:xfrm flipV="1">
            <a:off x="1691358" y="2324175"/>
            <a:ext cx="8683045" cy="1746796"/>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1317807 w 7136640"/>
              <a:gd name="connsiteY1" fmla="*/ 54363 h 308134"/>
              <a:gd name="connsiteX2" fmla="*/ 1992056 w 7136640"/>
              <a:gd name="connsiteY2" fmla="*/ 307577 h 308134"/>
              <a:gd name="connsiteX3" fmla="*/ 2642777 w 7136640"/>
              <a:gd name="connsiteY3" fmla="*/ 124402 h 308134"/>
              <a:gd name="connsiteX4" fmla="*/ 3302093 w 7136640"/>
              <a:gd name="connsiteY4" fmla="*/ 189711 h 308134"/>
              <a:gd name="connsiteX5" fmla="*/ 3964644 w 7136640"/>
              <a:gd name="connsiteY5" fmla="*/ 417 h 308134"/>
              <a:gd name="connsiteX6" fmla="*/ 4578995 w 7136640"/>
              <a:gd name="connsiteY6" fmla="*/ 255894 h 308134"/>
              <a:gd name="connsiteX7" fmla="*/ 5236906 w 7136640"/>
              <a:gd name="connsiteY7" fmla="*/ 128120 h 308134"/>
              <a:gd name="connsiteX8" fmla="*/ 5843222 w 7136640"/>
              <a:gd name="connsiteY8" fmla="*/ 271154 h 308134"/>
              <a:gd name="connsiteX9" fmla="*/ 6486411 w 7136640"/>
              <a:gd name="connsiteY9" fmla="*/ 18281 h 308134"/>
              <a:gd name="connsiteX10" fmla="*/ 7136640 w 7136640"/>
              <a:gd name="connsiteY10" fmla="*/ 141032 h 308134"/>
              <a:gd name="connsiteX0" fmla="*/ 0 w 7136640"/>
              <a:gd name="connsiteY0" fmla="*/ 50651 h 308191"/>
              <a:gd name="connsiteX1" fmla="*/ 1992056 w 7136640"/>
              <a:gd name="connsiteY1" fmla="*/ 307577 h 308191"/>
              <a:gd name="connsiteX2" fmla="*/ 2642777 w 7136640"/>
              <a:gd name="connsiteY2" fmla="*/ 124402 h 308191"/>
              <a:gd name="connsiteX3" fmla="*/ 3302093 w 7136640"/>
              <a:gd name="connsiteY3" fmla="*/ 189711 h 308191"/>
              <a:gd name="connsiteX4" fmla="*/ 3964644 w 7136640"/>
              <a:gd name="connsiteY4" fmla="*/ 417 h 308191"/>
              <a:gd name="connsiteX5" fmla="*/ 4578995 w 7136640"/>
              <a:gd name="connsiteY5" fmla="*/ 255894 h 308191"/>
              <a:gd name="connsiteX6" fmla="*/ 5236906 w 7136640"/>
              <a:gd name="connsiteY6" fmla="*/ 128120 h 308191"/>
              <a:gd name="connsiteX7" fmla="*/ 5843222 w 7136640"/>
              <a:gd name="connsiteY7" fmla="*/ 271154 h 308191"/>
              <a:gd name="connsiteX8" fmla="*/ 6486411 w 7136640"/>
              <a:gd name="connsiteY8" fmla="*/ 18281 h 308191"/>
              <a:gd name="connsiteX9" fmla="*/ 7136640 w 7136640"/>
              <a:gd name="connsiteY9" fmla="*/ 141032 h 308191"/>
              <a:gd name="connsiteX0" fmla="*/ 0 w 7136640"/>
              <a:gd name="connsiteY0" fmla="*/ 50651 h 272623"/>
              <a:gd name="connsiteX1" fmla="*/ 2642777 w 7136640"/>
              <a:gd name="connsiteY1" fmla="*/ 124402 h 272623"/>
              <a:gd name="connsiteX2" fmla="*/ 3302093 w 7136640"/>
              <a:gd name="connsiteY2" fmla="*/ 189711 h 272623"/>
              <a:gd name="connsiteX3" fmla="*/ 3964644 w 7136640"/>
              <a:gd name="connsiteY3" fmla="*/ 417 h 272623"/>
              <a:gd name="connsiteX4" fmla="*/ 4578995 w 7136640"/>
              <a:gd name="connsiteY4" fmla="*/ 255894 h 272623"/>
              <a:gd name="connsiteX5" fmla="*/ 5236906 w 7136640"/>
              <a:gd name="connsiteY5" fmla="*/ 128120 h 272623"/>
              <a:gd name="connsiteX6" fmla="*/ 5843222 w 7136640"/>
              <a:gd name="connsiteY6" fmla="*/ 271154 h 272623"/>
              <a:gd name="connsiteX7" fmla="*/ 6486411 w 7136640"/>
              <a:gd name="connsiteY7" fmla="*/ 18281 h 272623"/>
              <a:gd name="connsiteX8" fmla="*/ 7136640 w 7136640"/>
              <a:gd name="connsiteY8" fmla="*/ 141032 h 272623"/>
              <a:gd name="connsiteX0" fmla="*/ 0 w 7136640"/>
              <a:gd name="connsiteY0" fmla="*/ 52596 h 274568"/>
              <a:gd name="connsiteX1" fmla="*/ 2642777 w 7136640"/>
              <a:gd name="connsiteY1" fmla="*/ 126347 h 274568"/>
              <a:gd name="connsiteX2" fmla="*/ 3964644 w 7136640"/>
              <a:gd name="connsiteY2" fmla="*/ 2362 h 274568"/>
              <a:gd name="connsiteX3" fmla="*/ 4578995 w 7136640"/>
              <a:gd name="connsiteY3" fmla="*/ 257839 h 274568"/>
              <a:gd name="connsiteX4" fmla="*/ 5236906 w 7136640"/>
              <a:gd name="connsiteY4" fmla="*/ 130065 h 274568"/>
              <a:gd name="connsiteX5" fmla="*/ 5843222 w 7136640"/>
              <a:gd name="connsiteY5" fmla="*/ 273099 h 274568"/>
              <a:gd name="connsiteX6" fmla="*/ 6486411 w 7136640"/>
              <a:gd name="connsiteY6" fmla="*/ 20226 h 274568"/>
              <a:gd name="connsiteX7" fmla="*/ 7136640 w 7136640"/>
              <a:gd name="connsiteY7" fmla="*/ 142977 h 274568"/>
              <a:gd name="connsiteX0" fmla="*/ 0 w 7136640"/>
              <a:gd name="connsiteY0" fmla="*/ 52596 h 275037"/>
              <a:gd name="connsiteX1" fmla="*/ 2642777 w 7136640"/>
              <a:gd name="connsiteY1" fmla="*/ 126347 h 275037"/>
              <a:gd name="connsiteX2" fmla="*/ 3964644 w 7136640"/>
              <a:gd name="connsiteY2" fmla="*/ 2362 h 275037"/>
              <a:gd name="connsiteX3" fmla="*/ 5236906 w 7136640"/>
              <a:gd name="connsiteY3" fmla="*/ 130065 h 275037"/>
              <a:gd name="connsiteX4" fmla="*/ 5843222 w 7136640"/>
              <a:gd name="connsiteY4" fmla="*/ 273099 h 275037"/>
              <a:gd name="connsiteX5" fmla="*/ 6486411 w 7136640"/>
              <a:gd name="connsiteY5" fmla="*/ 20226 h 275037"/>
              <a:gd name="connsiteX6" fmla="*/ 7136640 w 7136640"/>
              <a:gd name="connsiteY6" fmla="*/ 142977 h 275037"/>
              <a:gd name="connsiteX0" fmla="*/ 0 w 7136640"/>
              <a:gd name="connsiteY0" fmla="*/ 52596 h 273099"/>
              <a:gd name="connsiteX1" fmla="*/ 2642777 w 7136640"/>
              <a:gd name="connsiteY1" fmla="*/ 126347 h 273099"/>
              <a:gd name="connsiteX2" fmla="*/ 3964644 w 7136640"/>
              <a:gd name="connsiteY2" fmla="*/ 2362 h 273099"/>
              <a:gd name="connsiteX3" fmla="*/ 5843222 w 7136640"/>
              <a:gd name="connsiteY3" fmla="*/ 273099 h 273099"/>
              <a:gd name="connsiteX4" fmla="*/ 6486411 w 7136640"/>
              <a:gd name="connsiteY4" fmla="*/ 20226 h 273099"/>
              <a:gd name="connsiteX5" fmla="*/ 7136640 w 7136640"/>
              <a:gd name="connsiteY5" fmla="*/ 142977 h 273099"/>
              <a:gd name="connsiteX0" fmla="*/ 0 w 7136640"/>
              <a:gd name="connsiteY0" fmla="*/ 58671 h 149052"/>
              <a:gd name="connsiteX1" fmla="*/ 2642777 w 7136640"/>
              <a:gd name="connsiteY1" fmla="*/ 132422 h 149052"/>
              <a:gd name="connsiteX2" fmla="*/ 3964644 w 7136640"/>
              <a:gd name="connsiteY2" fmla="*/ 8437 h 149052"/>
              <a:gd name="connsiteX3" fmla="*/ 6486411 w 7136640"/>
              <a:gd name="connsiteY3" fmla="*/ 26301 h 149052"/>
              <a:gd name="connsiteX4" fmla="*/ 7136640 w 7136640"/>
              <a:gd name="connsiteY4" fmla="*/ 149052 h 149052"/>
              <a:gd name="connsiteX0" fmla="*/ 0 w 6486411"/>
              <a:gd name="connsiteY0" fmla="*/ 58671 h 132422"/>
              <a:gd name="connsiteX1" fmla="*/ 2642777 w 6486411"/>
              <a:gd name="connsiteY1" fmla="*/ 132422 h 132422"/>
              <a:gd name="connsiteX2" fmla="*/ 3964644 w 6486411"/>
              <a:gd name="connsiteY2" fmla="*/ 8437 h 132422"/>
              <a:gd name="connsiteX3" fmla="*/ 6486411 w 6486411"/>
              <a:gd name="connsiteY3" fmla="*/ 26301 h 132422"/>
              <a:gd name="connsiteX0" fmla="*/ 0 w 7206511"/>
              <a:gd name="connsiteY0" fmla="*/ 50234 h 123985"/>
              <a:gd name="connsiteX1" fmla="*/ 2642777 w 7206511"/>
              <a:gd name="connsiteY1" fmla="*/ 123985 h 123985"/>
              <a:gd name="connsiteX2" fmla="*/ 3964644 w 7206511"/>
              <a:gd name="connsiteY2" fmla="*/ 0 h 123985"/>
              <a:gd name="connsiteX3" fmla="*/ 7206511 w 7206511"/>
              <a:gd name="connsiteY3" fmla="*/ 60073 h 123985"/>
              <a:gd name="connsiteX0" fmla="*/ 0 w 7206511"/>
              <a:gd name="connsiteY0" fmla="*/ 0 h 218374"/>
              <a:gd name="connsiteX1" fmla="*/ 2642777 w 7206511"/>
              <a:gd name="connsiteY1" fmla="*/ 73751 h 218374"/>
              <a:gd name="connsiteX2" fmla="*/ 4572033 w 7206511"/>
              <a:gd name="connsiteY2" fmla="*/ 217699 h 218374"/>
              <a:gd name="connsiteX3" fmla="*/ 7206511 w 7206511"/>
              <a:gd name="connsiteY3" fmla="*/ 9839 h 218374"/>
              <a:gd name="connsiteX0" fmla="*/ 0 w 7206511"/>
              <a:gd name="connsiteY0" fmla="*/ 0 h 217849"/>
              <a:gd name="connsiteX1" fmla="*/ 2517543 w 7206511"/>
              <a:gd name="connsiteY1" fmla="*/ 42553 h 217849"/>
              <a:gd name="connsiteX2" fmla="*/ 4572033 w 7206511"/>
              <a:gd name="connsiteY2" fmla="*/ 217699 h 217849"/>
              <a:gd name="connsiteX3" fmla="*/ 7206511 w 7206511"/>
              <a:gd name="connsiteY3" fmla="*/ 9839 h 217849"/>
              <a:gd name="connsiteX0" fmla="*/ 0 w 7143893"/>
              <a:gd name="connsiteY0" fmla="*/ 247083 h 247083"/>
              <a:gd name="connsiteX1" fmla="*/ 2454925 w 7143893"/>
              <a:gd name="connsiteY1" fmla="*/ 32714 h 247083"/>
              <a:gd name="connsiteX2" fmla="*/ 4509415 w 7143893"/>
              <a:gd name="connsiteY2" fmla="*/ 207860 h 247083"/>
              <a:gd name="connsiteX3" fmla="*/ 7143893 w 7143893"/>
              <a:gd name="connsiteY3" fmla="*/ 0 h 247083"/>
              <a:gd name="connsiteX0" fmla="*/ 0 w 7143893"/>
              <a:gd name="connsiteY0" fmla="*/ 247083 h 247083"/>
              <a:gd name="connsiteX1" fmla="*/ 2454925 w 7143893"/>
              <a:gd name="connsiteY1" fmla="*/ 32714 h 247083"/>
              <a:gd name="connsiteX2" fmla="*/ 4622127 w 7143893"/>
              <a:gd name="connsiteY2" fmla="*/ 48201 h 247083"/>
              <a:gd name="connsiteX3" fmla="*/ 7143893 w 7143893"/>
              <a:gd name="connsiteY3" fmla="*/ 0 h 247083"/>
              <a:gd name="connsiteX0" fmla="*/ 0 w 7136921"/>
              <a:gd name="connsiteY0" fmla="*/ 43300 h 48839"/>
              <a:gd name="connsiteX1" fmla="*/ 2447953 w 7136921"/>
              <a:gd name="connsiteY1" fmla="*/ 32714 h 48839"/>
              <a:gd name="connsiteX2" fmla="*/ 4615155 w 7136921"/>
              <a:gd name="connsiteY2" fmla="*/ 48201 h 48839"/>
              <a:gd name="connsiteX3" fmla="*/ 7136921 w 7136921"/>
              <a:gd name="connsiteY3" fmla="*/ 0 h 48839"/>
              <a:gd name="connsiteX0" fmla="*/ 0 w 7136921"/>
              <a:gd name="connsiteY0" fmla="*/ 43300 h 48839"/>
              <a:gd name="connsiteX1" fmla="*/ 2447953 w 7136921"/>
              <a:gd name="connsiteY1" fmla="*/ 32714 h 48839"/>
              <a:gd name="connsiteX2" fmla="*/ 4615155 w 7136921"/>
              <a:gd name="connsiteY2" fmla="*/ 48201 h 48839"/>
              <a:gd name="connsiteX3" fmla="*/ 7136921 w 7136921"/>
              <a:gd name="connsiteY3" fmla="*/ 0 h 48839"/>
              <a:gd name="connsiteX0" fmla="*/ 0 w 7136921"/>
              <a:gd name="connsiteY0" fmla="*/ 47663 h 53200"/>
              <a:gd name="connsiteX1" fmla="*/ 2447953 w 7136921"/>
              <a:gd name="connsiteY1" fmla="*/ 6867 h 53200"/>
              <a:gd name="connsiteX2" fmla="*/ 4615155 w 7136921"/>
              <a:gd name="connsiteY2" fmla="*/ 52564 h 53200"/>
              <a:gd name="connsiteX3" fmla="*/ 7136921 w 7136921"/>
              <a:gd name="connsiteY3" fmla="*/ 4363 h 53200"/>
              <a:gd name="connsiteX0" fmla="*/ 0 w 7136921"/>
              <a:gd name="connsiteY0" fmla="*/ 47663 h 47663"/>
              <a:gd name="connsiteX1" fmla="*/ 2447953 w 7136921"/>
              <a:gd name="connsiteY1" fmla="*/ 6867 h 47663"/>
              <a:gd name="connsiteX2" fmla="*/ 4615155 w 7136921"/>
              <a:gd name="connsiteY2" fmla="*/ 22354 h 47663"/>
              <a:gd name="connsiteX3" fmla="*/ 7136921 w 7136921"/>
              <a:gd name="connsiteY3" fmla="*/ 4363 h 47663"/>
              <a:gd name="connsiteX0" fmla="*/ 0 w 7136921"/>
              <a:gd name="connsiteY0" fmla="*/ 55767 h 55767"/>
              <a:gd name="connsiteX1" fmla="*/ 2447953 w 7136921"/>
              <a:gd name="connsiteY1" fmla="*/ 14971 h 55767"/>
              <a:gd name="connsiteX2" fmla="*/ 4628770 w 7136921"/>
              <a:gd name="connsiteY2" fmla="*/ 248 h 55767"/>
              <a:gd name="connsiteX3" fmla="*/ 7136921 w 7136921"/>
              <a:gd name="connsiteY3" fmla="*/ 12467 h 55767"/>
              <a:gd name="connsiteX0" fmla="*/ 0 w 6823788"/>
              <a:gd name="connsiteY0" fmla="*/ 1062787 h 1062787"/>
              <a:gd name="connsiteX1" fmla="*/ 2134820 w 6823788"/>
              <a:gd name="connsiteY1" fmla="*/ 14971 h 1062787"/>
              <a:gd name="connsiteX2" fmla="*/ 4315637 w 6823788"/>
              <a:gd name="connsiteY2" fmla="*/ 248 h 1062787"/>
              <a:gd name="connsiteX3" fmla="*/ 6823788 w 6823788"/>
              <a:gd name="connsiteY3" fmla="*/ 12467 h 1062787"/>
              <a:gd name="connsiteX0" fmla="*/ 0 w 6714872"/>
              <a:gd name="connsiteY0" fmla="*/ 770751 h 770751"/>
              <a:gd name="connsiteX1" fmla="*/ 2025904 w 6714872"/>
              <a:gd name="connsiteY1" fmla="*/ 14971 h 770751"/>
              <a:gd name="connsiteX2" fmla="*/ 4206721 w 6714872"/>
              <a:gd name="connsiteY2" fmla="*/ 248 h 770751"/>
              <a:gd name="connsiteX3" fmla="*/ 6714872 w 6714872"/>
              <a:gd name="connsiteY3" fmla="*/ 12467 h 770751"/>
              <a:gd name="connsiteX0" fmla="*/ 0 w 6714872"/>
              <a:gd name="connsiteY0" fmla="*/ 770751 h 2351256"/>
              <a:gd name="connsiteX1" fmla="*/ 2168856 w 6714872"/>
              <a:gd name="connsiteY1" fmla="*/ 2351256 h 2351256"/>
              <a:gd name="connsiteX2" fmla="*/ 4206721 w 6714872"/>
              <a:gd name="connsiteY2" fmla="*/ 248 h 2351256"/>
              <a:gd name="connsiteX3" fmla="*/ 6714872 w 6714872"/>
              <a:gd name="connsiteY3" fmla="*/ 12467 h 2351256"/>
              <a:gd name="connsiteX0" fmla="*/ 0 w 6714872"/>
              <a:gd name="connsiteY0" fmla="*/ 758285 h 2338790"/>
              <a:gd name="connsiteX1" fmla="*/ 2168856 w 6714872"/>
              <a:gd name="connsiteY1" fmla="*/ 2338790 h 2338790"/>
              <a:gd name="connsiteX2" fmla="*/ 4131842 w 6714872"/>
              <a:gd name="connsiteY2" fmla="*/ 571853 h 2338790"/>
              <a:gd name="connsiteX3" fmla="*/ 6714872 w 6714872"/>
              <a:gd name="connsiteY3" fmla="*/ 1 h 2338790"/>
              <a:gd name="connsiteX0" fmla="*/ 0 w 6537883"/>
              <a:gd name="connsiteY0" fmla="*/ 186446 h 1766951"/>
              <a:gd name="connsiteX1" fmla="*/ 2168856 w 6537883"/>
              <a:gd name="connsiteY1" fmla="*/ 1766951 h 1766951"/>
              <a:gd name="connsiteX2" fmla="*/ 4131842 w 6537883"/>
              <a:gd name="connsiteY2" fmla="*/ 14 h 1766951"/>
              <a:gd name="connsiteX3" fmla="*/ 6537883 w 6537883"/>
              <a:gd name="connsiteY3" fmla="*/ 1734238 h 1766951"/>
              <a:gd name="connsiteX0" fmla="*/ 0 w 6497040"/>
              <a:gd name="connsiteY0" fmla="*/ 1579 h 2307137"/>
              <a:gd name="connsiteX1" fmla="*/ 2128013 w 6497040"/>
              <a:gd name="connsiteY1" fmla="*/ 2307137 h 2307137"/>
              <a:gd name="connsiteX2" fmla="*/ 4090999 w 6497040"/>
              <a:gd name="connsiteY2" fmla="*/ 540200 h 2307137"/>
              <a:gd name="connsiteX3" fmla="*/ 6497040 w 6497040"/>
              <a:gd name="connsiteY3" fmla="*/ 2274424 h 2307137"/>
              <a:gd name="connsiteX0" fmla="*/ 0 w 6497040"/>
              <a:gd name="connsiteY0" fmla="*/ 19225 h 2294010"/>
              <a:gd name="connsiteX1" fmla="*/ 2155242 w 6497040"/>
              <a:gd name="connsiteY1" fmla="*/ 99268 h 2294010"/>
              <a:gd name="connsiteX2" fmla="*/ 4090999 w 6497040"/>
              <a:gd name="connsiteY2" fmla="*/ 557846 h 2294010"/>
              <a:gd name="connsiteX3" fmla="*/ 6497040 w 6497040"/>
              <a:gd name="connsiteY3" fmla="*/ 2292070 h 2294010"/>
              <a:gd name="connsiteX0" fmla="*/ 0 w 6497040"/>
              <a:gd name="connsiteY0" fmla="*/ 35389 h 2309715"/>
              <a:gd name="connsiteX1" fmla="*/ 2155242 w 6497040"/>
              <a:gd name="connsiteY1" fmla="*/ 115432 h 2309715"/>
              <a:gd name="connsiteX2" fmla="*/ 4090999 w 6497040"/>
              <a:gd name="connsiteY2" fmla="*/ 9 h 2309715"/>
              <a:gd name="connsiteX3" fmla="*/ 6497040 w 6497040"/>
              <a:gd name="connsiteY3" fmla="*/ 2308234 h 2309715"/>
              <a:gd name="connsiteX0" fmla="*/ 0 w 6483426"/>
              <a:gd name="connsiteY0" fmla="*/ 35472 h 176022"/>
              <a:gd name="connsiteX1" fmla="*/ 2155242 w 6483426"/>
              <a:gd name="connsiteY1" fmla="*/ 115515 h 176022"/>
              <a:gd name="connsiteX2" fmla="*/ 4090999 w 6483426"/>
              <a:gd name="connsiteY2" fmla="*/ 92 h 176022"/>
              <a:gd name="connsiteX3" fmla="*/ 6483426 w 6483426"/>
              <a:gd name="connsiteY3" fmla="*/ 163365 h 176022"/>
              <a:gd name="connsiteX0" fmla="*/ 0 w 6483426"/>
              <a:gd name="connsiteY0" fmla="*/ 63440 h 143483"/>
              <a:gd name="connsiteX1" fmla="*/ 2155242 w 6483426"/>
              <a:gd name="connsiteY1" fmla="*/ 143483 h 143483"/>
              <a:gd name="connsiteX2" fmla="*/ 4090999 w 6483426"/>
              <a:gd name="connsiteY2" fmla="*/ 28060 h 143483"/>
              <a:gd name="connsiteX3" fmla="*/ 6483426 w 6483426"/>
              <a:gd name="connsiteY3" fmla="*/ 0 h 143483"/>
              <a:gd name="connsiteX0" fmla="*/ 0 w 6365515"/>
              <a:gd name="connsiteY0" fmla="*/ 3543316 h 3543316"/>
              <a:gd name="connsiteX1" fmla="*/ 2037331 w 6365515"/>
              <a:gd name="connsiteY1" fmla="*/ 143483 h 3543316"/>
              <a:gd name="connsiteX2" fmla="*/ 3973088 w 6365515"/>
              <a:gd name="connsiteY2" fmla="*/ 28060 h 3543316"/>
              <a:gd name="connsiteX3" fmla="*/ 6365515 w 6365515"/>
              <a:gd name="connsiteY3" fmla="*/ 0 h 3543316"/>
              <a:gd name="connsiteX0" fmla="*/ 0 w 6400889"/>
              <a:gd name="connsiteY0" fmla="*/ 3839846 h 3839846"/>
              <a:gd name="connsiteX1" fmla="*/ 2072705 w 6400889"/>
              <a:gd name="connsiteY1" fmla="*/ 143483 h 3839846"/>
              <a:gd name="connsiteX2" fmla="*/ 4008462 w 6400889"/>
              <a:gd name="connsiteY2" fmla="*/ 28060 h 3839846"/>
              <a:gd name="connsiteX3" fmla="*/ 6400889 w 6400889"/>
              <a:gd name="connsiteY3" fmla="*/ 0 h 3839846"/>
              <a:gd name="connsiteX0" fmla="*/ 0 w 6400889"/>
              <a:gd name="connsiteY0" fmla="*/ 3839846 h 3839846"/>
              <a:gd name="connsiteX1" fmla="*/ 2137557 w 6400889"/>
              <a:gd name="connsiteY1" fmla="*/ 3771624 h 3839846"/>
              <a:gd name="connsiteX2" fmla="*/ 4008462 w 6400889"/>
              <a:gd name="connsiteY2" fmla="*/ 28060 h 3839846"/>
              <a:gd name="connsiteX3" fmla="*/ 6400889 w 6400889"/>
              <a:gd name="connsiteY3" fmla="*/ 0 h 3839846"/>
              <a:gd name="connsiteX0" fmla="*/ 0 w 6400889"/>
              <a:gd name="connsiteY0" fmla="*/ 3839846 h 3839846"/>
              <a:gd name="connsiteX1" fmla="*/ 2137557 w 6400889"/>
              <a:gd name="connsiteY1" fmla="*/ 3771624 h 3839846"/>
              <a:gd name="connsiteX2" fmla="*/ 4303240 w 6400889"/>
              <a:gd name="connsiteY2" fmla="*/ 3760860 h 3839846"/>
              <a:gd name="connsiteX3" fmla="*/ 6400889 w 6400889"/>
              <a:gd name="connsiteY3" fmla="*/ 0 h 3839846"/>
              <a:gd name="connsiteX0" fmla="*/ 0 w 6324247"/>
              <a:gd name="connsiteY0" fmla="*/ 761160 h 761160"/>
              <a:gd name="connsiteX1" fmla="*/ 2137557 w 6324247"/>
              <a:gd name="connsiteY1" fmla="*/ 692938 h 761160"/>
              <a:gd name="connsiteX2" fmla="*/ 4303240 w 6324247"/>
              <a:gd name="connsiteY2" fmla="*/ 682174 h 761160"/>
              <a:gd name="connsiteX3" fmla="*/ 6324247 w 6324247"/>
              <a:gd name="connsiteY3" fmla="*/ 0 h 761160"/>
              <a:gd name="connsiteX0" fmla="*/ 0 w 6341934"/>
              <a:gd name="connsiteY0" fmla="*/ 124491 h 124491"/>
              <a:gd name="connsiteX1" fmla="*/ 2137557 w 6341934"/>
              <a:gd name="connsiteY1" fmla="*/ 56269 h 124491"/>
              <a:gd name="connsiteX2" fmla="*/ 4303240 w 6341934"/>
              <a:gd name="connsiteY2" fmla="*/ 45505 h 124491"/>
              <a:gd name="connsiteX3" fmla="*/ 6341934 w 6341934"/>
              <a:gd name="connsiteY3" fmla="*/ 0 h 124491"/>
              <a:gd name="connsiteX0" fmla="*/ 0 w 6341934"/>
              <a:gd name="connsiteY0" fmla="*/ 124491 h 247603"/>
              <a:gd name="connsiteX1" fmla="*/ 2137557 w 6341934"/>
              <a:gd name="connsiteY1" fmla="*/ 247603 h 247603"/>
              <a:gd name="connsiteX2" fmla="*/ 4303240 w 6341934"/>
              <a:gd name="connsiteY2" fmla="*/ 45505 h 247603"/>
              <a:gd name="connsiteX3" fmla="*/ 6341934 w 6341934"/>
              <a:gd name="connsiteY3" fmla="*/ 0 h 247603"/>
              <a:gd name="connsiteX0" fmla="*/ 0 w 6382778"/>
              <a:gd name="connsiteY0" fmla="*/ 79068 h 207607"/>
              <a:gd name="connsiteX1" fmla="*/ 2137557 w 6382778"/>
              <a:gd name="connsiteY1" fmla="*/ 202180 h 207607"/>
              <a:gd name="connsiteX2" fmla="*/ 4303240 w 6382778"/>
              <a:gd name="connsiteY2" fmla="*/ 82 h 207607"/>
              <a:gd name="connsiteX3" fmla="*/ 6382778 w 6382778"/>
              <a:gd name="connsiteY3" fmla="*/ 196262 h 207607"/>
              <a:gd name="connsiteX0" fmla="*/ 0 w 6751319"/>
              <a:gd name="connsiteY0" fmla="*/ 4741975 h 4741975"/>
              <a:gd name="connsiteX1" fmla="*/ 2506098 w 6751319"/>
              <a:gd name="connsiteY1" fmla="*/ 397491 h 4741975"/>
              <a:gd name="connsiteX2" fmla="*/ 4671781 w 6751319"/>
              <a:gd name="connsiteY2" fmla="*/ 195393 h 4741975"/>
              <a:gd name="connsiteX3" fmla="*/ 6751319 w 6751319"/>
              <a:gd name="connsiteY3" fmla="*/ 391573 h 4741975"/>
              <a:gd name="connsiteX0" fmla="*/ 0 w 6771794"/>
              <a:gd name="connsiteY0" fmla="*/ 4944879 h 4944878"/>
              <a:gd name="connsiteX1" fmla="*/ 2526573 w 6771794"/>
              <a:gd name="connsiteY1" fmla="*/ 411090 h 4944878"/>
              <a:gd name="connsiteX2" fmla="*/ 4692256 w 6771794"/>
              <a:gd name="connsiteY2" fmla="*/ 208992 h 4944878"/>
              <a:gd name="connsiteX3" fmla="*/ 6771794 w 6771794"/>
              <a:gd name="connsiteY3" fmla="*/ 405172 h 4944878"/>
              <a:gd name="connsiteX0" fmla="*/ 0 w 6771794"/>
              <a:gd name="connsiteY0" fmla="*/ 4735969 h 4794157"/>
              <a:gd name="connsiteX1" fmla="*/ 2122201 w 6771794"/>
              <a:gd name="connsiteY1" fmla="*/ 4313882 h 4794157"/>
              <a:gd name="connsiteX2" fmla="*/ 4692256 w 6771794"/>
              <a:gd name="connsiteY2" fmla="*/ 82 h 4794157"/>
              <a:gd name="connsiteX3" fmla="*/ 6771794 w 6771794"/>
              <a:gd name="connsiteY3" fmla="*/ 196262 h 4794157"/>
              <a:gd name="connsiteX0" fmla="*/ 0 w 6771794"/>
              <a:gd name="connsiteY0" fmla="*/ 4735969 h 4735969"/>
              <a:gd name="connsiteX1" fmla="*/ 2122201 w 6771794"/>
              <a:gd name="connsiteY1" fmla="*/ 4313882 h 4735969"/>
              <a:gd name="connsiteX2" fmla="*/ 4692256 w 6771794"/>
              <a:gd name="connsiteY2" fmla="*/ 82 h 4735969"/>
              <a:gd name="connsiteX3" fmla="*/ 6771794 w 6771794"/>
              <a:gd name="connsiteY3" fmla="*/ 196262 h 4735969"/>
              <a:gd name="connsiteX0" fmla="*/ 0 w 6771794"/>
              <a:gd name="connsiteY0" fmla="*/ 4735969 h 4735969"/>
              <a:gd name="connsiteX1" fmla="*/ 2122201 w 6771794"/>
              <a:gd name="connsiteY1" fmla="*/ 4313882 h 4735969"/>
              <a:gd name="connsiteX2" fmla="*/ 4692256 w 6771794"/>
              <a:gd name="connsiteY2" fmla="*/ 82 h 4735969"/>
              <a:gd name="connsiteX3" fmla="*/ 6771794 w 6771794"/>
              <a:gd name="connsiteY3" fmla="*/ 196262 h 4735969"/>
              <a:gd name="connsiteX0" fmla="*/ 0 w 6771794"/>
              <a:gd name="connsiteY0" fmla="*/ 4735969 h 4735969"/>
              <a:gd name="connsiteX1" fmla="*/ 2081252 w 6771794"/>
              <a:gd name="connsiteY1" fmla="*/ 3874694 h 4735969"/>
              <a:gd name="connsiteX2" fmla="*/ 4692256 w 6771794"/>
              <a:gd name="connsiteY2" fmla="*/ 82 h 4735969"/>
              <a:gd name="connsiteX3" fmla="*/ 6771794 w 6771794"/>
              <a:gd name="connsiteY3" fmla="*/ 196262 h 4735969"/>
              <a:gd name="connsiteX0" fmla="*/ 0 w 6771794"/>
              <a:gd name="connsiteY0" fmla="*/ 4539707 h 4539707"/>
              <a:gd name="connsiteX1" fmla="*/ 2081252 w 6771794"/>
              <a:gd name="connsiteY1" fmla="*/ 3678432 h 4539707"/>
              <a:gd name="connsiteX2" fmla="*/ 4139443 w 6771794"/>
              <a:gd name="connsiteY2" fmla="*/ 2673682 h 4539707"/>
              <a:gd name="connsiteX3" fmla="*/ 6771794 w 6771794"/>
              <a:gd name="connsiteY3" fmla="*/ 0 h 4539707"/>
              <a:gd name="connsiteX0" fmla="*/ 0 w 6771794"/>
              <a:gd name="connsiteY0" fmla="*/ 4539707 h 4539707"/>
              <a:gd name="connsiteX1" fmla="*/ 2081252 w 6771794"/>
              <a:gd name="connsiteY1" fmla="*/ 3678432 h 4539707"/>
              <a:gd name="connsiteX2" fmla="*/ 4139443 w 6771794"/>
              <a:gd name="connsiteY2" fmla="*/ 2673682 h 4539707"/>
              <a:gd name="connsiteX3" fmla="*/ 6771794 w 6771794"/>
              <a:gd name="connsiteY3" fmla="*/ 0 h 4539707"/>
              <a:gd name="connsiteX0" fmla="*/ 0 w 6280405"/>
              <a:gd name="connsiteY0" fmla="*/ 1866046 h 1866046"/>
              <a:gd name="connsiteX1" fmla="*/ 2081252 w 6280405"/>
              <a:gd name="connsiteY1" fmla="*/ 1004771 h 1866046"/>
              <a:gd name="connsiteX2" fmla="*/ 4139443 w 6280405"/>
              <a:gd name="connsiteY2" fmla="*/ 21 h 1866046"/>
              <a:gd name="connsiteX3" fmla="*/ 6280405 w 6280405"/>
              <a:gd name="connsiteY3" fmla="*/ 991281 h 1866046"/>
              <a:gd name="connsiteX0" fmla="*/ 0 w 6280405"/>
              <a:gd name="connsiteY0" fmla="*/ 1866061 h 1866061"/>
              <a:gd name="connsiteX1" fmla="*/ 2081252 w 6280405"/>
              <a:gd name="connsiteY1" fmla="*/ 1004786 h 1866061"/>
              <a:gd name="connsiteX2" fmla="*/ 4139443 w 6280405"/>
              <a:gd name="connsiteY2" fmla="*/ 36 h 1866061"/>
              <a:gd name="connsiteX3" fmla="*/ 6280405 w 6280405"/>
              <a:gd name="connsiteY3" fmla="*/ 991296 h 1866061"/>
              <a:gd name="connsiteX0" fmla="*/ 0 w 6280405"/>
              <a:gd name="connsiteY0" fmla="*/ 1866025 h 1866025"/>
              <a:gd name="connsiteX1" fmla="*/ 2081252 w 6280405"/>
              <a:gd name="connsiteY1" fmla="*/ 1004750 h 1866025"/>
              <a:gd name="connsiteX2" fmla="*/ 4139443 w 6280405"/>
              <a:gd name="connsiteY2" fmla="*/ 0 h 1866025"/>
              <a:gd name="connsiteX3" fmla="*/ 6280405 w 6280405"/>
              <a:gd name="connsiteY3" fmla="*/ 991260 h 1866025"/>
              <a:gd name="connsiteX0" fmla="*/ 0 w 6270168"/>
              <a:gd name="connsiteY0" fmla="*/ 1866025 h 1866025"/>
              <a:gd name="connsiteX1" fmla="*/ 2081252 w 6270168"/>
              <a:gd name="connsiteY1" fmla="*/ 1004750 h 1866025"/>
              <a:gd name="connsiteX2" fmla="*/ 4139443 w 6270168"/>
              <a:gd name="connsiteY2" fmla="*/ 0 h 1866025"/>
              <a:gd name="connsiteX3" fmla="*/ 6270168 w 6270168"/>
              <a:gd name="connsiteY3" fmla="*/ 499068 h 1866025"/>
              <a:gd name="connsiteX0" fmla="*/ 0 w 6270168"/>
              <a:gd name="connsiteY0" fmla="*/ 1866025 h 1866025"/>
              <a:gd name="connsiteX1" fmla="*/ 2081252 w 6270168"/>
              <a:gd name="connsiteY1" fmla="*/ 1004750 h 1866025"/>
              <a:gd name="connsiteX2" fmla="*/ 4139443 w 6270168"/>
              <a:gd name="connsiteY2" fmla="*/ 0 h 1866025"/>
              <a:gd name="connsiteX3" fmla="*/ 6270168 w 6270168"/>
              <a:gd name="connsiteY3" fmla="*/ 499068 h 1866025"/>
            </a:gdLst>
            <a:ahLst/>
            <a:cxnLst>
              <a:cxn ang="0">
                <a:pos x="connsiteX0" y="connsiteY0"/>
              </a:cxn>
              <a:cxn ang="0">
                <a:pos x="connsiteX1" y="connsiteY1"/>
              </a:cxn>
              <a:cxn ang="0">
                <a:pos x="connsiteX2" y="connsiteY2"/>
              </a:cxn>
              <a:cxn ang="0">
                <a:pos x="connsiteX3" y="connsiteY3"/>
              </a:cxn>
            </a:cxnLst>
            <a:rect l="l" t="t" r="r" b="b"/>
            <a:pathLst>
              <a:path w="6270168" h="1866025">
                <a:moveTo>
                  <a:pt x="0" y="1866025"/>
                </a:moveTo>
                <a:cubicBezTo>
                  <a:pt x="818308" y="1794569"/>
                  <a:pt x="1391345" y="1315754"/>
                  <a:pt x="2081252" y="1004750"/>
                </a:cubicBezTo>
                <a:cubicBezTo>
                  <a:pt x="2771159" y="693746"/>
                  <a:pt x="3724668" y="170176"/>
                  <a:pt x="4139443" y="0"/>
                </a:cubicBezTo>
                <a:cubicBezTo>
                  <a:pt x="4624057" y="70270"/>
                  <a:pt x="5719601" y="379050"/>
                  <a:pt x="6270168" y="499068"/>
                </a:cubicBezTo>
              </a:path>
            </a:pathLst>
          </a:custGeom>
          <a:noFill/>
          <a:ln w="136525" cap="rnd" cmpd="sng" algn="ctr">
            <a:solidFill>
              <a:srgbClr val="32E9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35095282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p:cNvPicPr>
            <a:picLocks noChangeAspect="1"/>
          </p:cNvPicPr>
          <p:nvPr/>
        </p:nvPicPr>
        <p:blipFill>
          <a:blip r:embed="rId3"/>
          <a:stretch>
            <a:fillRect/>
          </a:stretch>
        </p:blipFill>
        <p:spPr>
          <a:xfrm>
            <a:off x="2439315" y="5559867"/>
            <a:ext cx="1531653" cy="861555"/>
          </a:xfrm>
          <a:prstGeom prst="rect">
            <a:avLst/>
          </a:prstGeom>
        </p:spPr>
      </p:pic>
      <p:pic>
        <p:nvPicPr>
          <p:cNvPr id="7" name="図 6"/>
          <p:cNvPicPr>
            <a:picLocks noChangeAspect="1"/>
          </p:cNvPicPr>
          <p:nvPr/>
        </p:nvPicPr>
        <p:blipFill>
          <a:blip r:embed="rId4"/>
          <a:stretch>
            <a:fillRect/>
          </a:stretch>
        </p:blipFill>
        <p:spPr>
          <a:xfrm>
            <a:off x="4281099" y="5564435"/>
            <a:ext cx="1523532" cy="856987"/>
          </a:xfrm>
          <a:prstGeom prst="rect">
            <a:avLst/>
          </a:prstGeom>
        </p:spPr>
      </p:pic>
      <p:pic>
        <p:nvPicPr>
          <p:cNvPr id="79" name="図 78"/>
          <p:cNvPicPr>
            <a:picLocks noChangeAspect="1"/>
          </p:cNvPicPr>
          <p:nvPr/>
        </p:nvPicPr>
        <p:blipFill>
          <a:blip r:embed="rId5"/>
          <a:stretch>
            <a:fillRect/>
          </a:stretch>
        </p:blipFill>
        <p:spPr>
          <a:xfrm>
            <a:off x="713519" y="5610565"/>
            <a:ext cx="1441523" cy="810857"/>
          </a:xfrm>
          <a:prstGeom prst="rect">
            <a:avLst/>
          </a:prstGeom>
        </p:spPr>
      </p:pic>
      <p:pic>
        <p:nvPicPr>
          <p:cNvPr id="2" name="図 1"/>
          <p:cNvPicPr>
            <a:picLocks noChangeAspect="1"/>
          </p:cNvPicPr>
          <p:nvPr/>
        </p:nvPicPr>
        <p:blipFill>
          <a:blip r:embed="rId6"/>
          <a:stretch>
            <a:fillRect/>
          </a:stretch>
        </p:blipFill>
        <p:spPr>
          <a:xfrm>
            <a:off x="7930689" y="5605182"/>
            <a:ext cx="1451092" cy="816240"/>
          </a:xfrm>
          <a:prstGeom prst="rect">
            <a:avLst/>
          </a:prstGeom>
        </p:spPr>
      </p:pic>
      <p:pic>
        <p:nvPicPr>
          <p:cNvPr id="5" name="図 4"/>
          <p:cNvPicPr>
            <a:picLocks noChangeAspect="1"/>
          </p:cNvPicPr>
          <p:nvPr/>
        </p:nvPicPr>
        <p:blipFill>
          <a:blip r:embed="rId7"/>
          <a:stretch>
            <a:fillRect/>
          </a:stretch>
        </p:blipFill>
        <p:spPr>
          <a:xfrm>
            <a:off x="9668702" y="5564434"/>
            <a:ext cx="1523535" cy="856988"/>
          </a:xfrm>
          <a:prstGeom prst="rect">
            <a:avLst/>
          </a:prstGeom>
        </p:spPr>
      </p:pic>
      <p:sp>
        <p:nvSpPr>
          <p:cNvPr id="4" name="Title 3">
            <a:extLst>
              <a:ext uri="{FF2B5EF4-FFF2-40B4-BE49-F238E27FC236}">
                <a16:creationId xmlns:a16="http://schemas.microsoft.com/office/drawing/2014/main" id="{41215E16-71A8-45E3-8378-891224111554}"/>
              </a:ext>
            </a:extLst>
          </p:cNvPr>
          <p:cNvSpPr>
            <a:spLocks noGrp="1"/>
          </p:cNvSpPr>
          <p:nvPr>
            <p:ph type="title"/>
          </p:nvPr>
        </p:nvSpPr>
        <p:spPr/>
        <p:txBody>
          <a:bodyPr/>
          <a:lstStyle/>
          <a:p>
            <a:r>
              <a:rPr lang="en-US" b="1" dirty="0"/>
              <a:t>Summary of Engineering Capability Maturity Model (2 of 2)</a:t>
            </a:r>
          </a:p>
        </p:txBody>
      </p:sp>
      <p:grpSp>
        <p:nvGrpSpPr>
          <p:cNvPr id="69" name="Group 90"/>
          <p:cNvGrpSpPr/>
          <p:nvPr/>
        </p:nvGrpSpPr>
        <p:grpSpPr>
          <a:xfrm>
            <a:off x="8960144" y="237259"/>
            <a:ext cx="2430508" cy="289004"/>
            <a:chOff x="9447824" y="732559"/>
            <a:chExt cx="2430508" cy="289004"/>
          </a:xfrm>
        </p:grpSpPr>
        <p:grpSp>
          <p:nvGrpSpPr>
            <p:cNvPr id="70"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104"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105"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71"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92"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93"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78"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90"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91"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sp>
        <p:nvSpPr>
          <p:cNvPr id="287" name="Text Box 28">
            <a:extLst>
              <a:ext uri="{FF2B5EF4-FFF2-40B4-BE49-F238E27FC236}">
                <a16:creationId xmlns:a16="http://schemas.microsoft.com/office/drawing/2014/main" id="{5C4EC280-4D4C-41F4-B7F6-6201CAE15672}"/>
              </a:ext>
            </a:extLst>
          </p:cNvPr>
          <p:cNvSpPr txBox="1">
            <a:spLocks noChangeArrowheads="1"/>
          </p:cNvSpPr>
          <p:nvPr/>
        </p:nvSpPr>
        <p:spPr bwMode="auto">
          <a:xfrm>
            <a:off x="232751" y="954777"/>
            <a:ext cx="850504" cy="236337"/>
          </a:xfrm>
          <a:prstGeom prst="rect">
            <a:avLst/>
          </a:prstGeom>
          <a:noFill/>
          <a:ln w="25400">
            <a:noFill/>
            <a:miter lim="800000"/>
            <a:headEnd/>
            <a:tailEnd type="none" w="med" len="lg"/>
          </a:ln>
        </p:spPr>
        <p:txBody>
          <a:bodyPr wrap="square" lIns="0" tIns="54859" rIns="109718" bIns="54859">
            <a:spAutoFit/>
          </a:bodyPr>
          <a:lstStyle/>
          <a:p>
            <a:pPr marL="274320" indent="-274320" algn="r" defTabSz="1082040" eaLnBrk="0" fontAlgn="base" hangingPunct="0">
              <a:lnSpc>
                <a:spcPct val="85000"/>
              </a:lnSpc>
              <a:spcBef>
                <a:spcPct val="0"/>
              </a:spcBef>
              <a:spcAft>
                <a:spcPct val="0"/>
              </a:spcAft>
              <a:buClr>
                <a:srgbClr val="8099CC"/>
              </a:buClr>
              <a:defRPr/>
            </a:pPr>
            <a:r>
              <a:rPr lang="en-US" altLang="en-US" sz="960" b="1" dirty="0">
                <a:solidFill>
                  <a:srgbClr val="000000"/>
                </a:solidFill>
                <a:latin typeface="Arial" charset="0"/>
                <a:cs typeface="Arial" charset="0"/>
              </a:rPr>
              <a:t>Maturity</a:t>
            </a:r>
          </a:p>
        </p:txBody>
      </p:sp>
      <p:sp>
        <p:nvSpPr>
          <p:cNvPr id="283" name="Text Box 11">
            <a:extLst>
              <a:ext uri="{FF2B5EF4-FFF2-40B4-BE49-F238E27FC236}">
                <a16:creationId xmlns:a16="http://schemas.microsoft.com/office/drawing/2014/main" id="{F2704C4C-126C-4696-AED7-B84CAF9A88C6}"/>
              </a:ext>
            </a:extLst>
          </p:cNvPr>
          <p:cNvSpPr txBox="1">
            <a:spLocks noChangeArrowheads="1"/>
          </p:cNvSpPr>
          <p:nvPr/>
        </p:nvSpPr>
        <p:spPr bwMode="auto">
          <a:xfrm rot="16200000">
            <a:off x="91599" y="4355441"/>
            <a:ext cx="574558" cy="322882"/>
          </a:xfrm>
          <a:prstGeom prst="rect">
            <a:avLst/>
          </a:prstGeom>
          <a:noFill/>
          <a:ln w="12700" algn="ctr">
            <a:noFill/>
            <a:miter lim="800000"/>
            <a:headEnd/>
            <a:tailEnd/>
          </a:ln>
        </p:spPr>
        <p:txBody>
          <a:bodyPr lIns="0" tIns="0" rIns="0" bIns="0" anchor="b"/>
          <a:lstStyle/>
          <a:p>
            <a:pPr algn="ctr" defTabSz="1082040" eaLnBrk="0" fontAlgn="base" hangingPunct="0">
              <a:lnSpc>
                <a:spcPct val="90000"/>
              </a:lnSpc>
              <a:spcBef>
                <a:spcPct val="50000"/>
              </a:spcBef>
              <a:spcAft>
                <a:spcPct val="0"/>
              </a:spcAft>
              <a:buClr>
                <a:srgbClr val="8099CC"/>
              </a:buClr>
              <a:buSzPct val="100000"/>
              <a:defRPr/>
            </a:pPr>
            <a:r>
              <a:rPr lang="en-US" sz="960" b="1" dirty="0">
                <a:solidFill>
                  <a:srgbClr val="000000"/>
                </a:solidFill>
                <a:latin typeface="Arial" charset="0"/>
                <a:cs typeface="Arial" charset="0"/>
              </a:rPr>
              <a:t>Low</a:t>
            </a:r>
          </a:p>
        </p:txBody>
      </p:sp>
      <p:sp>
        <p:nvSpPr>
          <p:cNvPr id="284" name="Text Box 12">
            <a:extLst>
              <a:ext uri="{FF2B5EF4-FFF2-40B4-BE49-F238E27FC236}">
                <a16:creationId xmlns:a16="http://schemas.microsoft.com/office/drawing/2014/main" id="{DA3CC123-F8B1-4742-8E81-EE91DB5F0C8D}"/>
              </a:ext>
            </a:extLst>
          </p:cNvPr>
          <p:cNvSpPr txBox="1">
            <a:spLocks noChangeArrowheads="1"/>
          </p:cNvSpPr>
          <p:nvPr/>
        </p:nvSpPr>
        <p:spPr bwMode="auto">
          <a:xfrm rot="16200000">
            <a:off x="139476" y="1652373"/>
            <a:ext cx="649841" cy="248914"/>
          </a:xfrm>
          <a:prstGeom prst="rect">
            <a:avLst/>
          </a:prstGeom>
          <a:noFill/>
          <a:ln w="12700" algn="ctr">
            <a:noFill/>
            <a:miter lim="800000"/>
            <a:headEnd/>
            <a:tailEnd/>
          </a:ln>
        </p:spPr>
        <p:txBody>
          <a:bodyPr wrap="square" lIns="0" rIns="0" anchor="b">
            <a:spAutoFit/>
          </a:bodyPr>
          <a:lstStyle/>
          <a:p>
            <a:pPr algn="ctr" defTabSz="1097280" eaLnBrk="0" fontAlgn="base" hangingPunct="0">
              <a:lnSpc>
                <a:spcPct val="106000"/>
              </a:lnSpc>
              <a:spcBef>
                <a:spcPct val="50000"/>
              </a:spcBef>
              <a:spcAft>
                <a:spcPct val="0"/>
              </a:spcAft>
              <a:buSzPct val="100000"/>
              <a:defRPr/>
            </a:pPr>
            <a:r>
              <a:rPr lang="en-US" sz="960" b="1" dirty="0">
                <a:solidFill>
                  <a:srgbClr val="000000"/>
                </a:solidFill>
                <a:latin typeface="Arial" charset="0"/>
                <a:cs typeface="Arial" charset="0"/>
              </a:rPr>
              <a:t>Advanced</a:t>
            </a:r>
          </a:p>
        </p:txBody>
      </p:sp>
      <p:sp>
        <p:nvSpPr>
          <p:cNvPr id="285" name="Text Box 13">
            <a:extLst>
              <a:ext uri="{FF2B5EF4-FFF2-40B4-BE49-F238E27FC236}">
                <a16:creationId xmlns:a16="http://schemas.microsoft.com/office/drawing/2014/main" id="{23336E94-9BC2-4EFE-A22D-6E2752DE1FC5}"/>
              </a:ext>
            </a:extLst>
          </p:cNvPr>
          <p:cNvSpPr txBox="1">
            <a:spLocks noChangeArrowheads="1"/>
          </p:cNvSpPr>
          <p:nvPr/>
        </p:nvSpPr>
        <p:spPr bwMode="auto">
          <a:xfrm rot="16200000">
            <a:off x="196119" y="3020165"/>
            <a:ext cx="544176" cy="248914"/>
          </a:xfrm>
          <a:prstGeom prst="rect">
            <a:avLst/>
          </a:prstGeom>
          <a:noFill/>
          <a:ln w="12700" algn="ctr">
            <a:noFill/>
            <a:miter lim="800000"/>
            <a:headEnd/>
            <a:tailEnd/>
          </a:ln>
        </p:spPr>
        <p:txBody>
          <a:bodyPr wrap="square" lIns="0" rIns="0" anchor="b">
            <a:spAutoFit/>
          </a:bodyPr>
          <a:lstStyle/>
          <a:p>
            <a:pPr algn="ctr" defTabSz="1097280" eaLnBrk="0" fontAlgn="base" hangingPunct="0">
              <a:lnSpc>
                <a:spcPct val="106000"/>
              </a:lnSpc>
              <a:spcBef>
                <a:spcPct val="50000"/>
              </a:spcBef>
              <a:spcAft>
                <a:spcPct val="0"/>
              </a:spcAft>
              <a:buSzPct val="100000"/>
              <a:defRPr/>
            </a:pPr>
            <a:r>
              <a:rPr lang="en-US" sz="960" b="1" dirty="0">
                <a:solidFill>
                  <a:srgbClr val="000000"/>
                </a:solidFill>
                <a:latin typeface="Arial" charset="0"/>
                <a:cs typeface="Arial" charset="0"/>
              </a:rPr>
              <a:t>Basic</a:t>
            </a:r>
          </a:p>
        </p:txBody>
      </p:sp>
      <p:sp>
        <p:nvSpPr>
          <p:cNvPr id="312" name="Line 16">
            <a:extLst>
              <a:ext uri="{FF2B5EF4-FFF2-40B4-BE49-F238E27FC236}">
                <a16:creationId xmlns:a16="http://schemas.microsoft.com/office/drawing/2014/main" id="{A4EF7CC7-C416-4B4F-AA0A-5B12C64324C6}"/>
              </a:ext>
            </a:extLst>
          </p:cNvPr>
          <p:cNvSpPr>
            <a:spLocks noChangeShapeType="1"/>
          </p:cNvSpPr>
          <p:nvPr/>
        </p:nvSpPr>
        <p:spPr bwMode="auto">
          <a:xfrm flipV="1">
            <a:off x="602971" y="5243602"/>
            <a:ext cx="10749600" cy="0"/>
          </a:xfrm>
          <a:prstGeom prst="line">
            <a:avLst/>
          </a:prstGeom>
          <a:noFill/>
          <a:ln w="38100">
            <a:solidFill>
              <a:schemeClr val="tx1"/>
            </a:solidFill>
            <a:round/>
            <a:headEnd/>
            <a:tailEnd/>
          </a:ln>
        </p:spPr>
        <p:txBody>
          <a:bodyPr/>
          <a:lstStyle/>
          <a:p>
            <a:pPr defTabSz="1097280" fontAlgn="base">
              <a:spcBef>
                <a:spcPct val="0"/>
              </a:spcBef>
              <a:spcAft>
                <a:spcPct val="0"/>
              </a:spcAft>
              <a:defRPr/>
            </a:pPr>
            <a:endParaRPr lang="en-US" sz="960" dirty="0">
              <a:solidFill>
                <a:srgbClr val="000000"/>
              </a:solidFill>
              <a:latin typeface="Arial" charset="0"/>
              <a:cs typeface="Arial" charset="0"/>
            </a:endParaRPr>
          </a:p>
        </p:txBody>
      </p:sp>
      <p:sp>
        <p:nvSpPr>
          <p:cNvPr id="313" name="Line 15">
            <a:extLst>
              <a:ext uri="{FF2B5EF4-FFF2-40B4-BE49-F238E27FC236}">
                <a16:creationId xmlns:a16="http://schemas.microsoft.com/office/drawing/2014/main" id="{ACB4480C-ED1E-4C9E-A9F1-BFEBA7C02DEA}"/>
              </a:ext>
            </a:extLst>
          </p:cNvPr>
          <p:cNvSpPr>
            <a:spLocks noChangeShapeType="1"/>
          </p:cNvSpPr>
          <p:nvPr/>
        </p:nvSpPr>
        <p:spPr bwMode="auto">
          <a:xfrm flipV="1">
            <a:off x="622630" y="1211825"/>
            <a:ext cx="0" cy="4031776"/>
          </a:xfrm>
          <a:prstGeom prst="line">
            <a:avLst/>
          </a:prstGeom>
          <a:noFill/>
          <a:ln w="38100">
            <a:solidFill>
              <a:srgbClr val="000066"/>
            </a:solidFill>
            <a:round/>
            <a:headEnd/>
            <a:tailEnd type="triangle" w="med" len="med"/>
          </a:ln>
        </p:spPr>
        <p:txBody>
          <a:bodyPr/>
          <a:lstStyle/>
          <a:p>
            <a:pPr defTabSz="1097280" eaLnBrk="0" hangingPunct="0">
              <a:lnSpc>
                <a:spcPct val="106000"/>
              </a:lnSpc>
              <a:spcBef>
                <a:spcPct val="50000"/>
              </a:spcBef>
              <a:buSzPct val="100000"/>
              <a:defRPr/>
            </a:pPr>
            <a:endParaRPr lang="en-US" sz="960" kern="0" dirty="0">
              <a:solidFill>
                <a:srgbClr val="000000"/>
              </a:solidFill>
              <a:latin typeface="Arial"/>
              <a:cs typeface="Arial" charset="0"/>
            </a:endParaRPr>
          </a:p>
        </p:txBody>
      </p:sp>
      <p:sp>
        <p:nvSpPr>
          <p:cNvPr id="66" name="Rectangle 63">
            <a:hlinkClick r:id="" action="ppaction://noaction"/>
            <a:extLst>
              <a:ext uri="{FF2B5EF4-FFF2-40B4-BE49-F238E27FC236}">
                <a16:creationId xmlns:a16="http://schemas.microsoft.com/office/drawing/2014/main" id="{3FEEBEB7-DBF7-4296-BA2B-23943F3C1F42}"/>
              </a:ext>
            </a:extLst>
          </p:cNvPr>
          <p:cNvSpPr>
            <a:spLocks noChangeArrowheads="1"/>
          </p:cNvSpPr>
          <p:nvPr/>
        </p:nvSpPr>
        <p:spPr bwMode="auto">
          <a:xfrm>
            <a:off x="9668703" y="5309791"/>
            <a:ext cx="1523534" cy="389209"/>
          </a:xfrm>
          <a:prstGeom prst="roundRect">
            <a:avLst/>
          </a:prstGeom>
          <a:solidFill>
            <a:srgbClr val="A3B400"/>
          </a:solidFill>
          <a:ln w="12700" algn="ctr">
            <a:solidFill>
              <a:schemeClr val="tx1"/>
            </a:solidFill>
            <a:miter lim="800000"/>
            <a:headEnd/>
            <a:tailEnd/>
          </a:ln>
        </p:spPr>
        <p:txBody>
          <a:bodyPr lIns="18288" tIns="0" rIns="18288" bIns="0" anchor="ctr"/>
          <a:lstStyle/>
          <a:p>
            <a:pPr algn="ctr" eaLnBrk="0" hangingPunct="0">
              <a:lnSpc>
                <a:spcPct val="90000"/>
              </a:lnSpc>
            </a:pPr>
            <a:r>
              <a:rPr lang="en-US" altLang="en-US" sz="1000" b="1" kern="0" dirty="0">
                <a:solidFill>
                  <a:prstClr val="white"/>
                </a:solidFill>
                <a:latin typeface="Verdana"/>
                <a:cs typeface="Arial" pitchFamily="34" charset="0"/>
              </a:rPr>
              <a:t>R&amp;D Talent &amp; Operation</a:t>
            </a:r>
            <a:endParaRPr lang="en-US" sz="1000" b="1" kern="0" dirty="0">
              <a:solidFill>
                <a:prstClr val="white"/>
              </a:solidFill>
              <a:latin typeface="Verdana"/>
              <a:cs typeface="Arial" pitchFamily="34" charset="0"/>
            </a:endParaRPr>
          </a:p>
        </p:txBody>
      </p:sp>
      <p:pic>
        <p:nvPicPr>
          <p:cNvPr id="9" name="図 8"/>
          <p:cNvPicPr>
            <a:picLocks noChangeAspect="1"/>
          </p:cNvPicPr>
          <p:nvPr/>
        </p:nvPicPr>
        <p:blipFill>
          <a:blip r:embed="rId8"/>
          <a:stretch>
            <a:fillRect/>
          </a:stretch>
        </p:blipFill>
        <p:spPr>
          <a:xfrm>
            <a:off x="6105894" y="5564435"/>
            <a:ext cx="1523533" cy="856987"/>
          </a:xfrm>
          <a:prstGeom prst="rect">
            <a:avLst/>
          </a:prstGeom>
        </p:spPr>
      </p:pic>
      <p:cxnSp>
        <p:nvCxnSpPr>
          <p:cNvPr id="94" name="AutoShape 7">
            <a:extLst>
              <a:ext uri="{FF2B5EF4-FFF2-40B4-BE49-F238E27FC236}">
                <a16:creationId xmlns:a16="http://schemas.microsoft.com/office/drawing/2014/main" id="{6E3C1854-9835-4AAE-B37B-814EE6387285}"/>
              </a:ext>
            </a:extLst>
          </p:cNvPr>
          <p:cNvCxnSpPr>
            <a:cxnSpLocks noChangeShapeType="1"/>
          </p:cNvCxnSpPr>
          <p:nvPr/>
        </p:nvCxnSpPr>
        <p:spPr bwMode="auto">
          <a:xfrm flipV="1">
            <a:off x="5042865" y="2320587"/>
            <a:ext cx="0" cy="316602"/>
          </a:xfrm>
          <a:prstGeom prst="straightConnector1">
            <a:avLst/>
          </a:prstGeom>
          <a:noFill/>
          <a:ln w="19050">
            <a:solidFill>
              <a:srgbClr val="000000"/>
            </a:solidFill>
            <a:round/>
            <a:headEnd/>
            <a:tailEnd type="stealth" w="lg" len="lg"/>
          </a:ln>
        </p:spPr>
      </p:cxnSp>
      <p:cxnSp>
        <p:nvCxnSpPr>
          <p:cNvPr id="95" name="AutoShape 20">
            <a:extLst>
              <a:ext uri="{FF2B5EF4-FFF2-40B4-BE49-F238E27FC236}">
                <a16:creationId xmlns:a16="http://schemas.microsoft.com/office/drawing/2014/main" id="{0FDC44CE-9C6B-4AF0-837B-673AB0851F77}"/>
              </a:ext>
            </a:extLst>
          </p:cNvPr>
          <p:cNvCxnSpPr>
            <a:cxnSpLocks noChangeShapeType="1"/>
          </p:cNvCxnSpPr>
          <p:nvPr/>
        </p:nvCxnSpPr>
        <p:spPr bwMode="auto">
          <a:xfrm flipV="1">
            <a:off x="5042865" y="3750940"/>
            <a:ext cx="0" cy="222188"/>
          </a:xfrm>
          <a:prstGeom prst="straightConnector1">
            <a:avLst/>
          </a:prstGeom>
          <a:noFill/>
          <a:ln w="19050">
            <a:solidFill>
              <a:srgbClr val="000000"/>
            </a:solidFill>
            <a:round/>
            <a:headEnd/>
            <a:tailEnd type="stealth" w="lg" len="lg"/>
          </a:ln>
        </p:spPr>
      </p:cxnSp>
      <p:sp>
        <p:nvSpPr>
          <p:cNvPr id="96" name="Rectangle 33">
            <a:extLst>
              <a:ext uri="{FF2B5EF4-FFF2-40B4-BE49-F238E27FC236}">
                <a16:creationId xmlns:a16="http://schemas.microsoft.com/office/drawing/2014/main" id="{9FECB839-679A-4E61-88D5-4DBFBED5EE54}"/>
              </a:ext>
            </a:extLst>
          </p:cNvPr>
          <p:cNvSpPr>
            <a:spLocks noChangeArrowheads="1"/>
          </p:cNvSpPr>
          <p:nvPr/>
        </p:nvSpPr>
        <p:spPr bwMode="auto">
          <a:xfrm>
            <a:off x="4281098" y="3973128"/>
            <a:ext cx="1523534" cy="1113752"/>
          </a:xfrm>
          <a:prstGeom prst="roundRect">
            <a:avLst/>
          </a:prstGeom>
          <a:noFill/>
          <a:ln w="19050" algn="ctr">
            <a:solidFill>
              <a:schemeClr val="tx1"/>
            </a:solidFill>
            <a:miter lim="800000"/>
            <a:headEnd/>
            <a:tailEnd/>
          </a:ln>
        </p:spPr>
        <p:txBody>
          <a:bodyPr lIns="36576" tIns="72000" rIns="36576" bIns="72000" anchor="ctr"/>
          <a:lstStyle/>
          <a:p>
            <a:pPr algn="ctr" eaLnBrk="0" hangingPunct="0">
              <a:lnSpc>
                <a:spcPct val="80000"/>
              </a:lnSpc>
              <a:spcBef>
                <a:spcPct val="50000"/>
              </a:spcBef>
              <a:buSzPct val="100000"/>
            </a:pPr>
            <a:r>
              <a:rPr lang="en-US" altLang="en-US" sz="1000" dirty="0">
                <a:solidFill>
                  <a:prstClr val="black"/>
                </a:solidFill>
                <a:cs typeface="Tahoma" pitchFamily="34" charset="0"/>
              </a:rPr>
              <a:t>Limited collaboration with supply base. Recurring issues often go  unresolved</a:t>
            </a:r>
          </a:p>
        </p:txBody>
      </p:sp>
      <p:sp>
        <p:nvSpPr>
          <p:cNvPr id="97" name="Rectangle 36">
            <a:extLst>
              <a:ext uri="{FF2B5EF4-FFF2-40B4-BE49-F238E27FC236}">
                <a16:creationId xmlns:a16="http://schemas.microsoft.com/office/drawing/2014/main" id="{92C47D83-3F5F-4440-942A-7EDDE68435D0}"/>
              </a:ext>
            </a:extLst>
          </p:cNvPr>
          <p:cNvSpPr>
            <a:spLocks noChangeArrowheads="1"/>
          </p:cNvSpPr>
          <p:nvPr/>
        </p:nvSpPr>
        <p:spPr bwMode="auto">
          <a:xfrm>
            <a:off x="4281098" y="1206834"/>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80000"/>
              </a:lnSpc>
              <a:buClr>
                <a:srgbClr val="8099CC"/>
              </a:buClr>
            </a:pPr>
            <a:r>
              <a:rPr lang="en-US" altLang="en-US" sz="1000" dirty="0">
                <a:solidFill>
                  <a:prstClr val="black"/>
                </a:solidFill>
                <a:cs typeface="Arial" pitchFamily="34" charset="0"/>
              </a:rPr>
              <a:t>Fully integrated supply chain. Regular engineering collaboration. Continuous analysis to improve costs, quality, reliability, etc.</a:t>
            </a:r>
          </a:p>
        </p:txBody>
      </p:sp>
      <p:sp>
        <p:nvSpPr>
          <p:cNvPr id="98" name="Rectangle 39">
            <a:extLst>
              <a:ext uri="{FF2B5EF4-FFF2-40B4-BE49-F238E27FC236}">
                <a16:creationId xmlns:a16="http://schemas.microsoft.com/office/drawing/2014/main" id="{D9F0A500-AEEC-4CAD-91F9-A9F69F4006D2}"/>
              </a:ext>
            </a:extLst>
          </p:cNvPr>
          <p:cNvSpPr>
            <a:spLocks noChangeArrowheads="1"/>
          </p:cNvSpPr>
          <p:nvPr/>
        </p:nvSpPr>
        <p:spPr bwMode="auto">
          <a:xfrm>
            <a:off x="4281098" y="2637188"/>
            <a:ext cx="1523534" cy="1113752"/>
          </a:xfrm>
          <a:prstGeom prst="roundRect">
            <a:avLst/>
          </a:prstGeom>
          <a:noFill/>
          <a:ln w="19050" algn="ctr">
            <a:solidFill>
              <a:schemeClr val="tx1"/>
            </a:solidFill>
            <a:miter lim="800000"/>
            <a:headEnd/>
            <a:tailEnd/>
          </a:ln>
        </p:spPr>
        <p:txBody>
          <a:bodyPr lIns="36576" tIns="72000" rIns="36576" bIns="72000" anchor="ctr"/>
          <a:lstStyle/>
          <a:p>
            <a:pPr algn="ctr" eaLnBrk="0" hangingPunct="0">
              <a:lnSpc>
                <a:spcPct val="80000"/>
              </a:lnSpc>
              <a:spcBef>
                <a:spcPct val="50000"/>
              </a:spcBef>
              <a:buClr>
                <a:srgbClr val="8099CC"/>
              </a:buClr>
              <a:buSzPct val="100000"/>
            </a:pPr>
            <a:r>
              <a:rPr lang="en-US" altLang="en-US" sz="1000" dirty="0">
                <a:solidFill>
                  <a:prstClr val="black"/>
                </a:solidFill>
                <a:cs typeface="Tahoma" pitchFamily="34" charset="0"/>
              </a:rPr>
              <a:t>Basic supplier management processes defined and used. Occasional engineering collaboration with suppliers, usually to resolve issues </a:t>
            </a:r>
          </a:p>
        </p:txBody>
      </p:sp>
      <p:sp>
        <p:nvSpPr>
          <p:cNvPr id="118" name="Rectangle 57">
            <a:hlinkClick r:id="" action="ppaction://noaction"/>
            <a:extLst>
              <a:ext uri="{FF2B5EF4-FFF2-40B4-BE49-F238E27FC236}">
                <a16:creationId xmlns:a16="http://schemas.microsoft.com/office/drawing/2014/main" id="{3BC1AACF-512F-4B20-BDA6-0A61265D44CB}"/>
              </a:ext>
            </a:extLst>
          </p:cNvPr>
          <p:cNvSpPr>
            <a:spLocks noChangeArrowheads="1"/>
          </p:cNvSpPr>
          <p:nvPr/>
        </p:nvSpPr>
        <p:spPr bwMode="auto">
          <a:xfrm>
            <a:off x="4281098" y="5309791"/>
            <a:ext cx="1523534" cy="389209"/>
          </a:xfrm>
          <a:prstGeom prst="roundRect">
            <a:avLst/>
          </a:prstGeom>
          <a:solidFill>
            <a:srgbClr val="145972"/>
          </a:solidFill>
          <a:ln w="12700" algn="ctr">
            <a:solidFill>
              <a:schemeClr val="tx1"/>
            </a:solidFill>
            <a:miter lim="800000"/>
            <a:headEnd/>
            <a:tailEnd/>
          </a:ln>
        </p:spPr>
        <p:txBody>
          <a:bodyPr lIns="36000" tIns="72000" rIns="36000" bIns="72000" anchor="ctr"/>
          <a:lstStyle/>
          <a:p>
            <a:pPr algn="ctr" eaLnBrk="0" hangingPunct="0">
              <a:lnSpc>
                <a:spcPct val="90000"/>
              </a:lnSpc>
              <a:spcBef>
                <a:spcPct val="50000"/>
              </a:spcBef>
              <a:buSzPct val="100000"/>
            </a:pPr>
            <a:r>
              <a:rPr lang="en-US" altLang="en-US" sz="1000" b="1" kern="0" dirty="0">
                <a:solidFill>
                  <a:prstClr val="white"/>
                </a:solidFill>
              </a:rPr>
              <a:t>Product Development Collaboration</a:t>
            </a:r>
          </a:p>
        </p:txBody>
      </p:sp>
      <p:cxnSp>
        <p:nvCxnSpPr>
          <p:cNvPr id="99" name="AutoShape 8">
            <a:extLst>
              <a:ext uri="{FF2B5EF4-FFF2-40B4-BE49-F238E27FC236}">
                <a16:creationId xmlns:a16="http://schemas.microsoft.com/office/drawing/2014/main" id="{5B1AC7E2-7A20-41A7-A775-42627B406A5A}"/>
              </a:ext>
            </a:extLst>
          </p:cNvPr>
          <p:cNvCxnSpPr>
            <a:cxnSpLocks noChangeShapeType="1"/>
          </p:cNvCxnSpPr>
          <p:nvPr/>
        </p:nvCxnSpPr>
        <p:spPr bwMode="auto">
          <a:xfrm flipV="1">
            <a:off x="6867660" y="2320587"/>
            <a:ext cx="0" cy="316602"/>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00" name="AutoShape 21">
            <a:extLst>
              <a:ext uri="{FF2B5EF4-FFF2-40B4-BE49-F238E27FC236}">
                <a16:creationId xmlns:a16="http://schemas.microsoft.com/office/drawing/2014/main" id="{25AAD7E9-538A-4A42-B7A3-E2883994FDC1}"/>
              </a:ext>
            </a:extLst>
          </p:cNvPr>
          <p:cNvCxnSpPr>
            <a:cxnSpLocks noChangeShapeType="1"/>
          </p:cNvCxnSpPr>
          <p:nvPr/>
        </p:nvCxnSpPr>
        <p:spPr bwMode="auto">
          <a:xfrm flipV="1">
            <a:off x="6867660" y="3750940"/>
            <a:ext cx="0" cy="222188"/>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sp>
        <p:nvSpPr>
          <p:cNvPr id="101" name="Rectangle 16">
            <a:extLst>
              <a:ext uri="{FF2B5EF4-FFF2-40B4-BE49-F238E27FC236}">
                <a16:creationId xmlns:a16="http://schemas.microsoft.com/office/drawing/2014/main" id="{6D164534-F3F9-4814-9618-FE3A0EDB841C}"/>
              </a:ext>
            </a:extLst>
          </p:cNvPr>
          <p:cNvSpPr>
            <a:spLocks noChangeArrowheads="1"/>
          </p:cNvSpPr>
          <p:nvPr/>
        </p:nvSpPr>
        <p:spPr bwMode="auto">
          <a:xfrm>
            <a:off x="6105893" y="3973128"/>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90000"/>
              </a:lnSpc>
              <a:buSzPct val="100000"/>
              <a:buFont typeface="Wingdings 2" pitchFamily="18" charset="2"/>
              <a:buNone/>
            </a:pPr>
            <a:r>
              <a:rPr lang="en-US" sz="1000" dirty="0">
                <a:solidFill>
                  <a:prstClr val="black"/>
                </a:solidFill>
              </a:rPr>
              <a:t>Limited quality management processes in place. Defects could be prevented through early quality </a:t>
            </a:r>
          </a:p>
          <a:p>
            <a:pPr algn="ctr" eaLnBrk="0" hangingPunct="0">
              <a:lnSpc>
                <a:spcPct val="90000"/>
              </a:lnSpc>
              <a:buSzPct val="100000"/>
              <a:buFont typeface="Wingdings 2" pitchFamily="18" charset="2"/>
              <a:buNone/>
            </a:pPr>
            <a:r>
              <a:rPr lang="en-US" sz="1000" dirty="0">
                <a:solidFill>
                  <a:prstClr val="black"/>
                </a:solidFill>
              </a:rPr>
              <a:t>planning</a:t>
            </a:r>
          </a:p>
        </p:txBody>
      </p:sp>
      <p:sp>
        <p:nvSpPr>
          <p:cNvPr id="102" name="Rectangle 17">
            <a:extLst>
              <a:ext uri="{FF2B5EF4-FFF2-40B4-BE49-F238E27FC236}">
                <a16:creationId xmlns:a16="http://schemas.microsoft.com/office/drawing/2014/main" id="{751CD938-E8D4-4BC9-97B0-981F1DCF6FEF}"/>
              </a:ext>
            </a:extLst>
          </p:cNvPr>
          <p:cNvSpPr>
            <a:spLocks noChangeArrowheads="1"/>
          </p:cNvSpPr>
          <p:nvPr/>
        </p:nvSpPr>
        <p:spPr bwMode="auto">
          <a:xfrm>
            <a:off x="6105893" y="1206834"/>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90000"/>
              </a:lnSpc>
            </a:pPr>
            <a:r>
              <a:rPr lang="en-US" altLang="en-US" sz="1000" dirty="0">
                <a:solidFill>
                  <a:prstClr val="black"/>
                </a:solidFill>
              </a:rPr>
              <a:t>Large focus on Quality. Quality processes integrated throughout the development lifecycle. </a:t>
            </a:r>
          </a:p>
        </p:txBody>
      </p:sp>
      <p:sp>
        <p:nvSpPr>
          <p:cNvPr id="103" name="Rectangle 27">
            <a:extLst>
              <a:ext uri="{FF2B5EF4-FFF2-40B4-BE49-F238E27FC236}">
                <a16:creationId xmlns:a16="http://schemas.microsoft.com/office/drawing/2014/main" id="{5FB61CA5-50B1-4AAB-8984-E5F5DAEA9AE2}"/>
              </a:ext>
            </a:extLst>
          </p:cNvPr>
          <p:cNvSpPr>
            <a:spLocks noChangeArrowheads="1"/>
          </p:cNvSpPr>
          <p:nvPr/>
        </p:nvSpPr>
        <p:spPr bwMode="auto">
          <a:xfrm>
            <a:off x="6105893" y="2637188"/>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90000"/>
              </a:lnSpc>
              <a:buSzPct val="100000"/>
              <a:buFont typeface="Wingdings 2" pitchFamily="18" charset="2"/>
              <a:buNone/>
            </a:pPr>
            <a:r>
              <a:rPr lang="en-US" sz="1000" dirty="0">
                <a:solidFill>
                  <a:prstClr val="black"/>
                </a:solidFill>
              </a:rPr>
              <a:t>Quality checkpoints established at select places throughout the lifecycle.</a:t>
            </a:r>
          </a:p>
        </p:txBody>
      </p:sp>
      <p:sp>
        <p:nvSpPr>
          <p:cNvPr id="128" name="Rectangle 53">
            <a:extLst>
              <a:ext uri="{FF2B5EF4-FFF2-40B4-BE49-F238E27FC236}">
                <a16:creationId xmlns:a16="http://schemas.microsoft.com/office/drawing/2014/main" id="{0C916FCA-BB54-4B80-B3E0-9148BB392850}"/>
              </a:ext>
            </a:extLst>
          </p:cNvPr>
          <p:cNvSpPr>
            <a:spLocks noChangeArrowheads="1"/>
          </p:cNvSpPr>
          <p:nvPr/>
        </p:nvSpPr>
        <p:spPr bwMode="auto">
          <a:xfrm>
            <a:off x="6105893" y="5309791"/>
            <a:ext cx="1523534" cy="389209"/>
          </a:xfrm>
          <a:prstGeom prst="roundRect">
            <a:avLst/>
          </a:prstGeom>
          <a:solidFill>
            <a:srgbClr val="4B0082"/>
          </a:solidFill>
          <a:ln w="12700" algn="ctr">
            <a:solidFill>
              <a:schemeClr val="tx1"/>
            </a:solidFill>
            <a:miter lim="800000"/>
            <a:headEnd/>
            <a:tailEnd/>
          </a:ln>
        </p:spPr>
        <p:txBody>
          <a:bodyPr lIns="36000" tIns="0" rIns="36000" bIns="0" anchor="ctr"/>
          <a:lstStyle/>
          <a:p>
            <a:pPr algn="ctr" eaLnBrk="0" hangingPunct="0">
              <a:lnSpc>
                <a:spcPct val="90000"/>
              </a:lnSpc>
            </a:pPr>
            <a:r>
              <a:rPr lang="en-US" altLang="en-US" sz="1000" b="1" dirty="0">
                <a:solidFill>
                  <a:prstClr val="white"/>
                </a:solidFill>
              </a:rPr>
              <a:t>Product Quality Management</a:t>
            </a:r>
            <a:endParaRPr lang="en-US" sz="1000" b="1" dirty="0">
              <a:solidFill>
                <a:prstClr val="white"/>
              </a:solidFill>
            </a:endParaRPr>
          </a:p>
        </p:txBody>
      </p:sp>
      <p:cxnSp>
        <p:nvCxnSpPr>
          <p:cNvPr id="72" name="AutoShape 10">
            <a:extLst>
              <a:ext uri="{FF2B5EF4-FFF2-40B4-BE49-F238E27FC236}">
                <a16:creationId xmlns:a16="http://schemas.microsoft.com/office/drawing/2014/main" id="{04B25B28-209E-4E11-BCDC-20D1D727B152}"/>
              </a:ext>
            </a:extLst>
          </p:cNvPr>
          <p:cNvCxnSpPr>
            <a:cxnSpLocks noChangeShapeType="1"/>
          </p:cNvCxnSpPr>
          <p:nvPr/>
        </p:nvCxnSpPr>
        <p:spPr bwMode="auto">
          <a:xfrm flipV="1">
            <a:off x="8639167" y="2346828"/>
            <a:ext cx="0" cy="228286"/>
          </a:xfrm>
          <a:prstGeom prst="straightConnector1">
            <a:avLst/>
          </a:prstGeom>
          <a:noFill/>
          <a:ln w="19050">
            <a:solidFill>
              <a:schemeClr val="tx1"/>
            </a:solidFill>
            <a:round/>
            <a:headEnd/>
            <a:tailEnd type="stealth" w="lg" len="lg"/>
          </a:ln>
        </p:spPr>
      </p:cxnSp>
      <p:cxnSp>
        <p:nvCxnSpPr>
          <p:cNvPr id="73" name="AutoShape 23">
            <a:extLst>
              <a:ext uri="{FF2B5EF4-FFF2-40B4-BE49-F238E27FC236}">
                <a16:creationId xmlns:a16="http://schemas.microsoft.com/office/drawing/2014/main" id="{0ABA055D-72FE-4205-B953-E68ED9A636D5}"/>
              </a:ext>
            </a:extLst>
          </p:cNvPr>
          <p:cNvCxnSpPr>
            <a:cxnSpLocks noChangeShapeType="1"/>
          </p:cNvCxnSpPr>
          <p:nvPr/>
        </p:nvCxnSpPr>
        <p:spPr bwMode="auto">
          <a:xfrm flipV="1">
            <a:off x="8639167" y="3715106"/>
            <a:ext cx="0" cy="230991"/>
          </a:xfrm>
          <a:prstGeom prst="straightConnector1">
            <a:avLst/>
          </a:prstGeom>
          <a:noFill/>
          <a:ln w="19050">
            <a:solidFill>
              <a:schemeClr val="tx1"/>
            </a:solidFill>
            <a:round/>
            <a:headEnd/>
            <a:tailEnd type="stealth" w="lg" len="lg"/>
          </a:ln>
        </p:spPr>
      </p:cxnSp>
      <p:sp>
        <p:nvSpPr>
          <p:cNvPr id="74" name="Rectangle 41">
            <a:extLst>
              <a:ext uri="{FF2B5EF4-FFF2-40B4-BE49-F238E27FC236}">
                <a16:creationId xmlns:a16="http://schemas.microsoft.com/office/drawing/2014/main" id="{AD6AB77B-ECB3-4F09-944A-73804A8AF229}"/>
              </a:ext>
            </a:extLst>
          </p:cNvPr>
          <p:cNvSpPr>
            <a:spLocks noChangeArrowheads="1"/>
          </p:cNvSpPr>
          <p:nvPr/>
        </p:nvSpPr>
        <p:spPr bwMode="auto">
          <a:xfrm>
            <a:off x="7943166" y="3946096"/>
            <a:ext cx="1438614" cy="1139993"/>
          </a:xfrm>
          <a:prstGeom prst="roundRect">
            <a:avLst/>
          </a:prstGeom>
          <a:noFill/>
          <a:ln w="19050" algn="ctr">
            <a:solidFill>
              <a:schemeClr val="tx1"/>
            </a:solidFill>
            <a:miter lim="800000"/>
            <a:headEnd/>
            <a:tailEnd/>
          </a:ln>
        </p:spPr>
        <p:txBody>
          <a:bodyPr lIns="18288" tIns="0" rIns="18288" bIns="0" anchor="ctr"/>
          <a:lstStyle/>
          <a:p>
            <a:pPr algn="ctr" eaLnBrk="0" hangingPunct="0">
              <a:lnSpc>
                <a:spcPct val="80000"/>
              </a:lnSpc>
              <a:buSzPct val="100000"/>
              <a:defRPr/>
            </a:pPr>
            <a:r>
              <a:rPr lang="en-US" altLang="en-US" sz="1000" kern="0" dirty="0">
                <a:solidFill>
                  <a:prstClr val="black"/>
                </a:solidFill>
              </a:rPr>
              <a:t>Part based design with no system view - often in 2D.  Manual prototyping/ verification tools</a:t>
            </a:r>
          </a:p>
        </p:txBody>
      </p:sp>
      <p:sp>
        <p:nvSpPr>
          <p:cNvPr id="75" name="Rectangle 45">
            <a:extLst>
              <a:ext uri="{FF2B5EF4-FFF2-40B4-BE49-F238E27FC236}">
                <a16:creationId xmlns:a16="http://schemas.microsoft.com/office/drawing/2014/main" id="{ADED7563-5334-4FF8-95F3-1E7D5826B57F}"/>
              </a:ext>
            </a:extLst>
          </p:cNvPr>
          <p:cNvSpPr>
            <a:spLocks noChangeArrowheads="1"/>
          </p:cNvSpPr>
          <p:nvPr/>
        </p:nvSpPr>
        <p:spPr bwMode="auto">
          <a:xfrm>
            <a:off x="7943166" y="1206834"/>
            <a:ext cx="1438614" cy="1139993"/>
          </a:xfrm>
          <a:prstGeom prst="flowChartAlternateProcess">
            <a:avLst/>
          </a:prstGeom>
          <a:noFill/>
          <a:ln w="19050" algn="ctr">
            <a:solidFill>
              <a:srgbClr val="000000"/>
            </a:solidFill>
            <a:miter lim="800000"/>
            <a:headEnd/>
            <a:tailEnd/>
          </a:ln>
        </p:spPr>
        <p:txBody>
          <a:bodyPr lIns="18288" tIns="0" rIns="18288" bIns="0" anchor="ctr"/>
          <a:lstStyle/>
          <a:p>
            <a:pPr algn="ctr" eaLnBrk="0" hangingPunct="0">
              <a:lnSpc>
                <a:spcPct val="80000"/>
              </a:lnSpc>
              <a:buSzPct val="100000"/>
            </a:pPr>
            <a:r>
              <a:rPr lang="en-US" altLang="en-US" sz="1000" kern="0" dirty="0">
                <a:solidFill>
                  <a:prstClr val="black"/>
                </a:solidFill>
              </a:rPr>
              <a:t>Integrated and automated framework with prototyping tools.  Top-down design methodology, smart 3D models, design for X</a:t>
            </a:r>
          </a:p>
        </p:txBody>
      </p:sp>
      <p:sp>
        <p:nvSpPr>
          <p:cNvPr id="76" name="Rectangle 49">
            <a:extLst>
              <a:ext uri="{FF2B5EF4-FFF2-40B4-BE49-F238E27FC236}">
                <a16:creationId xmlns:a16="http://schemas.microsoft.com/office/drawing/2014/main" id="{A6DC5895-7552-4B79-81EB-B323047EF18C}"/>
              </a:ext>
            </a:extLst>
          </p:cNvPr>
          <p:cNvSpPr>
            <a:spLocks noChangeArrowheads="1"/>
          </p:cNvSpPr>
          <p:nvPr/>
        </p:nvSpPr>
        <p:spPr bwMode="auto">
          <a:xfrm>
            <a:off x="7943166" y="2575111"/>
            <a:ext cx="1438614" cy="1139993"/>
          </a:xfrm>
          <a:prstGeom prst="roundRect">
            <a:avLst/>
          </a:prstGeom>
          <a:noFill/>
          <a:ln w="19050" algn="ctr">
            <a:solidFill>
              <a:schemeClr val="tx1"/>
            </a:solidFill>
            <a:miter lim="800000"/>
            <a:headEnd/>
            <a:tailEnd/>
          </a:ln>
        </p:spPr>
        <p:txBody>
          <a:bodyPr lIns="18288" tIns="0" rIns="18288" bIns="0" anchor="ctr"/>
          <a:lstStyle/>
          <a:p>
            <a:pPr algn="ctr" eaLnBrk="0" hangingPunct="0">
              <a:lnSpc>
                <a:spcPct val="80000"/>
              </a:lnSpc>
              <a:buSzPct val="100000"/>
              <a:defRPr/>
            </a:pPr>
            <a:r>
              <a:rPr lang="en-US" altLang="en-US" sz="1000" kern="0" dirty="0">
                <a:solidFill>
                  <a:prstClr val="black"/>
                </a:solidFill>
              </a:rPr>
              <a:t>Master 3D models with some standard design/ prototyping tools.  Some integrated design, reuse and capture of best practices</a:t>
            </a:r>
          </a:p>
        </p:txBody>
      </p:sp>
      <p:sp>
        <p:nvSpPr>
          <p:cNvPr id="77" name="Rectangle 61">
            <a:hlinkClick r:id="" action="ppaction://noaction"/>
            <a:extLst>
              <a:ext uri="{FF2B5EF4-FFF2-40B4-BE49-F238E27FC236}">
                <a16:creationId xmlns:a16="http://schemas.microsoft.com/office/drawing/2014/main" id="{A6C28AAA-2826-47C8-86FB-29CCEA2EDA8B}"/>
              </a:ext>
            </a:extLst>
          </p:cNvPr>
          <p:cNvSpPr>
            <a:spLocks noChangeArrowheads="1"/>
          </p:cNvSpPr>
          <p:nvPr/>
        </p:nvSpPr>
        <p:spPr bwMode="auto">
          <a:xfrm>
            <a:off x="7943166" y="5309791"/>
            <a:ext cx="1438614" cy="389209"/>
          </a:xfrm>
          <a:prstGeom prst="roundRect">
            <a:avLst/>
          </a:prstGeom>
          <a:solidFill>
            <a:srgbClr val="738AB9">
              <a:lumMod val="50000"/>
            </a:srgbClr>
          </a:solidFill>
          <a:ln w="12700" algn="ctr">
            <a:solidFill>
              <a:srgbClr val="002060"/>
            </a:solidFill>
            <a:miter lim="800000"/>
            <a:headEnd/>
            <a:tailEnd/>
          </a:ln>
        </p:spPr>
        <p:txBody>
          <a:bodyPr lIns="0" tIns="0" rIns="0" bIns="0" anchor="ctr">
            <a:normAutofit/>
          </a:bodyPr>
          <a:lstStyle/>
          <a:p>
            <a:pPr algn="ctr" eaLnBrk="0" hangingPunct="0">
              <a:lnSpc>
                <a:spcPct val="90000"/>
              </a:lnSpc>
              <a:buSzPct val="100000"/>
              <a:defRPr/>
            </a:pPr>
            <a:r>
              <a:rPr lang="en-US" sz="900" b="1" kern="0" dirty="0">
                <a:solidFill>
                  <a:srgbClr val="FFFFFF"/>
                </a:solidFill>
              </a:rPr>
              <a:t>Digital Development</a:t>
            </a:r>
          </a:p>
        </p:txBody>
      </p:sp>
      <p:cxnSp>
        <p:nvCxnSpPr>
          <p:cNvPr id="114" name="AutoShape 9">
            <a:extLst>
              <a:ext uri="{FF2B5EF4-FFF2-40B4-BE49-F238E27FC236}">
                <a16:creationId xmlns:a16="http://schemas.microsoft.com/office/drawing/2014/main" id="{9D3D6777-201B-458A-B43F-B6FC3B9EA2F8}"/>
              </a:ext>
            </a:extLst>
          </p:cNvPr>
          <p:cNvCxnSpPr>
            <a:cxnSpLocks noChangeShapeType="1"/>
          </p:cNvCxnSpPr>
          <p:nvPr/>
        </p:nvCxnSpPr>
        <p:spPr bwMode="auto">
          <a:xfrm flipV="1">
            <a:off x="1412428" y="2346828"/>
            <a:ext cx="0" cy="228286"/>
          </a:xfrm>
          <a:prstGeom prst="straightConnector1">
            <a:avLst/>
          </a:prstGeom>
          <a:noFill/>
          <a:ln w="19050">
            <a:solidFill>
              <a:schemeClr val="tx1"/>
            </a:solidFill>
            <a:round/>
            <a:headEnd/>
            <a:tailEnd type="stealth" w="lg" len="lg"/>
          </a:ln>
        </p:spPr>
      </p:cxnSp>
      <p:cxnSp>
        <p:nvCxnSpPr>
          <p:cNvPr id="119" name="AutoShape 22">
            <a:extLst>
              <a:ext uri="{FF2B5EF4-FFF2-40B4-BE49-F238E27FC236}">
                <a16:creationId xmlns:a16="http://schemas.microsoft.com/office/drawing/2014/main" id="{7464F436-0690-4C5B-B634-D462A55FD30E}"/>
              </a:ext>
            </a:extLst>
          </p:cNvPr>
          <p:cNvCxnSpPr>
            <a:cxnSpLocks noChangeShapeType="1"/>
          </p:cNvCxnSpPr>
          <p:nvPr/>
        </p:nvCxnSpPr>
        <p:spPr bwMode="auto">
          <a:xfrm flipV="1">
            <a:off x="1412428" y="3715106"/>
            <a:ext cx="0" cy="230991"/>
          </a:xfrm>
          <a:prstGeom prst="straightConnector1">
            <a:avLst/>
          </a:prstGeom>
          <a:noFill/>
          <a:ln w="19050">
            <a:solidFill>
              <a:schemeClr val="tx1"/>
            </a:solidFill>
            <a:round/>
            <a:headEnd/>
            <a:tailEnd type="stealth" w="lg" len="lg"/>
          </a:ln>
        </p:spPr>
      </p:cxnSp>
      <p:sp>
        <p:nvSpPr>
          <p:cNvPr id="125" name="Rectangle 40">
            <a:extLst>
              <a:ext uri="{FF2B5EF4-FFF2-40B4-BE49-F238E27FC236}">
                <a16:creationId xmlns:a16="http://schemas.microsoft.com/office/drawing/2014/main" id="{10FCAF26-B58C-4B33-A0DD-F1561FAD62CD}"/>
              </a:ext>
            </a:extLst>
          </p:cNvPr>
          <p:cNvSpPr>
            <a:spLocks noChangeArrowheads="1"/>
          </p:cNvSpPr>
          <p:nvPr/>
        </p:nvSpPr>
        <p:spPr bwMode="auto">
          <a:xfrm>
            <a:off x="716428" y="3946096"/>
            <a:ext cx="1438614" cy="1139993"/>
          </a:xfrm>
          <a:prstGeom prst="roundRect">
            <a:avLst/>
          </a:prstGeom>
          <a:noFill/>
          <a:ln w="19050" algn="ctr">
            <a:solidFill>
              <a:schemeClr val="tx1"/>
            </a:solidFill>
            <a:miter lim="800000"/>
            <a:headEnd/>
            <a:tailEnd/>
          </a:ln>
        </p:spPr>
        <p:txBody>
          <a:bodyPr lIns="18288" tIns="72000" rIns="18288" bIns="72000" anchor="ctr"/>
          <a:lstStyle/>
          <a:p>
            <a:pPr algn="ctr" eaLnBrk="0" fontAlgn="base" hangingPunct="0">
              <a:lnSpc>
                <a:spcPct val="80000"/>
              </a:lnSpc>
              <a:spcBef>
                <a:spcPct val="50000"/>
              </a:spcBef>
              <a:spcAft>
                <a:spcPct val="0"/>
              </a:spcAft>
              <a:buSzPct val="100000"/>
            </a:pPr>
            <a:r>
              <a:rPr lang="en-US" altLang="en-US" sz="1000" dirty="0">
                <a:solidFill>
                  <a:prstClr val="black"/>
                </a:solidFill>
                <a:cs typeface="Arial" pitchFamily="34" charset="0"/>
              </a:rPr>
              <a:t>Single static BOM, no data associations, no revisioning and search, manual browsing for content</a:t>
            </a:r>
          </a:p>
        </p:txBody>
      </p:sp>
      <p:sp>
        <p:nvSpPr>
          <p:cNvPr id="130" name="Rectangle 44">
            <a:extLst>
              <a:ext uri="{FF2B5EF4-FFF2-40B4-BE49-F238E27FC236}">
                <a16:creationId xmlns:a16="http://schemas.microsoft.com/office/drawing/2014/main" id="{FBB52688-0AA2-42E8-9B35-9596FFCD2FE3}"/>
              </a:ext>
            </a:extLst>
          </p:cNvPr>
          <p:cNvSpPr>
            <a:spLocks noChangeArrowheads="1"/>
          </p:cNvSpPr>
          <p:nvPr/>
        </p:nvSpPr>
        <p:spPr bwMode="auto">
          <a:xfrm>
            <a:off x="716428" y="1206834"/>
            <a:ext cx="1438614" cy="1139993"/>
          </a:xfrm>
          <a:prstGeom prst="flowChartAlternateProcess">
            <a:avLst/>
          </a:prstGeom>
          <a:noFill/>
          <a:ln w="19050" algn="ctr">
            <a:solidFill>
              <a:srgbClr val="000000"/>
            </a:solidFill>
            <a:miter lim="800000"/>
            <a:headEnd/>
            <a:tailEnd/>
          </a:ln>
        </p:spPr>
        <p:txBody>
          <a:bodyPr lIns="18288" tIns="0" rIns="18288" bIns="0" anchor="ctr"/>
          <a:lstStyle/>
          <a:p>
            <a:pPr algn="ctr" eaLnBrk="0" hangingPunct="0">
              <a:lnSpc>
                <a:spcPct val="80000"/>
              </a:lnSpc>
              <a:buSzPct val="100000"/>
            </a:pPr>
            <a:r>
              <a:rPr lang="en-US" altLang="en-US" sz="1000" kern="0" dirty="0">
                <a:solidFill>
                  <a:prstClr val="black"/>
                </a:solidFill>
              </a:rPr>
              <a:t>BOMs managed at each lifecycle phase, automated data linkage, revisioning and security, advanced search capabilities</a:t>
            </a:r>
          </a:p>
        </p:txBody>
      </p:sp>
      <p:sp>
        <p:nvSpPr>
          <p:cNvPr id="131" name="Rectangle 48">
            <a:extLst>
              <a:ext uri="{FF2B5EF4-FFF2-40B4-BE49-F238E27FC236}">
                <a16:creationId xmlns:a16="http://schemas.microsoft.com/office/drawing/2014/main" id="{3F491664-F9C0-4FB6-97B2-F7A9C3334676}"/>
              </a:ext>
            </a:extLst>
          </p:cNvPr>
          <p:cNvSpPr>
            <a:spLocks noChangeArrowheads="1"/>
          </p:cNvSpPr>
          <p:nvPr/>
        </p:nvSpPr>
        <p:spPr bwMode="auto">
          <a:xfrm>
            <a:off x="716428" y="2575111"/>
            <a:ext cx="1438614" cy="1139993"/>
          </a:xfrm>
          <a:prstGeom prst="roundRect">
            <a:avLst/>
          </a:prstGeom>
          <a:noFill/>
          <a:ln w="19050" algn="ctr">
            <a:solidFill>
              <a:schemeClr val="tx1"/>
            </a:solidFill>
            <a:miter lim="800000"/>
            <a:headEnd/>
            <a:tailEnd/>
          </a:ln>
        </p:spPr>
        <p:txBody>
          <a:bodyPr lIns="18288" tIns="72000" rIns="18288" bIns="72000" anchor="ctr"/>
          <a:lstStyle/>
          <a:p>
            <a:pPr algn="ctr" eaLnBrk="0" fontAlgn="base" hangingPunct="0">
              <a:lnSpc>
                <a:spcPct val="80000"/>
              </a:lnSpc>
              <a:spcBef>
                <a:spcPct val="50000"/>
              </a:spcBef>
              <a:spcAft>
                <a:spcPct val="0"/>
              </a:spcAft>
              <a:buClr>
                <a:srgbClr val="8099CC"/>
              </a:buClr>
              <a:buSzPct val="100000"/>
              <a:buFont typeface="Monotype Sorts"/>
              <a:buNone/>
            </a:pPr>
            <a:r>
              <a:rPr lang="en-US" altLang="en-US" sz="1000" dirty="0">
                <a:solidFill>
                  <a:prstClr val="black"/>
                </a:solidFill>
                <a:cs typeface="Arial" pitchFamily="34" charset="0"/>
              </a:rPr>
              <a:t>BOMs defined at each lifecycle phase, static data linkage, manual/ limited revisioning, security and search</a:t>
            </a:r>
          </a:p>
        </p:txBody>
      </p:sp>
      <p:sp>
        <p:nvSpPr>
          <p:cNvPr id="132" name="Rectangle 60">
            <a:hlinkClick r:id="" action="ppaction://noaction"/>
            <a:extLst>
              <a:ext uri="{FF2B5EF4-FFF2-40B4-BE49-F238E27FC236}">
                <a16:creationId xmlns:a16="http://schemas.microsoft.com/office/drawing/2014/main" id="{A2E04290-D172-450C-92C7-35A4BD2C2BCE}"/>
              </a:ext>
            </a:extLst>
          </p:cNvPr>
          <p:cNvSpPr>
            <a:spLocks noChangeArrowheads="1"/>
          </p:cNvSpPr>
          <p:nvPr/>
        </p:nvSpPr>
        <p:spPr bwMode="auto">
          <a:xfrm>
            <a:off x="716428" y="5309791"/>
            <a:ext cx="1438614" cy="389209"/>
          </a:xfrm>
          <a:prstGeom prst="roundRect">
            <a:avLst/>
          </a:prstGeom>
          <a:solidFill>
            <a:srgbClr val="002060"/>
          </a:solidFill>
          <a:ln w="12700" algn="ctr">
            <a:solidFill>
              <a:schemeClr val="tx1"/>
            </a:solidFill>
            <a:miter lim="800000"/>
            <a:headEnd/>
            <a:tailEnd/>
          </a:ln>
        </p:spPr>
        <p:txBody>
          <a:bodyPr lIns="72000" tIns="72000" rIns="72000" bIns="72000" anchor="ctr"/>
          <a:lstStyle/>
          <a:p>
            <a:pPr algn="ctr" eaLnBrk="0" fontAlgn="base" hangingPunct="0">
              <a:lnSpc>
                <a:spcPct val="90000"/>
              </a:lnSpc>
              <a:spcBef>
                <a:spcPct val="50000"/>
              </a:spcBef>
              <a:spcAft>
                <a:spcPct val="0"/>
              </a:spcAft>
              <a:buSzPct val="100000"/>
              <a:defRPr/>
            </a:pPr>
            <a:r>
              <a:rPr lang="en-US" sz="900" b="1" kern="0" dirty="0">
                <a:solidFill>
                  <a:srgbClr val="FFFFFF"/>
                </a:solidFill>
                <a:cs typeface="Arial" pitchFamily="34" charset="0"/>
              </a:rPr>
              <a:t>BOM / CAD Mgmt.</a:t>
            </a:r>
          </a:p>
        </p:txBody>
      </p:sp>
      <p:cxnSp>
        <p:nvCxnSpPr>
          <p:cNvPr id="148" name="AutoShape 8">
            <a:extLst>
              <a:ext uri="{FF2B5EF4-FFF2-40B4-BE49-F238E27FC236}">
                <a16:creationId xmlns:a16="http://schemas.microsoft.com/office/drawing/2014/main" id="{D7C3082D-0D70-45AC-B60A-05E1EDEB81F5}"/>
              </a:ext>
            </a:extLst>
          </p:cNvPr>
          <p:cNvCxnSpPr>
            <a:cxnSpLocks noChangeShapeType="1"/>
          </p:cNvCxnSpPr>
          <p:nvPr/>
        </p:nvCxnSpPr>
        <p:spPr bwMode="auto">
          <a:xfrm flipV="1">
            <a:off x="3207355" y="2308446"/>
            <a:ext cx="0" cy="316602"/>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49" name="AutoShape 21">
            <a:extLst>
              <a:ext uri="{FF2B5EF4-FFF2-40B4-BE49-F238E27FC236}">
                <a16:creationId xmlns:a16="http://schemas.microsoft.com/office/drawing/2014/main" id="{988B21B9-48A6-412C-9F97-B0DAAC2B5CFE}"/>
              </a:ext>
            </a:extLst>
          </p:cNvPr>
          <p:cNvCxnSpPr>
            <a:cxnSpLocks noChangeShapeType="1"/>
          </p:cNvCxnSpPr>
          <p:nvPr/>
        </p:nvCxnSpPr>
        <p:spPr bwMode="auto">
          <a:xfrm flipV="1">
            <a:off x="3207355" y="3738799"/>
            <a:ext cx="0" cy="222188"/>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sp>
        <p:nvSpPr>
          <p:cNvPr id="150" name="Rectangle 16">
            <a:extLst>
              <a:ext uri="{FF2B5EF4-FFF2-40B4-BE49-F238E27FC236}">
                <a16:creationId xmlns:a16="http://schemas.microsoft.com/office/drawing/2014/main" id="{1FBC6BCC-E627-4C43-B847-1BA88E7A68BF}"/>
              </a:ext>
            </a:extLst>
          </p:cNvPr>
          <p:cNvSpPr>
            <a:spLocks noChangeArrowheads="1"/>
          </p:cNvSpPr>
          <p:nvPr/>
        </p:nvSpPr>
        <p:spPr bwMode="auto">
          <a:xfrm>
            <a:off x="2445588" y="3960987"/>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90000"/>
              </a:lnSpc>
              <a:buSzPct val="100000"/>
              <a:buFont typeface="Wingdings 2" pitchFamily="18" charset="2"/>
              <a:buNone/>
            </a:pPr>
            <a:r>
              <a:rPr lang="en-US" altLang="en-US" sz="1000" dirty="0">
                <a:solidFill>
                  <a:prstClr val="black"/>
                </a:solidFill>
              </a:rPr>
              <a:t>Target costs are established  based on goals without detailed cost breakdown. Cost impact of design  features unknown</a:t>
            </a:r>
            <a:endParaRPr lang="en-US" sz="1000" dirty="0">
              <a:solidFill>
                <a:prstClr val="black"/>
              </a:solidFill>
            </a:endParaRPr>
          </a:p>
        </p:txBody>
      </p:sp>
      <p:sp>
        <p:nvSpPr>
          <p:cNvPr id="151" name="Rectangle 17">
            <a:extLst>
              <a:ext uri="{FF2B5EF4-FFF2-40B4-BE49-F238E27FC236}">
                <a16:creationId xmlns:a16="http://schemas.microsoft.com/office/drawing/2014/main" id="{84894197-D7CD-4F99-AF2D-565A451A719E}"/>
              </a:ext>
            </a:extLst>
          </p:cNvPr>
          <p:cNvSpPr>
            <a:spLocks noChangeArrowheads="1"/>
          </p:cNvSpPr>
          <p:nvPr/>
        </p:nvSpPr>
        <p:spPr bwMode="auto">
          <a:xfrm>
            <a:off x="2445588" y="1194693"/>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90000"/>
              </a:lnSpc>
              <a:buSzPct val="100000"/>
              <a:buFont typeface="Wingdings 2" pitchFamily="18" charset="2"/>
              <a:buNone/>
            </a:pPr>
            <a:r>
              <a:rPr lang="en-US" altLang="en-US" sz="1000" dirty="0">
                <a:solidFill>
                  <a:prstClr val="black"/>
                </a:solidFill>
              </a:rPr>
              <a:t>Target profitability/ understood. Established system to aid decision making including design choices, sourcing opportunities, etc. </a:t>
            </a:r>
          </a:p>
        </p:txBody>
      </p:sp>
      <p:sp>
        <p:nvSpPr>
          <p:cNvPr id="152" name="Rectangle 27">
            <a:extLst>
              <a:ext uri="{FF2B5EF4-FFF2-40B4-BE49-F238E27FC236}">
                <a16:creationId xmlns:a16="http://schemas.microsoft.com/office/drawing/2014/main" id="{B4C4A140-1F83-4E89-947B-94F6145A7888}"/>
              </a:ext>
            </a:extLst>
          </p:cNvPr>
          <p:cNvSpPr>
            <a:spLocks noChangeArrowheads="1"/>
          </p:cNvSpPr>
          <p:nvPr/>
        </p:nvSpPr>
        <p:spPr bwMode="auto">
          <a:xfrm>
            <a:off x="2445588" y="2625047"/>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90000"/>
              </a:lnSpc>
              <a:buSzPct val="100000"/>
              <a:buFont typeface="Wingdings 2" pitchFamily="18" charset="2"/>
              <a:buNone/>
            </a:pPr>
            <a:r>
              <a:rPr lang="en-US" sz="1000" dirty="0">
                <a:solidFill>
                  <a:prstClr val="black"/>
                </a:solidFill>
              </a:rPr>
              <a:t>Target costs driven by goals and supported by cost throughout lifecycle. Cost impact of design choices  are understood</a:t>
            </a:r>
          </a:p>
        </p:txBody>
      </p:sp>
      <p:sp>
        <p:nvSpPr>
          <p:cNvPr id="153" name="Rectangle 53">
            <a:extLst>
              <a:ext uri="{FF2B5EF4-FFF2-40B4-BE49-F238E27FC236}">
                <a16:creationId xmlns:a16="http://schemas.microsoft.com/office/drawing/2014/main" id="{F9AF0F78-0FC6-46B0-8C8A-AD42B8ED9379}"/>
              </a:ext>
            </a:extLst>
          </p:cNvPr>
          <p:cNvSpPr>
            <a:spLocks noChangeArrowheads="1"/>
          </p:cNvSpPr>
          <p:nvPr/>
        </p:nvSpPr>
        <p:spPr bwMode="auto">
          <a:xfrm>
            <a:off x="2445588" y="5297951"/>
            <a:ext cx="1523534" cy="389209"/>
          </a:xfrm>
          <a:prstGeom prst="roundRect">
            <a:avLst/>
          </a:prstGeom>
          <a:solidFill>
            <a:srgbClr val="336600"/>
          </a:solidFill>
          <a:ln w="12700" algn="ctr">
            <a:solidFill>
              <a:schemeClr val="tx1"/>
            </a:solidFill>
            <a:miter lim="800000"/>
            <a:headEnd/>
            <a:tailEnd/>
          </a:ln>
        </p:spPr>
        <p:txBody>
          <a:bodyPr lIns="0" tIns="0" rIns="0" bIns="0" anchor="ctr"/>
          <a:lstStyle/>
          <a:p>
            <a:pPr algn="ctr" eaLnBrk="0" hangingPunct="0">
              <a:lnSpc>
                <a:spcPct val="90000"/>
              </a:lnSpc>
            </a:pPr>
            <a:r>
              <a:rPr lang="en-US" altLang="en-US" sz="1000" b="1" dirty="0">
                <a:solidFill>
                  <a:srgbClr val="FFFFFF"/>
                </a:solidFill>
              </a:rPr>
              <a:t>Product Cost Management</a:t>
            </a:r>
            <a:endParaRPr lang="en-US" sz="1000" b="1" dirty="0">
              <a:solidFill>
                <a:srgbClr val="FFFFFF"/>
              </a:solidFill>
            </a:endParaRPr>
          </a:p>
        </p:txBody>
      </p:sp>
      <p:sp>
        <p:nvSpPr>
          <p:cNvPr id="82" name="Freeform: Shape 81">
            <a:extLst>
              <a:ext uri="{FF2B5EF4-FFF2-40B4-BE49-F238E27FC236}">
                <a16:creationId xmlns:a16="http://schemas.microsoft.com/office/drawing/2014/main" id="{03EC428A-D7FB-4AC9-9CE7-513C3F855107}"/>
              </a:ext>
            </a:extLst>
          </p:cNvPr>
          <p:cNvSpPr/>
          <p:nvPr/>
        </p:nvSpPr>
        <p:spPr bwMode="gray">
          <a:xfrm flipV="1">
            <a:off x="1407489" y="1742960"/>
            <a:ext cx="9027590" cy="407526"/>
          </a:xfrm>
          <a:custGeom>
            <a:avLst/>
            <a:gdLst>
              <a:gd name="connsiteX0" fmla="*/ 0 w 9855200"/>
              <a:gd name="connsiteY0" fmla="*/ 2713159 h 3112619"/>
              <a:gd name="connsiteX1" fmla="*/ 939800 w 9855200"/>
              <a:gd name="connsiteY1" fmla="*/ 731959 h 3112619"/>
              <a:gd name="connsiteX2" fmla="*/ 1972733 w 9855200"/>
              <a:gd name="connsiteY2" fmla="*/ 1070626 h 3112619"/>
              <a:gd name="connsiteX3" fmla="*/ 2921000 w 9855200"/>
              <a:gd name="connsiteY3" fmla="*/ 1620959 h 3112619"/>
              <a:gd name="connsiteX4" fmla="*/ 3877733 w 9855200"/>
              <a:gd name="connsiteY4" fmla="*/ 706559 h 3112619"/>
              <a:gd name="connsiteX5" fmla="*/ 4910666 w 9855200"/>
              <a:gd name="connsiteY5" fmla="*/ 672692 h 3112619"/>
              <a:gd name="connsiteX6" fmla="*/ 5808133 w 9855200"/>
              <a:gd name="connsiteY6" fmla="*/ 173159 h 3112619"/>
              <a:gd name="connsiteX7" fmla="*/ 6874933 w 9855200"/>
              <a:gd name="connsiteY7" fmla="*/ 113892 h 3112619"/>
              <a:gd name="connsiteX8" fmla="*/ 7882466 w 9855200"/>
              <a:gd name="connsiteY8" fmla="*/ 1637892 h 3112619"/>
              <a:gd name="connsiteX9" fmla="*/ 8805333 w 9855200"/>
              <a:gd name="connsiteY9" fmla="*/ 2975626 h 3112619"/>
              <a:gd name="connsiteX10" fmla="*/ 9855200 w 9855200"/>
              <a:gd name="connsiteY10" fmla="*/ 3068759 h 3112619"/>
              <a:gd name="connsiteX11" fmla="*/ 9855200 w 9855200"/>
              <a:gd name="connsiteY11" fmla="*/ 3068759 h 3112619"/>
              <a:gd name="connsiteX0" fmla="*/ 0 w 9855200"/>
              <a:gd name="connsiteY0" fmla="*/ 2564478 h 2963938"/>
              <a:gd name="connsiteX1" fmla="*/ 939800 w 9855200"/>
              <a:gd name="connsiteY1" fmla="*/ 583278 h 2963938"/>
              <a:gd name="connsiteX2" fmla="*/ 1972733 w 9855200"/>
              <a:gd name="connsiteY2" fmla="*/ 921945 h 2963938"/>
              <a:gd name="connsiteX3" fmla="*/ 2921000 w 9855200"/>
              <a:gd name="connsiteY3" fmla="*/ 1472278 h 2963938"/>
              <a:gd name="connsiteX4" fmla="*/ 3877733 w 9855200"/>
              <a:gd name="connsiteY4" fmla="*/ 557878 h 2963938"/>
              <a:gd name="connsiteX5" fmla="*/ 4910666 w 9855200"/>
              <a:gd name="connsiteY5" fmla="*/ 524011 h 2963938"/>
              <a:gd name="connsiteX6" fmla="*/ 5808133 w 9855200"/>
              <a:gd name="connsiteY6" fmla="*/ 24478 h 2963938"/>
              <a:gd name="connsiteX7" fmla="*/ 6671569 w 9855200"/>
              <a:gd name="connsiteY7" fmla="*/ 1404544 h 2963938"/>
              <a:gd name="connsiteX8" fmla="*/ 7882466 w 9855200"/>
              <a:gd name="connsiteY8" fmla="*/ 1489211 h 2963938"/>
              <a:gd name="connsiteX9" fmla="*/ 8805333 w 9855200"/>
              <a:gd name="connsiteY9" fmla="*/ 2826945 h 2963938"/>
              <a:gd name="connsiteX10" fmla="*/ 9855200 w 9855200"/>
              <a:gd name="connsiteY10" fmla="*/ 2920078 h 2963938"/>
              <a:gd name="connsiteX11" fmla="*/ 9855200 w 9855200"/>
              <a:gd name="connsiteY11" fmla="*/ 2920078 h 2963938"/>
              <a:gd name="connsiteX0" fmla="*/ 0 w 9855200"/>
              <a:gd name="connsiteY0" fmla="*/ 2124213 h 2523673"/>
              <a:gd name="connsiteX1" fmla="*/ 939800 w 9855200"/>
              <a:gd name="connsiteY1" fmla="*/ 143013 h 2523673"/>
              <a:gd name="connsiteX2" fmla="*/ 1972733 w 9855200"/>
              <a:gd name="connsiteY2" fmla="*/ 481680 h 2523673"/>
              <a:gd name="connsiteX3" fmla="*/ 2921000 w 9855200"/>
              <a:gd name="connsiteY3" fmla="*/ 1032013 h 2523673"/>
              <a:gd name="connsiteX4" fmla="*/ 3877733 w 9855200"/>
              <a:gd name="connsiteY4" fmla="*/ 117613 h 2523673"/>
              <a:gd name="connsiteX5" fmla="*/ 4910666 w 9855200"/>
              <a:gd name="connsiteY5" fmla="*/ 83746 h 2523673"/>
              <a:gd name="connsiteX6" fmla="*/ 5850501 w 9855200"/>
              <a:gd name="connsiteY6" fmla="*/ 778013 h 2523673"/>
              <a:gd name="connsiteX7" fmla="*/ 6671569 w 9855200"/>
              <a:gd name="connsiteY7" fmla="*/ 964279 h 2523673"/>
              <a:gd name="connsiteX8" fmla="*/ 7882466 w 9855200"/>
              <a:gd name="connsiteY8" fmla="*/ 1048946 h 2523673"/>
              <a:gd name="connsiteX9" fmla="*/ 8805333 w 9855200"/>
              <a:gd name="connsiteY9" fmla="*/ 2386680 h 2523673"/>
              <a:gd name="connsiteX10" fmla="*/ 9855200 w 9855200"/>
              <a:gd name="connsiteY10" fmla="*/ 2479813 h 2523673"/>
              <a:gd name="connsiteX11" fmla="*/ 9855200 w 9855200"/>
              <a:gd name="connsiteY11" fmla="*/ 2479813 h 2523673"/>
              <a:gd name="connsiteX0" fmla="*/ 0 w 9855200"/>
              <a:gd name="connsiteY0" fmla="*/ 77721500 h 77721500"/>
              <a:gd name="connsiteX1" fmla="*/ 939800 w 9855200"/>
              <a:gd name="connsiteY1" fmla="*/ 5286241 h 77721500"/>
              <a:gd name="connsiteX2" fmla="*/ 1972733 w 9855200"/>
              <a:gd name="connsiteY2" fmla="*/ 5624908 h 77721500"/>
              <a:gd name="connsiteX3" fmla="*/ 2921000 w 9855200"/>
              <a:gd name="connsiteY3" fmla="*/ 6175241 h 77721500"/>
              <a:gd name="connsiteX4" fmla="*/ 3877733 w 9855200"/>
              <a:gd name="connsiteY4" fmla="*/ 5260841 h 77721500"/>
              <a:gd name="connsiteX5" fmla="*/ 4910666 w 9855200"/>
              <a:gd name="connsiteY5" fmla="*/ 5226974 h 77721500"/>
              <a:gd name="connsiteX6" fmla="*/ 5850501 w 9855200"/>
              <a:gd name="connsiteY6" fmla="*/ 5921241 h 77721500"/>
              <a:gd name="connsiteX7" fmla="*/ 6671569 w 9855200"/>
              <a:gd name="connsiteY7" fmla="*/ 6107507 h 77721500"/>
              <a:gd name="connsiteX8" fmla="*/ 7882466 w 9855200"/>
              <a:gd name="connsiteY8" fmla="*/ 6192174 h 77721500"/>
              <a:gd name="connsiteX9" fmla="*/ 8805333 w 9855200"/>
              <a:gd name="connsiteY9" fmla="*/ 7529908 h 77721500"/>
              <a:gd name="connsiteX10" fmla="*/ 9855200 w 9855200"/>
              <a:gd name="connsiteY10" fmla="*/ 7623041 h 77721500"/>
              <a:gd name="connsiteX11" fmla="*/ 9855200 w 9855200"/>
              <a:gd name="connsiteY11" fmla="*/ 7623041 h 77721500"/>
              <a:gd name="connsiteX0" fmla="*/ 0 w 9855200"/>
              <a:gd name="connsiteY0" fmla="*/ 84105671 h 177717882"/>
              <a:gd name="connsiteX1" fmla="*/ 994077 w 9855200"/>
              <a:gd name="connsiteY1" fmla="*/ 176764308 h 177717882"/>
              <a:gd name="connsiteX2" fmla="*/ 1972733 w 9855200"/>
              <a:gd name="connsiteY2" fmla="*/ 12009079 h 177717882"/>
              <a:gd name="connsiteX3" fmla="*/ 2921000 w 9855200"/>
              <a:gd name="connsiteY3" fmla="*/ 12559412 h 177717882"/>
              <a:gd name="connsiteX4" fmla="*/ 3877733 w 9855200"/>
              <a:gd name="connsiteY4" fmla="*/ 11645012 h 177717882"/>
              <a:gd name="connsiteX5" fmla="*/ 4910666 w 9855200"/>
              <a:gd name="connsiteY5" fmla="*/ 11611145 h 177717882"/>
              <a:gd name="connsiteX6" fmla="*/ 5850501 w 9855200"/>
              <a:gd name="connsiteY6" fmla="*/ 12305412 h 177717882"/>
              <a:gd name="connsiteX7" fmla="*/ 6671569 w 9855200"/>
              <a:gd name="connsiteY7" fmla="*/ 12491678 h 177717882"/>
              <a:gd name="connsiteX8" fmla="*/ 7882466 w 9855200"/>
              <a:gd name="connsiteY8" fmla="*/ 12576345 h 177717882"/>
              <a:gd name="connsiteX9" fmla="*/ 8805333 w 9855200"/>
              <a:gd name="connsiteY9" fmla="*/ 13914079 h 177717882"/>
              <a:gd name="connsiteX10" fmla="*/ 9855200 w 9855200"/>
              <a:gd name="connsiteY10" fmla="*/ 14007212 h 177717882"/>
              <a:gd name="connsiteX11" fmla="*/ 9855200 w 9855200"/>
              <a:gd name="connsiteY11" fmla="*/ 14007212 h 177717882"/>
              <a:gd name="connsiteX0" fmla="*/ 0 w 9855200"/>
              <a:gd name="connsiteY0" fmla="*/ 77896814 h 170594753"/>
              <a:gd name="connsiteX1" fmla="*/ 994077 w 9855200"/>
              <a:gd name="connsiteY1" fmla="*/ 170555451 h 170594753"/>
              <a:gd name="connsiteX2" fmla="*/ 1963687 w 9855200"/>
              <a:gd name="connsiteY2" fmla="*/ 88347158 h 170594753"/>
              <a:gd name="connsiteX3" fmla="*/ 2921000 w 9855200"/>
              <a:gd name="connsiteY3" fmla="*/ 6350555 h 170594753"/>
              <a:gd name="connsiteX4" fmla="*/ 3877733 w 9855200"/>
              <a:gd name="connsiteY4" fmla="*/ 5436155 h 170594753"/>
              <a:gd name="connsiteX5" fmla="*/ 4910666 w 9855200"/>
              <a:gd name="connsiteY5" fmla="*/ 5402288 h 170594753"/>
              <a:gd name="connsiteX6" fmla="*/ 5850501 w 9855200"/>
              <a:gd name="connsiteY6" fmla="*/ 6096555 h 170594753"/>
              <a:gd name="connsiteX7" fmla="*/ 6671569 w 9855200"/>
              <a:gd name="connsiteY7" fmla="*/ 6282821 h 170594753"/>
              <a:gd name="connsiteX8" fmla="*/ 7882466 w 9855200"/>
              <a:gd name="connsiteY8" fmla="*/ 6367488 h 170594753"/>
              <a:gd name="connsiteX9" fmla="*/ 8805333 w 9855200"/>
              <a:gd name="connsiteY9" fmla="*/ 7705222 h 170594753"/>
              <a:gd name="connsiteX10" fmla="*/ 9855200 w 9855200"/>
              <a:gd name="connsiteY10" fmla="*/ 7798355 h 170594753"/>
              <a:gd name="connsiteX11" fmla="*/ 9855200 w 9855200"/>
              <a:gd name="connsiteY11" fmla="*/ 7798355 h 170594753"/>
              <a:gd name="connsiteX0" fmla="*/ 0 w 9855200"/>
              <a:gd name="connsiteY0" fmla="*/ 83741850 h 176427921"/>
              <a:gd name="connsiteX1" fmla="*/ 994077 w 9855200"/>
              <a:gd name="connsiteY1" fmla="*/ 176400487 h 176427921"/>
              <a:gd name="connsiteX2" fmla="*/ 1963687 w 9855200"/>
              <a:gd name="connsiteY2" fmla="*/ 94192194 h 176427921"/>
              <a:gd name="connsiteX3" fmla="*/ 2957185 w 9855200"/>
              <a:gd name="connsiteY3" fmla="*/ 163093506 h 176427921"/>
              <a:gd name="connsiteX4" fmla="*/ 3877733 w 9855200"/>
              <a:gd name="connsiteY4" fmla="*/ 11281191 h 176427921"/>
              <a:gd name="connsiteX5" fmla="*/ 4910666 w 9855200"/>
              <a:gd name="connsiteY5" fmla="*/ 11247324 h 176427921"/>
              <a:gd name="connsiteX6" fmla="*/ 5850501 w 9855200"/>
              <a:gd name="connsiteY6" fmla="*/ 11941591 h 176427921"/>
              <a:gd name="connsiteX7" fmla="*/ 6671569 w 9855200"/>
              <a:gd name="connsiteY7" fmla="*/ 12127857 h 176427921"/>
              <a:gd name="connsiteX8" fmla="*/ 7882466 w 9855200"/>
              <a:gd name="connsiteY8" fmla="*/ 12212524 h 176427921"/>
              <a:gd name="connsiteX9" fmla="*/ 8805333 w 9855200"/>
              <a:gd name="connsiteY9" fmla="*/ 13550258 h 176427921"/>
              <a:gd name="connsiteX10" fmla="*/ 9855200 w 9855200"/>
              <a:gd name="connsiteY10" fmla="*/ 13643391 h 176427921"/>
              <a:gd name="connsiteX11" fmla="*/ 9855200 w 9855200"/>
              <a:gd name="connsiteY11" fmla="*/ 13643391 h 176427921"/>
              <a:gd name="connsiteX0" fmla="*/ 0 w 9855200"/>
              <a:gd name="connsiteY0" fmla="*/ 83127367 h 175813438"/>
              <a:gd name="connsiteX1" fmla="*/ 994077 w 9855200"/>
              <a:gd name="connsiteY1" fmla="*/ 175786004 h 175813438"/>
              <a:gd name="connsiteX2" fmla="*/ 1963687 w 9855200"/>
              <a:gd name="connsiteY2" fmla="*/ 93577711 h 175813438"/>
              <a:gd name="connsiteX3" fmla="*/ 2957185 w 9855200"/>
              <a:gd name="connsiteY3" fmla="*/ 162479023 h 175813438"/>
              <a:gd name="connsiteX4" fmla="*/ 3986287 w 9855200"/>
              <a:gd name="connsiteY4" fmla="*/ 156832650 h 175813438"/>
              <a:gd name="connsiteX5" fmla="*/ 4910666 w 9855200"/>
              <a:gd name="connsiteY5" fmla="*/ 10632841 h 175813438"/>
              <a:gd name="connsiteX6" fmla="*/ 5850501 w 9855200"/>
              <a:gd name="connsiteY6" fmla="*/ 11327108 h 175813438"/>
              <a:gd name="connsiteX7" fmla="*/ 6671569 w 9855200"/>
              <a:gd name="connsiteY7" fmla="*/ 11513374 h 175813438"/>
              <a:gd name="connsiteX8" fmla="*/ 7882466 w 9855200"/>
              <a:gd name="connsiteY8" fmla="*/ 11598041 h 175813438"/>
              <a:gd name="connsiteX9" fmla="*/ 8805333 w 9855200"/>
              <a:gd name="connsiteY9" fmla="*/ 12935775 h 175813438"/>
              <a:gd name="connsiteX10" fmla="*/ 9855200 w 9855200"/>
              <a:gd name="connsiteY10" fmla="*/ 13028908 h 175813438"/>
              <a:gd name="connsiteX11" fmla="*/ 9855200 w 9855200"/>
              <a:gd name="connsiteY11" fmla="*/ 13028908 h 175813438"/>
              <a:gd name="connsiteX0" fmla="*/ 0 w 9855200"/>
              <a:gd name="connsiteY0" fmla="*/ 83127367 h 175813438"/>
              <a:gd name="connsiteX1" fmla="*/ 994077 w 9855200"/>
              <a:gd name="connsiteY1" fmla="*/ 175786004 h 175813438"/>
              <a:gd name="connsiteX2" fmla="*/ 1963687 w 9855200"/>
              <a:gd name="connsiteY2" fmla="*/ 93577711 h 175813438"/>
              <a:gd name="connsiteX3" fmla="*/ 2957185 w 9855200"/>
              <a:gd name="connsiteY3" fmla="*/ 162479023 h 175813438"/>
              <a:gd name="connsiteX4" fmla="*/ 3986287 w 9855200"/>
              <a:gd name="connsiteY4" fmla="*/ 156832650 h 175813438"/>
              <a:gd name="connsiteX5" fmla="*/ 4910666 w 9855200"/>
              <a:gd name="connsiteY5" fmla="*/ 10632841 h 175813438"/>
              <a:gd name="connsiteX6" fmla="*/ 5850501 w 9855200"/>
              <a:gd name="connsiteY6" fmla="*/ 11327108 h 175813438"/>
              <a:gd name="connsiteX7" fmla="*/ 6671569 w 9855200"/>
              <a:gd name="connsiteY7" fmla="*/ 11513374 h 175813438"/>
              <a:gd name="connsiteX8" fmla="*/ 7882466 w 9855200"/>
              <a:gd name="connsiteY8" fmla="*/ 11598041 h 175813438"/>
              <a:gd name="connsiteX9" fmla="*/ 8805333 w 9855200"/>
              <a:gd name="connsiteY9" fmla="*/ 12935775 h 175813438"/>
              <a:gd name="connsiteX10" fmla="*/ 9855200 w 9855200"/>
              <a:gd name="connsiteY10" fmla="*/ 13028908 h 175813438"/>
              <a:gd name="connsiteX11" fmla="*/ 9855200 w 9855200"/>
              <a:gd name="connsiteY11" fmla="*/ 13028908 h 175813438"/>
              <a:gd name="connsiteX0" fmla="*/ 0 w 9855200"/>
              <a:gd name="connsiteY0" fmla="*/ 75280295 h 167966366"/>
              <a:gd name="connsiteX1" fmla="*/ 994077 w 9855200"/>
              <a:gd name="connsiteY1" fmla="*/ 167938932 h 167966366"/>
              <a:gd name="connsiteX2" fmla="*/ 1963687 w 9855200"/>
              <a:gd name="connsiteY2" fmla="*/ 85730639 h 167966366"/>
              <a:gd name="connsiteX3" fmla="*/ 2957185 w 9855200"/>
              <a:gd name="connsiteY3" fmla="*/ 154631951 h 167966366"/>
              <a:gd name="connsiteX4" fmla="*/ 3986287 w 9855200"/>
              <a:gd name="connsiteY4" fmla="*/ 148985578 h 167966366"/>
              <a:gd name="connsiteX5" fmla="*/ 4802111 w 9855200"/>
              <a:gd name="connsiteY5" fmla="*/ 51157218 h 167966366"/>
              <a:gd name="connsiteX6" fmla="*/ 5850501 w 9855200"/>
              <a:gd name="connsiteY6" fmla="*/ 3480036 h 167966366"/>
              <a:gd name="connsiteX7" fmla="*/ 6671569 w 9855200"/>
              <a:gd name="connsiteY7" fmla="*/ 3666302 h 167966366"/>
              <a:gd name="connsiteX8" fmla="*/ 7882466 w 9855200"/>
              <a:gd name="connsiteY8" fmla="*/ 3750969 h 167966366"/>
              <a:gd name="connsiteX9" fmla="*/ 8805333 w 9855200"/>
              <a:gd name="connsiteY9" fmla="*/ 5088703 h 167966366"/>
              <a:gd name="connsiteX10" fmla="*/ 9855200 w 9855200"/>
              <a:gd name="connsiteY10" fmla="*/ 5181836 h 167966366"/>
              <a:gd name="connsiteX11" fmla="*/ 9855200 w 9855200"/>
              <a:gd name="connsiteY11" fmla="*/ 5181836 h 167966366"/>
              <a:gd name="connsiteX0" fmla="*/ 0 w 9855200"/>
              <a:gd name="connsiteY0" fmla="*/ 78629479 h 171315550"/>
              <a:gd name="connsiteX1" fmla="*/ 994077 w 9855200"/>
              <a:gd name="connsiteY1" fmla="*/ 171288116 h 171315550"/>
              <a:gd name="connsiteX2" fmla="*/ 1963687 w 9855200"/>
              <a:gd name="connsiteY2" fmla="*/ 89079823 h 171315550"/>
              <a:gd name="connsiteX3" fmla="*/ 2957185 w 9855200"/>
              <a:gd name="connsiteY3" fmla="*/ 157981135 h 171315550"/>
              <a:gd name="connsiteX4" fmla="*/ 3986287 w 9855200"/>
              <a:gd name="connsiteY4" fmla="*/ 152334762 h 171315550"/>
              <a:gd name="connsiteX5" fmla="*/ 4892573 w 9855200"/>
              <a:gd name="connsiteY5" fmla="*/ 99723199 h 171315550"/>
              <a:gd name="connsiteX6" fmla="*/ 5850501 w 9855200"/>
              <a:gd name="connsiteY6" fmla="*/ 6829220 h 171315550"/>
              <a:gd name="connsiteX7" fmla="*/ 6671569 w 9855200"/>
              <a:gd name="connsiteY7" fmla="*/ 7015486 h 171315550"/>
              <a:gd name="connsiteX8" fmla="*/ 7882466 w 9855200"/>
              <a:gd name="connsiteY8" fmla="*/ 7100153 h 171315550"/>
              <a:gd name="connsiteX9" fmla="*/ 8805333 w 9855200"/>
              <a:gd name="connsiteY9" fmla="*/ 8437887 h 171315550"/>
              <a:gd name="connsiteX10" fmla="*/ 9855200 w 9855200"/>
              <a:gd name="connsiteY10" fmla="*/ 8531020 h 171315550"/>
              <a:gd name="connsiteX11" fmla="*/ 9855200 w 9855200"/>
              <a:gd name="connsiteY11" fmla="*/ 8531020 h 171315550"/>
              <a:gd name="connsiteX0" fmla="*/ 0 w 9855200"/>
              <a:gd name="connsiteY0" fmla="*/ 80893990 h 173580061"/>
              <a:gd name="connsiteX1" fmla="*/ 994077 w 9855200"/>
              <a:gd name="connsiteY1" fmla="*/ 173552627 h 173580061"/>
              <a:gd name="connsiteX2" fmla="*/ 1963687 w 9855200"/>
              <a:gd name="connsiteY2" fmla="*/ 91344334 h 173580061"/>
              <a:gd name="connsiteX3" fmla="*/ 2957185 w 9855200"/>
              <a:gd name="connsiteY3" fmla="*/ 160245646 h 173580061"/>
              <a:gd name="connsiteX4" fmla="*/ 3986287 w 9855200"/>
              <a:gd name="connsiteY4" fmla="*/ 154599273 h 173580061"/>
              <a:gd name="connsiteX5" fmla="*/ 4892573 w 9855200"/>
              <a:gd name="connsiteY5" fmla="*/ 101987710 h 173580061"/>
              <a:gd name="connsiteX6" fmla="*/ 5922871 w 9855200"/>
              <a:gd name="connsiteY6" fmla="*/ 134228614 h 173580061"/>
              <a:gd name="connsiteX7" fmla="*/ 6671569 w 9855200"/>
              <a:gd name="connsiteY7" fmla="*/ 9279997 h 173580061"/>
              <a:gd name="connsiteX8" fmla="*/ 7882466 w 9855200"/>
              <a:gd name="connsiteY8" fmla="*/ 9364664 h 173580061"/>
              <a:gd name="connsiteX9" fmla="*/ 8805333 w 9855200"/>
              <a:gd name="connsiteY9" fmla="*/ 10702398 h 173580061"/>
              <a:gd name="connsiteX10" fmla="*/ 9855200 w 9855200"/>
              <a:gd name="connsiteY10" fmla="*/ 10795531 h 173580061"/>
              <a:gd name="connsiteX11" fmla="*/ 9855200 w 9855200"/>
              <a:gd name="connsiteY11" fmla="*/ 10795531 h 173580061"/>
              <a:gd name="connsiteX0" fmla="*/ 0 w 9855200"/>
              <a:gd name="connsiteY0" fmla="*/ 80893990 h 173580061"/>
              <a:gd name="connsiteX1" fmla="*/ 994077 w 9855200"/>
              <a:gd name="connsiteY1" fmla="*/ 173552627 h 173580061"/>
              <a:gd name="connsiteX2" fmla="*/ 1963687 w 9855200"/>
              <a:gd name="connsiteY2" fmla="*/ 91344334 h 173580061"/>
              <a:gd name="connsiteX3" fmla="*/ 2957185 w 9855200"/>
              <a:gd name="connsiteY3" fmla="*/ 160245646 h 173580061"/>
              <a:gd name="connsiteX4" fmla="*/ 3986287 w 9855200"/>
              <a:gd name="connsiteY4" fmla="*/ 154599273 h 173580061"/>
              <a:gd name="connsiteX5" fmla="*/ 4892573 w 9855200"/>
              <a:gd name="connsiteY5" fmla="*/ 101987710 h 173580061"/>
              <a:gd name="connsiteX6" fmla="*/ 5922871 w 9855200"/>
              <a:gd name="connsiteY6" fmla="*/ 134228614 h 173580061"/>
              <a:gd name="connsiteX7" fmla="*/ 6671569 w 9855200"/>
              <a:gd name="connsiteY7" fmla="*/ 9279997 h 173580061"/>
              <a:gd name="connsiteX8" fmla="*/ 7882466 w 9855200"/>
              <a:gd name="connsiteY8" fmla="*/ 9364664 h 173580061"/>
              <a:gd name="connsiteX9" fmla="*/ 8805333 w 9855200"/>
              <a:gd name="connsiteY9" fmla="*/ 10702398 h 173580061"/>
              <a:gd name="connsiteX10" fmla="*/ 9855200 w 9855200"/>
              <a:gd name="connsiteY10" fmla="*/ 10795531 h 173580061"/>
              <a:gd name="connsiteX11" fmla="*/ 9855200 w 9855200"/>
              <a:gd name="connsiteY11" fmla="*/ 10795531 h 173580061"/>
              <a:gd name="connsiteX0" fmla="*/ 0 w 9855200"/>
              <a:gd name="connsiteY0" fmla="*/ 81088679 h 173774750"/>
              <a:gd name="connsiteX1" fmla="*/ 994077 w 9855200"/>
              <a:gd name="connsiteY1" fmla="*/ 173747316 h 173774750"/>
              <a:gd name="connsiteX2" fmla="*/ 1963687 w 9855200"/>
              <a:gd name="connsiteY2" fmla="*/ 91539023 h 173774750"/>
              <a:gd name="connsiteX3" fmla="*/ 2957185 w 9855200"/>
              <a:gd name="connsiteY3" fmla="*/ 160440335 h 173774750"/>
              <a:gd name="connsiteX4" fmla="*/ 3986287 w 9855200"/>
              <a:gd name="connsiteY4" fmla="*/ 154793962 h 173774750"/>
              <a:gd name="connsiteX5" fmla="*/ 4892573 w 9855200"/>
              <a:gd name="connsiteY5" fmla="*/ 102182399 h 173774750"/>
              <a:gd name="connsiteX6" fmla="*/ 5886687 w 9855200"/>
              <a:gd name="connsiteY6" fmla="*/ 137052186 h 173774750"/>
              <a:gd name="connsiteX7" fmla="*/ 6671569 w 9855200"/>
              <a:gd name="connsiteY7" fmla="*/ 9474686 h 173774750"/>
              <a:gd name="connsiteX8" fmla="*/ 7882466 w 9855200"/>
              <a:gd name="connsiteY8" fmla="*/ 9559353 h 173774750"/>
              <a:gd name="connsiteX9" fmla="*/ 8805333 w 9855200"/>
              <a:gd name="connsiteY9" fmla="*/ 10897087 h 173774750"/>
              <a:gd name="connsiteX10" fmla="*/ 9855200 w 9855200"/>
              <a:gd name="connsiteY10" fmla="*/ 10990220 h 173774750"/>
              <a:gd name="connsiteX11" fmla="*/ 9855200 w 9855200"/>
              <a:gd name="connsiteY11" fmla="*/ 10990220 h 173774750"/>
              <a:gd name="connsiteX0" fmla="*/ 0 w 9855200"/>
              <a:gd name="connsiteY0" fmla="*/ 76209968 h 168896039"/>
              <a:gd name="connsiteX1" fmla="*/ 994077 w 9855200"/>
              <a:gd name="connsiteY1" fmla="*/ 168868605 h 168896039"/>
              <a:gd name="connsiteX2" fmla="*/ 1963687 w 9855200"/>
              <a:gd name="connsiteY2" fmla="*/ 86660312 h 168896039"/>
              <a:gd name="connsiteX3" fmla="*/ 2957185 w 9855200"/>
              <a:gd name="connsiteY3" fmla="*/ 155561624 h 168896039"/>
              <a:gd name="connsiteX4" fmla="*/ 3986287 w 9855200"/>
              <a:gd name="connsiteY4" fmla="*/ 149915251 h 168896039"/>
              <a:gd name="connsiteX5" fmla="*/ 4892573 w 9855200"/>
              <a:gd name="connsiteY5" fmla="*/ 97303688 h 168896039"/>
              <a:gd name="connsiteX6" fmla="*/ 5886687 w 9855200"/>
              <a:gd name="connsiteY6" fmla="*/ 132173475 h 168896039"/>
              <a:gd name="connsiteX7" fmla="*/ 6843447 w 9855200"/>
              <a:gd name="connsiteY7" fmla="*/ 72946951 h 168896039"/>
              <a:gd name="connsiteX8" fmla="*/ 7882466 w 9855200"/>
              <a:gd name="connsiteY8" fmla="*/ 4680642 h 168896039"/>
              <a:gd name="connsiteX9" fmla="*/ 8805333 w 9855200"/>
              <a:gd name="connsiteY9" fmla="*/ 6018376 h 168896039"/>
              <a:gd name="connsiteX10" fmla="*/ 9855200 w 9855200"/>
              <a:gd name="connsiteY10" fmla="*/ 6111509 h 168896039"/>
              <a:gd name="connsiteX11" fmla="*/ 9855200 w 9855200"/>
              <a:gd name="connsiteY11" fmla="*/ 6111509 h 168896039"/>
              <a:gd name="connsiteX0" fmla="*/ 0 w 9855200"/>
              <a:gd name="connsiteY0" fmla="*/ 76209968 h 168896039"/>
              <a:gd name="connsiteX1" fmla="*/ 994077 w 9855200"/>
              <a:gd name="connsiteY1" fmla="*/ 168868605 h 168896039"/>
              <a:gd name="connsiteX2" fmla="*/ 1963687 w 9855200"/>
              <a:gd name="connsiteY2" fmla="*/ 86660312 h 168896039"/>
              <a:gd name="connsiteX3" fmla="*/ 2957185 w 9855200"/>
              <a:gd name="connsiteY3" fmla="*/ 155561624 h 168896039"/>
              <a:gd name="connsiteX4" fmla="*/ 3986287 w 9855200"/>
              <a:gd name="connsiteY4" fmla="*/ 149915251 h 168896039"/>
              <a:gd name="connsiteX5" fmla="*/ 4892573 w 9855200"/>
              <a:gd name="connsiteY5" fmla="*/ 97303688 h 168896039"/>
              <a:gd name="connsiteX6" fmla="*/ 5886687 w 9855200"/>
              <a:gd name="connsiteY6" fmla="*/ 132173475 h 168896039"/>
              <a:gd name="connsiteX7" fmla="*/ 6843447 w 9855200"/>
              <a:gd name="connsiteY7" fmla="*/ 72946951 h 168896039"/>
              <a:gd name="connsiteX8" fmla="*/ 7882466 w 9855200"/>
              <a:gd name="connsiteY8" fmla="*/ 4680642 h 168896039"/>
              <a:gd name="connsiteX9" fmla="*/ 8805333 w 9855200"/>
              <a:gd name="connsiteY9" fmla="*/ 6018376 h 168896039"/>
              <a:gd name="connsiteX10" fmla="*/ 9855200 w 9855200"/>
              <a:gd name="connsiteY10" fmla="*/ 6111509 h 168896039"/>
              <a:gd name="connsiteX11" fmla="*/ 9855200 w 9855200"/>
              <a:gd name="connsiteY11" fmla="*/ 6111509 h 168896039"/>
              <a:gd name="connsiteX0" fmla="*/ 0 w 9855200"/>
              <a:gd name="connsiteY0" fmla="*/ 76020357 h 168706428"/>
              <a:gd name="connsiteX1" fmla="*/ 994077 w 9855200"/>
              <a:gd name="connsiteY1" fmla="*/ 168678994 h 168706428"/>
              <a:gd name="connsiteX2" fmla="*/ 1963687 w 9855200"/>
              <a:gd name="connsiteY2" fmla="*/ 86470701 h 168706428"/>
              <a:gd name="connsiteX3" fmla="*/ 2957185 w 9855200"/>
              <a:gd name="connsiteY3" fmla="*/ 155372013 h 168706428"/>
              <a:gd name="connsiteX4" fmla="*/ 3986287 w 9855200"/>
              <a:gd name="connsiteY4" fmla="*/ 149725640 h 168706428"/>
              <a:gd name="connsiteX5" fmla="*/ 4892573 w 9855200"/>
              <a:gd name="connsiteY5" fmla="*/ 97114077 h 168706428"/>
              <a:gd name="connsiteX6" fmla="*/ 5886687 w 9855200"/>
              <a:gd name="connsiteY6" fmla="*/ 131983864 h 168706428"/>
              <a:gd name="connsiteX7" fmla="*/ 6843447 w 9855200"/>
              <a:gd name="connsiteY7" fmla="*/ 72757340 h 168706428"/>
              <a:gd name="connsiteX8" fmla="*/ 7918651 w 9855200"/>
              <a:gd name="connsiteY8" fmla="*/ 84934880 h 168706428"/>
              <a:gd name="connsiteX9" fmla="*/ 8805333 w 9855200"/>
              <a:gd name="connsiteY9" fmla="*/ 5828765 h 168706428"/>
              <a:gd name="connsiteX10" fmla="*/ 9855200 w 9855200"/>
              <a:gd name="connsiteY10" fmla="*/ 5921898 h 168706428"/>
              <a:gd name="connsiteX11" fmla="*/ 9855200 w 9855200"/>
              <a:gd name="connsiteY11" fmla="*/ 5921898 h 168706428"/>
              <a:gd name="connsiteX0" fmla="*/ 0 w 9855200"/>
              <a:gd name="connsiteY0" fmla="*/ 76020357 h 168706428"/>
              <a:gd name="connsiteX1" fmla="*/ 994077 w 9855200"/>
              <a:gd name="connsiteY1" fmla="*/ 168678994 h 168706428"/>
              <a:gd name="connsiteX2" fmla="*/ 1963687 w 9855200"/>
              <a:gd name="connsiteY2" fmla="*/ 86470701 h 168706428"/>
              <a:gd name="connsiteX3" fmla="*/ 2957185 w 9855200"/>
              <a:gd name="connsiteY3" fmla="*/ 155372013 h 168706428"/>
              <a:gd name="connsiteX4" fmla="*/ 3986287 w 9855200"/>
              <a:gd name="connsiteY4" fmla="*/ 149725640 h 168706428"/>
              <a:gd name="connsiteX5" fmla="*/ 4892573 w 9855200"/>
              <a:gd name="connsiteY5" fmla="*/ 97114077 h 168706428"/>
              <a:gd name="connsiteX6" fmla="*/ 5886687 w 9855200"/>
              <a:gd name="connsiteY6" fmla="*/ 131983864 h 168706428"/>
              <a:gd name="connsiteX7" fmla="*/ 6843447 w 9855200"/>
              <a:gd name="connsiteY7" fmla="*/ 72757340 h 168706428"/>
              <a:gd name="connsiteX8" fmla="*/ 7918651 w 9855200"/>
              <a:gd name="connsiteY8" fmla="*/ 84934880 h 168706428"/>
              <a:gd name="connsiteX9" fmla="*/ 8805333 w 9855200"/>
              <a:gd name="connsiteY9" fmla="*/ 5828765 h 168706428"/>
              <a:gd name="connsiteX10" fmla="*/ 9855200 w 9855200"/>
              <a:gd name="connsiteY10" fmla="*/ 5921898 h 168706428"/>
              <a:gd name="connsiteX11" fmla="*/ 9855200 w 9855200"/>
              <a:gd name="connsiteY11" fmla="*/ 5921898 h 168706428"/>
              <a:gd name="connsiteX0" fmla="*/ 0 w 9855200"/>
              <a:gd name="connsiteY0" fmla="*/ 75163548 h 167849619"/>
              <a:gd name="connsiteX1" fmla="*/ 994077 w 9855200"/>
              <a:gd name="connsiteY1" fmla="*/ 167822185 h 167849619"/>
              <a:gd name="connsiteX2" fmla="*/ 1963687 w 9855200"/>
              <a:gd name="connsiteY2" fmla="*/ 85613892 h 167849619"/>
              <a:gd name="connsiteX3" fmla="*/ 2957185 w 9855200"/>
              <a:gd name="connsiteY3" fmla="*/ 154515204 h 167849619"/>
              <a:gd name="connsiteX4" fmla="*/ 3986287 w 9855200"/>
              <a:gd name="connsiteY4" fmla="*/ 148868831 h 167849619"/>
              <a:gd name="connsiteX5" fmla="*/ 4892573 w 9855200"/>
              <a:gd name="connsiteY5" fmla="*/ 96257268 h 167849619"/>
              <a:gd name="connsiteX6" fmla="*/ 5886687 w 9855200"/>
              <a:gd name="connsiteY6" fmla="*/ 131127055 h 167849619"/>
              <a:gd name="connsiteX7" fmla="*/ 6843447 w 9855200"/>
              <a:gd name="connsiteY7" fmla="*/ 71900531 h 167849619"/>
              <a:gd name="connsiteX8" fmla="*/ 7891512 w 9855200"/>
              <a:gd name="connsiteY8" fmla="*/ 72510984 h 167849619"/>
              <a:gd name="connsiteX9" fmla="*/ 8805333 w 9855200"/>
              <a:gd name="connsiteY9" fmla="*/ 4971956 h 167849619"/>
              <a:gd name="connsiteX10" fmla="*/ 9855200 w 9855200"/>
              <a:gd name="connsiteY10" fmla="*/ 5065089 h 167849619"/>
              <a:gd name="connsiteX11" fmla="*/ 9855200 w 9855200"/>
              <a:gd name="connsiteY11" fmla="*/ 5065089 h 167849619"/>
              <a:gd name="connsiteX0" fmla="*/ 0 w 9855200"/>
              <a:gd name="connsiteY0" fmla="*/ 75436179 h 168122250"/>
              <a:gd name="connsiteX1" fmla="*/ 994077 w 9855200"/>
              <a:gd name="connsiteY1" fmla="*/ 168094816 h 168122250"/>
              <a:gd name="connsiteX2" fmla="*/ 1963687 w 9855200"/>
              <a:gd name="connsiteY2" fmla="*/ 85886523 h 168122250"/>
              <a:gd name="connsiteX3" fmla="*/ 2957185 w 9855200"/>
              <a:gd name="connsiteY3" fmla="*/ 154787835 h 168122250"/>
              <a:gd name="connsiteX4" fmla="*/ 3986287 w 9855200"/>
              <a:gd name="connsiteY4" fmla="*/ 149141462 h 168122250"/>
              <a:gd name="connsiteX5" fmla="*/ 4892573 w 9855200"/>
              <a:gd name="connsiteY5" fmla="*/ 96529899 h 168122250"/>
              <a:gd name="connsiteX6" fmla="*/ 5886687 w 9855200"/>
              <a:gd name="connsiteY6" fmla="*/ 131399686 h 168122250"/>
              <a:gd name="connsiteX7" fmla="*/ 6843447 w 9855200"/>
              <a:gd name="connsiteY7" fmla="*/ 72173162 h 168122250"/>
              <a:gd name="connsiteX8" fmla="*/ 7891512 w 9855200"/>
              <a:gd name="connsiteY8" fmla="*/ 76464052 h 168122250"/>
              <a:gd name="connsiteX9" fmla="*/ 8805333 w 9855200"/>
              <a:gd name="connsiteY9" fmla="*/ 5244587 h 168122250"/>
              <a:gd name="connsiteX10" fmla="*/ 9855200 w 9855200"/>
              <a:gd name="connsiteY10" fmla="*/ 5337720 h 168122250"/>
              <a:gd name="connsiteX11" fmla="*/ 9855200 w 9855200"/>
              <a:gd name="connsiteY11" fmla="*/ 5337720 h 168122250"/>
              <a:gd name="connsiteX0" fmla="*/ 0 w 9855200"/>
              <a:gd name="connsiteY0" fmla="*/ 70098483 h 162784554"/>
              <a:gd name="connsiteX1" fmla="*/ 994077 w 9855200"/>
              <a:gd name="connsiteY1" fmla="*/ 162757120 h 162784554"/>
              <a:gd name="connsiteX2" fmla="*/ 1963687 w 9855200"/>
              <a:gd name="connsiteY2" fmla="*/ 80548827 h 162784554"/>
              <a:gd name="connsiteX3" fmla="*/ 2957185 w 9855200"/>
              <a:gd name="connsiteY3" fmla="*/ 149450139 h 162784554"/>
              <a:gd name="connsiteX4" fmla="*/ 3986287 w 9855200"/>
              <a:gd name="connsiteY4" fmla="*/ 143803766 h 162784554"/>
              <a:gd name="connsiteX5" fmla="*/ 4892573 w 9855200"/>
              <a:gd name="connsiteY5" fmla="*/ 91192203 h 162784554"/>
              <a:gd name="connsiteX6" fmla="*/ 5886687 w 9855200"/>
              <a:gd name="connsiteY6" fmla="*/ 126061990 h 162784554"/>
              <a:gd name="connsiteX7" fmla="*/ 6843447 w 9855200"/>
              <a:gd name="connsiteY7" fmla="*/ 66835466 h 162784554"/>
              <a:gd name="connsiteX8" fmla="*/ 7891512 w 9855200"/>
              <a:gd name="connsiteY8" fmla="*/ 71126356 h 162784554"/>
              <a:gd name="connsiteX9" fmla="*/ 8850564 w 9855200"/>
              <a:gd name="connsiteY9" fmla="*/ 122412852 h 162784554"/>
              <a:gd name="connsiteX10" fmla="*/ 9855200 w 9855200"/>
              <a:gd name="connsiteY10" fmla="*/ 24 h 162784554"/>
              <a:gd name="connsiteX11" fmla="*/ 9855200 w 9855200"/>
              <a:gd name="connsiteY11" fmla="*/ 24 h 162784554"/>
              <a:gd name="connsiteX0" fmla="*/ 0 w 9855200"/>
              <a:gd name="connsiteY0" fmla="*/ 70098483 h 162784554"/>
              <a:gd name="connsiteX1" fmla="*/ 994077 w 9855200"/>
              <a:gd name="connsiteY1" fmla="*/ 162757120 h 162784554"/>
              <a:gd name="connsiteX2" fmla="*/ 1963687 w 9855200"/>
              <a:gd name="connsiteY2" fmla="*/ 80548827 h 162784554"/>
              <a:gd name="connsiteX3" fmla="*/ 2957185 w 9855200"/>
              <a:gd name="connsiteY3" fmla="*/ 149450139 h 162784554"/>
              <a:gd name="connsiteX4" fmla="*/ 3986287 w 9855200"/>
              <a:gd name="connsiteY4" fmla="*/ 143803766 h 162784554"/>
              <a:gd name="connsiteX5" fmla="*/ 4892573 w 9855200"/>
              <a:gd name="connsiteY5" fmla="*/ 91192203 h 162784554"/>
              <a:gd name="connsiteX6" fmla="*/ 5886687 w 9855200"/>
              <a:gd name="connsiteY6" fmla="*/ 126061990 h 162784554"/>
              <a:gd name="connsiteX7" fmla="*/ 6843447 w 9855200"/>
              <a:gd name="connsiteY7" fmla="*/ 66835466 h 162784554"/>
              <a:gd name="connsiteX8" fmla="*/ 7891512 w 9855200"/>
              <a:gd name="connsiteY8" fmla="*/ 71126356 h 162784554"/>
              <a:gd name="connsiteX9" fmla="*/ 8850564 w 9855200"/>
              <a:gd name="connsiteY9" fmla="*/ 122412852 h 162784554"/>
              <a:gd name="connsiteX10" fmla="*/ 9855200 w 9855200"/>
              <a:gd name="connsiteY10" fmla="*/ 24 h 162784554"/>
              <a:gd name="connsiteX11" fmla="*/ 9855200 w 9855200"/>
              <a:gd name="connsiteY11" fmla="*/ 24 h 162784554"/>
              <a:gd name="connsiteX0" fmla="*/ 0 w 9873292"/>
              <a:gd name="connsiteY0" fmla="*/ 70098483 h 162784554"/>
              <a:gd name="connsiteX1" fmla="*/ 994077 w 9873292"/>
              <a:gd name="connsiteY1" fmla="*/ 162757120 h 162784554"/>
              <a:gd name="connsiteX2" fmla="*/ 1963687 w 9873292"/>
              <a:gd name="connsiteY2" fmla="*/ 80548827 h 162784554"/>
              <a:gd name="connsiteX3" fmla="*/ 2957185 w 9873292"/>
              <a:gd name="connsiteY3" fmla="*/ 149450139 h 162784554"/>
              <a:gd name="connsiteX4" fmla="*/ 3986287 w 9873292"/>
              <a:gd name="connsiteY4" fmla="*/ 143803766 h 162784554"/>
              <a:gd name="connsiteX5" fmla="*/ 4892573 w 9873292"/>
              <a:gd name="connsiteY5" fmla="*/ 91192203 h 162784554"/>
              <a:gd name="connsiteX6" fmla="*/ 5886687 w 9873292"/>
              <a:gd name="connsiteY6" fmla="*/ 126061990 h 162784554"/>
              <a:gd name="connsiteX7" fmla="*/ 6843447 w 9873292"/>
              <a:gd name="connsiteY7" fmla="*/ 66835466 h 162784554"/>
              <a:gd name="connsiteX8" fmla="*/ 7891512 w 9873292"/>
              <a:gd name="connsiteY8" fmla="*/ 71126356 h 162784554"/>
              <a:gd name="connsiteX9" fmla="*/ 8850564 w 9873292"/>
              <a:gd name="connsiteY9" fmla="*/ 122412852 h 162784554"/>
              <a:gd name="connsiteX10" fmla="*/ 9855200 w 9873292"/>
              <a:gd name="connsiteY10" fmla="*/ 24 h 162784554"/>
              <a:gd name="connsiteX11" fmla="*/ 9873292 w 9873292"/>
              <a:gd name="connsiteY11" fmla="*/ 45742574 h 162784554"/>
              <a:gd name="connsiteX0" fmla="*/ 0 w 9873292"/>
              <a:gd name="connsiteY0" fmla="*/ 24355909 h 117041980"/>
              <a:gd name="connsiteX1" fmla="*/ 994077 w 9873292"/>
              <a:gd name="connsiteY1" fmla="*/ 117014546 h 117041980"/>
              <a:gd name="connsiteX2" fmla="*/ 1963687 w 9873292"/>
              <a:gd name="connsiteY2" fmla="*/ 34806253 h 117041980"/>
              <a:gd name="connsiteX3" fmla="*/ 2957185 w 9873292"/>
              <a:gd name="connsiteY3" fmla="*/ 103707565 h 117041980"/>
              <a:gd name="connsiteX4" fmla="*/ 3986287 w 9873292"/>
              <a:gd name="connsiteY4" fmla="*/ 98061192 h 117041980"/>
              <a:gd name="connsiteX5" fmla="*/ 4892573 w 9873292"/>
              <a:gd name="connsiteY5" fmla="*/ 45449629 h 117041980"/>
              <a:gd name="connsiteX6" fmla="*/ 5886687 w 9873292"/>
              <a:gd name="connsiteY6" fmla="*/ 80319416 h 117041980"/>
              <a:gd name="connsiteX7" fmla="*/ 6843447 w 9873292"/>
              <a:gd name="connsiteY7" fmla="*/ 21092892 h 117041980"/>
              <a:gd name="connsiteX8" fmla="*/ 7891512 w 9873292"/>
              <a:gd name="connsiteY8" fmla="*/ 25383782 h 117041980"/>
              <a:gd name="connsiteX9" fmla="*/ 8850564 w 9873292"/>
              <a:gd name="connsiteY9" fmla="*/ 76670278 h 117041980"/>
              <a:gd name="connsiteX10" fmla="*/ 9873292 w 9873292"/>
              <a:gd name="connsiteY10" fmla="*/ 0 h 117041980"/>
              <a:gd name="connsiteX0" fmla="*/ 0 w 8850564"/>
              <a:gd name="connsiteY0" fmla="*/ 8378535 h 101064606"/>
              <a:gd name="connsiteX1" fmla="*/ 994077 w 8850564"/>
              <a:gd name="connsiteY1" fmla="*/ 101037172 h 101064606"/>
              <a:gd name="connsiteX2" fmla="*/ 1963687 w 8850564"/>
              <a:gd name="connsiteY2" fmla="*/ 18828879 h 101064606"/>
              <a:gd name="connsiteX3" fmla="*/ 2957185 w 8850564"/>
              <a:gd name="connsiteY3" fmla="*/ 87730191 h 101064606"/>
              <a:gd name="connsiteX4" fmla="*/ 3986287 w 8850564"/>
              <a:gd name="connsiteY4" fmla="*/ 82083818 h 101064606"/>
              <a:gd name="connsiteX5" fmla="*/ 4892573 w 8850564"/>
              <a:gd name="connsiteY5" fmla="*/ 29472255 h 101064606"/>
              <a:gd name="connsiteX6" fmla="*/ 5886687 w 8850564"/>
              <a:gd name="connsiteY6" fmla="*/ 64342042 h 101064606"/>
              <a:gd name="connsiteX7" fmla="*/ 6843447 w 8850564"/>
              <a:gd name="connsiteY7" fmla="*/ 5115518 h 101064606"/>
              <a:gd name="connsiteX8" fmla="*/ 7891512 w 8850564"/>
              <a:gd name="connsiteY8" fmla="*/ 9406408 h 101064606"/>
              <a:gd name="connsiteX9" fmla="*/ 8850564 w 8850564"/>
              <a:gd name="connsiteY9" fmla="*/ 60692904 h 101064606"/>
              <a:gd name="connsiteX0" fmla="*/ 0 w 7891512"/>
              <a:gd name="connsiteY0" fmla="*/ 8378535 h 101064606"/>
              <a:gd name="connsiteX1" fmla="*/ 994077 w 7891512"/>
              <a:gd name="connsiteY1" fmla="*/ 101037172 h 101064606"/>
              <a:gd name="connsiteX2" fmla="*/ 1963687 w 7891512"/>
              <a:gd name="connsiteY2" fmla="*/ 18828879 h 101064606"/>
              <a:gd name="connsiteX3" fmla="*/ 2957185 w 7891512"/>
              <a:gd name="connsiteY3" fmla="*/ 87730191 h 101064606"/>
              <a:gd name="connsiteX4" fmla="*/ 3986287 w 7891512"/>
              <a:gd name="connsiteY4" fmla="*/ 82083818 h 101064606"/>
              <a:gd name="connsiteX5" fmla="*/ 4892573 w 7891512"/>
              <a:gd name="connsiteY5" fmla="*/ 29472255 h 101064606"/>
              <a:gd name="connsiteX6" fmla="*/ 5886687 w 7891512"/>
              <a:gd name="connsiteY6" fmla="*/ 64342042 h 101064606"/>
              <a:gd name="connsiteX7" fmla="*/ 6843447 w 7891512"/>
              <a:gd name="connsiteY7" fmla="*/ 5115518 h 101064606"/>
              <a:gd name="connsiteX8" fmla="*/ 7891512 w 7891512"/>
              <a:gd name="connsiteY8" fmla="*/ 9406408 h 101064606"/>
              <a:gd name="connsiteX0" fmla="*/ 0 w 6843447"/>
              <a:gd name="connsiteY0" fmla="*/ 3263017 h 95949088"/>
              <a:gd name="connsiteX1" fmla="*/ 994077 w 6843447"/>
              <a:gd name="connsiteY1" fmla="*/ 95921654 h 95949088"/>
              <a:gd name="connsiteX2" fmla="*/ 1963687 w 6843447"/>
              <a:gd name="connsiteY2" fmla="*/ 13713361 h 95949088"/>
              <a:gd name="connsiteX3" fmla="*/ 2957185 w 6843447"/>
              <a:gd name="connsiteY3" fmla="*/ 82614673 h 95949088"/>
              <a:gd name="connsiteX4" fmla="*/ 3986287 w 6843447"/>
              <a:gd name="connsiteY4" fmla="*/ 76968300 h 95949088"/>
              <a:gd name="connsiteX5" fmla="*/ 4892573 w 6843447"/>
              <a:gd name="connsiteY5" fmla="*/ 24356737 h 95949088"/>
              <a:gd name="connsiteX6" fmla="*/ 5886687 w 6843447"/>
              <a:gd name="connsiteY6" fmla="*/ 59226524 h 95949088"/>
              <a:gd name="connsiteX7" fmla="*/ 6843447 w 6843447"/>
              <a:gd name="connsiteY7" fmla="*/ 0 h 95949088"/>
              <a:gd name="connsiteX0" fmla="*/ 0 w 6843447"/>
              <a:gd name="connsiteY0" fmla="*/ 3263017 h 95949088"/>
              <a:gd name="connsiteX1" fmla="*/ 994077 w 6843447"/>
              <a:gd name="connsiteY1" fmla="*/ 95921654 h 95949088"/>
              <a:gd name="connsiteX2" fmla="*/ 1963687 w 6843447"/>
              <a:gd name="connsiteY2" fmla="*/ 13713361 h 95949088"/>
              <a:gd name="connsiteX3" fmla="*/ 2957185 w 6843447"/>
              <a:gd name="connsiteY3" fmla="*/ 82614673 h 95949088"/>
              <a:gd name="connsiteX4" fmla="*/ 3986287 w 6843447"/>
              <a:gd name="connsiteY4" fmla="*/ 76968300 h 95949088"/>
              <a:gd name="connsiteX5" fmla="*/ 4892573 w 6843447"/>
              <a:gd name="connsiteY5" fmla="*/ 24356737 h 95949088"/>
              <a:gd name="connsiteX6" fmla="*/ 6843447 w 6843447"/>
              <a:gd name="connsiteY6" fmla="*/ 0 h 95949088"/>
              <a:gd name="connsiteX0" fmla="*/ 0 w 4892573"/>
              <a:gd name="connsiteY0" fmla="*/ 5906 h 92691977"/>
              <a:gd name="connsiteX1" fmla="*/ 994077 w 4892573"/>
              <a:gd name="connsiteY1" fmla="*/ 92664543 h 92691977"/>
              <a:gd name="connsiteX2" fmla="*/ 1963687 w 4892573"/>
              <a:gd name="connsiteY2" fmla="*/ 10456250 h 92691977"/>
              <a:gd name="connsiteX3" fmla="*/ 2957185 w 4892573"/>
              <a:gd name="connsiteY3" fmla="*/ 79357562 h 92691977"/>
              <a:gd name="connsiteX4" fmla="*/ 3986287 w 4892573"/>
              <a:gd name="connsiteY4" fmla="*/ 73711189 h 92691977"/>
              <a:gd name="connsiteX5" fmla="*/ 4892573 w 4892573"/>
              <a:gd name="connsiteY5" fmla="*/ 21099626 h 92691977"/>
              <a:gd name="connsiteX0" fmla="*/ 0 w 8729853"/>
              <a:gd name="connsiteY0" fmla="*/ 5906 h 92691977"/>
              <a:gd name="connsiteX1" fmla="*/ 994077 w 8729853"/>
              <a:gd name="connsiteY1" fmla="*/ 92664543 h 92691977"/>
              <a:gd name="connsiteX2" fmla="*/ 1963687 w 8729853"/>
              <a:gd name="connsiteY2" fmla="*/ 10456250 h 92691977"/>
              <a:gd name="connsiteX3" fmla="*/ 2957185 w 8729853"/>
              <a:gd name="connsiteY3" fmla="*/ 79357562 h 92691977"/>
              <a:gd name="connsiteX4" fmla="*/ 3986287 w 8729853"/>
              <a:gd name="connsiteY4" fmla="*/ 73711189 h 92691977"/>
              <a:gd name="connsiteX5" fmla="*/ 8729853 w 8729853"/>
              <a:gd name="connsiteY5" fmla="*/ 45163088 h 92691977"/>
              <a:gd name="connsiteX0" fmla="*/ 0 w 9285248"/>
              <a:gd name="connsiteY0" fmla="*/ 5906 h 92691977"/>
              <a:gd name="connsiteX1" fmla="*/ 994077 w 9285248"/>
              <a:gd name="connsiteY1" fmla="*/ 92664543 h 92691977"/>
              <a:gd name="connsiteX2" fmla="*/ 1963687 w 9285248"/>
              <a:gd name="connsiteY2" fmla="*/ 10456250 h 92691977"/>
              <a:gd name="connsiteX3" fmla="*/ 2957185 w 9285248"/>
              <a:gd name="connsiteY3" fmla="*/ 79357562 h 92691977"/>
              <a:gd name="connsiteX4" fmla="*/ 3986287 w 9285248"/>
              <a:gd name="connsiteY4" fmla="*/ 73711189 h 92691977"/>
              <a:gd name="connsiteX5" fmla="*/ 9285248 w 9285248"/>
              <a:gd name="connsiteY5" fmla="*/ 51032246 h 92691977"/>
              <a:gd name="connsiteX0" fmla="*/ 0 w 9285248"/>
              <a:gd name="connsiteY0" fmla="*/ 5906 h 92691977"/>
              <a:gd name="connsiteX1" fmla="*/ 994077 w 9285248"/>
              <a:gd name="connsiteY1" fmla="*/ 92664543 h 92691977"/>
              <a:gd name="connsiteX2" fmla="*/ 1963687 w 9285248"/>
              <a:gd name="connsiteY2" fmla="*/ 10456250 h 92691977"/>
              <a:gd name="connsiteX3" fmla="*/ 2957185 w 9285248"/>
              <a:gd name="connsiteY3" fmla="*/ 79357562 h 92691977"/>
              <a:gd name="connsiteX4" fmla="*/ 7278270 w 9285248"/>
              <a:gd name="connsiteY4" fmla="*/ 61972928 h 92691977"/>
              <a:gd name="connsiteX5" fmla="*/ 9285248 w 9285248"/>
              <a:gd name="connsiteY5" fmla="*/ 51032246 h 92691977"/>
              <a:gd name="connsiteX0" fmla="*/ 0 w 9285248"/>
              <a:gd name="connsiteY0" fmla="*/ 5906 h 92692639"/>
              <a:gd name="connsiteX1" fmla="*/ 994077 w 9285248"/>
              <a:gd name="connsiteY1" fmla="*/ 92664543 h 92692639"/>
              <a:gd name="connsiteX2" fmla="*/ 1963687 w 9285248"/>
              <a:gd name="connsiteY2" fmla="*/ 10456250 h 92692639"/>
              <a:gd name="connsiteX3" fmla="*/ 5633183 w 9285248"/>
              <a:gd name="connsiteY3" fmla="*/ 67619300 h 92692639"/>
              <a:gd name="connsiteX4" fmla="*/ 7278270 w 9285248"/>
              <a:gd name="connsiteY4" fmla="*/ 61972928 h 92692639"/>
              <a:gd name="connsiteX5" fmla="*/ 9285248 w 9285248"/>
              <a:gd name="connsiteY5" fmla="*/ 51032246 h 92692639"/>
              <a:gd name="connsiteX0" fmla="*/ 0 w 9285248"/>
              <a:gd name="connsiteY0" fmla="*/ 6624 h 95155868"/>
              <a:gd name="connsiteX1" fmla="*/ 994077 w 9285248"/>
              <a:gd name="connsiteY1" fmla="*/ 92665261 h 95155868"/>
              <a:gd name="connsiteX2" fmla="*/ 3771247 w 9285248"/>
              <a:gd name="connsiteY2" fmla="*/ 68561393 h 95155868"/>
              <a:gd name="connsiteX3" fmla="*/ 5633183 w 9285248"/>
              <a:gd name="connsiteY3" fmla="*/ 67620018 h 95155868"/>
              <a:gd name="connsiteX4" fmla="*/ 7278270 w 9285248"/>
              <a:gd name="connsiteY4" fmla="*/ 61973646 h 95155868"/>
              <a:gd name="connsiteX5" fmla="*/ 9285248 w 9285248"/>
              <a:gd name="connsiteY5" fmla="*/ 51032964 h 95155868"/>
              <a:gd name="connsiteX0" fmla="*/ 0 w 9285248"/>
              <a:gd name="connsiteY0" fmla="*/ 9605 h 72376572"/>
              <a:gd name="connsiteX1" fmla="*/ 2195751 w 9285248"/>
              <a:gd name="connsiteY1" fmla="*/ 66844076 h 72376572"/>
              <a:gd name="connsiteX2" fmla="*/ 3771247 w 9285248"/>
              <a:gd name="connsiteY2" fmla="*/ 68564374 h 72376572"/>
              <a:gd name="connsiteX3" fmla="*/ 5633183 w 9285248"/>
              <a:gd name="connsiteY3" fmla="*/ 67622999 h 72376572"/>
              <a:gd name="connsiteX4" fmla="*/ 7278270 w 9285248"/>
              <a:gd name="connsiteY4" fmla="*/ 61976627 h 72376572"/>
              <a:gd name="connsiteX5" fmla="*/ 9285248 w 9285248"/>
              <a:gd name="connsiteY5" fmla="*/ 51035945 h 72376572"/>
              <a:gd name="connsiteX0" fmla="*/ 0 w 9285248"/>
              <a:gd name="connsiteY0" fmla="*/ 9605 h 72376572"/>
              <a:gd name="connsiteX1" fmla="*/ 2195751 w 9285248"/>
              <a:gd name="connsiteY1" fmla="*/ 66844076 h 72376572"/>
              <a:gd name="connsiteX2" fmla="*/ 3771247 w 9285248"/>
              <a:gd name="connsiteY2" fmla="*/ 68564374 h 72376572"/>
              <a:gd name="connsiteX3" fmla="*/ 5633183 w 9285248"/>
              <a:gd name="connsiteY3" fmla="*/ 67622999 h 72376572"/>
              <a:gd name="connsiteX4" fmla="*/ 7004027 w 9285248"/>
              <a:gd name="connsiteY4" fmla="*/ 38953126 h 72376572"/>
              <a:gd name="connsiteX5" fmla="*/ 9285248 w 9285248"/>
              <a:gd name="connsiteY5" fmla="*/ 51035945 h 72376572"/>
              <a:gd name="connsiteX0" fmla="*/ 0 w 9285248"/>
              <a:gd name="connsiteY0" fmla="*/ 9605 h 74710193"/>
              <a:gd name="connsiteX1" fmla="*/ 2195751 w 9285248"/>
              <a:gd name="connsiteY1" fmla="*/ 66844076 h 74710193"/>
              <a:gd name="connsiteX2" fmla="*/ 3771247 w 9285248"/>
              <a:gd name="connsiteY2" fmla="*/ 68564374 h 74710193"/>
              <a:gd name="connsiteX3" fmla="*/ 5237054 w 9285248"/>
              <a:gd name="connsiteY3" fmla="*/ 23347080 h 74710193"/>
              <a:gd name="connsiteX4" fmla="*/ 7004027 w 9285248"/>
              <a:gd name="connsiteY4" fmla="*/ 38953126 h 74710193"/>
              <a:gd name="connsiteX5" fmla="*/ 9285248 w 9285248"/>
              <a:gd name="connsiteY5" fmla="*/ 51035945 h 74710193"/>
              <a:gd name="connsiteX0" fmla="*/ 0 w 9285248"/>
              <a:gd name="connsiteY0" fmla="*/ 9605 h 74710193"/>
              <a:gd name="connsiteX1" fmla="*/ 2195751 w 9285248"/>
              <a:gd name="connsiteY1" fmla="*/ 66844076 h 74710193"/>
              <a:gd name="connsiteX2" fmla="*/ 3771247 w 9285248"/>
              <a:gd name="connsiteY2" fmla="*/ 68564374 h 74710193"/>
              <a:gd name="connsiteX3" fmla="*/ 5237054 w 9285248"/>
              <a:gd name="connsiteY3" fmla="*/ 23347080 h 74710193"/>
              <a:gd name="connsiteX4" fmla="*/ 7004027 w 9285248"/>
              <a:gd name="connsiteY4" fmla="*/ 38953126 h 74710193"/>
              <a:gd name="connsiteX5" fmla="*/ 9285248 w 9285248"/>
              <a:gd name="connsiteY5" fmla="*/ 51035945 h 74710193"/>
              <a:gd name="connsiteX0" fmla="*/ 0 w 9285248"/>
              <a:gd name="connsiteY0" fmla="*/ 9605 h 74180221"/>
              <a:gd name="connsiteX1" fmla="*/ 2195751 w 9285248"/>
              <a:gd name="connsiteY1" fmla="*/ 66844076 h 74180221"/>
              <a:gd name="connsiteX2" fmla="*/ 3771247 w 9285248"/>
              <a:gd name="connsiteY2" fmla="*/ 68564374 h 74180221"/>
              <a:gd name="connsiteX3" fmla="*/ 5267525 w 9285248"/>
              <a:gd name="connsiteY3" fmla="*/ 32202264 h 74180221"/>
              <a:gd name="connsiteX4" fmla="*/ 7004027 w 9285248"/>
              <a:gd name="connsiteY4" fmla="*/ 38953126 h 74180221"/>
              <a:gd name="connsiteX5" fmla="*/ 9285248 w 9285248"/>
              <a:gd name="connsiteY5" fmla="*/ 51035945 h 74180221"/>
              <a:gd name="connsiteX0" fmla="*/ 0 w 9178598"/>
              <a:gd name="connsiteY0" fmla="*/ 14093796 h 39583672"/>
              <a:gd name="connsiteX1" fmla="*/ 2089101 w 9178598"/>
              <a:gd name="connsiteY1" fmla="*/ 34881268 h 39583672"/>
              <a:gd name="connsiteX2" fmla="*/ 3664597 w 9178598"/>
              <a:gd name="connsiteY2" fmla="*/ 36601566 h 39583672"/>
              <a:gd name="connsiteX3" fmla="*/ 5160875 w 9178598"/>
              <a:gd name="connsiteY3" fmla="*/ 239456 h 39583672"/>
              <a:gd name="connsiteX4" fmla="*/ 6897377 w 9178598"/>
              <a:gd name="connsiteY4" fmla="*/ 6990318 h 39583672"/>
              <a:gd name="connsiteX5" fmla="*/ 9178598 w 9178598"/>
              <a:gd name="connsiteY5" fmla="*/ 19073137 h 39583672"/>
              <a:gd name="connsiteX0" fmla="*/ 0 w 9178598"/>
              <a:gd name="connsiteY0" fmla="*/ 25848838 h 47073603"/>
              <a:gd name="connsiteX1" fmla="*/ 2089101 w 9178598"/>
              <a:gd name="connsiteY1" fmla="*/ 46636310 h 47073603"/>
              <a:gd name="connsiteX2" fmla="*/ 3359883 w 9178598"/>
              <a:gd name="connsiteY2" fmla="*/ 1424151 h 47073603"/>
              <a:gd name="connsiteX3" fmla="*/ 5160875 w 9178598"/>
              <a:gd name="connsiteY3" fmla="*/ 11994498 h 47073603"/>
              <a:gd name="connsiteX4" fmla="*/ 6897377 w 9178598"/>
              <a:gd name="connsiteY4" fmla="*/ 18745360 h 47073603"/>
              <a:gd name="connsiteX5" fmla="*/ 9178598 w 9178598"/>
              <a:gd name="connsiteY5" fmla="*/ 30828179 h 47073603"/>
              <a:gd name="connsiteX0" fmla="*/ 0 w 9178598"/>
              <a:gd name="connsiteY0" fmla="*/ 24983859 h 46208624"/>
              <a:gd name="connsiteX1" fmla="*/ 2089101 w 9178598"/>
              <a:gd name="connsiteY1" fmla="*/ 45771331 h 46208624"/>
              <a:gd name="connsiteX2" fmla="*/ 3359883 w 9178598"/>
              <a:gd name="connsiteY2" fmla="*/ 559172 h 46208624"/>
              <a:gd name="connsiteX3" fmla="*/ 5160875 w 9178598"/>
              <a:gd name="connsiteY3" fmla="*/ 11129519 h 46208624"/>
              <a:gd name="connsiteX4" fmla="*/ 6897377 w 9178598"/>
              <a:gd name="connsiteY4" fmla="*/ 17880381 h 46208624"/>
              <a:gd name="connsiteX5" fmla="*/ 9178598 w 9178598"/>
              <a:gd name="connsiteY5" fmla="*/ 29963200 h 46208624"/>
              <a:gd name="connsiteX0" fmla="*/ 0 w 8856954"/>
              <a:gd name="connsiteY0" fmla="*/ 24983859 h 46208624"/>
              <a:gd name="connsiteX1" fmla="*/ 2089101 w 8856954"/>
              <a:gd name="connsiteY1" fmla="*/ 45771331 h 46208624"/>
              <a:gd name="connsiteX2" fmla="*/ 3359883 w 8856954"/>
              <a:gd name="connsiteY2" fmla="*/ 559172 h 46208624"/>
              <a:gd name="connsiteX3" fmla="*/ 5160875 w 8856954"/>
              <a:gd name="connsiteY3" fmla="*/ 11129519 h 46208624"/>
              <a:gd name="connsiteX4" fmla="*/ 6897377 w 8856954"/>
              <a:gd name="connsiteY4" fmla="*/ 17880381 h 46208624"/>
              <a:gd name="connsiteX5" fmla="*/ 8856954 w 8856954"/>
              <a:gd name="connsiteY5" fmla="*/ 6595365 h 46208624"/>
              <a:gd name="connsiteX0" fmla="*/ 0 w 8856954"/>
              <a:gd name="connsiteY0" fmla="*/ 31474510 h 52699275"/>
              <a:gd name="connsiteX1" fmla="*/ 2089101 w 8856954"/>
              <a:gd name="connsiteY1" fmla="*/ 52261982 h 52699275"/>
              <a:gd name="connsiteX2" fmla="*/ 3359883 w 8856954"/>
              <a:gd name="connsiteY2" fmla="*/ 7049823 h 52699275"/>
              <a:gd name="connsiteX3" fmla="*/ 5160875 w 8856954"/>
              <a:gd name="connsiteY3" fmla="*/ 17620170 h 52699275"/>
              <a:gd name="connsiteX4" fmla="*/ 6897377 w 8856954"/>
              <a:gd name="connsiteY4" fmla="*/ 24371032 h 52699275"/>
              <a:gd name="connsiteX5" fmla="*/ 8856954 w 8856954"/>
              <a:gd name="connsiteY5" fmla="*/ 0 h 52699275"/>
              <a:gd name="connsiteX0" fmla="*/ 0 w 8856954"/>
              <a:gd name="connsiteY0" fmla="*/ 31474510 h 52699275"/>
              <a:gd name="connsiteX1" fmla="*/ 2089101 w 8856954"/>
              <a:gd name="connsiteY1" fmla="*/ 52261982 h 52699275"/>
              <a:gd name="connsiteX2" fmla="*/ 3359883 w 8856954"/>
              <a:gd name="connsiteY2" fmla="*/ 7049823 h 52699275"/>
              <a:gd name="connsiteX3" fmla="*/ 5160875 w 8856954"/>
              <a:gd name="connsiteY3" fmla="*/ 17620170 h 52699275"/>
              <a:gd name="connsiteX4" fmla="*/ 7058198 w 8856954"/>
              <a:gd name="connsiteY4" fmla="*/ 16893357 h 52699275"/>
              <a:gd name="connsiteX5" fmla="*/ 8856954 w 8856954"/>
              <a:gd name="connsiteY5" fmla="*/ 0 h 52699275"/>
              <a:gd name="connsiteX0" fmla="*/ 0 w 8696133"/>
              <a:gd name="connsiteY0" fmla="*/ 13714961 h 52284394"/>
              <a:gd name="connsiteX1" fmla="*/ 1928280 w 8696133"/>
              <a:gd name="connsiteY1" fmla="*/ 52261982 h 52284394"/>
              <a:gd name="connsiteX2" fmla="*/ 3199062 w 8696133"/>
              <a:gd name="connsiteY2" fmla="*/ 7049823 h 52284394"/>
              <a:gd name="connsiteX3" fmla="*/ 5000054 w 8696133"/>
              <a:gd name="connsiteY3" fmla="*/ 17620170 h 52284394"/>
              <a:gd name="connsiteX4" fmla="*/ 6897377 w 8696133"/>
              <a:gd name="connsiteY4" fmla="*/ 16893357 h 52284394"/>
              <a:gd name="connsiteX5" fmla="*/ 8696133 w 8696133"/>
              <a:gd name="connsiteY5" fmla="*/ 0 h 52284394"/>
              <a:gd name="connsiteX0" fmla="*/ 0 w 8696133"/>
              <a:gd name="connsiteY0" fmla="*/ 13714961 h 20186624"/>
              <a:gd name="connsiteX1" fmla="*/ 1852292 w 8696133"/>
              <a:gd name="connsiteY1" fmla="*/ 20084449 h 20186624"/>
              <a:gd name="connsiteX2" fmla="*/ 3199062 w 8696133"/>
              <a:gd name="connsiteY2" fmla="*/ 7049823 h 20186624"/>
              <a:gd name="connsiteX3" fmla="*/ 5000054 w 8696133"/>
              <a:gd name="connsiteY3" fmla="*/ 17620170 h 20186624"/>
              <a:gd name="connsiteX4" fmla="*/ 6897377 w 8696133"/>
              <a:gd name="connsiteY4" fmla="*/ 16893357 h 20186624"/>
              <a:gd name="connsiteX5" fmla="*/ 8696133 w 8696133"/>
              <a:gd name="connsiteY5" fmla="*/ 0 h 20186624"/>
              <a:gd name="connsiteX0" fmla="*/ 0 w 8696133"/>
              <a:gd name="connsiteY0" fmla="*/ 13714961 h 20186624"/>
              <a:gd name="connsiteX1" fmla="*/ 1852292 w 8696133"/>
              <a:gd name="connsiteY1" fmla="*/ 20084449 h 20186624"/>
              <a:gd name="connsiteX2" fmla="*/ 3199062 w 8696133"/>
              <a:gd name="connsiteY2" fmla="*/ 7049823 h 20186624"/>
              <a:gd name="connsiteX3" fmla="*/ 5000054 w 8696133"/>
              <a:gd name="connsiteY3" fmla="*/ 15727375 h 20186624"/>
              <a:gd name="connsiteX4" fmla="*/ 6897377 w 8696133"/>
              <a:gd name="connsiteY4" fmla="*/ 16893357 h 20186624"/>
              <a:gd name="connsiteX5" fmla="*/ 8696133 w 8696133"/>
              <a:gd name="connsiteY5" fmla="*/ 0 h 20186624"/>
              <a:gd name="connsiteX0" fmla="*/ 0 w 8696133"/>
              <a:gd name="connsiteY0" fmla="*/ 13714961 h 20186624"/>
              <a:gd name="connsiteX1" fmla="*/ 1852292 w 8696133"/>
              <a:gd name="connsiteY1" fmla="*/ 20084449 h 20186624"/>
              <a:gd name="connsiteX2" fmla="*/ 3199062 w 8696133"/>
              <a:gd name="connsiteY2" fmla="*/ 7049823 h 20186624"/>
              <a:gd name="connsiteX3" fmla="*/ 5000054 w 8696133"/>
              <a:gd name="connsiteY3" fmla="*/ 15727375 h 20186624"/>
              <a:gd name="connsiteX4" fmla="*/ 6940799 w 8696133"/>
              <a:gd name="connsiteY4" fmla="*/ 14369629 h 20186624"/>
              <a:gd name="connsiteX5" fmla="*/ 8696133 w 8696133"/>
              <a:gd name="connsiteY5" fmla="*/ 0 h 20186624"/>
              <a:gd name="connsiteX0" fmla="*/ 0 w 8772121"/>
              <a:gd name="connsiteY0" fmla="*/ 6710677 h 13182340"/>
              <a:gd name="connsiteX1" fmla="*/ 1852292 w 8772121"/>
              <a:gd name="connsiteY1" fmla="*/ 13080165 h 13182340"/>
              <a:gd name="connsiteX2" fmla="*/ 3199062 w 8772121"/>
              <a:gd name="connsiteY2" fmla="*/ 45539 h 13182340"/>
              <a:gd name="connsiteX3" fmla="*/ 5000054 w 8772121"/>
              <a:gd name="connsiteY3" fmla="*/ 8723091 h 13182340"/>
              <a:gd name="connsiteX4" fmla="*/ 6940799 w 8772121"/>
              <a:gd name="connsiteY4" fmla="*/ 7365345 h 13182340"/>
              <a:gd name="connsiteX5" fmla="*/ 8772121 w 8772121"/>
              <a:gd name="connsiteY5" fmla="*/ 3721561 h 13182340"/>
              <a:gd name="connsiteX0" fmla="*/ 0 w 8772121"/>
              <a:gd name="connsiteY0" fmla="*/ 6710677 h 13182340"/>
              <a:gd name="connsiteX1" fmla="*/ 1852292 w 8772121"/>
              <a:gd name="connsiteY1" fmla="*/ 13080165 h 13182340"/>
              <a:gd name="connsiteX2" fmla="*/ 3199062 w 8772121"/>
              <a:gd name="connsiteY2" fmla="*/ 45539 h 13182340"/>
              <a:gd name="connsiteX3" fmla="*/ 5000054 w 8772121"/>
              <a:gd name="connsiteY3" fmla="*/ 8723091 h 13182340"/>
              <a:gd name="connsiteX4" fmla="*/ 6940799 w 8772121"/>
              <a:gd name="connsiteY4" fmla="*/ 7365345 h 13182340"/>
              <a:gd name="connsiteX5" fmla="*/ 8772121 w 8772121"/>
              <a:gd name="connsiteY5" fmla="*/ 3721561 h 13182340"/>
              <a:gd name="connsiteX0" fmla="*/ 0 w 9087142"/>
              <a:gd name="connsiteY0" fmla="*/ 239909624 h 239909624"/>
              <a:gd name="connsiteX1" fmla="*/ 2167313 w 9087142"/>
              <a:gd name="connsiteY1" fmla="*/ 21122976 h 239909624"/>
              <a:gd name="connsiteX2" fmla="*/ 3514083 w 9087142"/>
              <a:gd name="connsiteY2" fmla="*/ 8088350 h 239909624"/>
              <a:gd name="connsiteX3" fmla="*/ 5315075 w 9087142"/>
              <a:gd name="connsiteY3" fmla="*/ 16765902 h 239909624"/>
              <a:gd name="connsiteX4" fmla="*/ 7255820 w 9087142"/>
              <a:gd name="connsiteY4" fmla="*/ 15408156 h 239909624"/>
              <a:gd name="connsiteX5" fmla="*/ 9087142 w 9087142"/>
              <a:gd name="connsiteY5" fmla="*/ 11764372 h 239909624"/>
              <a:gd name="connsiteX0" fmla="*/ 0 w 9087142"/>
              <a:gd name="connsiteY0" fmla="*/ 255071589 h 267834633"/>
              <a:gd name="connsiteX1" fmla="*/ 2167313 w 9087142"/>
              <a:gd name="connsiteY1" fmla="*/ 36284941 h 267834633"/>
              <a:gd name="connsiteX2" fmla="*/ 3514083 w 9087142"/>
              <a:gd name="connsiteY2" fmla="*/ 23250315 h 267834633"/>
              <a:gd name="connsiteX3" fmla="*/ 5241943 w 9087142"/>
              <a:gd name="connsiteY3" fmla="*/ 267830051 h 267834633"/>
              <a:gd name="connsiteX4" fmla="*/ 7255820 w 9087142"/>
              <a:gd name="connsiteY4" fmla="*/ 30570121 h 267834633"/>
              <a:gd name="connsiteX5" fmla="*/ 9087142 w 9087142"/>
              <a:gd name="connsiteY5" fmla="*/ 26926337 h 267834633"/>
              <a:gd name="connsiteX0" fmla="*/ 0 w 9087142"/>
              <a:gd name="connsiteY0" fmla="*/ 255071589 h 267831542"/>
              <a:gd name="connsiteX1" fmla="*/ 2167313 w 9087142"/>
              <a:gd name="connsiteY1" fmla="*/ 36284941 h 267831542"/>
              <a:gd name="connsiteX2" fmla="*/ 3514083 w 9087142"/>
              <a:gd name="connsiteY2" fmla="*/ 23250315 h 267831542"/>
              <a:gd name="connsiteX3" fmla="*/ 5241943 w 9087142"/>
              <a:gd name="connsiteY3" fmla="*/ 267830051 h 267831542"/>
              <a:gd name="connsiteX4" fmla="*/ 7255820 w 9087142"/>
              <a:gd name="connsiteY4" fmla="*/ 30570121 h 267831542"/>
              <a:gd name="connsiteX5" fmla="*/ 9087142 w 9087142"/>
              <a:gd name="connsiteY5" fmla="*/ 26926337 h 267831542"/>
              <a:gd name="connsiteX0" fmla="*/ 0 w 8620929"/>
              <a:gd name="connsiteY0" fmla="*/ 255071589 h 267831542"/>
              <a:gd name="connsiteX1" fmla="*/ 2167313 w 8620929"/>
              <a:gd name="connsiteY1" fmla="*/ 36284941 h 267831542"/>
              <a:gd name="connsiteX2" fmla="*/ 3514083 w 8620929"/>
              <a:gd name="connsiteY2" fmla="*/ 23250315 h 267831542"/>
              <a:gd name="connsiteX3" fmla="*/ 5241943 w 8620929"/>
              <a:gd name="connsiteY3" fmla="*/ 267830051 h 267831542"/>
              <a:gd name="connsiteX4" fmla="*/ 7255820 w 8620929"/>
              <a:gd name="connsiteY4" fmla="*/ 30570121 h 267831542"/>
              <a:gd name="connsiteX5" fmla="*/ 8620929 w 8620929"/>
              <a:gd name="connsiteY5" fmla="*/ 235731673 h 267831542"/>
              <a:gd name="connsiteX0" fmla="*/ 0 w 8620929"/>
              <a:gd name="connsiteY0" fmla="*/ 255071589 h 267831542"/>
              <a:gd name="connsiteX1" fmla="*/ 2167313 w 8620929"/>
              <a:gd name="connsiteY1" fmla="*/ 36284941 h 267831542"/>
              <a:gd name="connsiteX2" fmla="*/ 3514083 w 8620929"/>
              <a:gd name="connsiteY2" fmla="*/ 23250315 h 267831542"/>
              <a:gd name="connsiteX3" fmla="*/ 5241943 w 8620929"/>
              <a:gd name="connsiteY3" fmla="*/ 267830051 h 267831542"/>
              <a:gd name="connsiteX4" fmla="*/ 7255820 w 8620929"/>
              <a:gd name="connsiteY4" fmla="*/ 30570121 h 267831542"/>
              <a:gd name="connsiteX5" fmla="*/ 8620929 w 8620929"/>
              <a:gd name="connsiteY5" fmla="*/ 235731673 h 267831542"/>
              <a:gd name="connsiteX0" fmla="*/ 0 w 8611788"/>
              <a:gd name="connsiteY0" fmla="*/ 255071589 h 267831542"/>
              <a:gd name="connsiteX1" fmla="*/ 2167313 w 8611788"/>
              <a:gd name="connsiteY1" fmla="*/ 36284941 h 267831542"/>
              <a:gd name="connsiteX2" fmla="*/ 3514083 w 8611788"/>
              <a:gd name="connsiteY2" fmla="*/ 23250315 h 267831542"/>
              <a:gd name="connsiteX3" fmla="*/ 5241943 w 8611788"/>
              <a:gd name="connsiteY3" fmla="*/ 267830051 h 267831542"/>
              <a:gd name="connsiteX4" fmla="*/ 7255820 w 8611788"/>
              <a:gd name="connsiteY4" fmla="*/ 30570121 h 267831542"/>
              <a:gd name="connsiteX5" fmla="*/ 8611788 w 8611788"/>
              <a:gd name="connsiteY5" fmla="*/ 240513453 h 267831542"/>
              <a:gd name="connsiteX0" fmla="*/ 0 w 8611788"/>
              <a:gd name="connsiteY0" fmla="*/ 255071589 h 267831542"/>
              <a:gd name="connsiteX1" fmla="*/ 2167313 w 8611788"/>
              <a:gd name="connsiteY1" fmla="*/ 36284941 h 267831542"/>
              <a:gd name="connsiteX2" fmla="*/ 3514083 w 8611788"/>
              <a:gd name="connsiteY2" fmla="*/ 23250315 h 267831542"/>
              <a:gd name="connsiteX3" fmla="*/ 5241943 w 8611788"/>
              <a:gd name="connsiteY3" fmla="*/ 267830051 h 267831542"/>
              <a:gd name="connsiteX4" fmla="*/ 7255820 w 8611788"/>
              <a:gd name="connsiteY4" fmla="*/ 30570121 h 267831542"/>
              <a:gd name="connsiteX5" fmla="*/ 8611788 w 8611788"/>
              <a:gd name="connsiteY5" fmla="*/ 245295234 h 267831542"/>
              <a:gd name="connsiteX0" fmla="*/ 0 w 8611788"/>
              <a:gd name="connsiteY0" fmla="*/ 255071589 h 280581724"/>
              <a:gd name="connsiteX1" fmla="*/ 2167313 w 8611788"/>
              <a:gd name="connsiteY1" fmla="*/ 36284941 h 280581724"/>
              <a:gd name="connsiteX2" fmla="*/ 3514083 w 8611788"/>
              <a:gd name="connsiteY2" fmla="*/ 23250315 h 280581724"/>
              <a:gd name="connsiteX3" fmla="*/ 5241943 w 8611788"/>
              <a:gd name="connsiteY3" fmla="*/ 267830051 h 280581724"/>
              <a:gd name="connsiteX4" fmla="*/ 8611788 w 8611788"/>
              <a:gd name="connsiteY4" fmla="*/ 245295234 h 280581724"/>
              <a:gd name="connsiteX0" fmla="*/ 0 w 6938904"/>
              <a:gd name="connsiteY0" fmla="*/ 255071589 h 280343979"/>
              <a:gd name="connsiteX1" fmla="*/ 2167313 w 6938904"/>
              <a:gd name="connsiteY1" fmla="*/ 36284941 h 280343979"/>
              <a:gd name="connsiteX2" fmla="*/ 3514083 w 6938904"/>
              <a:gd name="connsiteY2" fmla="*/ 23250315 h 280343979"/>
              <a:gd name="connsiteX3" fmla="*/ 5241943 w 6938904"/>
              <a:gd name="connsiteY3" fmla="*/ 267830051 h 280343979"/>
              <a:gd name="connsiteX4" fmla="*/ 6938904 w 6938904"/>
              <a:gd name="connsiteY4" fmla="*/ 244232641 h 280343979"/>
              <a:gd name="connsiteX0" fmla="*/ 0 w 6938904"/>
              <a:gd name="connsiteY0" fmla="*/ 255071589 h 281434338"/>
              <a:gd name="connsiteX1" fmla="*/ 2167313 w 6938904"/>
              <a:gd name="connsiteY1" fmla="*/ 36284941 h 281434338"/>
              <a:gd name="connsiteX2" fmla="*/ 3514083 w 6938904"/>
              <a:gd name="connsiteY2" fmla="*/ 23250315 h 281434338"/>
              <a:gd name="connsiteX3" fmla="*/ 5241943 w 6938904"/>
              <a:gd name="connsiteY3" fmla="*/ 267830051 h 281434338"/>
              <a:gd name="connsiteX4" fmla="*/ 6938904 w 6938904"/>
              <a:gd name="connsiteY4" fmla="*/ 244232641 h 281434338"/>
              <a:gd name="connsiteX0" fmla="*/ 0 w 6938904"/>
              <a:gd name="connsiteY0" fmla="*/ 255071589 h 267831873"/>
              <a:gd name="connsiteX1" fmla="*/ 2167313 w 6938904"/>
              <a:gd name="connsiteY1" fmla="*/ 36284941 h 267831873"/>
              <a:gd name="connsiteX2" fmla="*/ 3514083 w 6938904"/>
              <a:gd name="connsiteY2" fmla="*/ 23250315 h 267831873"/>
              <a:gd name="connsiteX3" fmla="*/ 5241943 w 6938904"/>
              <a:gd name="connsiteY3" fmla="*/ 267830051 h 267831873"/>
              <a:gd name="connsiteX4" fmla="*/ 6938904 w 6938904"/>
              <a:gd name="connsiteY4" fmla="*/ 244232641 h 267831873"/>
              <a:gd name="connsiteX0" fmla="*/ 0 w 6938904"/>
              <a:gd name="connsiteY0" fmla="*/ 255071589 h 283603353"/>
              <a:gd name="connsiteX1" fmla="*/ 2167313 w 6938904"/>
              <a:gd name="connsiteY1" fmla="*/ 36284941 h 283603353"/>
              <a:gd name="connsiteX2" fmla="*/ 3514083 w 6938904"/>
              <a:gd name="connsiteY2" fmla="*/ 23250315 h 283603353"/>
              <a:gd name="connsiteX3" fmla="*/ 5241943 w 6938904"/>
              <a:gd name="connsiteY3" fmla="*/ 267830051 h 283603353"/>
              <a:gd name="connsiteX4" fmla="*/ 6115042 w 6938904"/>
              <a:gd name="connsiteY4" fmla="*/ 257648420 h 283603353"/>
              <a:gd name="connsiteX5" fmla="*/ 6938904 w 6938904"/>
              <a:gd name="connsiteY5" fmla="*/ 244232641 h 283603353"/>
              <a:gd name="connsiteX0" fmla="*/ 0 w 6938904"/>
              <a:gd name="connsiteY0" fmla="*/ 255071589 h 281418661"/>
              <a:gd name="connsiteX1" fmla="*/ 2167313 w 6938904"/>
              <a:gd name="connsiteY1" fmla="*/ 36284941 h 281418661"/>
              <a:gd name="connsiteX2" fmla="*/ 3514083 w 6938904"/>
              <a:gd name="connsiteY2" fmla="*/ 23250315 h 281418661"/>
              <a:gd name="connsiteX3" fmla="*/ 5241943 w 6938904"/>
              <a:gd name="connsiteY3" fmla="*/ 267830051 h 281418661"/>
              <a:gd name="connsiteX4" fmla="*/ 5507555 w 6938904"/>
              <a:gd name="connsiteY4" fmla="*/ 245772049 h 281418661"/>
              <a:gd name="connsiteX5" fmla="*/ 6938904 w 6938904"/>
              <a:gd name="connsiteY5" fmla="*/ 244232641 h 281418661"/>
              <a:gd name="connsiteX0" fmla="*/ 0 w 6938904"/>
              <a:gd name="connsiteY0" fmla="*/ 255071589 h 281418661"/>
              <a:gd name="connsiteX1" fmla="*/ 2167313 w 6938904"/>
              <a:gd name="connsiteY1" fmla="*/ 36284941 h 281418661"/>
              <a:gd name="connsiteX2" fmla="*/ 3514083 w 6938904"/>
              <a:gd name="connsiteY2" fmla="*/ 23250315 h 281418661"/>
              <a:gd name="connsiteX3" fmla="*/ 4163483 w 6938904"/>
              <a:gd name="connsiteY3" fmla="*/ 267830051 h 281418661"/>
              <a:gd name="connsiteX4" fmla="*/ 5507555 w 6938904"/>
              <a:gd name="connsiteY4" fmla="*/ 245772049 h 281418661"/>
              <a:gd name="connsiteX5" fmla="*/ 6938904 w 6938904"/>
              <a:gd name="connsiteY5" fmla="*/ 244232641 h 281418661"/>
              <a:gd name="connsiteX0" fmla="*/ 0 w 6938904"/>
              <a:gd name="connsiteY0" fmla="*/ 255071589 h 267830051"/>
              <a:gd name="connsiteX1" fmla="*/ 2167313 w 6938904"/>
              <a:gd name="connsiteY1" fmla="*/ 36284941 h 267830051"/>
              <a:gd name="connsiteX2" fmla="*/ 3514083 w 6938904"/>
              <a:gd name="connsiteY2" fmla="*/ 23250315 h 267830051"/>
              <a:gd name="connsiteX3" fmla="*/ 4163483 w 6938904"/>
              <a:gd name="connsiteY3" fmla="*/ 267830051 h 267830051"/>
              <a:gd name="connsiteX4" fmla="*/ 5507555 w 6938904"/>
              <a:gd name="connsiteY4" fmla="*/ 245772049 h 267830051"/>
              <a:gd name="connsiteX5" fmla="*/ 6938904 w 6938904"/>
              <a:gd name="connsiteY5" fmla="*/ 244232641 h 267830051"/>
              <a:gd name="connsiteX0" fmla="*/ 0 w 7054941"/>
              <a:gd name="connsiteY0" fmla="*/ 255071589 h 267830051"/>
              <a:gd name="connsiteX1" fmla="*/ 2167313 w 7054941"/>
              <a:gd name="connsiteY1" fmla="*/ 36284941 h 267830051"/>
              <a:gd name="connsiteX2" fmla="*/ 3514083 w 7054941"/>
              <a:gd name="connsiteY2" fmla="*/ 23250315 h 267830051"/>
              <a:gd name="connsiteX3" fmla="*/ 4163483 w 7054941"/>
              <a:gd name="connsiteY3" fmla="*/ 267830051 h 267830051"/>
              <a:gd name="connsiteX4" fmla="*/ 5507555 w 7054941"/>
              <a:gd name="connsiteY4" fmla="*/ 245772049 h 267830051"/>
              <a:gd name="connsiteX5" fmla="*/ 7054941 w 7054941"/>
              <a:gd name="connsiteY5" fmla="*/ 70045878 h 267830051"/>
              <a:gd name="connsiteX0" fmla="*/ 0 w 6873573"/>
              <a:gd name="connsiteY0" fmla="*/ 255071589 h 267830051"/>
              <a:gd name="connsiteX1" fmla="*/ 2167313 w 6873573"/>
              <a:gd name="connsiteY1" fmla="*/ 36284941 h 267830051"/>
              <a:gd name="connsiteX2" fmla="*/ 3514083 w 6873573"/>
              <a:gd name="connsiteY2" fmla="*/ 23250315 h 267830051"/>
              <a:gd name="connsiteX3" fmla="*/ 4163483 w 6873573"/>
              <a:gd name="connsiteY3" fmla="*/ 267830051 h 267830051"/>
              <a:gd name="connsiteX4" fmla="*/ 5507555 w 6873573"/>
              <a:gd name="connsiteY4" fmla="*/ 245772049 h 267830051"/>
              <a:gd name="connsiteX5" fmla="*/ 6873573 w 6873573"/>
              <a:gd name="connsiteY5" fmla="*/ 266854231 h 267830051"/>
              <a:gd name="connsiteX0" fmla="*/ 0 w 6873573"/>
              <a:gd name="connsiteY0" fmla="*/ 255071589 h 267830051"/>
              <a:gd name="connsiteX1" fmla="*/ 2167313 w 6873573"/>
              <a:gd name="connsiteY1" fmla="*/ 36284941 h 267830051"/>
              <a:gd name="connsiteX2" fmla="*/ 3514083 w 6873573"/>
              <a:gd name="connsiteY2" fmla="*/ 23250315 h 267830051"/>
              <a:gd name="connsiteX3" fmla="*/ 4163483 w 6873573"/>
              <a:gd name="connsiteY3" fmla="*/ 267830051 h 267830051"/>
              <a:gd name="connsiteX4" fmla="*/ 5507555 w 6873573"/>
              <a:gd name="connsiteY4" fmla="*/ 245772049 h 267830051"/>
              <a:gd name="connsiteX5" fmla="*/ 6873573 w 6873573"/>
              <a:gd name="connsiteY5" fmla="*/ 266854231 h 267830051"/>
              <a:gd name="connsiteX0" fmla="*/ 0 w 6873573"/>
              <a:gd name="connsiteY0" fmla="*/ 231822598 h 255938169"/>
              <a:gd name="connsiteX1" fmla="*/ 1401470 w 6873573"/>
              <a:gd name="connsiteY1" fmla="*/ 241012734 h 255938169"/>
              <a:gd name="connsiteX2" fmla="*/ 3514083 w 6873573"/>
              <a:gd name="connsiteY2" fmla="*/ 1324 h 255938169"/>
              <a:gd name="connsiteX3" fmla="*/ 4163483 w 6873573"/>
              <a:gd name="connsiteY3" fmla="*/ 244581060 h 255938169"/>
              <a:gd name="connsiteX4" fmla="*/ 5507555 w 6873573"/>
              <a:gd name="connsiteY4" fmla="*/ 222523058 h 255938169"/>
              <a:gd name="connsiteX5" fmla="*/ 6873573 w 6873573"/>
              <a:gd name="connsiteY5" fmla="*/ 243605240 h 255938169"/>
              <a:gd name="connsiteX0" fmla="*/ 0 w 6873573"/>
              <a:gd name="connsiteY0" fmla="*/ 231822598 h 255938169"/>
              <a:gd name="connsiteX1" fmla="*/ 1401470 w 6873573"/>
              <a:gd name="connsiteY1" fmla="*/ 241012734 h 255938169"/>
              <a:gd name="connsiteX2" fmla="*/ 3514083 w 6873573"/>
              <a:gd name="connsiteY2" fmla="*/ 1324 h 255938169"/>
              <a:gd name="connsiteX3" fmla="*/ 4163483 w 6873573"/>
              <a:gd name="connsiteY3" fmla="*/ 244581060 h 255938169"/>
              <a:gd name="connsiteX4" fmla="*/ 5507555 w 6873573"/>
              <a:gd name="connsiteY4" fmla="*/ 222523058 h 255938169"/>
              <a:gd name="connsiteX5" fmla="*/ 6873573 w 6873573"/>
              <a:gd name="connsiteY5" fmla="*/ 243605240 h 255938169"/>
              <a:gd name="connsiteX0" fmla="*/ 0 w 6873573"/>
              <a:gd name="connsiteY0" fmla="*/ 231822377 h 244580840"/>
              <a:gd name="connsiteX1" fmla="*/ 1401470 w 6873573"/>
              <a:gd name="connsiteY1" fmla="*/ 241012513 h 244580840"/>
              <a:gd name="connsiteX2" fmla="*/ 3514083 w 6873573"/>
              <a:gd name="connsiteY2" fmla="*/ 1103 h 244580840"/>
              <a:gd name="connsiteX3" fmla="*/ 4163483 w 6873573"/>
              <a:gd name="connsiteY3" fmla="*/ 244580839 h 244580840"/>
              <a:gd name="connsiteX4" fmla="*/ 5507555 w 6873573"/>
              <a:gd name="connsiteY4" fmla="*/ 222522837 h 244580840"/>
              <a:gd name="connsiteX5" fmla="*/ 6873573 w 6873573"/>
              <a:gd name="connsiteY5" fmla="*/ 243605019 h 244580840"/>
              <a:gd name="connsiteX0" fmla="*/ 0 w 6873573"/>
              <a:gd name="connsiteY0" fmla="*/ 231821328 h 244579791"/>
              <a:gd name="connsiteX1" fmla="*/ 1384065 w 6873573"/>
              <a:gd name="connsiteY1" fmla="*/ 243955814 h 244579791"/>
              <a:gd name="connsiteX2" fmla="*/ 3514083 w 6873573"/>
              <a:gd name="connsiteY2" fmla="*/ 54 h 244579791"/>
              <a:gd name="connsiteX3" fmla="*/ 4163483 w 6873573"/>
              <a:gd name="connsiteY3" fmla="*/ 244579790 h 244579791"/>
              <a:gd name="connsiteX4" fmla="*/ 5507555 w 6873573"/>
              <a:gd name="connsiteY4" fmla="*/ 222521788 h 244579791"/>
              <a:gd name="connsiteX5" fmla="*/ 6873573 w 6873573"/>
              <a:gd name="connsiteY5" fmla="*/ 243603970 h 244579791"/>
              <a:gd name="connsiteX0" fmla="*/ 0 w 6873573"/>
              <a:gd name="connsiteY0" fmla="*/ 231821328 h 244579791"/>
              <a:gd name="connsiteX1" fmla="*/ 1384065 w 6873573"/>
              <a:gd name="connsiteY1" fmla="*/ 243955814 h 244579791"/>
              <a:gd name="connsiteX2" fmla="*/ 3514083 w 6873573"/>
              <a:gd name="connsiteY2" fmla="*/ 54 h 244579791"/>
              <a:gd name="connsiteX3" fmla="*/ 4163483 w 6873573"/>
              <a:gd name="connsiteY3" fmla="*/ 244579790 h 244579791"/>
              <a:gd name="connsiteX4" fmla="*/ 5507555 w 6873573"/>
              <a:gd name="connsiteY4" fmla="*/ 222521788 h 244579791"/>
              <a:gd name="connsiteX5" fmla="*/ 6873573 w 6873573"/>
              <a:gd name="connsiteY5" fmla="*/ 243603970 h 244579791"/>
              <a:gd name="connsiteX0" fmla="*/ 0 w 6873573"/>
              <a:gd name="connsiteY0" fmla="*/ 231821328 h 244579791"/>
              <a:gd name="connsiteX1" fmla="*/ 1384065 w 6873573"/>
              <a:gd name="connsiteY1" fmla="*/ 243955814 h 244579791"/>
              <a:gd name="connsiteX2" fmla="*/ 3514083 w 6873573"/>
              <a:gd name="connsiteY2" fmla="*/ 54 h 244579791"/>
              <a:gd name="connsiteX3" fmla="*/ 4163483 w 6873573"/>
              <a:gd name="connsiteY3" fmla="*/ 244579790 h 244579791"/>
              <a:gd name="connsiteX4" fmla="*/ 5507555 w 6873573"/>
              <a:gd name="connsiteY4" fmla="*/ 222521788 h 244579791"/>
              <a:gd name="connsiteX5" fmla="*/ 6873573 w 6873573"/>
              <a:gd name="connsiteY5" fmla="*/ 243603970 h 244579791"/>
              <a:gd name="connsiteX0" fmla="*/ 0 w 6873573"/>
              <a:gd name="connsiteY0" fmla="*/ 9736832 h 22495295"/>
              <a:gd name="connsiteX1" fmla="*/ 1384065 w 6873573"/>
              <a:gd name="connsiteY1" fmla="*/ 21871318 h 22495295"/>
              <a:gd name="connsiteX2" fmla="*/ 2742439 w 6873573"/>
              <a:gd name="connsiteY2" fmla="*/ 12622285 h 22495295"/>
              <a:gd name="connsiteX3" fmla="*/ 4163483 w 6873573"/>
              <a:gd name="connsiteY3" fmla="*/ 22495294 h 22495295"/>
              <a:gd name="connsiteX4" fmla="*/ 5507555 w 6873573"/>
              <a:gd name="connsiteY4" fmla="*/ 437292 h 22495295"/>
              <a:gd name="connsiteX5" fmla="*/ 6873573 w 6873573"/>
              <a:gd name="connsiteY5" fmla="*/ 21519474 h 22495295"/>
              <a:gd name="connsiteX0" fmla="*/ 0 w 6873573"/>
              <a:gd name="connsiteY0" fmla="*/ 9736832 h 22495295"/>
              <a:gd name="connsiteX1" fmla="*/ 1384065 w 6873573"/>
              <a:gd name="connsiteY1" fmla="*/ 21871318 h 22495295"/>
              <a:gd name="connsiteX2" fmla="*/ 2742439 w 6873573"/>
              <a:gd name="connsiteY2" fmla="*/ 12622285 h 22495295"/>
              <a:gd name="connsiteX3" fmla="*/ 4163483 w 6873573"/>
              <a:gd name="connsiteY3" fmla="*/ 22495294 h 22495295"/>
              <a:gd name="connsiteX4" fmla="*/ 5507555 w 6873573"/>
              <a:gd name="connsiteY4" fmla="*/ 437292 h 22495295"/>
              <a:gd name="connsiteX5" fmla="*/ 6873573 w 6873573"/>
              <a:gd name="connsiteY5" fmla="*/ 21519474 h 22495295"/>
              <a:gd name="connsiteX0" fmla="*/ 0 w 6873573"/>
              <a:gd name="connsiteY0" fmla="*/ 9736832 h 22495295"/>
              <a:gd name="connsiteX1" fmla="*/ 1384065 w 6873573"/>
              <a:gd name="connsiteY1" fmla="*/ 21871318 h 22495295"/>
              <a:gd name="connsiteX2" fmla="*/ 2742439 w 6873573"/>
              <a:gd name="connsiteY2" fmla="*/ 12622285 h 22495295"/>
              <a:gd name="connsiteX3" fmla="*/ 4163483 w 6873573"/>
              <a:gd name="connsiteY3" fmla="*/ 22495294 h 22495295"/>
              <a:gd name="connsiteX4" fmla="*/ 5507555 w 6873573"/>
              <a:gd name="connsiteY4" fmla="*/ 437292 h 22495295"/>
              <a:gd name="connsiteX5" fmla="*/ 6873573 w 6873573"/>
              <a:gd name="connsiteY5" fmla="*/ 21519474 h 2249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3573" h="22495295">
                <a:moveTo>
                  <a:pt x="0" y="9736832"/>
                </a:moveTo>
                <a:cubicBezTo>
                  <a:pt x="305505" y="8883109"/>
                  <a:pt x="926992" y="21390409"/>
                  <a:pt x="1384065" y="21871318"/>
                </a:cubicBezTo>
                <a:cubicBezTo>
                  <a:pt x="1841138" y="22352227"/>
                  <a:pt x="2279203" y="12518289"/>
                  <a:pt x="2742439" y="12622285"/>
                </a:cubicBezTo>
                <a:cubicBezTo>
                  <a:pt x="3205675" y="12726281"/>
                  <a:pt x="3428295" y="15396178"/>
                  <a:pt x="4163483" y="22495294"/>
                </a:cubicBezTo>
                <a:cubicBezTo>
                  <a:pt x="4672059" y="15540745"/>
                  <a:pt x="5224728" y="4370194"/>
                  <a:pt x="5507555" y="437292"/>
                </a:cubicBezTo>
                <a:cubicBezTo>
                  <a:pt x="5790382" y="-3495610"/>
                  <a:pt x="6730412" y="20362214"/>
                  <a:pt x="6873573" y="21519474"/>
                </a:cubicBezTo>
              </a:path>
            </a:pathLst>
          </a:custGeom>
          <a:noFill/>
          <a:ln w="136525" cap="rnd" algn="ctr">
            <a:solidFill>
              <a:srgbClr val="A1D794">
                <a:alpha val="70000"/>
              </a:srgbClr>
            </a:solidFill>
            <a:round/>
            <a:headEnd/>
            <a:tailEnd/>
          </a:ln>
        </p:spPr>
        <p:txBody>
          <a:bodyPr rtlCol="0" anchor="ctr"/>
          <a:lstStyle/>
          <a:p>
            <a:pPr algn="ctr"/>
            <a:endParaRPr lang="en-US" b="1" dirty="0"/>
          </a:p>
        </p:txBody>
      </p:sp>
      <p:sp>
        <p:nvSpPr>
          <p:cNvPr id="133" name="Freeform: Shape 132">
            <a:extLst>
              <a:ext uri="{FF2B5EF4-FFF2-40B4-BE49-F238E27FC236}">
                <a16:creationId xmlns:a16="http://schemas.microsoft.com/office/drawing/2014/main" id="{2FE0F086-5E4D-4885-950D-A34332CBA1A7}"/>
              </a:ext>
            </a:extLst>
          </p:cNvPr>
          <p:cNvSpPr/>
          <p:nvPr/>
        </p:nvSpPr>
        <p:spPr bwMode="gray">
          <a:xfrm flipV="1">
            <a:off x="1389495" y="3580816"/>
            <a:ext cx="9033625" cy="517049"/>
          </a:xfrm>
          <a:custGeom>
            <a:avLst/>
            <a:gdLst>
              <a:gd name="connsiteX0" fmla="*/ 0 w 9855200"/>
              <a:gd name="connsiteY0" fmla="*/ 2713159 h 3112619"/>
              <a:gd name="connsiteX1" fmla="*/ 939800 w 9855200"/>
              <a:gd name="connsiteY1" fmla="*/ 731959 h 3112619"/>
              <a:gd name="connsiteX2" fmla="*/ 1972733 w 9855200"/>
              <a:gd name="connsiteY2" fmla="*/ 1070626 h 3112619"/>
              <a:gd name="connsiteX3" fmla="*/ 2921000 w 9855200"/>
              <a:gd name="connsiteY3" fmla="*/ 1620959 h 3112619"/>
              <a:gd name="connsiteX4" fmla="*/ 3877733 w 9855200"/>
              <a:gd name="connsiteY4" fmla="*/ 706559 h 3112619"/>
              <a:gd name="connsiteX5" fmla="*/ 4910666 w 9855200"/>
              <a:gd name="connsiteY5" fmla="*/ 672692 h 3112619"/>
              <a:gd name="connsiteX6" fmla="*/ 5808133 w 9855200"/>
              <a:gd name="connsiteY6" fmla="*/ 173159 h 3112619"/>
              <a:gd name="connsiteX7" fmla="*/ 6874933 w 9855200"/>
              <a:gd name="connsiteY7" fmla="*/ 113892 h 3112619"/>
              <a:gd name="connsiteX8" fmla="*/ 7882466 w 9855200"/>
              <a:gd name="connsiteY8" fmla="*/ 1637892 h 3112619"/>
              <a:gd name="connsiteX9" fmla="*/ 8805333 w 9855200"/>
              <a:gd name="connsiteY9" fmla="*/ 2975626 h 3112619"/>
              <a:gd name="connsiteX10" fmla="*/ 9855200 w 9855200"/>
              <a:gd name="connsiteY10" fmla="*/ 3068759 h 3112619"/>
              <a:gd name="connsiteX11" fmla="*/ 9855200 w 9855200"/>
              <a:gd name="connsiteY11" fmla="*/ 3068759 h 3112619"/>
              <a:gd name="connsiteX0" fmla="*/ 0 w 9855200"/>
              <a:gd name="connsiteY0" fmla="*/ 2564478 h 2963938"/>
              <a:gd name="connsiteX1" fmla="*/ 939800 w 9855200"/>
              <a:gd name="connsiteY1" fmla="*/ 583278 h 2963938"/>
              <a:gd name="connsiteX2" fmla="*/ 1972733 w 9855200"/>
              <a:gd name="connsiteY2" fmla="*/ 921945 h 2963938"/>
              <a:gd name="connsiteX3" fmla="*/ 2921000 w 9855200"/>
              <a:gd name="connsiteY3" fmla="*/ 1472278 h 2963938"/>
              <a:gd name="connsiteX4" fmla="*/ 3877733 w 9855200"/>
              <a:gd name="connsiteY4" fmla="*/ 557878 h 2963938"/>
              <a:gd name="connsiteX5" fmla="*/ 4910666 w 9855200"/>
              <a:gd name="connsiteY5" fmla="*/ 524011 h 2963938"/>
              <a:gd name="connsiteX6" fmla="*/ 5808133 w 9855200"/>
              <a:gd name="connsiteY6" fmla="*/ 24478 h 2963938"/>
              <a:gd name="connsiteX7" fmla="*/ 6671569 w 9855200"/>
              <a:gd name="connsiteY7" fmla="*/ 1404544 h 2963938"/>
              <a:gd name="connsiteX8" fmla="*/ 7882466 w 9855200"/>
              <a:gd name="connsiteY8" fmla="*/ 1489211 h 2963938"/>
              <a:gd name="connsiteX9" fmla="*/ 8805333 w 9855200"/>
              <a:gd name="connsiteY9" fmla="*/ 2826945 h 2963938"/>
              <a:gd name="connsiteX10" fmla="*/ 9855200 w 9855200"/>
              <a:gd name="connsiteY10" fmla="*/ 2920078 h 2963938"/>
              <a:gd name="connsiteX11" fmla="*/ 9855200 w 9855200"/>
              <a:gd name="connsiteY11" fmla="*/ 2920078 h 2963938"/>
              <a:gd name="connsiteX0" fmla="*/ 0 w 9855200"/>
              <a:gd name="connsiteY0" fmla="*/ 2124213 h 2523673"/>
              <a:gd name="connsiteX1" fmla="*/ 939800 w 9855200"/>
              <a:gd name="connsiteY1" fmla="*/ 143013 h 2523673"/>
              <a:gd name="connsiteX2" fmla="*/ 1972733 w 9855200"/>
              <a:gd name="connsiteY2" fmla="*/ 481680 h 2523673"/>
              <a:gd name="connsiteX3" fmla="*/ 2921000 w 9855200"/>
              <a:gd name="connsiteY3" fmla="*/ 1032013 h 2523673"/>
              <a:gd name="connsiteX4" fmla="*/ 3877733 w 9855200"/>
              <a:gd name="connsiteY4" fmla="*/ 117613 h 2523673"/>
              <a:gd name="connsiteX5" fmla="*/ 4910666 w 9855200"/>
              <a:gd name="connsiteY5" fmla="*/ 83746 h 2523673"/>
              <a:gd name="connsiteX6" fmla="*/ 5850501 w 9855200"/>
              <a:gd name="connsiteY6" fmla="*/ 778013 h 2523673"/>
              <a:gd name="connsiteX7" fmla="*/ 6671569 w 9855200"/>
              <a:gd name="connsiteY7" fmla="*/ 964279 h 2523673"/>
              <a:gd name="connsiteX8" fmla="*/ 7882466 w 9855200"/>
              <a:gd name="connsiteY8" fmla="*/ 1048946 h 2523673"/>
              <a:gd name="connsiteX9" fmla="*/ 8805333 w 9855200"/>
              <a:gd name="connsiteY9" fmla="*/ 2386680 h 2523673"/>
              <a:gd name="connsiteX10" fmla="*/ 9855200 w 9855200"/>
              <a:gd name="connsiteY10" fmla="*/ 2479813 h 2523673"/>
              <a:gd name="connsiteX11" fmla="*/ 9855200 w 9855200"/>
              <a:gd name="connsiteY11" fmla="*/ 2479813 h 2523673"/>
              <a:gd name="connsiteX0" fmla="*/ 0 w 9855200"/>
              <a:gd name="connsiteY0" fmla="*/ 77721500 h 77721500"/>
              <a:gd name="connsiteX1" fmla="*/ 939800 w 9855200"/>
              <a:gd name="connsiteY1" fmla="*/ 5286241 h 77721500"/>
              <a:gd name="connsiteX2" fmla="*/ 1972733 w 9855200"/>
              <a:gd name="connsiteY2" fmla="*/ 5624908 h 77721500"/>
              <a:gd name="connsiteX3" fmla="*/ 2921000 w 9855200"/>
              <a:gd name="connsiteY3" fmla="*/ 6175241 h 77721500"/>
              <a:gd name="connsiteX4" fmla="*/ 3877733 w 9855200"/>
              <a:gd name="connsiteY4" fmla="*/ 5260841 h 77721500"/>
              <a:gd name="connsiteX5" fmla="*/ 4910666 w 9855200"/>
              <a:gd name="connsiteY5" fmla="*/ 5226974 h 77721500"/>
              <a:gd name="connsiteX6" fmla="*/ 5850501 w 9855200"/>
              <a:gd name="connsiteY6" fmla="*/ 5921241 h 77721500"/>
              <a:gd name="connsiteX7" fmla="*/ 6671569 w 9855200"/>
              <a:gd name="connsiteY7" fmla="*/ 6107507 h 77721500"/>
              <a:gd name="connsiteX8" fmla="*/ 7882466 w 9855200"/>
              <a:gd name="connsiteY8" fmla="*/ 6192174 h 77721500"/>
              <a:gd name="connsiteX9" fmla="*/ 8805333 w 9855200"/>
              <a:gd name="connsiteY9" fmla="*/ 7529908 h 77721500"/>
              <a:gd name="connsiteX10" fmla="*/ 9855200 w 9855200"/>
              <a:gd name="connsiteY10" fmla="*/ 7623041 h 77721500"/>
              <a:gd name="connsiteX11" fmla="*/ 9855200 w 9855200"/>
              <a:gd name="connsiteY11" fmla="*/ 7623041 h 77721500"/>
              <a:gd name="connsiteX0" fmla="*/ 0 w 9855200"/>
              <a:gd name="connsiteY0" fmla="*/ 84105671 h 177717882"/>
              <a:gd name="connsiteX1" fmla="*/ 994077 w 9855200"/>
              <a:gd name="connsiteY1" fmla="*/ 176764308 h 177717882"/>
              <a:gd name="connsiteX2" fmla="*/ 1972733 w 9855200"/>
              <a:gd name="connsiteY2" fmla="*/ 12009079 h 177717882"/>
              <a:gd name="connsiteX3" fmla="*/ 2921000 w 9855200"/>
              <a:gd name="connsiteY3" fmla="*/ 12559412 h 177717882"/>
              <a:gd name="connsiteX4" fmla="*/ 3877733 w 9855200"/>
              <a:gd name="connsiteY4" fmla="*/ 11645012 h 177717882"/>
              <a:gd name="connsiteX5" fmla="*/ 4910666 w 9855200"/>
              <a:gd name="connsiteY5" fmla="*/ 11611145 h 177717882"/>
              <a:gd name="connsiteX6" fmla="*/ 5850501 w 9855200"/>
              <a:gd name="connsiteY6" fmla="*/ 12305412 h 177717882"/>
              <a:gd name="connsiteX7" fmla="*/ 6671569 w 9855200"/>
              <a:gd name="connsiteY7" fmla="*/ 12491678 h 177717882"/>
              <a:gd name="connsiteX8" fmla="*/ 7882466 w 9855200"/>
              <a:gd name="connsiteY8" fmla="*/ 12576345 h 177717882"/>
              <a:gd name="connsiteX9" fmla="*/ 8805333 w 9855200"/>
              <a:gd name="connsiteY9" fmla="*/ 13914079 h 177717882"/>
              <a:gd name="connsiteX10" fmla="*/ 9855200 w 9855200"/>
              <a:gd name="connsiteY10" fmla="*/ 14007212 h 177717882"/>
              <a:gd name="connsiteX11" fmla="*/ 9855200 w 9855200"/>
              <a:gd name="connsiteY11" fmla="*/ 14007212 h 177717882"/>
              <a:gd name="connsiteX0" fmla="*/ 0 w 9855200"/>
              <a:gd name="connsiteY0" fmla="*/ 77896814 h 170594753"/>
              <a:gd name="connsiteX1" fmla="*/ 994077 w 9855200"/>
              <a:gd name="connsiteY1" fmla="*/ 170555451 h 170594753"/>
              <a:gd name="connsiteX2" fmla="*/ 1963687 w 9855200"/>
              <a:gd name="connsiteY2" fmla="*/ 88347158 h 170594753"/>
              <a:gd name="connsiteX3" fmla="*/ 2921000 w 9855200"/>
              <a:gd name="connsiteY3" fmla="*/ 6350555 h 170594753"/>
              <a:gd name="connsiteX4" fmla="*/ 3877733 w 9855200"/>
              <a:gd name="connsiteY4" fmla="*/ 5436155 h 170594753"/>
              <a:gd name="connsiteX5" fmla="*/ 4910666 w 9855200"/>
              <a:gd name="connsiteY5" fmla="*/ 5402288 h 170594753"/>
              <a:gd name="connsiteX6" fmla="*/ 5850501 w 9855200"/>
              <a:gd name="connsiteY6" fmla="*/ 6096555 h 170594753"/>
              <a:gd name="connsiteX7" fmla="*/ 6671569 w 9855200"/>
              <a:gd name="connsiteY7" fmla="*/ 6282821 h 170594753"/>
              <a:gd name="connsiteX8" fmla="*/ 7882466 w 9855200"/>
              <a:gd name="connsiteY8" fmla="*/ 6367488 h 170594753"/>
              <a:gd name="connsiteX9" fmla="*/ 8805333 w 9855200"/>
              <a:gd name="connsiteY9" fmla="*/ 7705222 h 170594753"/>
              <a:gd name="connsiteX10" fmla="*/ 9855200 w 9855200"/>
              <a:gd name="connsiteY10" fmla="*/ 7798355 h 170594753"/>
              <a:gd name="connsiteX11" fmla="*/ 9855200 w 9855200"/>
              <a:gd name="connsiteY11" fmla="*/ 7798355 h 170594753"/>
              <a:gd name="connsiteX0" fmla="*/ 0 w 9855200"/>
              <a:gd name="connsiteY0" fmla="*/ 83741850 h 176427921"/>
              <a:gd name="connsiteX1" fmla="*/ 994077 w 9855200"/>
              <a:gd name="connsiteY1" fmla="*/ 176400487 h 176427921"/>
              <a:gd name="connsiteX2" fmla="*/ 1963687 w 9855200"/>
              <a:gd name="connsiteY2" fmla="*/ 94192194 h 176427921"/>
              <a:gd name="connsiteX3" fmla="*/ 2957185 w 9855200"/>
              <a:gd name="connsiteY3" fmla="*/ 163093506 h 176427921"/>
              <a:gd name="connsiteX4" fmla="*/ 3877733 w 9855200"/>
              <a:gd name="connsiteY4" fmla="*/ 11281191 h 176427921"/>
              <a:gd name="connsiteX5" fmla="*/ 4910666 w 9855200"/>
              <a:gd name="connsiteY5" fmla="*/ 11247324 h 176427921"/>
              <a:gd name="connsiteX6" fmla="*/ 5850501 w 9855200"/>
              <a:gd name="connsiteY6" fmla="*/ 11941591 h 176427921"/>
              <a:gd name="connsiteX7" fmla="*/ 6671569 w 9855200"/>
              <a:gd name="connsiteY7" fmla="*/ 12127857 h 176427921"/>
              <a:gd name="connsiteX8" fmla="*/ 7882466 w 9855200"/>
              <a:gd name="connsiteY8" fmla="*/ 12212524 h 176427921"/>
              <a:gd name="connsiteX9" fmla="*/ 8805333 w 9855200"/>
              <a:gd name="connsiteY9" fmla="*/ 13550258 h 176427921"/>
              <a:gd name="connsiteX10" fmla="*/ 9855200 w 9855200"/>
              <a:gd name="connsiteY10" fmla="*/ 13643391 h 176427921"/>
              <a:gd name="connsiteX11" fmla="*/ 9855200 w 9855200"/>
              <a:gd name="connsiteY11" fmla="*/ 13643391 h 176427921"/>
              <a:gd name="connsiteX0" fmla="*/ 0 w 9855200"/>
              <a:gd name="connsiteY0" fmla="*/ 83127367 h 175813438"/>
              <a:gd name="connsiteX1" fmla="*/ 994077 w 9855200"/>
              <a:gd name="connsiteY1" fmla="*/ 175786004 h 175813438"/>
              <a:gd name="connsiteX2" fmla="*/ 1963687 w 9855200"/>
              <a:gd name="connsiteY2" fmla="*/ 93577711 h 175813438"/>
              <a:gd name="connsiteX3" fmla="*/ 2957185 w 9855200"/>
              <a:gd name="connsiteY3" fmla="*/ 162479023 h 175813438"/>
              <a:gd name="connsiteX4" fmla="*/ 3986287 w 9855200"/>
              <a:gd name="connsiteY4" fmla="*/ 156832650 h 175813438"/>
              <a:gd name="connsiteX5" fmla="*/ 4910666 w 9855200"/>
              <a:gd name="connsiteY5" fmla="*/ 10632841 h 175813438"/>
              <a:gd name="connsiteX6" fmla="*/ 5850501 w 9855200"/>
              <a:gd name="connsiteY6" fmla="*/ 11327108 h 175813438"/>
              <a:gd name="connsiteX7" fmla="*/ 6671569 w 9855200"/>
              <a:gd name="connsiteY7" fmla="*/ 11513374 h 175813438"/>
              <a:gd name="connsiteX8" fmla="*/ 7882466 w 9855200"/>
              <a:gd name="connsiteY8" fmla="*/ 11598041 h 175813438"/>
              <a:gd name="connsiteX9" fmla="*/ 8805333 w 9855200"/>
              <a:gd name="connsiteY9" fmla="*/ 12935775 h 175813438"/>
              <a:gd name="connsiteX10" fmla="*/ 9855200 w 9855200"/>
              <a:gd name="connsiteY10" fmla="*/ 13028908 h 175813438"/>
              <a:gd name="connsiteX11" fmla="*/ 9855200 w 9855200"/>
              <a:gd name="connsiteY11" fmla="*/ 13028908 h 175813438"/>
              <a:gd name="connsiteX0" fmla="*/ 0 w 9855200"/>
              <a:gd name="connsiteY0" fmla="*/ 83127367 h 175813438"/>
              <a:gd name="connsiteX1" fmla="*/ 994077 w 9855200"/>
              <a:gd name="connsiteY1" fmla="*/ 175786004 h 175813438"/>
              <a:gd name="connsiteX2" fmla="*/ 1963687 w 9855200"/>
              <a:gd name="connsiteY2" fmla="*/ 93577711 h 175813438"/>
              <a:gd name="connsiteX3" fmla="*/ 2957185 w 9855200"/>
              <a:gd name="connsiteY3" fmla="*/ 162479023 h 175813438"/>
              <a:gd name="connsiteX4" fmla="*/ 3986287 w 9855200"/>
              <a:gd name="connsiteY4" fmla="*/ 156832650 h 175813438"/>
              <a:gd name="connsiteX5" fmla="*/ 4910666 w 9855200"/>
              <a:gd name="connsiteY5" fmla="*/ 10632841 h 175813438"/>
              <a:gd name="connsiteX6" fmla="*/ 5850501 w 9855200"/>
              <a:gd name="connsiteY6" fmla="*/ 11327108 h 175813438"/>
              <a:gd name="connsiteX7" fmla="*/ 6671569 w 9855200"/>
              <a:gd name="connsiteY7" fmla="*/ 11513374 h 175813438"/>
              <a:gd name="connsiteX8" fmla="*/ 7882466 w 9855200"/>
              <a:gd name="connsiteY8" fmla="*/ 11598041 h 175813438"/>
              <a:gd name="connsiteX9" fmla="*/ 8805333 w 9855200"/>
              <a:gd name="connsiteY9" fmla="*/ 12935775 h 175813438"/>
              <a:gd name="connsiteX10" fmla="*/ 9855200 w 9855200"/>
              <a:gd name="connsiteY10" fmla="*/ 13028908 h 175813438"/>
              <a:gd name="connsiteX11" fmla="*/ 9855200 w 9855200"/>
              <a:gd name="connsiteY11" fmla="*/ 13028908 h 175813438"/>
              <a:gd name="connsiteX0" fmla="*/ 0 w 9855200"/>
              <a:gd name="connsiteY0" fmla="*/ 75280295 h 167966366"/>
              <a:gd name="connsiteX1" fmla="*/ 994077 w 9855200"/>
              <a:gd name="connsiteY1" fmla="*/ 167938932 h 167966366"/>
              <a:gd name="connsiteX2" fmla="*/ 1963687 w 9855200"/>
              <a:gd name="connsiteY2" fmla="*/ 85730639 h 167966366"/>
              <a:gd name="connsiteX3" fmla="*/ 2957185 w 9855200"/>
              <a:gd name="connsiteY3" fmla="*/ 154631951 h 167966366"/>
              <a:gd name="connsiteX4" fmla="*/ 3986287 w 9855200"/>
              <a:gd name="connsiteY4" fmla="*/ 148985578 h 167966366"/>
              <a:gd name="connsiteX5" fmla="*/ 4802111 w 9855200"/>
              <a:gd name="connsiteY5" fmla="*/ 51157218 h 167966366"/>
              <a:gd name="connsiteX6" fmla="*/ 5850501 w 9855200"/>
              <a:gd name="connsiteY6" fmla="*/ 3480036 h 167966366"/>
              <a:gd name="connsiteX7" fmla="*/ 6671569 w 9855200"/>
              <a:gd name="connsiteY7" fmla="*/ 3666302 h 167966366"/>
              <a:gd name="connsiteX8" fmla="*/ 7882466 w 9855200"/>
              <a:gd name="connsiteY8" fmla="*/ 3750969 h 167966366"/>
              <a:gd name="connsiteX9" fmla="*/ 8805333 w 9855200"/>
              <a:gd name="connsiteY9" fmla="*/ 5088703 h 167966366"/>
              <a:gd name="connsiteX10" fmla="*/ 9855200 w 9855200"/>
              <a:gd name="connsiteY10" fmla="*/ 5181836 h 167966366"/>
              <a:gd name="connsiteX11" fmla="*/ 9855200 w 9855200"/>
              <a:gd name="connsiteY11" fmla="*/ 5181836 h 167966366"/>
              <a:gd name="connsiteX0" fmla="*/ 0 w 9855200"/>
              <a:gd name="connsiteY0" fmla="*/ 78629479 h 171315550"/>
              <a:gd name="connsiteX1" fmla="*/ 994077 w 9855200"/>
              <a:gd name="connsiteY1" fmla="*/ 171288116 h 171315550"/>
              <a:gd name="connsiteX2" fmla="*/ 1963687 w 9855200"/>
              <a:gd name="connsiteY2" fmla="*/ 89079823 h 171315550"/>
              <a:gd name="connsiteX3" fmla="*/ 2957185 w 9855200"/>
              <a:gd name="connsiteY3" fmla="*/ 157981135 h 171315550"/>
              <a:gd name="connsiteX4" fmla="*/ 3986287 w 9855200"/>
              <a:gd name="connsiteY4" fmla="*/ 152334762 h 171315550"/>
              <a:gd name="connsiteX5" fmla="*/ 4892573 w 9855200"/>
              <a:gd name="connsiteY5" fmla="*/ 99723199 h 171315550"/>
              <a:gd name="connsiteX6" fmla="*/ 5850501 w 9855200"/>
              <a:gd name="connsiteY6" fmla="*/ 6829220 h 171315550"/>
              <a:gd name="connsiteX7" fmla="*/ 6671569 w 9855200"/>
              <a:gd name="connsiteY7" fmla="*/ 7015486 h 171315550"/>
              <a:gd name="connsiteX8" fmla="*/ 7882466 w 9855200"/>
              <a:gd name="connsiteY8" fmla="*/ 7100153 h 171315550"/>
              <a:gd name="connsiteX9" fmla="*/ 8805333 w 9855200"/>
              <a:gd name="connsiteY9" fmla="*/ 8437887 h 171315550"/>
              <a:gd name="connsiteX10" fmla="*/ 9855200 w 9855200"/>
              <a:gd name="connsiteY10" fmla="*/ 8531020 h 171315550"/>
              <a:gd name="connsiteX11" fmla="*/ 9855200 w 9855200"/>
              <a:gd name="connsiteY11" fmla="*/ 8531020 h 171315550"/>
              <a:gd name="connsiteX0" fmla="*/ 0 w 9855200"/>
              <a:gd name="connsiteY0" fmla="*/ 80893990 h 173580061"/>
              <a:gd name="connsiteX1" fmla="*/ 994077 w 9855200"/>
              <a:gd name="connsiteY1" fmla="*/ 173552627 h 173580061"/>
              <a:gd name="connsiteX2" fmla="*/ 1963687 w 9855200"/>
              <a:gd name="connsiteY2" fmla="*/ 91344334 h 173580061"/>
              <a:gd name="connsiteX3" fmla="*/ 2957185 w 9855200"/>
              <a:gd name="connsiteY3" fmla="*/ 160245646 h 173580061"/>
              <a:gd name="connsiteX4" fmla="*/ 3986287 w 9855200"/>
              <a:gd name="connsiteY4" fmla="*/ 154599273 h 173580061"/>
              <a:gd name="connsiteX5" fmla="*/ 4892573 w 9855200"/>
              <a:gd name="connsiteY5" fmla="*/ 101987710 h 173580061"/>
              <a:gd name="connsiteX6" fmla="*/ 5922871 w 9855200"/>
              <a:gd name="connsiteY6" fmla="*/ 134228614 h 173580061"/>
              <a:gd name="connsiteX7" fmla="*/ 6671569 w 9855200"/>
              <a:gd name="connsiteY7" fmla="*/ 9279997 h 173580061"/>
              <a:gd name="connsiteX8" fmla="*/ 7882466 w 9855200"/>
              <a:gd name="connsiteY8" fmla="*/ 9364664 h 173580061"/>
              <a:gd name="connsiteX9" fmla="*/ 8805333 w 9855200"/>
              <a:gd name="connsiteY9" fmla="*/ 10702398 h 173580061"/>
              <a:gd name="connsiteX10" fmla="*/ 9855200 w 9855200"/>
              <a:gd name="connsiteY10" fmla="*/ 10795531 h 173580061"/>
              <a:gd name="connsiteX11" fmla="*/ 9855200 w 9855200"/>
              <a:gd name="connsiteY11" fmla="*/ 10795531 h 173580061"/>
              <a:gd name="connsiteX0" fmla="*/ 0 w 9855200"/>
              <a:gd name="connsiteY0" fmla="*/ 80893990 h 173580061"/>
              <a:gd name="connsiteX1" fmla="*/ 994077 w 9855200"/>
              <a:gd name="connsiteY1" fmla="*/ 173552627 h 173580061"/>
              <a:gd name="connsiteX2" fmla="*/ 1963687 w 9855200"/>
              <a:gd name="connsiteY2" fmla="*/ 91344334 h 173580061"/>
              <a:gd name="connsiteX3" fmla="*/ 2957185 w 9855200"/>
              <a:gd name="connsiteY3" fmla="*/ 160245646 h 173580061"/>
              <a:gd name="connsiteX4" fmla="*/ 3986287 w 9855200"/>
              <a:gd name="connsiteY4" fmla="*/ 154599273 h 173580061"/>
              <a:gd name="connsiteX5" fmla="*/ 4892573 w 9855200"/>
              <a:gd name="connsiteY5" fmla="*/ 101987710 h 173580061"/>
              <a:gd name="connsiteX6" fmla="*/ 5922871 w 9855200"/>
              <a:gd name="connsiteY6" fmla="*/ 134228614 h 173580061"/>
              <a:gd name="connsiteX7" fmla="*/ 6671569 w 9855200"/>
              <a:gd name="connsiteY7" fmla="*/ 9279997 h 173580061"/>
              <a:gd name="connsiteX8" fmla="*/ 7882466 w 9855200"/>
              <a:gd name="connsiteY8" fmla="*/ 9364664 h 173580061"/>
              <a:gd name="connsiteX9" fmla="*/ 8805333 w 9855200"/>
              <a:gd name="connsiteY9" fmla="*/ 10702398 h 173580061"/>
              <a:gd name="connsiteX10" fmla="*/ 9855200 w 9855200"/>
              <a:gd name="connsiteY10" fmla="*/ 10795531 h 173580061"/>
              <a:gd name="connsiteX11" fmla="*/ 9855200 w 9855200"/>
              <a:gd name="connsiteY11" fmla="*/ 10795531 h 173580061"/>
              <a:gd name="connsiteX0" fmla="*/ 0 w 9855200"/>
              <a:gd name="connsiteY0" fmla="*/ 81088679 h 173774750"/>
              <a:gd name="connsiteX1" fmla="*/ 994077 w 9855200"/>
              <a:gd name="connsiteY1" fmla="*/ 173747316 h 173774750"/>
              <a:gd name="connsiteX2" fmla="*/ 1963687 w 9855200"/>
              <a:gd name="connsiteY2" fmla="*/ 91539023 h 173774750"/>
              <a:gd name="connsiteX3" fmla="*/ 2957185 w 9855200"/>
              <a:gd name="connsiteY3" fmla="*/ 160440335 h 173774750"/>
              <a:gd name="connsiteX4" fmla="*/ 3986287 w 9855200"/>
              <a:gd name="connsiteY4" fmla="*/ 154793962 h 173774750"/>
              <a:gd name="connsiteX5" fmla="*/ 4892573 w 9855200"/>
              <a:gd name="connsiteY5" fmla="*/ 102182399 h 173774750"/>
              <a:gd name="connsiteX6" fmla="*/ 5886687 w 9855200"/>
              <a:gd name="connsiteY6" fmla="*/ 137052186 h 173774750"/>
              <a:gd name="connsiteX7" fmla="*/ 6671569 w 9855200"/>
              <a:gd name="connsiteY7" fmla="*/ 9474686 h 173774750"/>
              <a:gd name="connsiteX8" fmla="*/ 7882466 w 9855200"/>
              <a:gd name="connsiteY8" fmla="*/ 9559353 h 173774750"/>
              <a:gd name="connsiteX9" fmla="*/ 8805333 w 9855200"/>
              <a:gd name="connsiteY9" fmla="*/ 10897087 h 173774750"/>
              <a:gd name="connsiteX10" fmla="*/ 9855200 w 9855200"/>
              <a:gd name="connsiteY10" fmla="*/ 10990220 h 173774750"/>
              <a:gd name="connsiteX11" fmla="*/ 9855200 w 9855200"/>
              <a:gd name="connsiteY11" fmla="*/ 10990220 h 173774750"/>
              <a:gd name="connsiteX0" fmla="*/ 0 w 9855200"/>
              <a:gd name="connsiteY0" fmla="*/ 76209968 h 168896039"/>
              <a:gd name="connsiteX1" fmla="*/ 994077 w 9855200"/>
              <a:gd name="connsiteY1" fmla="*/ 168868605 h 168896039"/>
              <a:gd name="connsiteX2" fmla="*/ 1963687 w 9855200"/>
              <a:gd name="connsiteY2" fmla="*/ 86660312 h 168896039"/>
              <a:gd name="connsiteX3" fmla="*/ 2957185 w 9855200"/>
              <a:gd name="connsiteY3" fmla="*/ 155561624 h 168896039"/>
              <a:gd name="connsiteX4" fmla="*/ 3986287 w 9855200"/>
              <a:gd name="connsiteY4" fmla="*/ 149915251 h 168896039"/>
              <a:gd name="connsiteX5" fmla="*/ 4892573 w 9855200"/>
              <a:gd name="connsiteY5" fmla="*/ 97303688 h 168896039"/>
              <a:gd name="connsiteX6" fmla="*/ 5886687 w 9855200"/>
              <a:gd name="connsiteY6" fmla="*/ 132173475 h 168896039"/>
              <a:gd name="connsiteX7" fmla="*/ 6843447 w 9855200"/>
              <a:gd name="connsiteY7" fmla="*/ 72946951 h 168896039"/>
              <a:gd name="connsiteX8" fmla="*/ 7882466 w 9855200"/>
              <a:gd name="connsiteY8" fmla="*/ 4680642 h 168896039"/>
              <a:gd name="connsiteX9" fmla="*/ 8805333 w 9855200"/>
              <a:gd name="connsiteY9" fmla="*/ 6018376 h 168896039"/>
              <a:gd name="connsiteX10" fmla="*/ 9855200 w 9855200"/>
              <a:gd name="connsiteY10" fmla="*/ 6111509 h 168896039"/>
              <a:gd name="connsiteX11" fmla="*/ 9855200 w 9855200"/>
              <a:gd name="connsiteY11" fmla="*/ 6111509 h 168896039"/>
              <a:gd name="connsiteX0" fmla="*/ 0 w 9855200"/>
              <a:gd name="connsiteY0" fmla="*/ 76209968 h 168896039"/>
              <a:gd name="connsiteX1" fmla="*/ 994077 w 9855200"/>
              <a:gd name="connsiteY1" fmla="*/ 168868605 h 168896039"/>
              <a:gd name="connsiteX2" fmla="*/ 1963687 w 9855200"/>
              <a:gd name="connsiteY2" fmla="*/ 86660312 h 168896039"/>
              <a:gd name="connsiteX3" fmla="*/ 2957185 w 9855200"/>
              <a:gd name="connsiteY3" fmla="*/ 155561624 h 168896039"/>
              <a:gd name="connsiteX4" fmla="*/ 3986287 w 9855200"/>
              <a:gd name="connsiteY4" fmla="*/ 149915251 h 168896039"/>
              <a:gd name="connsiteX5" fmla="*/ 4892573 w 9855200"/>
              <a:gd name="connsiteY5" fmla="*/ 97303688 h 168896039"/>
              <a:gd name="connsiteX6" fmla="*/ 5886687 w 9855200"/>
              <a:gd name="connsiteY6" fmla="*/ 132173475 h 168896039"/>
              <a:gd name="connsiteX7" fmla="*/ 6843447 w 9855200"/>
              <a:gd name="connsiteY7" fmla="*/ 72946951 h 168896039"/>
              <a:gd name="connsiteX8" fmla="*/ 7882466 w 9855200"/>
              <a:gd name="connsiteY8" fmla="*/ 4680642 h 168896039"/>
              <a:gd name="connsiteX9" fmla="*/ 8805333 w 9855200"/>
              <a:gd name="connsiteY9" fmla="*/ 6018376 h 168896039"/>
              <a:gd name="connsiteX10" fmla="*/ 9855200 w 9855200"/>
              <a:gd name="connsiteY10" fmla="*/ 6111509 h 168896039"/>
              <a:gd name="connsiteX11" fmla="*/ 9855200 w 9855200"/>
              <a:gd name="connsiteY11" fmla="*/ 6111509 h 168896039"/>
              <a:gd name="connsiteX0" fmla="*/ 0 w 9855200"/>
              <a:gd name="connsiteY0" fmla="*/ 76020357 h 168706428"/>
              <a:gd name="connsiteX1" fmla="*/ 994077 w 9855200"/>
              <a:gd name="connsiteY1" fmla="*/ 168678994 h 168706428"/>
              <a:gd name="connsiteX2" fmla="*/ 1963687 w 9855200"/>
              <a:gd name="connsiteY2" fmla="*/ 86470701 h 168706428"/>
              <a:gd name="connsiteX3" fmla="*/ 2957185 w 9855200"/>
              <a:gd name="connsiteY3" fmla="*/ 155372013 h 168706428"/>
              <a:gd name="connsiteX4" fmla="*/ 3986287 w 9855200"/>
              <a:gd name="connsiteY4" fmla="*/ 149725640 h 168706428"/>
              <a:gd name="connsiteX5" fmla="*/ 4892573 w 9855200"/>
              <a:gd name="connsiteY5" fmla="*/ 97114077 h 168706428"/>
              <a:gd name="connsiteX6" fmla="*/ 5886687 w 9855200"/>
              <a:gd name="connsiteY6" fmla="*/ 131983864 h 168706428"/>
              <a:gd name="connsiteX7" fmla="*/ 6843447 w 9855200"/>
              <a:gd name="connsiteY7" fmla="*/ 72757340 h 168706428"/>
              <a:gd name="connsiteX8" fmla="*/ 7918651 w 9855200"/>
              <a:gd name="connsiteY8" fmla="*/ 84934880 h 168706428"/>
              <a:gd name="connsiteX9" fmla="*/ 8805333 w 9855200"/>
              <a:gd name="connsiteY9" fmla="*/ 5828765 h 168706428"/>
              <a:gd name="connsiteX10" fmla="*/ 9855200 w 9855200"/>
              <a:gd name="connsiteY10" fmla="*/ 5921898 h 168706428"/>
              <a:gd name="connsiteX11" fmla="*/ 9855200 w 9855200"/>
              <a:gd name="connsiteY11" fmla="*/ 5921898 h 168706428"/>
              <a:gd name="connsiteX0" fmla="*/ 0 w 9855200"/>
              <a:gd name="connsiteY0" fmla="*/ 76020357 h 168706428"/>
              <a:gd name="connsiteX1" fmla="*/ 994077 w 9855200"/>
              <a:gd name="connsiteY1" fmla="*/ 168678994 h 168706428"/>
              <a:gd name="connsiteX2" fmla="*/ 1963687 w 9855200"/>
              <a:gd name="connsiteY2" fmla="*/ 86470701 h 168706428"/>
              <a:gd name="connsiteX3" fmla="*/ 2957185 w 9855200"/>
              <a:gd name="connsiteY3" fmla="*/ 155372013 h 168706428"/>
              <a:gd name="connsiteX4" fmla="*/ 3986287 w 9855200"/>
              <a:gd name="connsiteY4" fmla="*/ 149725640 h 168706428"/>
              <a:gd name="connsiteX5" fmla="*/ 4892573 w 9855200"/>
              <a:gd name="connsiteY5" fmla="*/ 97114077 h 168706428"/>
              <a:gd name="connsiteX6" fmla="*/ 5886687 w 9855200"/>
              <a:gd name="connsiteY6" fmla="*/ 131983864 h 168706428"/>
              <a:gd name="connsiteX7" fmla="*/ 6843447 w 9855200"/>
              <a:gd name="connsiteY7" fmla="*/ 72757340 h 168706428"/>
              <a:gd name="connsiteX8" fmla="*/ 7918651 w 9855200"/>
              <a:gd name="connsiteY8" fmla="*/ 84934880 h 168706428"/>
              <a:gd name="connsiteX9" fmla="*/ 8805333 w 9855200"/>
              <a:gd name="connsiteY9" fmla="*/ 5828765 h 168706428"/>
              <a:gd name="connsiteX10" fmla="*/ 9855200 w 9855200"/>
              <a:gd name="connsiteY10" fmla="*/ 5921898 h 168706428"/>
              <a:gd name="connsiteX11" fmla="*/ 9855200 w 9855200"/>
              <a:gd name="connsiteY11" fmla="*/ 5921898 h 168706428"/>
              <a:gd name="connsiteX0" fmla="*/ 0 w 9855200"/>
              <a:gd name="connsiteY0" fmla="*/ 75163548 h 167849619"/>
              <a:gd name="connsiteX1" fmla="*/ 994077 w 9855200"/>
              <a:gd name="connsiteY1" fmla="*/ 167822185 h 167849619"/>
              <a:gd name="connsiteX2" fmla="*/ 1963687 w 9855200"/>
              <a:gd name="connsiteY2" fmla="*/ 85613892 h 167849619"/>
              <a:gd name="connsiteX3" fmla="*/ 2957185 w 9855200"/>
              <a:gd name="connsiteY3" fmla="*/ 154515204 h 167849619"/>
              <a:gd name="connsiteX4" fmla="*/ 3986287 w 9855200"/>
              <a:gd name="connsiteY4" fmla="*/ 148868831 h 167849619"/>
              <a:gd name="connsiteX5" fmla="*/ 4892573 w 9855200"/>
              <a:gd name="connsiteY5" fmla="*/ 96257268 h 167849619"/>
              <a:gd name="connsiteX6" fmla="*/ 5886687 w 9855200"/>
              <a:gd name="connsiteY6" fmla="*/ 131127055 h 167849619"/>
              <a:gd name="connsiteX7" fmla="*/ 6843447 w 9855200"/>
              <a:gd name="connsiteY7" fmla="*/ 71900531 h 167849619"/>
              <a:gd name="connsiteX8" fmla="*/ 7891512 w 9855200"/>
              <a:gd name="connsiteY8" fmla="*/ 72510984 h 167849619"/>
              <a:gd name="connsiteX9" fmla="*/ 8805333 w 9855200"/>
              <a:gd name="connsiteY9" fmla="*/ 4971956 h 167849619"/>
              <a:gd name="connsiteX10" fmla="*/ 9855200 w 9855200"/>
              <a:gd name="connsiteY10" fmla="*/ 5065089 h 167849619"/>
              <a:gd name="connsiteX11" fmla="*/ 9855200 w 9855200"/>
              <a:gd name="connsiteY11" fmla="*/ 5065089 h 167849619"/>
              <a:gd name="connsiteX0" fmla="*/ 0 w 9855200"/>
              <a:gd name="connsiteY0" fmla="*/ 75436179 h 168122250"/>
              <a:gd name="connsiteX1" fmla="*/ 994077 w 9855200"/>
              <a:gd name="connsiteY1" fmla="*/ 168094816 h 168122250"/>
              <a:gd name="connsiteX2" fmla="*/ 1963687 w 9855200"/>
              <a:gd name="connsiteY2" fmla="*/ 85886523 h 168122250"/>
              <a:gd name="connsiteX3" fmla="*/ 2957185 w 9855200"/>
              <a:gd name="connsiteY3" fmla="*/ 154787835 h 168122250"/>
              <a:gd name="connsiteX4" fmla="*/ 3986287 w 9855200"/>
              <a:gd name="connsiteY4" fmla="*/ 149141462 h 168122250"/>
              <a:gd name="connsiteX5" fmla="*/ 4892573 w 9855200"/>
              <a:gd name="connsiteY5" fmla="*/ 96529899 h 168122250"/>
              <a:gd name="connsiteX6" fmla="*/ 5886687 w 9855200"/>
              <a:gd name="connsiteY6" fmla="*/ 131399686 h 168122250"/>
              <a:gd name="connsiteX7" fmla="*/ 6843447 w 9855200"/>
              <a:gd name="connsiteY7" fmla="*/ 72173162 h 168122250"/>
              <a:gd name="connsiteX8" fmla="*/ 7891512 w 9855200"/>
              <a:gd name="connsiteY8" fmla="*/ 76464052 h 168122250"/>
              <a:gd name="connsiteX9" fmla="*/ 8805333 w 9855200"/>
              <a:gd name="connsiteY9" fmla="*/ 5244587 h 168122250"/>
              <a:gd name="connsiteX10" fmla="*/ 9855200 w 9855200"/>
              <a:gd name="connsiteY10" fmla="*/ 5337720 h 168122250"/>
              <a:gd name="connsiteX11" fmla="*/ 9855200 w 9855200"/>
              <a:gd name="connsiteY11" fmla="*/ 5337720 h 168122250"/>
              <a:gd name="connsiteX0" fmla="*/ 0 w 9855200"/>
              <a:gd name="connsiteY0" fmla="*/ 70098483 h 162784554"/>
              <a:gd name="connsiteX1" fmla="*/ 994077 w 9855200"/>
              <a:gd name="connsiteY1" fmla="*/ 162757120 h 162784554"/>
              <a:gd name="connsiteX2" fmla="*/ 1963687 w 9855200"/>
              <a:gd name="connsiteY2" fmla="*/ 80548827 h 162784554"/>
              <a:gd name="connsiteX3" fmla="*/ 2957185 w 9855200"/>
              <a:gd name="connsiteY3" fmla="*/ 149450139 h 162784554"/>
              <a:gd name="connsiteX4" fmla="*/ 3986287 w 9855200"/>
              <a:gd name="connsiteY4" fmla="*/ 143803766 h 162784554"/>
              <a:gd name="connsiteX5" fmla="*/ 4892573 w 9855200"/>
              <a:gd name="connsiteY5" fmla="*/ 91192203 h 162784554"/>
              <a:gd name="connsiteX6" fmla="*/ 5886687 w 9855200"/>
              <a:gd name="connsiteY6" fmla="*/ 126061990 h 162784554"/>
              <a:gd name="connsiteX7" fmla="*/ 6843447 w 9855200"/>
              <a:gd name="connsiteY7" fmla="*/ 66835466 h 162784554"/>
              <a:gd name="connsiteX8" fmla="*/ 7891512 w 9855200"/>
              <a:gd name="connsiteY8" fmla="*/ 71126356 h 162784554"/>
              <a:gd name="connsiteX9" fmla="*/ 8850564 w 9855200"/>
              <a:gd name="connsiteY9" fmla="*/ 122412852 h 162784554"/>
              <a:gd name="connsiteX10" fmla="*/ 9855200 w 9855200"/>
              <a:gd name="connsiteY10" fmla="*/ 24 h 162784554"/>
              <a:gd name="connsiteX11" fmla="*/ 9855200 w 9855200"/>
              <a:gd name="connsiteY11" fmla="*/ 24 h 162784554"/>
              <a:gd name="connsiteX0" fmla="*/ 0 w 9855200"/>
              <a:gd name="connsiteY0" fmla="*/ 70098483 h 162784554"/>
              <a:gd name="connsiteX1" fmla="*/ 994077 w 9855200"/>
              <a:gd name="connsiteY1" fmla="*/ 162757120 h 162784554"/>
              <a:gd name="connsiteX2" fmla="*/ 1963687 w 9855200"/>
              <a:gd name="connsiteY2" fmla="*/ 80548827 h 162784554"/>
              <a:gd name="connsiteX3" fmla="*/ 2957185 w 9855200"/>
              <a:gd name="connsiteY3" fmla="*/ 149450139 h 162784554"/>
              <a:gd name="connsiteX4" fmla="*/ 3986287 w 9855200"/>
              <a:gd name="connsiteY4" fmla="*/ 143803766 h 162784554"/>
              <a:gd name="connsiteX5" fmla="*/ 4892573 w 9855200"/>
              <a:gd name="connsiteY5" fmla="*/ 91192203 h 162784554"/>
              <a:gd name="connsiteX6" fmla="*/ 5886687 w 9855200"/>
              <a:gd name="connsiteY6" fmla="*/ 126061990 h 162784554"/>
              <a:gd name="connsiteX7" fmla="*/ 6843447 w 9855200"/>
              <a:gd name="connsiteY7" fmla="*/ 66835466 h 162784554"/>
              <a:gd name="connsiteX8" fmla="*/ 7891512 w 9855200"/>
              <a:gd name="connsiteY8" fmla="*/ 71126356 h 162784554"/>
              <a:gd name="connsiteX9" fmla="*/ 8850564 w 9855200"/>
              <a:gd name="connsiteY9" fmla="*/ 122412852 h 162784554"/>
              <a:gd name="connsiteX10" fmla="*/ 9855200 w 9855200"/>
              <a:gd name="connsiteY10" fmla="*/ 24 h 162784554"/>
              <a:gd name="connsiteX11" fmla="*/ 9855200 w 9855200"/>
              <a:gd name="connsiteY11" fmla="*/ 24 h 162784554"/>
              <a:gd name="connsiteX0" fmla="*/ 0 w 9873292"/>
              <a:gd name="connsiteY0" fmla="*/ 70098483 h 162784554"/>
              <a:gd name="connsiteX1" fmla="*/ 994077 w 9873292"/>
              <a:gd name="connsiteY1" fmla="*/ 162757120 h 162784554"/>
              <a:gd name="connsiteX2" fmla="*/ 1963687 w 9873292"/>
              <a:gd name="connsiteY2" fmla="*/ 80548827 h 162784554"/>
              <a:gd name="connsiteX3" fmla="*/ 2957185 w 9873292"/>
              <a:gd name="connsiteY3" fmla="*/ 149450139 h 162784554"/>
              <a:gd name="connsiteX4" fmla="*/ 3986287 w 9873292"/>
              <a:gd name="connsiteY4" fmla="*/ 143803766 h 162784554"/>
              <a:gd name="connsiteX5" fmla="*/ 4892573 w 9873292"/>
              <a:gd name="connsiteY5" fmla="*/ 91192203 h 162784554"/>
              <a:gd name="connsiteX6" fmla="*/ 5886687 w 9873292"/>
              <a:gd name="connsiteY6" fmla="*/ 126061990 h 162784554"/>
              <a:gd name="connsiteX7" fmla="*/ 6843447 w 9873292"/>
              <a:gd name="connsiteY7" fmla="*/ 66835466 h 162784554"/>
              <a:gd name="connsiteX8" fmla="*/ 7891512 w 9873292"/>
              <a:gd name="connsiteY8" fmla="*/ 71126356 h 162784554"/>
              <a:gd name="connsiteX9" fmla="*/ 8850564 w 9873292"/>
              <a:gd name="connsiteY9" fmla="*/ 122412852 h 162784554"/>
              <a:gd name="connsiteX10" fmla="*/ 9855200 w 9873292"/>
              <a:gd name="connsiteY10" fmla="*/ 24 h 162784554"/>
              <a:gd name="connsiteX11" fmla="*/ 9873292 w 9873292"/>
              <a:gd name="connsiteY11" fmla="*/ 45742574 h 162784554"/>
              <a:gd name="connsiteX0" fmla="*/ 0 w 9873292"/>
              <a:gd name="connsiteY0" fmla="*/ 24355909 h 117041980"/>
              <a:gd name="connsiteX1" fmla="*/ 994077 w 9873292"/>
              <a:gd name="connsiteY1" fmla="*/ 117014546 h 117041980"/>
              <a:gd name="connsiteX2" fmla="*/ 1963687 w 9873292"/>
              <a:gd name="connsiteY2" fmla="*/ 34806253 h 117041980"/>
              <a:gd name="connsiteX3" fmla="*/ 2957185 w 9873292"/>
              <a:gd name="connsiteY3" fmla="*/ 103707565 h 117041980"/>
              <a:gd name="connsiteX4" fmla="*/ 3986287 w 9873292"/>
              <a:gd name="connsiteY4" fmla="*/ 98061192 h 117041980"/>
              <a:gd name="connsiteX5" fmla="*/ 4892573 w 9873292"/>
              <a:gd name="connsiteY5" fmla="*/ 45449629 h 117041980"/>
              <a:gd name="connsiteX6" fmla="*/ 5886687 w 9873292"/>
              <a:gd name="connsiteY6" fmla="*/ 80319416 h 117041980"/>
              <a:gd name="connsiteX7" fmla="*/ 6843447 w 9873292"/>
              <a:gd name="connsiteY7" fmla="*/ 21092892 h 117041980"/>
              <a:gd name="connsiteX8" fmla="*/ 7891512 w 9873292"/>
              <a:gd name="connsiteY8" fmla="*/ 25383782 h 117041980"/>
              <a:gd name="connsiteX9" fmla="*/ 8850564 w 9873292"/>
              <a:gd name="connsiteY9" fmla="*/ 76670278 h 117041980"/>
              <a:gd name="connsiteX10" fmla="*/ 9873292 w 9873292"/>
              <a:gd name="connsiteY10" fmla="*/ 0 h 117041980"/>
              <a:gd name="connsiteX0" fmla="*/ 0 w 8850564"/>
              <a:gd name="connsiteY0" fmla="*/ 8378535 h 101064606"/>
              <a:gd name="connsiteX1" fmla="*/ 994077 w 8850564"/>
              <a:gd name="connsiteY1" fmla="*/ 101037172 h 101064606"/>
              <a:gd name="connsiteX2" fmla="*/ 1963687 w 8850564"/>
              <a:gd name="connsiteY2" fmla="*/ 18828879 h 101064606"/>
              <a:gd name="connsiteX3" fmla="*/ 2957185 w 8850564"/>
              <a:gd name="connsiteY3" fmla="*/ 87730191 h 101064606"/>
              <a:gd name="connsiteX4" fmla="*/ 3986287 w 8850564"/>
              <a:gd name="connsiteY4" fmla="*/ 82083818 h 101064606"/>
              <a:gd name="connsiteX5" fmla="*/ 4892573 w 8850564"/>
              <a:gd name="connsiteY5" fmla="*/ 29472255 h 101064606"/>
              <a:gd name="connsiteX6" fmla="*/ 5886687 w 8850564"/>
              <a:gd name="connsiteY6" fmla="*/ 64342042 h 101064606"/>
              <a:gd name="connsiteX7" fmla="*/ 6843447 w 8850564"/>
              <a:gd name="connsiteY7" fmla="*/ 5115518 h 101064606"/>
              <a:gd name="connsiteX8" fmla="*/ 7891512 w 8850564"/>
              <a:gd name="connsiteY8" fmla="*/ 9406408 h 101064606"/>
              <a:gd name="connsiteX9" fmla="*/ 8850564 w 8850564"/>
              <a:gd name="connsiteY9" fmla="*/ 60692904 h 101064606"/>
              <a:gd name="connsiteX0" fmla="*/ 0 w 7891512"/>
              <a:gd name="connsiteY0" fmla="*/ 8378535 h 101064606"/>
              <a:gd name="connsiteX1" fmla="*/ 994077 w 7891512"/>
              <a:gd name="connsiteY1" fmla="*/ 101037172 h 101064606"/>
              <a:gd name="connsiteX2" fmla="*/ 1963687 w 7891512"/>
              <a:gd name="connsiteY2" fmla="*/ 18828879 h 101064606"/>
              <a:gd name="connsiteX3" fmla="*/ 2957185 w 7891512"/>
              <a:gd name="connsiteY3" fmla="*/ 87730191 h 101064606"/>
              <a:gd name="connsiteX4" fmla="*/ 3986287 w 7891512"/>
              <a:gd name="connsiteY4" fmla="*/ 82083818 h 101064606"/>
              <a:gd name="connsiteX5" fmla="*/ 4892573 w 7891512"/>
              <a:gd name="connsiteY5" fmla="*/ 29472255 h 101064606"/>
              <a:gd name="connsiteX6" fmla="*/ 5886687 w 7891512"/>
              <a:gd name="connsiteY6" fmla="*/ 64342042 h 101064606"/>
              <a:gd name="connsiteX7" fmla="*/ 6843447 w 7891512"/>
              <a:gd name="connsiteY7" fmla="*/ 5115518 h 101064606"/>
              <a:gd name="connsiteX8" fmla="*/ 7891512 w 7891512"/>
              <a:gd name="connsiteY8" fmla="*/ 9406408 h 101064606"/>
              <a:gd name="connsiteX0" fmla="*/ 0 w 6843447"/>
              <a:gd name="connsiteY0" fmla="*/ 3263017 h 95949088"/>
              <a:gd name="connsiteX1" fmla="*/ 994077 w 6843447"/>
              <a:gd name="connsiteY1" fmla="*/ 95921654 h 95949088"/>
              <a:gd name="connsiteX2" fmla="*/ 1963687 w 6843447"/>
              <a:gd name="connsiteY2" fmla="*/ 13713361 h 95949088"/>
              <a:gd name="connsiteX3" fmla="*/ 2957185 w 6843447"/>
              <a:gd name="connsiteY3" fmla="*/ 82614673 h 95949088"/>
              <a:gd name="connsiteX4" fmla="*/ 3986287 w 6843447"/>
              <a:gd name="connsiteY4" fmla="*/ 76968300 h 95949088"/>
              <a:gd name="connsiteX5" fmla="*/ 4892573 w 6843447"/>
              <a:gd name="connsiteY5" fmla="*/ 24356737 h 95949088"/>
              <a:gd name="connsiteX6" fmla="*/ 5886687 w 6843447"/>
              <a:gd name="connsiteY6" fmla="*/ 59226524 h 95949088"/>
              <a:gd name="connsiteX7" fmla="*/ 6843447 w 6843447"/>
              <a:gd name="connsiteY7" fmla="*/ 0 h 95949088"/>
              <a:gd name="connsiteX0" fmla="*/ 0 w 6843447"/>
              <a:gd name="connsiteY0" fmla="*/ 3263017 h 95949088"/>
              <a:gd name="connsiteX1" fmla="*/ 994077 w 6843447"/>
              <a:gd name="connsiteY1" fmla="*/ 95921654 h 95949088"/>
              <a:gd name="connsiteX2" fmla="*/ 1963687 w 6843447"/>
              <a:gd name="connsiteY2" fmla="*/ 13713361 h 95949088"/>
              <a:gd name="connsiteX3" fmla="*/ 2957185 w 6843447"/>
              <a:gd name="connsiteY3" fmla="*/ 82614673 h 95949088"/>
              <a:gd name="connsiteX4" fmla="*/ 3986287 w 6843447"/>
              <a:gd name="connsiteY4" fmla="*/ 76968300 h 95949088"/>
              <a:gd name="connsiteX5" fmla="*/ 4892573 w 6843447"/>
              <a:gd name="connsiteY5" fmla="*/ 24356737 h 95949088"/>
              <a:gd name="connsiteX6" fmla="*/ 6843447 w 6843447"/>
              <a:gd name="connsiteY6" fmla="*/ 0 h 95949088"/>
              <a:gd name="connsiteX0" fmla="*/ 0 w 4892573"/>
              <a:gd name="connsiteY0" fmla="*/ 5906 h 92691977"/>
              <a:gd name="connsiteX1" fmla="*/ 994077 w 4892573"/>
              <a:gd name="connsiteY1" fmla="*/ 92664543 h 92691977"/>
              <a:gd name="connsiteX2" fmla="*/ 1963687 w 4892573"/>
              <a:gd name="connsiteY2" fmla="*/ 10456250 h 92691977"/>
              <a:gd name="connsiteX3" fmla="*/ 2957185 w 4892573"/>
              <a:gd name="connsiteY3" fmla="*/ 79357562 h 92691977"/>
              <a:gd name="connsiteX4" fmla="*/ 3986287 w 4892573"/>
              <a:gd name="connsiteY4" fmla="*/ 73711189 h 92691977"/>
              <a:gd name="connsiteX5" fmla="*/ 4892573 w 4892573"/>
              <a:gd name="connsiteY5" fmla="*/ 21099626 h 92691977"/>
              <a:gd name="connsiteX0" fmla="*/ 0 w 8729853"/>
              <a:gd name="connsiteY0" fmla="*/ 5906 h 92691977"/>
              <a:gd name="connsiteX1" fmla="*/ 994077 w 8729853"/>
              <a:gd name="connsiteY1" fmla="*/ 92664543 h 92691977"/>
              <a:gd name="connsiteX2" fmla="*/ 1963687 w 8729853"/>
              <a:gd name="connsiteY2" fmla="*/ 10456250 h 92691977"/>
              <a:gd name="connsiteX3" fmla="*/ 2957185 w 8729853"/>
              <a:gd name="connsiteY3" fmla="*/ 79357562 h 92691977"/>
              <a:gd name="connsiteX4" fmla="*/ 3986287 w 8729853"/>
              <a:gd name="connsiteY4" fmla="*/ 73711189 h 92691977"/>
              <a:gd name="connsiteX5" fmla="*/ 8729853 w 8729853"/>
              <a:gd name="connsiteY5" fmla="*/ 45163088 h 92691977"/>
              <a:gd name="connsiteX0" fmla="*/ 0 w 9285248"/>
              <a:gd name="connsiteY0" fmla="*/ 5906 h 92691977"/>
              <a:gd name="connsiteX1" fmla="*/ 994077 w 9285248"/>
              <a:gd name="connsiteY1" fmla="*/ 92664543 h 92691977"/>
              <a:gd name="connsiteX2" fmla="*/ 1963687 w 9285248"/>
              <a:gd name="connsiteY2" fmla="*/ 10456250 h 92691977"/>
              <a:gd name="connsiteX3" fmla="*/ 2957185 w 9285248"/>
              <a:gd name="connsiteY3" fmla="*/ 79357562 h 92691977"/>
              <a:gd name="connsiteX4" fmla="*/ 3986287 w 9285248"/>
              <a:gd name="connsiteY4" fmla="*/ 73711189 h 92691977"/>
              <a:gd name="connsiteX5" fmla="*/ 9285248 w 9285248"/>
              <a:gd name="connsiteY5" fmla="*/ 51032246 h 92691977"/>
              <a:gd name="connsiteX0" fmla="*/ 0 w 9285248"/>
              <a:gd name="connsiteY0" fmla="*/ 5906 h 92691977"/>
              <a:gd name="connsiteX1" fmla="*/ 994077 w 9285248"/>
              <a:gd name="connsiteY1" fmla="*/ 92664543 h 92691977"/>
              <a:gd name="connsiteX2" fmla="*/ 1963687 w 9285248"/>
              <a:gd name="connsiteY2" fmla="*/ 10456250 h 92691977"/>
              <a:gd name="connsiteX3" fmla="*/ 2957185 w 9285248"/>
              <a:gd name="connsiteY3" fmla="*/ 79357562 h 92691977"/>
              <a:gd name="connsiteX4" fmla="*/ 7278270 w 9285248"/>
              <a:gd name="connsiteY4" fmla="*/ 61972928 h 92691977"/>
              <a:gd name="connsiteX5" fmla="*/ 9285248 w 9285248"/>
              <a:gd name="connsiteY5" fmla="*/ 51032246 h 92691977"/>
              <a:gd name="connsiteX0" fmla="*/ 0 w 9285248"/>
              <a:gd name="connsiteY0" fmla="*/ 5906 h 92692639"/>
              <a:gd name="connsiteX1" fmla="*/ 994077 w 9285248"/>
              <a:gd name="connsiteY1" fmla="*/ 92664543 h 92692639"/>
              <a:gd name="connsiteX2" fmla="*/ 1963687 w 9285248"/>
              <a:gd name="connsiteY2" fmla="*/ 10456250 h 92692639"/>
              <a:gd name="connsiteX3" fmla="*/ 5633183 w 9285248"/>
              <a:gd name="connsiteY3" fmla="*/ 67619300 h 92692639"/>
              <a:gd name="connsiteX4" fmla="*/ 7278270 w 9285248"/>
              <a:gd name="connsiteY4" fmla="*/ 61972928 h 92692639"/>
              <a:gd name="connsiteX5" fmla="*/ 9285248 w 9285248"/>
              <a:gd name="connsiteY5" fmla="*/ 51032246 h 92692639"/>
              <a:gd name="connsiteX0" fmla="*/ 0 w 9285248"/>
              <a:gd name="connsiteY0" fmla="*/ 6624 h 95155868"/>
              <a:gd name="connsiteX1" fmla="*/ 994077 w 9285248"/>
              <a:gd name="connsiteY1" fmla="*/ 92665261 h 95155868"/>
              <a:gd name="connsiteX2" fmla="*/ 3771247 w 9285248"/>
              <a:gd name="connsiteY2" fmla="*/ 68561393 h 95155868"/>
              <a:gd name="connsiteX3" fmla="*/ 5633183 w 9285248"/>
              <a:gd name="connsiteY3" fmla="*/ 67620018 h 95155868"/>
              <a:gd name="connsiteX4" fmla="*/ 7278270 w 9285248"/>
              <a:gd name="connsiteY4" fmla="*/ 61973646 h 95155868"/>
              <a:gd name="connsiteX5" fmla="*/ 9285248 w 9285248"/>
              <a:gd name="connsiteY5" fmla="*/ 51032964 h 95155868"/>
              <a:gd name="connsiteX0" fmla="*/ 0 w 9285248"/>
              <a:gd name="connsiteY0" fmla="*/ 9605 h 72376572"/>
              <a:gd name="connsiteX1" fmla="*/ 2195751 w 9285248"/>
              <a:gd name="connsiteY1" fmla="*/ 66844076 h 72376572"/>
              <a:gd name="connsiteX2" fmla="*/ 3771247 w 9285248"/>
              <a:gd name="connsiteY2" fmla="*/ 68564374 h 72376572"/>
              <a:gd name="connsiteX3" fmla="*/ 5633183 w 9285248"/>
              <a:gd name="connsiteY3" fmla="*/ 67622999 h 72376572"/>
              <a:gd name="connsiteX4" fmla="*/ 7278270 w 9285248"/>
              <a:gd name="connsiteY4" fmla="*/ 61976627 h 72376572"/>
              <a:gd name="connsiteX5" fmla="*/ 9285248 w 9285248"/>
              <a:gd name="connsiteY5" fmla="*/ 51035945 h 72376572"/>
              <a:gd name="connsiteX0" fmla="*/ 0 w 9285248"/>
              <a:gd name="connsiteY0" fmla="*/ 9605 h 72376572"/>
              <a:gd name="connsiteX1" fmla="*/ 2195751 w 9285248"/>
              <a:gd name="connsiteY1" fmla="*/ 66844076 h 72376572"/>
              <a:gd name="connsiteX2" fmla="*/ 3771247 w 9285248"/>
              <a:gd name="connsiteY2" fmla="*/ 68564374 h 72376572"/>
              <a:gd name="connsiteX3" fmla="*/ 5633183 w 9285248"/>
              <a:gd name="connsiteY3" fmla="*/ 67622999 h 72376572"/>
              <a:gd name="connsiteX4" fmla="*/ 7004027 w 9285248"/>
              <a:gd name="connsiteY4" fmla="*/ 38953126 h 72376572"/>
              <a:gd name="connsiteX5" fmla="*/ 9285248 w 9285248"/>
              <a:gd name="connsiteY5" fmla="*/ 51035945 h 72376572"/>
              <a:gd name="connsiteX0" fmla="*/ 0 w 9285248"/>
              <a:gd name="connsiteY0" fmla="*/ 9605 h 74710193"/>
              <a:gd name="connsiteX1" fmla="*/ 2195751 w 9285248"/>
              <a:gd name="connsiteY1" fmla="*/ 66844076 h 74710193"/>
              <a:gd name="connsiteX2" fmla="*/ 3771247 w 9285248"/>
              <a:gd name="connsiteY2" fmla="*/ 68564374 h 74710193"/>
              <a:gd name="connsiteX3" fmla="*/ 5237054 w 9285248"/>
              <a:gd name="connsiteY3" fmla="*/ 23347080 h 74710193"/>
              <a:gd name="connsiteX4" fmla="*/ 7004027 w 9285248"/>
              <a:gd name="connsiteY4" fmla="*/ 38953126 h 74710193"/>
              <a:gd name="connsiteX5" fmla="*/ 9285248 w 9285248"/>
              <a:gd name="connsiteY5" fmla="*/ 51035945 h 74710193"/>
              <a:gd name="connsiteX0" fmla="*/ 0 w 9285248"/>
              <a:gd name="connsiteY0" fmla="*/ 9605 h 74710193"/>
              <a:gd name="connsiteX1" fmla="*/ 2195751 w 9285248"/>
              <a:gd name="connsiteY1" fmla="*/ 66844076 h 74710193"/>
              <a:gd name="connsiteX2" fmla="*/ 3771247 w 9285248"/>
              <a:gd name="connsiteY2" fmla="*/ 68564374 h 74710193"/>
              <a:gd name="connsiteX3" fmla="*/ 5237054 w 9285248"/>
              <a:gd name="connsiteY3" fmla="*/ 23347080 h 74710193"/>
              <a:gd name="connsiteX4" fmla="*/ 7004027 w 9285248"/>
              <a:gd name="connsiteY4" fmla="*/ 38953126 h 74710193"/>
              <a:gd name="connsiteX5" fmla="*/ 9285248 w 9285248"/>
              <a:gd name="connsiteY5" fmla="*/ 51035945 h 74710193"/>
              <a:gd name="connsiteX0" fmla="*/ 0 w 9285248"/>
              <a:gd name="connsiteY0" fmla="*/ 9605 h 74180221"/>
              <a:gd name="connsiteX1" fmla="*/ 2195751 w 9285248"/>
              <a:gd name="connsiteY1" fmla="*/ 66844076 h 74180221"/>
              <a:gd name="connsiteX2" fmla="*/ 3771247 w 9285248"/>
              <a:gd name="connsiteY2" fmla="*/ 68564374 h 74180221"/>
              <a:gd name="connsiteX3" fmla="*/ 5267525 w 9285248"/>
              <a:gd name="connsiteY3" fmla="*/ 32202264 h 74180221"/>
              <a:gd name="connsiteX4" fmla="*/ 7004027 w 9285248"/>
              <a:gd name="connsiteY4" fmla="*/ 38953126 h 74180221"/>
              <a:gd name="connsiteX5" fmla="*/ 9285248 w 9285248"/>
              <a:gd name="connsiteY5" fmla="*/ 51035945 h 74180221"/>
              <a:gd name="connsiteX0" fmla="*/ 0 w 9178598"/>
              <a:gd name="connsiteY0" fmla="*/ 14093796 h 39583672"/>
              <a:gd name="connsiteX1" fmla="*/ 2089101 w 9178598"/>
              <a:gd name="connsiteY1" fmla="*/ 34881268 h 39583672"/>
              <a:gd name="connsiteX2" fmla="*/ 3664597 w 9178598"/>
              <a:gd name="connsiteY2" fmla="*/ 36601566 h 39583672"/>
              <a:gd name="connsiteX3" fmla="*/ 5160875 w 9178598"/>
              <a:gd name="connsiteY3" fmla="*/ 239456 h 39583672"/>
              <a:gd name="connsiteX4" fmla="*/ 6897377 w 9178598"/>
              <a:gd name="connsiteY4" fmla="*/ 6990318 h 39583672"/>
              <a:gd name="connsiteX5" fmla="*/ 9178598 w 9178598"/>
              <a:gd name="connsiteY5" fmla="*/ 19073137 h 39583672"/>
              <a:gd name="connsiteX0" fmla="*/ 0 w 9178598"/>
              <a:gd name="connsiteY0" fmla="*/ 25848838 h 47073603"/>
              <a:gd name="connsiteX1" fmla="*/ 2089101 w 9178598"/>
              <a:gd name="connsiteY1" fmla="*/ 46636310 h 47073603"/>
              <a:gd name="connsiteX2" fmla="*/ 3359883 w 9178598"/>
              <a:gd name="connsiteY2" fmla="*/ 1424151 h 47073603"/>
              <a:gd name="connsiteX3" fmla="*/ 5160875 w 9178598"/>
              <a:gd name="connsiteY3" fmla="*/ 11994498 h 47073603"/>
              <a:gd name="connsiteX4" fmla="*/ 6897377 w 9178598"/>
              <a:gd name="connsiteY4" fmla="*/ 18745360 h 47073603"/>
              <a:gd name="connsiteX5" fmla="*/ 9178598 w 9178598"/>
              <a:gd name="connsiteY5" fmla="*/ 30828179 h 47073603"/>
              <a:gd name="connsiteX0" fmla="*/ 0 w 9178598"/>
              <a:gd name="connsiteY0" fmla="*/ 24983859 h 46208624"/>
              <a:gd name="connsiteX1" fmla="*/ 2089101 w 9178598"/>
              <a:gd name="connsiteY1" fmla="*/ 45771331 h 46208624"/>
              <a:gd name="connsiteX2" fmla="*/ 3359883 w 9178598"/>
              <a:gd name="connsiteY2" fmla="*/ 559172 h 46208624"/>
              <a:gd name="connsiteX3" fmla="*/ 5160875 w 9178598"/>
              <a:gd name="connsiteY3" fmla="*/ 11129519 h 46208624"/>
              <a:gd name="connsiteX4" fmla="*/ 6897377 w 9178598"/>
              <a:gd name="connsiteY4" fmla="*/ 17880381 h 46208624"/>
              <a:gd name="connsiteX5" fmla="*/ 9178598 w 9178598"/>
              <a:gd name="connsiteY5" fmla="*/ 29963200 h 46208624"/>
              <a:gd name="connsiteX0" fmla="*/ 0 w 8856954"/>
              <a:gd name="connsiteY0" fmla="*/ 24983859 h 46208624"/>
              <a:gd name="connsiteX1" fmla="*/ 2089101 w 8856954"/>
              <a:gd name="connsiteY1" fmla="*/ 45771331 h 46208624"/>
              <a:gd name="connsiteX2" fmla="*/ 3359883 w 8856954"/>
              <a:gd name="connsiteY2" fmla="*/ 559172 h 46208624"/>
              <a:gd name="connsiteX3" fmla="*/ 5160875 w 8856954"/>
              <a:gd name="connsiteY3" fmla="*/ 11129519 h 46208624"/>
              <a:gd name="connsiteX4" fmla="*/ 6897377 w 8856954"/>
              <a:gd name="connsiteY4" fmla="*/ 17880381 h 46208624"/>
              <a:gd name="connsiteX5" fmla="*/ 8856954 w 8856954"/>
              <a:gd name="connsiteY5" fmla="*/ 6595365 h 46208624"/>
              <a:gd name="connsiteX0" fmla="*/ 0 w 8856954"/>
              <a:gd name="connsiteY0" fmla="*/ 31474510 h 52699275"/>
              <a:gd name="connsiteX1" fmla="*/ 2089101 w 8856954"/>
              <a:gd name="connsiteY1" fmla="*/ 52261982 h 52699275"/>
              <a:gd name="connsiteX2" fmla="*/ 3359883 w 8856954"/>
              <a:gd name="connsiteY2" fmla="*/ 7049823 h 52699275"/>
              <a:gd name="connsiteX3" fmla="*/ 5160875 w 8856954"/>
              <a:gd name="connsiteY3" fmla="*/ 17620170 h 52699275"/>
              <a:gd name="connsiteX4" fmla="*/ 6897377 w 8856954"/>
              <a:gd name="connsiteY4" fmla="*/ 24371032 h 52699275"/>
              <a:gd name="connsiteX5" fmla="*/ 8856954 w 8856954"/>
              <a:gd name="connsiteY5" fmla="*/ 0 h 52699275"/>
              <a:gd name="connsiteX0" fmla="*/ 0 w 8856954"/>
              <a:gd name="connsiteY0" fmla="*/ 31474510 h 52699275"/>
              <a:gd name="connsiteX1" fmla="*/ 2089101 w 8856954"/>
              <a:gd name="connsiteY1" fmla="*/ 52261982 h 52699275"/>
              <a:gd name="connsiteX2" fmla="*/ 3359883 w 8856954"/>
              <a:gd name="connsiteY2" fmla="*/ 7049823 h 52699275"/>
              <a:gd name="connsiteX3" fmla="*/ 5160875 w 8856954"/>
              <a:gd name="connsiteY3" fmla="*/ 17620170 h 52699275"/>
              <a:gd name="connsiteX4" fmla="*/ 7058198 w 8856954"/>
              <a:gd name="connsiteY4" fmla="*/ 16893357 h 52699275"/>
              <a:gd name="connsiteX5" fmla="*/ 8856954 w 8856954"/>
              <a:gd name="connsiteY5" fmla="*/ 0 h 52699275"/>
              <a:gd name="connsiteX0" fmla="*/ 0 w 8696133"/>
              <a:gd name="connsiteY0" fmla="*/ 13714961 h 52284394"/>
              <a:gd name="connsiteX1" fmla="*/ 1928280 w 8696133"/>
              <a:gd name="connsiteY1" fmla="*/ 52261982 h 52284394"/>
              <a:gd name="connsiteX2" fmla="*/ 3199062 w 8696133"/>
              <a:gd name="connsiteY2" fmla="*/ 7049823 h 52284394"/>
              <a:gd name="connsiteX3" fmla="*/ 5000054 w 8696133"/>
              <a:gd name="connsiteY3" fmla="*/ 17620170 h 52284394"/>
              <a:gd name="connsiteX4" fmla="*/ 6897377 w 8696133"/>
              <a:gd name="connsiteY4" fmla="*/ 16893357 h 52284394"/>
              <a:gd name="connsiteX5" fmla="*/ 8696133 w 8696133"/>
              <a:gd name="connsiteY5" fmla="*/ 0 h 52284394"/>
              <a:gd name="connsiteX0" fmla="*/ 0 w 8696133"/>
              <a:gd name="connsiteY0" fmla="*/ 13714961 h 20186624"/>
              <a:gd name="connsiteX1" fmla="*/ 1852292 w 8696133"/>
              <a:gd name="connsiteY1" fmla="*/ 20084449 h 20186624"/>
              <a:gd name="connsiteX2" fmla="*/ 3199062 w 8696133"/>
              <a:gd name="connsiteY2" fmla="*/ 7049823 h 20186624"/>
              <a:gd name="connsiteX3" fmla="*/ 5000054 w 8696133"/>
              <a:gd name="connsiteY3" fmla="*/ 17620170 h 20186624"/>
              <a:gd name="connsiteX4" fmla="*/ 6897377 w 8696133"/>
              <a:gd name="connsiteY4" fmla="*/ 16893357 h 20186624"/>
              <a:gd name="connsiteX5" fmla="*/ 8696133 w 8696133"/>
              <a:gd name="connsiteY5" fmla="*/ 0 h 20186624"/>
              <a:gd name="connsiteX0" fmla="*/ 0 w 8696133"/>
              <a:gd name="connsiteY0" fmla="*/ 13714961 h 20186624"/>
              <a:gd name="connsiteX1" fmla="*/ 1852292 w 8696133"/>
              <a:gd name="connsiteY1" fmla="*/ 20084449 h 20186624"/>
              <a:gd name="connsiteX2" fmla="*/ 3199062 w 8696133"/>
              <a:gd name="connsiteY2" fmla="*/ 7049823 h 20186624"/>
              <a:gd name="connsiteX3" fmla="*/ 5000054 w 8696133"/>
              <a:gd name="connsiteY3" fmla="*/ 15727375 h 20186624"/>
              <a:gd name="connsiteX4" fmla="*/ 6897377 w 8696133"/>
              <a:gd name="connsiteY4" fmla="*/ 16893357 h 20186624"/>
              <a:gd name="connsiteX5" fmla="*/ 8696133 w 8696133"/>
              <a:gd name="connsiteY5" fmla="*/ 0 h 20186624"/>
              <a:gd name="connsiteX0" fmla="*/ 0 w 8696133"/>
              <a:gd name="connsiteY0" fmla="*/ 13714961 h 20186624"/>
              <a:gd name="connsiteX1" fmla="*/ 1852292 w 8696133"/>
              <a:gd name="connsiteY1" fmla="*/ 20084449 h 20186624"/>
              <a:gd name="connsiteX2" fmla="*/ 3199062 w 8696133"/>
              <a:gd name="connsiteY2" fmla="*/ 7049823 h 20186624"/>
              <a:gd name="connsiteX3" fmla="*/ 5000054 w 8696133"/>
              <a:gd name="connsiteY3" fmla="*/ 15727375 h 20186624"/>
              <a:gd name="connsiteX4" fmla="*/ 6940799 w 8696133"/>
              <a:gd name="connsiteY4" fmla="*/ 14369629 h 20186624"/>
              <a:gd name="connsiteX5" fmla="*/ 8696133 w 8696133"/>
              <a:gd name="connsiteY5" fmla="*/ 0 h 20186624"/>
              <a:gd name="connsiteX0" fmla="*/ 0 w 8772121"/>
              <a:gd name="connsiteY0" fmla="*/ 6710677 h 13182340"/>
              <a:gd name="connsiteX1" fmla="*/ 1852292 w 8772121"/>
              <a:gd name="connsiteY1" fmla="*/ 13080165 h 13182340"/>
              <a:gd name="connsiteX2" fmla="*/ 3199062 w 8772121"/>
              <a:gd name="connsiteY2" fmla="*/ 45539 h 13182340"/>
              <a:gd name="connsiteX3" fmla="*/ 5000054 w 8772121"/>
              <a:gd name="connsiteY3" fmla="*/ 8723091 h 13182340"/>
              <a:gd name="connsiteX4" fmla="*/ 6940799 w 8772121"/>
              <a:gd name="connsiteY4" fmla="*/ 7365345 h 13182340"/>
              <a:gd name="connsiteX5" fmla="*/ 8772121 w 8772121"/>
              <a:gd name="connsiteY5" fmla="*/ 3721561 h 13182340"/>
              <a:gd name="connsiteX0" fmla="*/ 0 w 8772121"/>
              <a:gd name="connsiteY0" fmla="*/ 6710677 h 13182340"/>
              <a:gd name="connsiteX1" fmla="*/ 1852292 w 8772121"/>
              <a:gd name="connsiteY1" fmla="*/ 13080165 h 13182340"/>
              <a:gd name="connsiteX2" fmla="*/ 3199062 w 8772121"/>
              <a:gd name="connsiteY2" fmla="*/ 45539 h 13182340"/>
              <a:gd name="connsiteX3" fmla="*/ 5000054 w 8772121"/>
              <a:gd name="connsiteY3" fmla="*/ 8723091 h 13182340"/>
              <a:gd name="connsiteX4" fmla="*/ 6940799 w 8772121"/>
              <a:gd name="connsiteY4" fmla="*/ 7365345 h 13182340"/>
              <a:gd name="connsiteX5" fmla="*/ 8772121 w 8772121"/>
              <a:gd name="connsiteY5" fmla="*/ 3721561 h 13182340"/>
              <a:gd name="connsiteX0" fmla="*/ 0 w 9095656"/>
              <a:gd name="connsiteY0" fmla="*/ 135458794 h 135458794"/>
              <a:gd name="connsiteX1" fmla="*/ 2175827 w 9095656"/>
              <a:gd name="connsiteY1" fmla="*/ 14652196 h 135458794"/>
              <a:gd name="connsiteX2" fmla="*/ 3522597 w 9095656"/>
              <a:gd name="connsiteY2" fmla="*/ 1617570 h 135458794"/>
              <a:gd name="connsiteX3" fmla="*/ 5323589 w 9095656"/>
              <a:gd name="connsiteY3" fmla="*/ 10295122 h 135458794"/>
              <a:gd name="connsiteX4" fmla="*/ 7264334 w 9095656"/>
              <a:gd name="connsiteY4" fmla="*/ 8937376 h 135458794"/>
              <a:gd name="connsiteX5" fmla="*/ 9095656 w 9095656"/>
              <a:gd name="connsiteY5" fmla="*/ 5293592 h 135458794"/>
              <a:gd name="connsiteX0" fmla="*/ 0 w 9104170"/>
              <a:gd name="connsiteY0" fmla="*/ 141219761 h 141219761"/>
              <a:gd name="connsiteX1" fmla="*/ 2184341 w 9104170"/>
              <a:gd name="connsiteY1" fmla="*/ 14969815 h 141219761"/>
              <a:gd name="connsiteX2" fmla="*/ 3531111 w 9104170"/>
              <a:gd name="connsiteY2" fmla="*/ 1935189 h 141219761"/>
              <a:gd name="connsiteX3" fmla="*/ 5332103 w 9104170"/>
              <a:gd name="connsiteY3" fmla="*/ 10612741 h 141219761"/>
              <a:gd name="connsiteX4" fmla="*/ 7272848 w 9104170"/>
              <a:gd name="connsiteY4" fmla="*/ 9254995 h 141219761"/>
              <a:gd name="connsiteX5" fmla="*/ 9104170 w 9104170"/>
              <a:gd name="connsiteY5" fmla="*/ 5611211 h 141219761"/>
              <a:gd name="connsiteX0" fmla="*/ 0 w 9104170"/>
              <a:gd name="connsiteY0" fmla="*/ 150574612 h 151209574"/>
              <a:gd name="connsiteX1" fmla="*/ 2184341 w 9104170"/>
              <a:gd name="connsiteY1" fmla="*/ 24324666 h 151209574"/>
              <a:gd name="connsiteX2" fmla="*/ 3531111 w 9104170"/>
              <a:gd name="connsiteY2" fmla="*/ 11290040 h 151209574"/>
              <a:gd name="connsiteX3" fmla="*/ 5240690 w 9104170"/>
              <a:gd name="connsiteY3" fmla="*/ 151201459 h 151209574"/>
              <a:gd name="connsiteX4" fmla="*/ 7272848 w 9104170"/>
              <a:gd name="connsiteY4" fmla="*/ 18609846 h 151209574"/>
              <a:gd name="connsiteX5" fmla="*/ 9104170 w 9104170"/>
              <a:gd name="connsiteY5" fmla="*/ 14966062 h 151209574"/>
              <a:gd name="connsiteX0" fmla="*/ 0 w 9104170"/>
              <a:gd name="connsiteY0" fmla="*/ 150574612 h 151202343"/>
              <a:gd name="connsiteX1" fmla="*/ 2184341 w 9104170"/>
              <a:gd name="connsiteY1" fmla="*/ 24324666 h 151202343"/>
              <a:gd name="connsiteX2" fmla="*/ 3531111 w 9104170"/>
              <a:gd name="connsiteY2" fmla="*/ 11290040 h 151202343"/>
              <a:gd name="connsiteX3" fmla="*/ 5240690 w 9104170"/>
              <a:gd name="connsiteY3" fmla="*/ 151201459 h 151202343"/>
              <a:gd name="connsiteX4" fmla="*/ 7272848 w 9104170"/>
              <a:gd name="connsiteY4" fmla="*/ 18609846 h 151202343"/>
              <a:gd name="connsiteX5" fmla="*/ 9104170 w 9104170"/>
              <a:gd name="connsiteY5" fmla="*/ 14966062 h 151202343"/>
              <a:gd name="connsiteX0" fmla="*/ 0 w 9104170"/>
              <a:gd name="connsiteY0" fmla="*/ 150146042 h 150146042"/>
              <a:gd name="connsiteX1" fmla="*/ 2184341 w 9104170"/>
              <a:gd name="connsiteY1" fmla="*/ 23896096 h 150146042"/>
              <a:gd name="connsiteX2" fmla="*/ 3531111 w 9104170"/>
              <a:gd name="connsiteY2" fmla="*/ 10861470 h 150146042"/>
              <a:gd name="connsiteX3" fmla="*/ 5204124 w 9104170"/>
              <a:gd name="connsiteY3" fmla="*/ 144928516 h 150146042"/>
              <a:gd name="connsiteX4" fmla="*/ 7272848 w 9104170"/>
              <a:gd name="connsiteY4" fmla="*/ 18181276 h 150146042"/>
              <a:gd name="connsiteX5" fmla="*/ 9104170 w 9104170"/>
              <a:gd name="connsiteY5" fmla="*/ 14537492 h 150146042"/>
              <a:gd name="connsiteX0" fmla="*/ 0 w 8647098"/>
              <a:gd name="connsiteY0" fmla="*/ 150146042 h 150146042"/>
              <a:gd name="connsiteX1" fmla="*/ 2184341 w 8647098"/>
              <a:gd name="connsiteY1" fmla="*/ 23896096 h 150146042"/>
              <a:gd name="connsiteX2" fmla="*/ 3531111 w 8647098"/>
              <a:gd name="connsiteY2" fmla="*/ 10861470 h 150146042"/>
              <a:gd name="connsiteX3" fmla="*/ 5204124 w 8647098"/>
              <a:gd name="connsiteY3" fmla="*/ 144928516 h 150146042"/>
              <a:gd name="connsiteX4" fmla="*/ 7272848 w 8647098"/>
              <a:gd name="connsiteY4" fmla="*/ 18181276 h 150146042"/>
              <a:gd name="connsiteX5" fmla="*/ 8647098 w 8647098"/>
              <a:gd name="connsiteY5" fmla="*/ 135676446 h 150146042"/>
              <a:gd name="connsiteX0" fmla="*/ 0 w 8647098"/>
              <a:gd name="connsiteY0" fmla="*/ 150146042 h 150146042"/>
              <a:gd name="connsiteX1" fmla="*/ 2184341 w 8647098"/>
              <a:gd name="connsiteY1" fmla="*/ 23896096 h 150146042"/>
              <a:gd name="connsiteX2" fmla="*/ 3531111 w 8647098"/>
              <a:gd name="connsiteY2" fmla="*/ 10861470 h 150146042"/>
              <a:gd name="connsiteX3" fmla="*/ 5204124 w 8647098"/>
              <a:gd name="connsiteY3" fmla="*/ 144928516 h 150146042"/>
              <a:gd name="connsiteX4" fmla="*/ 7272848 w 8647098"/>
              <a:gd name="connsiteY4" fmla="*/ 18181276 h 150146042"/>
              <a:gd name="connsiteX5" fmla="*/ 8647098 w 8647098"/>
              <a:gd name="connsiteY5" fmla="*/ 135676446 h 150146042"/>
              <a:gd name="connsiteX0" fmla="*/ 0 w 8647098"/>
              <a:gd name="connsiteY0" fmla="*/ 150146042 h 152556942"/>
              <a:gd name="connsiteX1" fmla="*/ 2184341 w 8647098"/>
              <a:gd name="connsiteY1" fmla="*/ 23896096 h 152556942"/>
              <a:gd name="connsiteX2" fmla="*/ 3531111 w 8647098"/>
              <a:gd name="connsiteY2" fmla="*/ 10861470 h 152556942"/>
              <a:gd name="connsiteX3" fmla="*/ 5204124 w 8647098"/>
              <a:gd name="connsiteY3" fmla="*/ 144928516 h 152556942"/>
              <a:gd name="connsiteX4" fmla="*/ 8647098 w 8647098"/>
              <a:gd name="connsiteY4" fmla="*/ 135676446 h 152556942"/>
              <a:gd name="connsiteX0" fmla="*/ 0 w 6937648"/>
              <a:gd name="connsiteY0" fmla="*/ 150146042 h 152556942"/>
              <a:gd name="connsiteX1" fmla="*/ 2184341 w 6937648"/>
              <a:gd name="connsiteY1" fmla="*/ 23896096 h 152556942"/>
              <a:gd name="connsiteX2" fmla="*/ 3531111 w 6937648"/>
              <a:gd name="connsiteY2" fmla="*/ 10861470 h 152556942"/>
              <a:gd name="connsiteX3" fmla="*/ 5204124 w 6937648"/>
              <a:gd name="connsiteY3" fmla="*/ 144928516 h 152556942"/>
              <a:gd name="connsiteX4" fmla="*/ 6937648 w 6937648"/>
              <a:gd name="connsiteY4" fmla="*/ 135676446 h 152556942"/>
              <a:gd name="connsiteX0" fmla="*/ 0 w 6937648"/>
              <a:gd name="connsiteY0" fmla="*/ 150146042 h 153676115"/>
              <a:gd name="connsiteX1" fmla="*/ 2184341 w 6937648"/>
              <a:gd name="connsiteY1" fmla="*/ 23896096 h 153676115"/>
              <a:gd name="connsiteX2" fmla="*/ 3531111 w 6937648"/>
              <a:gd name="connsiteY2" fmla="*/ 10861470 h 153676115"/>
              <a:gd name="connsiteX3" fmla="*/ 5204124 w 6937648"/>
              <a:gd name="connsiteY3" fmla="*/ 144928516 h 153676115"/>
              <a:gd name="connsiteX4" fmla="*/ 6937648 w 6937648"/>
              <a:gd name="connsiteY4" fmla="*/ 135676446 h 153676115"/>
              <a:gd name="connsiteX0" fmla="*/ 0 w 6937648"/>
              <a:gd name="connsiteY0" fmla="*/ 150146042 h 150146042"/>
              <a:gd name="connsiteX1" fmla="*/ 2184341 w 6937648"/>
              <a:gd name="connsiteY1" fmla="*/ 23896096 h 150146042"/>
              <a:gd name="connsiteX2" fmla="*/ 3531111 w 6937648"/>
              <a:gd name="connsiteY2" fmla="*/ 10861470 h 150146042"/>
              <a:gd name="connsiteX3" fmla="*/ 5204124 w 6937648"/>
              <a:gd name="connsiteY3" fmla="*/ 144928516 h 150146042"/>
              <a:gd name="connsiteX4" fmla="*/ 6937648 w 6937648"/>
              <a:gd name="connsiteY4" fmla="*/ 135676446 h 150146042"/>
              <a:gd name="connsiteX0" fmla="*/ 0 w 6937648"/>
              <a:gd name="connsiteY0" fmla="*/ 150146042 h 155061240"/>
              <a:gd name="connsiteX1" fmla="*/ 2184341 w 6937648"/>
              <a:gd name="connsiteY1" fmla="*/ 23896096 h 155061240"/>
              <a:gd name="connsiteX2" fmla="*/ 3531111 w 6937648"/>
              <a:gd name="connsiteY2" fmla="*/ 10861470 h 155061240"/>
              <a:gd name="connsiteX3" fmla="*/ 5204124 w 6937648"/>
              <a:gd name="connsiteY3" fmla="*/ 144928516 h 155061240"/>
              <a:gd name="connsiteX4" fmla="*/ 5951274 w 6937648"/>
              <a:gd name="connsiteY4" fmla="*/ 144495474 h 155061240"/>
              <a:gd name="connsiteX5" fmla="*/ 6937648 w 6937648"/>
              <a:gd name="connsiteY5" fmla="*/ 135676446 h 155061240"/>
              <a:gd name="connsiteX0" fmla="*/ 0 w 6937648"/>
              <a:gd name="connsiteY0" fmla="*/ 150146042 h 153480432"/>
              <a:gd name="connsiteX1" fmla="*/ 2184341 w 6937648"/>
              <a:gd name="connsiteY1" fmla="*/ 23896096 h 153480432"/>
              <a:gd name="connsiteX2" fmla="*/ 3531111 w 6937648"/>
              <a:gd name="connsiteY2" fmla="*/ 10861470 h 153480432"/>
              <a:gd name="connsiteX3" fmla="*/ 5204124 w 6937648"/>
              <a:gd name="connsiteY3" fmla="*/ 144928516 h 153480432"/>
              <a:gd name="connsiteX4" fmla="*/ 5575861 w 6937648"/>
              <a:gd name="connsiteY4" fmla="*/ 137567586 h 153480432"/>
              <a:gd name="connsiteX5" fmla="*/ 6937648 w 6937648"/>
              <a:gd name="connsiteY5" fmla="*/ 135676446 h 153480432"/>
              <a:gd name="connsiteX0" fmla="*/ 0 w 6937648"/>
              <a:gd name="connsiteY0" fmla="*/ 150146042 h 153480377"/>
              <a:gd name="connsiteX1" fmla="*/ 2184341 w 6937648"/>
              <a:gd name="connsiteY1" fmla="*/ 23896096 h 153480377"/>
              <a:gd name="connsiteX2" fmla="*/ 3531111 w 6937648"/>
              <a:gd name="connsiteY2" fmla="*/ 10861470 h 153480377"/>
              <a:gd name="connsiteX3" fmla="*/ 4132490 w 6937648"/>
              <a:gd name="connsiteY3" fmla="*/ 144928515 h 153480377"/>
              <a:gd name="connsiteX4" fmla="*/ 5575861 w 6937648"/>
              <a:gd name="connsiteY4" fmla="*/ 137567586 h 153480377"/>
              <a:gd name="connsiteX5" fmla="*/ 6937648 w 6937648"/>
              <a:gd name="connsiteY5" fmla="*/ 135676446 h 153480377"/>
              <a:gd name="connsiteX0" fmla="*/ 0 w 6937648"/>
              <a:gd name="connsiteY0" fmla="*/ 150146042 h 150146042"/>
              <a:gd name="connsiteX1" fmla="*/ 2184341 w 6937648"/>
              <a:gd name="connsiteY1" fmla="*/ 23896096 h 150146042"/>
              <a:gd name="connsiteX2" fmla="*/ 3531111 w 6937648"/>
              <a:gd name="connsiteY2" fmla="*/ 10861470 h 150146042"/>
              <a:gd name="connsiteX3" fmla="*/ 4132490 w 6937648"/>
              <a:gd name="connsiteY3" fmla="*/ 144928515 h 150146042"/>
              <a:gd name="connsiteX4" fmla="*/ 5575861 w 6937648"/>
              <a:gd name="connsiteY4" fmla="*/ 137567586 h 150146042"/>
              <a:gd name="connsiteX5" fmla="*/ 6937648 w 6937648"/>
              <a:gd name="connsiteY5" fmla="*/ 135676446 h 150146042"/>
              <a:gd name="connsiteX0" fmla="*/ 0 w 6937648"/>
              <a:gd name="connsiteY0" fmla="*/ 150146042 h 150146042"/>
              <a:gd name="connsiteX1" fmla="*/ 2184341 w 6937648"/>
              <a:gd name="connsiteY1" fmla="*/ 23896096 h 150146042"/>
              <a:gd name="connsiteX2" fmla="*/ 3531111 w 6937648"/>
              <a:gd name="connsiteY2" fmla="*/ 10861470 h 150146042"/>
              <a:gd name="connsiteX3" fmla="*/ 4132490 w 6937648"/>
              <a:gd name="connsiteY3" fmla="*/ 144928515 h 150146042"/>
              <a:gd name="connsiteX4" fmla="*/ 5575861 w 6937648"/>
              <a:gd name="connsiteY4" fmla="*/ 137567586 h 150146042"/>
              <a:gd name="connsiteX5" fmla="*/ 6937648 w 6937648"/>
              <a:gd name="connsiteY5" fmla="*/ 135676446 h 150146042"/>
              <a:gd name="connsiteX0" fmla="*/ 0 w 7053685"/>
              <a:gd name="connsiteY0" fmla="*/ 150146042 h 150146042"/>
              <a:gd name="connsiteX1" fmla="*/ 2184341 w 7053685"/>
              <a:gd name="connsiteY1" fmla="*/ 23896096 h 150146042"/>
              <a:gd name="connsiteX2" fmla="*/ 3531111 w 7053685"/>
              <a:gd name="connsiteY2" fmla="*/ 10861470 h 150146042"/>
              <a:gd name="connsiteX3" fmla="*/ 4132490 w 7053685"/>
              <a:gd name="connsiteY3" fmla="*/ 144928515 h 150146042"/>
              <a:gd name="connsiteX4" fmla="*/ 5575861 w 7053685"/>
              <a:gd name="connsiteY4" fmla="*/ 137567586 h 150146042"/>
              <a:gd name="connsiteX5" fmla="*/ 7053685 w 7053685"/>
              <a:gd name="connsiteY5" fmla="*/ 68871892 h 150146042"/>
              <a:gd name="connsiteX0" fmla="*/ 0 w 6878167"/>
              <a:gd name="connsiteY0" fmla="*/ 150146042 h 166053589"/>
              <a:gd name="connsiteX1" fmla="*/ 2184341 w 6878167"/>
              <a:gd name="connsiteY1" fmla="*/ 23896096 h 166053589"/>
              <a:gd name="connsiteX2" fmla="*/ 3531111 w 6878167"/>
              <a:gd name="connsiteY2" fmla="*/ 10861470 h 166053589"/>
              <a:gd name="connsiteX3" fmla="*/ 4132490 w 6878167"/>
              <a:gd name="connsiteY3" fmla="*/ 144928515 h 166053589"/>
              <a:gd name="connsiteX4" fmla="*/ 5575861 w 6878167"/>
              <a:gd name="connsiteY4" fmla="*/ 137567586 h 166053589"/>
              <a:gd name="connsiteX5" fmla="*/ 6878167 w 6878167"/>
              <a:gd name="connsiteY5" fmla="*/ 166003633 h 166053589"/>
              <a:gd name="connsiteX0" fmla="*/ 0 w 6878167"/>
              <a:gd name="connsiteY0" fmla="*/ 139286338 h 155193885"/>
              <a:gd name="connsiteX1" fmla="*/ 1360480 w 6878167"/>
              <a:gd name="connsiteY1" fmla="*/ 137119696 h 155193885"/>
              <a:gd name="connsiteX2" fmla="*/ 3531111 w 6878167"/>
              <a:gd name="connsiteY2" fmla="*/ 1766 h 155193885"/>
              <a:gd name="connsiteX3" fmla="*/ 4132490 w 6878167"/>
              <a:gd name="connsiteY3" fmla="*/ 134068811 h 155193885"/>
              <a:gd name="connsiteX4" fmla="*/ 5575861 w 6878167"/>
              <a:gd name="connsiteY4" fmla="*/ 126707882 h 155193885"/>
              <a:gd name="connsiteX5" fmla="*/ 6878167 w 6878167"/>
              <a:gd name="connsiteY5" fmla="*/ 155143929 h 155193885"/>
              <a:gd name="connsiteX0" fmla="*/ 0 w 6878167"/>
              <a:gd name="connsiteY0" fmla="*/ 139286338 h 155193885"/>
              <a:gd name="connsiteX1" fmla="*/ 1360480 w 6878167"/>
              <a:gd name="connsiteY1" fmla="*/ 137119696 h 155193885"/>
              <a:gd name="connsiteX2" fmla="*/ 3531111 w 6878167"/>
              <a:gd name="connsiteY2" fmla="*/ 1766 h 155193885"/>
              <a:gd name="connsiteX3" fmla="*/ 4132490 w 6878167"/>
              <a:gd name="connsiteY3" fmla="*/ 134068811 h 155193885"/>
              <a:gd name="connsiteX4" fmla="*/ 5575861 w 6878167"/>
              <a:gd name="connsiteY4" fmla="*/ 126707882 h 155193885"/>
              <a:gd name="connsiteX5" fmla="*/ 6878167 w 6878167"/>
              <a:gd name="connsiteY5" fmla="*/ 155143929 h 155193885"/>
              <a:gd name="connsiteX0" fmla="*/ 0 w 6878167"/>
              <a:gd name="connsiteY0" fmla="*/ 13146515 h 29054062"/>
              <a:gd name="connsiteX1" fmla="*/ 1360480 w 6878167"/>
              <a:gd name="connsiteY1" fmla="*/ 10979873 h 29054062"/>
              <a:gd name="connsiteX2" fmla="*/ 2771071 w 6878167"/>
              <a:gd name="connsiteY2" fmla="*/ 27809365 h 29054062"/>
              <a:gd name="connsiteX3" fmla="*/ 4132490 w 6878167"/>
              <a:gd name="connsiteY3" fmla="*/ 7928988 h 29054062"/>
              <a:gd name="connsiteX4" fmla="*/ 5575861 w 6878167"/>
              <a:gd name="connsiteY4" fmla="*/ 568059 h 29054062"/>
              <a:gd name="connsiteX5" fmla="*/ 6878167 w 6878167"/>
              <a:gd name="connsiteY5" fmla="*/ 29004106 h 29054062"/>
              <a:gd name="connsiteX0" fmla="*/ 0 w 6878167"/>
              <a:gd name="connsiteY0" fmla="*/ 13308250 h 29215797"/>
              <a:gd name="connsiteX1" fmla="*/ 1360480 w 6878167"/>
              <a:gd name="connsiteY1" fmla="*/ 11141608 h 29215797"/>
              <a:gd name="connsiteX2" fmla="*/ 2771071 w 6878167"/>
              <a:gd name="connsiteY2" fmla="*/ 26709236 h 29215797"/>
              <a:gd name="connsiteX3" fmla="*/ 4132490 w 6878167"/>
              <a:gd name="connsiteY3" fmla="*/ 8090723 h 29215797"/>
              <a:gd name="connsiteX4" fmla="*/ 5575861 w 6878167"/>
              <a:gd name="connsiteY4" fmla="*/ 729794 h 29215797"/>
              <a:gd name="connsiteX5" fmla="*/ 6878167 w 6878167"/>
              <a:gd name="connsiteY5" fmla="*/ 29165841 h 29215797"/>
              <a:gd name="connsiteX0" fmla="*/ 0 w 6878167"/>
              <a:gd name="connsiteY0" fmla="*/ 13112015 h 29019562"/>
              <a:gd name="connsiteX1" fmla="*/ 1360480 w 6878167"/>
              <a:gd name="connsiteY1" fmla="*/ 10945373 h 29019562"/>
              <a:gd name="connsiteX2" fmla="*/ 2771071 w 6878167"/>
              <a:gd name="connsiteY2" fmla="*/ 26513001 h 29019562"/>
              <a:gd name="connsiteX3" fmla="*/ 4132490 w 6878167"/>
              <a:gd name="connsiteY3" fmla="*/ 7894488 h 29019562"/>
              <a:gd name="connsiteX4" fmla="*/ 5575861 w 6878167"/>
              <a:gd name="connsiteY4" fmla="*/ 533559 h 29019562"/>
              <a:gd name="connsiteX5" fmla="*/ 6878167 w 6878167"/>
              <a:gd name="connsiteY5" fmla="*/ 28969606 h 29019562"/>
              <a:gd name="connsiteX0" fmla="*/ 0 w 6878167"/>
              <a:gd name="connsiteY0" fmla="*/ 12633379 h 28540926"/>
              <a:gd name="connsiteX1" fmla="*/ 1360480 w 6878167"/>
              <a:gd name="connsiteY1" fmla="*/ 10466737 h 28540926"/>
              <a:gd name="connsiteX2" fmla="*/ 2771071 w 6878167"/>
              <a:gd name="connsiteY2" fmla="*/ 26034365 h 28540926"/>
              <a:gd name="connsiteX3" fmla="*/ 4132490 w 6878167"/>
              <a:gd name="connsiteY3" fmla="*/ 7415852 h 28540926"/>
              <a:gd name="connsiteX4" fmla="*/ 5575861 w 6878167"/>
              <a:gd name="connsiteY4" fmla="*/ 54923 h 28540926"/>
              <a:gd name="connsiteX5" fmla="*/ 6878167 w 6878167"/>
              <a:gd name="connsiteY5" fmla="*/ 28490970 h 2854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8167" h="28540926">
                <a:moveTo>
                  <a:pt x="0" y="12633379"/>
                </a:moveTo>
                <a:cubicBezTo>
                  <a:pt x="305505" y="11779656"/>
                  <a:pt x="898635" y="8233239"/>
                  <a:pt x="1360480" y="10466737"/>
                </a:cubicBezTo>
                <a:cubicBezTo>
                  <a:pt x="1822325" y="12700235"/>
                  <a:pt x="2297466" y="24860379"/>
                  <a:pt x="2771071" y="26034365"/>
                </a:cubicBezTo>
                <a:cubicBezTo>
                  <a:pt x="3244676" y="27208351"/>
                  <a:pt x="3550298" y="14067411"/>
                  <a:pt x="4132490" y="7415852"/>
                </a:cubicBezTo>
                <a:cubicBezTo>
                  <a:pt x="4610933" y="7914857"/>
                  <a:pt x="5286940" y="1596935"/>
                  <a:pt x="5575861" y="54923"/>
                </a:cubicBezTo>
                <a:cubicBezTo>
                  <a:pt x="5864782" y="-1487089"/>
                  <a:pt x="6713771" y="29960808"/>
                  <a:pt x="6878167" y="28490970"/>
                </a:cubicBezTo>
              </a:path>
            </a:pathLst>
          </a:custGeom>
          <a:noFill/>
          <a:ln w="136525" cap="rnd" algn="ctr">
            <a:solidFill>
              <a:srgbClr val="FFCD00"/>
            </a:solidFill>
            <a:round/>
            <a:headEnd/>
            <a:tailEnd/>
          </a:ln>
        </p:spPr>
        <p:txBody>
          <a:bodyPr rtlCol="0" anchor="ctr"/>
          <a:lstStyle/>
          <a:p>
            <a:pPr algn="ctr"/>
            <a:endParaRPr lang="en-US" b="1" dirty="0"/>
          </a:p>
        </p:txBody>
      </p:sp>
      <p:sp>
        <p:nvSpPr>
          <p:cNvPr id="134" name="Freeform: Shape 133">
            <a:extLst>
              <a:ext uri="{FF2B5EF4-FFF2-40B4-BE49-F238E27FC236}">
                <a16:creationId xmlns:a16="http://schemas.microsoft.com/office/drawing/2014/main" id="{4E5F62DB-1FA4-43E6-A7CA-8391434EE59C}"/>
              </a:ext>
            </a:extLst>
          </p:cNvPr>
          <p:cNvSpPr/>
          <p:nvPr/>
        </p:nvSpPr>
        <p:spPr bwMode="gray">
          <a:xfrm flipV="1">
            <a:off x="1445406" y="3224778"/>
            <a:ext cx="8983400" cy="1169667"/>
          </a:xfrm>
          <a:custGeom>
            <a:avLst/>
            <a:gdLst>
              <a:gd name="connsiteX0" fmla="*/ 0 w 9855200"/>
              <a:gd name="connsiteY0" fmla="*/ 2713159 h 3112619"/>
              <a:gd name="connsiteX1" fmla="*/ 939800 w 9855200"/>
              <a:gd name="connsiteY1" fmla="*/ 731959 h 3112619"/>
              <a:gd name="connsiteX2" fmla="*/ 1972733 w 9855200"/>
              <a:gd name="connsiteY2" fmla="*/ 1070626 h 3112619"/>
              <a:gd name="connsiteX3" fmla="*/ 2921000 w 9855200"/>
              <a:gd name="connsiteY3" fmla="*/ 1620959 h 3112619"/>
              <a:gd name="connsiteX4" fmla="*/ 3877733 w 9855200"/>
              <a:gd name="connsiteY4" fmla="*/ 706559 h 3112619"/>
              <a:gd name="connsiteX5" fmla="*/ 4910666 w 9855200"/>
              <a:gd name="connsiteY5" fmla="*/ 672692 h 3112619"/>
              <a:gd name="connsiteX6" fmla="*/ 5808133 w 9855200"/>
              <a:gd name="connsiteY6" fmla="*/ 173159 h 3112619"/>
              <a:gd name="connsiteX7" fmla="*/ 6874933 w 9855200"/>
              <a:gd name="connsiteY7" fmla="*/ 113892 h 3112619"/>
              <a:gd name="connsiteX8" fmla="*/ 7882466 w 9855200"/>
              <a:gd name="connsiteY8" fmla="*/ 1637892 h 3112619"/>
              <a:gd name="connsiteX9" fmla="*/ 8805333 w 9855200"/>
              <a:gd name="connsiteY9" fmla="*/ 2975626 h 3112619"/>
              <a:gd name="connsiteX10" fmla="*/ 9855200 w 9855200"/>
              <a:gd name="connsiteY10" fmla="*/ 3068759 h 3112619"/>
              <a:gd name="connsiteX11" fmla="*/ 9855200 w 9855200"/>
              <a:gd name="connsiteY11" fmla="*/ 3068759 h 3112619"/>
              <a:gd name="connsiteX0" fmla="*/ 0 w 9855200"/>
              <a:gd name="connsiteY0" fmla="*/ 2564478 h 2963938"/>
              <a:gd name="connsiteX1" fmla="*/ 939800 w 9855200"/>
              <a:gd name="connsiteY1" fmla="*/ 583278 h 2963938"/>
              <a:gd name="connsiteX2" fmla="*/ 1972733 w 9855200"/>
              <a:gd name="connsiteY2" fmla="*/ 921945 h 2963938"/>
              <a:gd name="connsiteX3" fmla="*/ 2921000 w 9855200"/>
              <a:gd name="connsiteY3" fmla="*/ 1472278 h 2963938"/>
              <a:gd name="connsiteX4" fmla="*/ 3877733 w 9855200"/>
              <a:gd name="connsiteY4" fmla="*/ 557878 h 2963938"/>
              <a:gd name="connsiteX5" fmla="*/ 4910666 w 9855200"/>
              <a:gd name="connsiteY5" fmla="*/ 524011 h 2963938"/>
              <a:gd name="connsiteX6" fmla="*/ 5808133 w 9855200"/>
              <a:gd name="connsiteY6" fmla="*/ 24478 h 2963938"/>
              <a:gd name="connsiteX7" fmla="*/ 6671569 w 9855200"/>
              <a:gd name="connsiteY7" fmla="*/ 1404544 h 2963938"/>
              <a:gd name="connsiteX8" fmla="*/ 7882466 w 9855200"/>
              <a:gd name="connsiteY8" fmla="*/ 1489211 h 2963938"/>
              <a:gd name="connsiteX9" fmla="*/ 8805333 w 9855200"/>
              <a:gd name="connsiteY9" fmla="*/ 2826945 h 2963938"/>
              <a:gd name="connsiteX10" fmla="*/ 9855200 w 9855200"/>
              <a:gd name="connsiteY10" fmla="*/ 2920078 h 2963938"/>
              <a:gd name="connsiteX11" fmla="*/ 9855200 w 9855200"/>
              <a:gd name="connsiteY11" fmla="*/ 2920078 h 2963938"/>
              <a:gd name="connsiteX0" fmla="*/ 0 w 9855200"/>
              <a:gd name="connsiteY0" fmla="*/ 2124213 h 2523673"/>
              <a:gd name="connsiteX1" fmla="*/ 939800 w 9855200"/>
              <a:gd name="connsiteY1" fmla="*/ 143013 h 2523673"/>
              <a:gd name="connsiteX2" fmla="*/ 1972733 w 9855200"/>
              <a:gd name="connsiteY2" fmla="*/ 481680 h 2523673"/>
              <a:gd name="connsiteX3" fmla="*/ 2921000 w 9855200"/>
              <a:gd name="connsiteY3" fmla="*/ 1032013 h 2523673"/>
              <a:gd name="connsiteX4" fmla="*/ 3877733 w 9855200"/>
              <a:gd name="connsiteY4" fmla="*/ 117613 h 2523673"/>
              <a:gd name="connsiteX5" fmla="*/ 4910666 w 9855200"/>
              <a:gd name="connsiteY5" fmla="*/ 83746 h 2523673"/>
              <a:gd name="connsiteX6" fmla="*/ 5850501 w 9855200"/>
              <a:gd name="connsiteY6" fmla="*/ 778013 h 2523673"/>
              <a:gd name="connsiteX7" fmla="*/ 6671569 w 9855200"/>
              <a:gd name="connsiteY7" fmla="*/ 964279 h 2523673"/>
              <a:gd name="connsiteX8" fmla="*/ 7882466 w 9855200"/>
              <a:gd name="connsiteY8" fmla="*/ 1048946 h 2523673"/>
              <a:gd name="connsiteX9" fmla="*/ 8805333 w 9855200"/>
              <a:gd name="connsiteY9" fmla="*/ 2386680 h 2523673"/>
              <a:gd name="connsiteX10" fmla="*/ 9855200 w 9855200"/>
              <a:gd name="connsiteY10" fmla="*/ 2479813 h 2523673"/>
              <a:gd name="connsiteX11" fmla="*/ 9855200 w 9855200"/>
              <a:gd name="connsiteY11" fmla="*/ 2479813 h 2523673"/>
              <a:gd name="connsiteX0" fmla="*/ 0 w 9855200"/>
              <a:gd name="connsiteY0" fmla="*/ 77721500 h 77721500"/>
              <a:gd name="connsiteX1" fmla="*/ 939800 w 9855200"/>
              <a:gd name="connsiteY1" fmla="*/ 5286241 h 77721500"/>
              <a:gd name="connsiteX2" fmla="*/ 1972733 w 9855200"/>
              <a:gd name="connsiteY2" fmla="*/ 5624908 h 77721500"/>
              <a:gd name="connsiteX3" fmla="*/ 2921000 w 9855200"/>
              <a:gd name="connsiteY3" fmla="*/ 6175241 h 77721500"/>
              <a:gd name="connsiteX4" fmla="*/ 3877733 w 9855200"/>
              <a:gd name="connsiteY4" fmla="*/ 5260841 h 77721500"/>
              <a:gd name="connsiteX5" fmla="*/ 4910666 w 9855200"/>
              <a:gd name="connsiteY5" fmla="*/ 5226974 h 77721500"/>
              <a:gd name="connsiteX6" fmla="*/ 5850501 w 9855200"/>
              <a:gd name="connsiteY6" fmla="*/ 5921241 h 77721500"/>
              <a:gd name="connsiteX7" fmla="*/ 6671569 w 9855200"/>
              <a:gd name="connsiteY7" fmla="*/ 6107507 h 77721500"/>
              <a:gd name="connsiteX8" fmla="*/ 7882466 w 9855200"/>
              <a:gd name="connsiteY8" fmla="*/ 6192174 h 77721500"/>
              <a:gd name="connsiteX9" fmla="*/ 8805333 w 9855200"/>
              <a:gd name="connsiteY9" fmla="*/ 7529908 h 77721500"/>
              <a:gd name="connsiteX10" fmla="*/ 9855200 w 9855200"/>
              <a:gd name="connsiteY10" fmla="*/ 7623041 h 77721500"/>
              <a:gd name="connsiteX11" fmla="*/ 9855200 w 9855200"/>
              <a:gd name="connsiteY11" fmla="*/ 7623041 h 77721500"/>
              <a:gd name="connsiteX0" fmla="*/ 0 w 9855200"/>
              <a:gd name="connsiteY0" fmla="*/ 84105671 h 177717882"/>
              <a:gd name="connsiteX1" fmla="*/ 994077 w 9855200"/>
              <a:gd name="connsiteY1" fmla="*/ 176764308 h 177717882"/>
              <a:gd name="connsiteX2" fmla="*/ 1972733 w 9855200"/>
              <a:gd name="connsiteY2" fmla="*/ 12009079 h 177717882"/>
              <a:gd name="connsiteX3" fmla="*/ 2921000 w 9855200"/>
              <a:gd name="connsiteY3" fmla="*/ 12559412 h 177717882"/>
              <a:gd name="connsiteX4" fmla="*/ 3877733 w 9855200"/>
              <a:gd name="connsiteY4" fmla="*/ 11645012 h 177717882"/>
              <a:gd name="connsiteX5" fmla="*/ 4910666 w 9855200"/>
              <a:gd name="connsiteY5" fmla="*/ 11611145 h 177717882"/>
              <a:gd name="connsiteX6" fmla="*/ 5850501 w 9855200"/>
              <a:gd name="connsiteY6" fmla="*/ 12305412 h 177717882"/>
              <a:gd name="connsiteX7" fmla="*/ 6671569 w 9855200"/>
              <a:gd name="connsiteY7" fmla="*/ 12491678 h 177717882"/>
              <a:gd name="connsiteX8" fmla="*/ 7882466 w 9855200"/>
              <a:gd name="connsiteY8" fmla="*/ 12576345 h 177717882"/>
              <a:gd name="connsiteX9" fmla="*/ 8805333 w 9855200"/>
              <a:gd name="connsiteY9" fmla="*/ 13914079 h 177717882"/>
              <a:gd name="connsiteX10" fmla="*/ 9855200 w 9855200"/>
              <a:gd name="connsiteY10" fmla="*/ 14007212 h 177717882"/>
              <a:gd name="connsiteX11" fmla="*/ 9855200 w 9855200"/>
              <a:gd name="connsiteY11" fmla="*/ 14007212 h 177717882"/>
              <a:gd name="connsiteX0" fmla="*/ 0 w 9855200"/>
              <a:gd name="connsiteY0" fmla="*/ 77896814 h 170594753"/>
              <a:gd name="connsiteX1" fmla="*/ 994077 w 9855200"/>
              <a:gd name="connsiteY1" fmla="*/ 170555451 h 170594753"/>
              <a:gd name="connsiteX2" fmla="*/ 1963687 w 9855200"/>
              <a:gd name="connsiteY2" fmla="*/ 88347158 h 170594753"/>
              <a:gd name="connsiteX3" fmla="*/ 2921000 w 9855200"/>
              <a:gd name="connsiteY3" fmla="*/ 6350555 h 170594753"/>
              <a:gd name="connsiteX4" fmla="*/ 3877733 w 9855200"/>
              <a:gd name="connsiteY4" fmla="*/ 5436155 h 170594753"/>
              <a:gd name="connsiteX5" fmla="*/ 4910666 w 9855200"/>
              <a:gd name="connsiteY5" fmla="*/ 5402288 h 170594753"/>
              <a:gd name="connsiteX6" fmla="*/ 5850501 w 9855200"/>
              <a:gd name="connsiteY6" fmla="*/ 6096555 h 170594753"/>
              <a:gd name="connsiteX7" fmla="*/ 6671569 w 9855200"/>
              <a:gd name="connsiteY7" fmla="*/ 6282821 h 170594753"/>
              <a:gd name="connsiteX8" fmla="*/ 7882466 w 9855200"/>
              <a:gd name="connsiteY8" fmla="*/ 6367488 h 170594753"/>
              <a:gd name="connsiteX9" fmla="*/ 8805333 w 9855200"/>
              <a:gd name="connsiteY9" fmla="*/ 7705222 h 170594753"/>
              <a:gd name="connsiteX10" fmla="*/ 9855200 w 9855200"/>
              <a:gd name="connsiteY10" fmla="*/ 7798355 h 170594753"/>
              <a:gd name="connsiteX11" fmla="*/ 9855200 w 9855200"/>
              <a:gd name="connsiteY11" fmla="*/ 7798355 h 170594753"/>
              <a:gd name="connsiteX0" fmla="*/ 0 w 9855200"/>
              <a:gd name="connsiteY0" fmla="*/ 83741850 h 176427921"/>
              <a:gd name="connsiteX1" fmla="*/ 994077 w 9855200"/>
              <a:gd name="connsiteY1" fmla="*/ 176400487 h 176427921"/>
              <a:gd name="connsiteX2" fmla="*/ 1963687 w 9855200"/>
              <a:gd name="connsiteY2" fmla="*/ 94192194 h 176427921"/>
              <a:gd name="connsiteX3" fmla="*/ 2957185 w 9855200"/>
              <a:gd name="connsiteY3" fmla="*/ 163093506 h 176427921"/>
              <a:gd name="connsiteX4" fmla="*/ 3877733 w 9855200"/>
              <a:gd name="connsiteY4" fmla="*/ 11281191 h 176427921"/>
              <a:gd name="connsiteX5" fmla="*/ 4910666 w 9855200"/>
              <a:gd name="connsiteY5" fmla="*/ 11247324 h 176427921"/>
              <a:gd name="connsiteX6" fmla="*/ 5850501 w 9855200"/>
              <a:gd name="connsiteY6" fmla="*/ 11941591 h 176427921"/>
              <a:gd name="connsiteX7" fmla="*/ 6671569 w 9855200"/>
              <a:gd name="connsiteY7" fmla="*/ 12127857 h 176427921"/>
              <a:gd name="connsiteX8" fmla="*/ 7882466 w 9855200"/>
              <a:gd name="connsiteY8" fmla="*/ 12212524 h 176427921"/>
              <a:gd name="connsiteX9" fmla="*/ 8805333 w 9855200"/>
              <a:gd name="connsiteY9" fmla="*/ 13550258 h 176427921"/>
              <a:gd name="connsiteX10" fmla="*/ 9855200 w 9855200"/>
              <a:gd name="connsiteY10" fmla="*/ 13643391 h 176427921"/>
              <a:gd name="connsiteX11" fmla="*/ 9855200 w 9855200"/>
              <a:gd name="connsiteY11" fmla="*/ 13643391 h 176427921"/>
              <a:gd name="connsiteX0" fmla="*/ 0 w 9855200"/>
              <a:gd name="connsiteY0" fmla="*/ 83127367 h 175813438"/>
              <a:gd name="connsiteX1" fmla="*/ 994077 w 9855200"/>
              <a:gd name="connsiteY1" fmla="*/ 175786004 h 175813438"/>
              <a:gd name="connsiteX2" fmla="*/ 1963687 w 9855200"/>
              <a:gd name="connsiteY2" fmla="*/ 93577711 h 175813438"/>
              <a:gd name="connsiteX3" fmla="*/ 2957185 w 9855200"/>
              <a:gd name="connsiteY3" fmla="*/ 162479023 h 175813438"/>
              <a:gd name="connsiteX4" fmla="*/ 3986287 w 9855200"/>
              <a:gd name="connsiteY4" fmla="*/ 156832650 h 175813438"/>
              <a:gd name="connsiteX5" fmla="*/ 4910666 w 9855200"/>
              <a:gd name="connsiteY5" fmla="*/ 10632841 h 175813438"/>
              <a:gd name="connsiteX6" fmla="*/ 5850501 w 9855200"/>
              <a:gd name="connsiteY6" fmla="*/ 11327108 h 175813438"/>
              <a:gd name="connsiteX7" fmla="*/ 6671569 w 9855200"/>
              <a:gd name="connsiteY7" fmla="*/ 11513374 h 175813438"/>
              <a:gd name="connsiteX8" fmla="*/ 7882466 w 9855200"/>
              <a:gd name="connsiteY8" fmla="*/ 11598041 h 175813438"/>
              <a:gd name="connsiteX9" fmla="*/ 8805333 w 9855200"/>
              <a:gd name="connsiteY9" fmla="*/ 12935775 h 175813438"/>
              <a:gd name="connsiteX10" fmla="*/ 9855200 w 9855200"/>
              <a:gd name="connsiteY10" fmla="*/ 13028908 h 175813438"/>
              <a:gd name="connsiteX11" fmla="*/ 9855200 w 9855200"/>
              <a:gd name="connsiteY11" fmla="*/ 13028908 h 175813438"/>
              <a:gd name="connsiteX0" fmla="*/ 0 w 9855200"/>
              <a:gd name="connsiteY0" fmla="*/ 83127367 h 175813438"/>
              <a:gd name="connsiteX1" fmla="*/ 994077 w 9855200"/>
              <a:gd name="connsiteY1" fmla="*/ 175786004 h 175813438"/>
              <a:gd name="connsiteX2" fmla="*/ 1963687 w 9855200"/>
              <a:gd name="connsiteY2" fmla="*/ 93577711 h 175813438"/>
              <a:gd name="connsiteX3" fmla="*/ 2957185 w 9855200"/>
              <a:gd name="connsiteY3" fmla="*/ 162479023 h 175813438"/>
              <a:gd name="connsiteX4" fmla="*/ 3986287 w 9855200"/>
              <a:gd name="connsiteY4" fmla="*/ 156832650 h 175813438"/>
              <a:gd name="connsiteX5" fmla="*/ 4910666 w 9855200"/>
              <a:gd name="connsiteY5" fmla="*/ 10632841 h 175813438"/>
              <a:gd name="connsiteX6" fmla="*/ 5850501 w 9855200"/>
              <a:gd name="connsiteY6" fmla="*/ 11327108 h 175813438"/>
              <a:gd name="connsiteX7" fmla="*/ 6671569 w 9855200"/>
              <a:gd name="connsiteY7" fmla="*/ 11513374 h 175813438"/>
              <a:gd name="connsiteX8" fmla="*/ 7882466 w 9855200"/>
              <a:gd name="connsiteY8" fmla="*/ 11598041 h 175813438"/>
              <a:gd name="connsiteX9" fmla="*/ 8805333 w 9855200"/>
              <a:gd name="connsiteY9" fmla="*/ 12935775 h 175813438"/>
              <a:gd name="connsiteX10" fmla="*/ 9855200 w 9855200"/>
              <a:gd name="connsiteY10" fmla="*/ 13028908 h 175813438"/>
              <a:gd name="connsiteX11" fmla="*/ 9855200 w 9855200"/>
              <a:gd name="connsiteY11" fmla="*/ 13028908 h 175813438"/>
              <a:gd name="connsiteX0" fmla="*/ 0 w 9855200"/>
              <a:gd name="connsiteY0" fmla="*/ 75280295 h 167966366"/>
              <a:gd name="connsiteX1" fmla="*/ 994077 w 9855200"/>
              <a:gd name="connsiteY1" fmla="*/ 167938932 h 167966366"/>
              <a:gd name="connsiteX2" fmla="*/ 1963687 w 9855200"/>
              <a:gd name="connsiteY2" fmla="*/ 85730639 h 167966366"/>
              <a:gd name="connsiteX3" fmla="*/ 2957185 w 9855200"/>
              <a:gd name="connsiteY3" fmla="*/ 154631951 h 167966366"/>
              <a:gd name="connsiteX4" fmla="*/ 3986287 w 9855200"/>
              <a:gd name="connsiteY4" fmla="*/ 148985578 h 167966366"/>
              <a:gd name="connsiteX5" fmla="*/ 4802111 w 9855200"/>
              <a:gd name="connsiteY5" fmla="*/ 51157218 h 167966366"/>
              <a:gd name="connsiteX6" fmla="*/ 5850501 w 9855200"/>
              <a:gd name="connsiteY6" fmla="*/ 3480036 h 167966366"/>
              <a:gd name="connsiteX7" fmla="*/ 6671569 w 9855200"/>
              <a:gd name="connsiteY7" fmla="*/ 3666302 h 167966366"/>
              <a:gd name="connsiteX8" fmla="*/ 7882466 w 9855200"/>
              <a:gd name="connsiteY8" fmla="*/ 3750969 h 167966366"/>
              <a:gd name="connsiteX9" fmla="*/ 8805333 w 9855200"/>
              <a:gd name="connsiteY9" fmla="*/ 5088703 h 167966366"/>
              <a:gd name="connsiteX10" fmla="*/ 9855200 w 9855200"/>
              <a:gd name="connsiteY10" fmla="*/ 5181836 h 167966366"/>
              <a:gd name="connsiteX11" fmla="*/ 9855200 w 9855200"/>
              <a:gd name="connsiteY11" fmla="*/ 5181836 h 167966366"/>
              <a:gd name="connsiteX0" fmla="*/ 0 w 9855200"/>
              <a:gd name="connsiteY0" fmla="*/ 78629479 h 171315550"/>
              <a:gd name="connsiteX1" fmla="*/ 994077 w 9855200"/>
              <a:gd name="connsiteY1" fmla="*/ 171288116 h 171315550"/>
              <a:gd name="connsiteX2" fmla="*/ 1963687 w 9855200"/>
              <a:gd name="connsiteY2" fmla="*/ 89079823 h 171315550"/>
              <a:gd name="connsiteX3" fmla="*/ 2957185 w 9855200"/>
              <a:gd name="connsiteY3" fmla="*/ 157981135 h 171315550"/>
              <a:gd name="connsiteX4" fmla="*/ 3986287 w 9855200"/>
              <a:gd name="connsiteY4" fmla="*/ 152334762 h 171315550"/>
              <a:gd name="connsiteX5" fmla="*/ 4892573 w 9855200"/>
              <a:gd name="connsiteY5" fmla="*/ 99723199 h 171315550"/>
              <a:gd name="connsiteX6" fmla="*/ 5850501 w 9855200"/>
              <a:gd name="connsiteY6" fmla="*/ 6829220 h 171315550"/>
              <a:gd name="connsiteX7" fmla="*/ 6671569 w 9855200"/>
              <a:gd name="connsiteY7" fmla="*/ 7015486 h 171315550"/>
              <a:gd name="connsiteX8" fmla="*/ 7882466 w 9855200"/>
              <a:gd name="connsiteY8" fmla="*/ 7100153 h 171315550"/>
              <a:gd name="connsiteX9" fmla="*/ 8805333 w 9855200"/>
              <a:gd name="connsiteY9" fmla="*/ 8437887 h 171315550"/>
              <a:gd name="connsiteX10" fmla="*/ 9855200 w 9855200"/>
              <a:gd name="connsiteY10" fmla="*/ 8531020 h 171315550"/>
              <a:gd name="connsiteX11" fmla="*/ 9855200 w 9855200"/>
              <a:gd name="connsiteY11" fmla="*/ 8531020 h 171315550"/>
              <a:gd name="connsiteX0" fmla="*/ 0 w 9855200"/>
              <a:gd name="connsiteY0" fmla="*/ 80893990 h 173580061"/>
              <a:gd name="connsiteX1" fmla="*/ 994077 w 9855200"/>
              <a:gd name="connsiteY1" fmla="*/ 173552627 h 173580061"/>
              <a:gd name="connsiteX2" fmla="*/ 1963687 w 9855200"/>
              <a:gd name="connsiteY2" fmla="*/ 91344334 h 173580061"/>
              <a:gd name="connsiteX3" fmla="*/ 2957185 w 9855200"/>
              <a:gd name="connsiteY3" fmla="*/ 160245646 h 173580061"/>
              <a:gd name="connsiteX4" fmla="*/ 3986287 w 9855200"/>
              <a:gd name="connsiteY4" fmla="*/ 154599273 h 173580061"/>
              <a:gd name="connsiteX5" fmla="*/ 4892573 w 9855200"/>
              <a:gd name="connsiteY5" fmla="*/ 101987710 h 173580061"/>
              <a:gd name="connsiteX6" fmla="*/ 5922871 w 9855200"/>
              <a:gd name="connsiteY6" fmla="*/ 134228614 h 173580061"/>
              <a:gd name="connsiteX7" fmla="*/ 6671569 w 9855200"/>
              <a:gd name="connsiteY7" fmla="*/ 9279997 h 173580061"/>
              <a:gd name="connsiteX8" fmla="*/ 7882466 w 9855200"/>
              <a:gd name="connsiteY8" fmla="*/ 9364664 h 173580061"/>
              <a:gd name="connsiteX9" fmla="*/ 8805333 w 9855200"/>
              <a:gd name="connsiteY9" fmla="*/ 10702398 h 173580061"/>
              <a:gd name="connsiteX10" fmla="*/ 9855200 w 9855200"/>
              <a:gd name="connsiteY10" fmla="*/ 10795531 h 173580061"/>
              <a:gd name="connsiteX11" fmla="*/ 9855200 w 9855200"/>
              <a:gd name="connsiteY11" fmla="*/ 10795531 h 173580061"/>
              <a:gd name="connsiteX0" fmla="*/ 0 w 9855200"/>
              <a:gd name="connsiteY0" fmla="*/ 80893990 h 173580061"/>
              <a:gd name="connsiteX1" fmla="*/ 994077 w 9855200"/>
              <a:gd name="connsiteY1" fmla="*/ 173552627 h 173580061"/>
              <a:gd name="connsiteX2" fmla="*/ 1963687 w 9855200"/>
              <a:gd name="connsiteY2" fmla="*/ 91344334 h 173580061"/>
              <a:gd name="connsiteX3" fmla="*/ 2957185 w 9855200"/>
              <a:gd name="connsiteY3" fmla="*/ 160245646 h 173580061"/>
              <a:gd name="connsiteX4" fmla="*/ 3986287 w 9855200"/>
              <a:gd name="connsiteY4" fmla="*/ 154599273 h 173580061"/>
              <a:gd name="connsiteX5" fmla="*/ 4892573 w 9855200"/>
              <a:gd name="connsiteY5" fmla="*/ 101987710 h 173580061"/>
              <a:gd name="connsiteX6" fmla="*/ 5922871 w 9855200"/>
              <a:gd name="connsiteY6" fmla="*/ 134228614 h 173580061"/>
              <a:gd name="connsiteX7" fmla="*/ 6671569 w 9855200"/>
              <a:gd name="connsiteY7" fmla="*/ 9279997 h 173580061"/>
              <a:gd name="connsiteX8" fmla="*/ 7882466 w 9855200"/>
              <a:gd name="connsiteY8" fmla="*/ 9364664 h 173580061"/>
              <a:gd name="connsiteX9" fmla="*/ 8805333 w 9855200"/>
              <a:gd name="connsiteY9" fmla="*/ 10702398 h 173580061"/>
              <a:gd name="connsiteX10" fmla="*/ 9855200 w 9855200"/>
              <a:gd name="connsiteY10" fmla="*/ 10795531 h 173580061"/>
              <a:gd name="connsiteX11" fmla="*/ 9855200 w 9855200"/>
              <a:gd name="connsiteY11" fmla="*/ 10795531 h 173580061"/>
              <a:gd name="connsiteX0" fmla="*/ 0 w 9855200"/>
              <a:gd name="connsiteY0" fmla="*/ 81088679 h 173774750"/>
              <a:gd name="connsiteX1" fmla="*/ 994077 w 9855200"/>
              <a:gd name="connsiteY1" fmla="*/ 173747316 h 173774750"/>
              <a:gd name="connsiteX2" fmla="*/ 1963687 w 9855200"/>
              <a:gd name="connsiteY2" fmla="*/ 91539023 h 173774750"/>
              <a:gd name="connsiteX3" fmla="*/ 2957185 w 9855200"/>
              <a:gd name="connsiteY3" fmla="*/ 160440335 h 173774750"/>
              <a:gd name="connsiteX4" fmla="*/ 3986287 w 9855200"/>
              <a:gd name="connsiteY4" fmla="*/ 154793962 h 173774750"/>
              <a:gd name="connsiteX5" fmla="*/ 4892573 w 9855200"/>
              <a:gd name="connsiteY5" fmla="*/ 102182399 h 173774750"/>
              <a:gd name="connsiteX6" fmla="*/ 5886687 w 9855200"/>
              <a:gd name="connsiteY6" fmla="*/ 137052186 h 173774750"/>
              <a:gd name="connsiteX7" fmla="*/ 6671569 w 9855200"/>
              <a:gd name="connsiteY7" fmla="*/ 9474686 h 173774750"/>
              <a:gd name="connsiteX8" fmla="*/ 7882466 w 9855200"/>
              <a:gd name="connsiteY8" fmla="*/ 9559353 h 173774750"/>
              <a:gd name="connsiteX9" fmla="*/ 8805333 w 9855200"/>
              <a:gd name="connsiteY9" fmla="*/ 10897087 h 173774750"/>
              <a:gd name="connsiteX10" fmla="*/ 9855200 w 9855200"/>
              <a:gd name="connsiteY10" fmla="*/ 10990220 h 173774750"/>
              <a:gd name="connsiteX11" fmla="*/ 9855200 w 9855200"/>
              <a:gd name="connsiteY11" fmla="*/ 10990220 h 173774750"/>
              <a:gd name="connsiteX0" fmla="*/ 0 w 9855200"/>
              <a:gd name="connsiteY0" fmla="*/ 76209968 h 168896039"/>
              <a:gd name="connsiteX1" fmla="*/ 994077 w 9855200"/>
              <a:gd name="connsiteY1" fmla="*/ 168868605 h 168896039"/>
              <a:gd name="connsiteX2" fmla="*/ 1963687 w 9855200"/>
              <a:gd name="connsiteY2" fmla="*/ 86660312 h 168896039"/>
              <a:gd name="connsiteX3" fmla="*/ 2957185 w 9855200"/>
              <a:gd name="connsiteY3" fmla="*/ 155561624 h 168896039"/>
              <a:gd name="connsiteX4" fmla="*/ 3986287 w 9855200"/>
              <a:gd name="connsiteY4" fmla="*/ 149915251 h 168896039"/>
              <a:gd name="connsiteX5" fmla="*/ 4892573 w 9855200"/>
              <a:gd name="connsiteY5" fmla="*/ 97303688 h 168896039"/>
              <a:gd name="connsiteX6" fmla="*/ 5886687 w 9855200"/>
              <a:gd name="connsiteY6" fmla="*/ 132173475 h 168896039"/>
              <a:gd name="connsiteX7" fmla="*/ 6843447 w 9855200"/>
              <a:gd name="connsiteY7" fmla="*/ 72946951 h 168896039"/>
              <a:gd name="connsiteX8" fmla="*/ 7882466 w 9855200"/>
              <a:gd name="connsiteY8" fmla="*/ 4680642 h 168896039"/>
              <a:gd name="connsiteX9" fmla="*/ 8805333 w 9855200"/>
              <a:gd name="connsiteY9" fmla="*/ 6018376 h 168896039"/>
              <a:gd name="connsiteX10" fmla="*/ 9855200 w 9855200"/>
              <a:gd name="connsiteY10" fmla="*/ 6111509 h 168896039"/>
              <a:gd name="connsiteX11" fmla="*/ 9855200 w 9855200"/>
              <a:gd name="connsiteY11" fmla="*/ 6111509 h 168896039"/>
              <a:gd name="connsiteX0" fmla="*/ 0 w 9855200"/>
              <a:gd name="connsiteY0" fmla="*/ 76209968 h 168896039"/>
              <a:gd name="connsiteX1" fmla="*/ 994077 w 9855200"/>
              <a:gd name="connsiteY1" fmla="*/ 168868605 h 168896039"/>
              <a:gd name="connsiteX2" fmla="*/ 1963687 w 9855200"/>
              <a:gd name="connsiteY2" fmla="*/ 86660312 h 168896039"/>
              <a:gd name="connsiteX3" fmla="*/ 2957185 w 9855200"/>
              <a:gd name="connsiteY3" fmla="*/ 155561624 h 168896039"/>
              <a:gd name="connsiteX4" fmla="*/ 3986287 w 9855200"/>
              <a:gd name="connsiteY4" fmla="*/ 149915251 h 168896039"/>
              <a:gd name="connsiteX5" fmla="*/ 4892573 w 9855200"/>
              <a:gd name="connsiteY5" fmla="*/ 97303688 h 168896039"/>
              <a:gd name="connsiteX6" fmla="*/ 5886687 w 9855200"/>
              <a:gd name="connsiteY6" fmla="*/ 132173475 h 168896039"/>
              <a:gd name="connsiteX7" fmla="*/ 6843447 w 9855200"/>
              <a:gd name="connsiteY7" fmla="*/ 72946951 h 168896039"/>
              <a:gd name="connsiteX8" fmla="*/ 7882466 w 9855200"/>
              <a:gd name="connsiteY8" fmla="*/ 4680642 h 168896039"/>
              <a:gd name="connsiteX9" fmla="*/ 8805333 w 9855200"/>
              <a:gd name="connsiteY9" fmla="*/ 6018376 h 168896039"/>
              <a:gd name="connsiteX10" fmla="*/ 9855200 w 9855200"/>
              <a:gd name="connsiteY10" fmla="*/ 6111509 h 168896039"/>
              <a:gd name="connsiteX11" fmla="*/ 9855200 w 9855200"/>
              <a:gd name="connsiteY11" fmla="*/ 6111509 h 168896039"/>
              <a:gd name="connsiteX0" fmla="*/ 0 w 9855200"/>
              <a:gd name="connsiteY0" fmla="*/ 76020357 h 168706428"/>
              <a:gd name="connsiteX1" fmla="*/ 994077 w 9855200"/>
              <a:gd name="connsiteY1" fmla="*/ 168678994 h 168706428"/>
              <a:gd name="connsiteX2" fmla="*/ 1963687 w 9855200"/>
              <a:gd name="connsiteY2" fmla="*/ 86470701 h 168706428"/>
              <a:gd name="connsiteX3" fmla="*/ 2957185 w 9855200"/>
              <a:gd name="connsiteY3" fmla="*/ 155372013 h 168706428"/>
              <a:gd name="connsiteX4" fmla="*/ 3986287 w 9855200"/>
              <a:gd name="connsiteY4" fmla="*/ 149725640 h 168706428"/>
              <a:gd name="connsiteX5" fmla="*/ 4892573 w 9855200"/>
              <a:gd name="connsiteY5" fmla="*/ 97114077 h 168706428"/>
              <a:gd name="connsiteX6" fmla="*/ 5886687 w 9855200"/>
              <a:gd name="connsiteY6" fmla="*/ 131983864 h 168706428"/>
              <a:gd name="connsiteX7" fmla="*/ 6843447 w 9855200"/>
              <a:gd name="connsiteY7" fmla="*/ 72757340 h 168706428"/>
              <a:gd name="connsiteX8" fmla="*/ 7918651 w 9855200"/>
              <a:gd name="connsiteY8" fmla="*/ 84934880 h 168706428"/>
              <a:gd name="connsiteX9" fmla="*/ 8805333 w 9855200"/>
              <a:gd name="connsiteY9" fmla="*/ 5828765 h 168706428"/>
              <a:gd name="connsiteX10" fmla="*/ 9855200 w 9855200"/>
              <a:gd name="connsiteY10" fmla="*/ 5921898 h 168706428"/>
              <a:gd name="connsiteX11" fmla="*/ 9855200 w 9855200"/>
              <a:gd name="connsiteY11" fmla="*/ 5921898 h 168706428"/>
              <a:gd name="connsiteX0" fmla="*/ 0 w 9855200"/>
              <a:gd name="connsiteY0" fmla="*/ 76020357 h 168706428"/>
              <a:gd name="connsiteX1" fmla="*/ 994077 w 9855200"/>
              <a:gd name="connsiteY1" fmla="*/ 168678994 h 168706428"/>
              <a:gd name="connsiteX2" fmla="*/ 1963687 w 9855200"/>
              <a:gd name="connsiteY2" fmla="*/ 86470701 h 168706428"/>
              <a:gd name="connsiteX3" fmla="*/ 2957185 w 9855200"/>
              <a:gd name="connsiteY3" fmla="*/ 155372013 h 168706428"/>
              <a:gd name="connsiteX4" fmla="*/ 3986287 w 9855200"/>
              <a:gd name="connsiteY4" fmla="*/ 149725640 h 168706428"/>
              <a:gd name="connsiteX5" fmla="*/ 4892573 w 9855200"/>
              <a:gd name="connsiteY5" fmla="*/ 97114077 h 168706428"/>
              <a:gd name="connsiteX6" fmla="*/ 5886687 w 9855200"/>
              <a:gd name="connsiteY6" fmla="*/ 131983864 h 168706428"/>
              <a:gd name="connsiteX7" fmla="*/ 6843447 w 9855200"/>
              <a:gd name="connsiteY7" fmla="*/ 72757340 h 168706428"/>
              <a:gd name="connsiteX8" fmla="*/ 7918651 w 9855200"/>
              <a:gd name="connsiteY8" fmla="*/ 84934880 h 168706428"/>
              <a:gd name="connsiteX9" fmla="*/ 8805333 w 9855200"/>
              <a:gd name="connsiteY9" fmla="*/ 5828765 h 168706428"/>
              <a:gd name="connsiteX10" fmla="*/ 9855200 w 9855200"/>
              <a:gd name="connsiteY10" fmla="*/ 5921898 h 168706428"/>
              <a:gd name="connsiteX11" fmla="*/ 9855200 w 9855200"/>
              <a:gd name="connsiteY11" fmla="*/ 5921898 h 168706428"/>
              <a:gd name="connsiteX0" fmla="*/ 0 w 9855200"/>
              <a:gd name="connsiteY0" fmla="*/ 75163548 h 167849619"/>
              <a:gd name="connsiteX1" fmla="*/ 994077 w 9855200"/>
              <a:gd name="connsiteY1" fmla="*/ 167822185 h 167849619"/>
              <a:gd name="connsiteX2" fmla="*/ 1963687 w 9855200"/>
              <a:gd name="connsiteY2" fmla="*/ 85613892 h 167849619"/>
              <a:gd name="connsiteX3" fmla="*/ 2957185 w 9855200"/>
              <a:gd name="connsiteY3" fmla="*/ 154515204 h 167849619"/>
              <a:gd name="connsiteX4" fmla="*/ 3986287 w 9855200"/>
              <a:gd name="connsiteY4" fmla="*/ 148868831 h 167849619"/>
              <a:gd name="connsiteX5" fmla="*/ 4892573 w 9855200"/>
              <a:gd name="connsiteY5" fmla="*/ 96257268 h 167849619"/>
              <a:gd name="connsiteX6" fmla="*/ 5886687 w 9855200"/>
              <a:gd name="connsiteY6" fmla="*/ 131127055 h 167849619"/>
              <a:gd name="connsiteX7" fmla="*/ 6843447 w 9855200"/>
              <a:gd name="connsiteY7" fmla="*/ 71900531 h 167849619"/>
              <a:gd name="connsiteX8" fmla="*/ 7891512 w 9855200"/>
              <a:gd name="connsiteY8" fmla="*/ 72510984 h 167849619"/>
              <a:gd name="connsiteX9" fmla="*/ 8805333 w 9855200"/>
              <a:gd name="connsiteY9" fmla="*/ 4971956 h 167849619"/>
              <a:gd name="connsiteX10" fmla="*/ 9855200 w 9855200"/>
              <a:gd name="connsiteY10" fmla="*/ 5065089 h 167849619"/>
              <a:gd name="connsiteX11" fmla="*/ 9855200 w 9855200"/>
              <a:gd name="connsiteY11" fmla="*/ 5065089 h 167849619"/>
              <a:gd name="connsiteX0" fmla="*/ 0 w 9855200"/>
              <a:gd name="connsiteY0" fmla="*/ 75436179 h 168122250"/>
              <a:gd name="connsiteX1" fmla="*/ 994077 w 9855200"/>
              <a:gd name="connsiteY1" fmla="*/ 168094816 h 168122250"/>
              <a:gd name="connsiteX2" fmla="*/ 1963687 w 9855200"/>
              <a:gd name="connsiteY2" fmla="*/ 85886523 h 168122250"/>
              <a:gd name="connsiteX3" fmla="*/ 2957185 w 9855200"/>
              <a:gd name="connsiteY3" fmla="*/ 154787835 h 168122250"/>
              <a:gd name="connsiteX4" fmla="*/ 3986287 w 9855200"/>
              <a:gd name="connsiteY4" fmla="*/ 149141462 h 168122250"/>
              <a:gd name="connsiteX5" fmla="*/ 4892573 w 9855200"/>
              <a:gd name="connsiteY5" fmla="*/ 96529899 h 168122250"/>
              <a:gd name="connsiteX6" fmla="*/ 5886687 w 9855200"/>
              <a:gd name="connsiteY6" fmla="*/ 131399686 h 168122250"/>
              <a:gd name="connsiteX7" fmla="*/ 6843447 w 9855200"/>
              <a:gd name="connsiteY7" fmla="*/ 72173162 h 168122250"/>
              <a:gd name="connsiteX8" fmla="*/ 7891512 w 9855200"/>
              <a:gd name="connsiteY8" fmla="*/ 76464052 h 168122250"/>
              <a:gd name="connsiteX9" fmla="*/ 8805333 w 9855200"/>
              <a:gd name="connsiteY9" fmla="*/ 5244587 h 168122250"/>
              <a:gd name="connsiteX10" fmla="*/ 9855200 w 9855200"/>
              <a:gd name="connsiteY10" fmla="*/ 5337720 h 168122250"/>
              <a:gd name="connsiteX11" fmla="*/ 9855200 w 9855200"/>
              <a:gd name="connsiteY11" fmla="*/ 5337720 h 168122250"/>
              <a:gd name="connsiteX0" fmla="*/ 0 w 9855200"/>
              <a:gd name="connsiteY0" fmla="*/ 70098483 h 162784554"/>
              <a:gd name="connsiteX1" fmla="*/ 994077 w 9855200"/>
              <a:gd name="connsiteY1" fmla="*/ 162757120 h 162784554"/>
              <a:gd name="connsiteX2" fmla="*/ 1963687 w 9855200"/>
              <a:gd name="connsiteY2" fmla="*/ 80548827 h 162784554"/>
              <a:gd name="connsiteX3" fmla="*/ 2957185 w 9855200"/>
              <a:gd name="connsiteY3" fmla="*/ 149450139 h 162784554"/>
              <a:gd name="connsiteX4" fmla="*/ 3986287 w 9855200"/>
              <a:gd name="connsiteY4" fmla="*/ 143803766 h 162784554"/>
              <a:gd name="connsiteX5" fmla="*/ 4892573 w 9855200"/>
              <a:gd name="connsiteY5" fmla="*/ 91192203 h 162784554"/>
              <a:gd name="connsiteX6" fmla="*/ 5886687 w 9855200"/>
              <a:gd name="connsiteY6" fmla="*/ 126061990 h 162784554"/>
              <a:gd name="connsiteX7" fmla="*/ 6843447 w 9855200"/>
              <a:gd name="connsiteY7" fmla="*/ 66835466 h 162784554"/>
              <a:gd name="connsiteX8" fmla="*/ 7891512 w 9855200"/>
              <a:gd name="connsiteY8" fmla="*/ 71126356 h 162784554"/>
              <a:gd name="connsiteX9" fmla="*/ 8850564 w 9855200"/>
              <a:gd name="connsiteY9" fmla="*/ 122412852 h 162784554"/>
              <a:gd name="connsiteX10" fmla="*/ 9855200 w 9855200"/>
              <a:gd name="connsiteY10" fmla="*/ 24 h 162784554"/>
              <a:gd name="connsiteX11" fmla="*/ 9855200 w 9855200"/>
              <a:gd name="connsiteY11" fmla="*/ 24 h 162784554"/>
              <a:gd name="connsiteX0" fmla="*/ 0 w 9855200"/>
              <a:gd name="connsiteY0" fmla="*/ 70098483 h 162784554"/>
              <a:gd name="connsiteX1" fmla="*/ 994077 w 9855200"/>
              <a:gd name="connsiteY1" fmla="*/ 162757120 h 162784554"/>
              <a:gd name="connsiteX2" fmla="*/ 1963687 w 9855200"/>
              <a:gd name="connsiteY2" fmla="*/ 80548827 h 162784554"/>
              <a:gd name="connsiteX3" fmla="*/ 2957185 w 9855200"/>
              <a:gd name="connsiteY3" fmla="*/ 149450139 h 162784554"/>
              <a:gd name="connsiteX4" fmla="*/ 3986287 w 9855200"/>
              <a:gd name="connsiteY4" fmla="*/ 143803766 h 162784554"/>
              <a:gd name="connsiteX5" fmla="*/ 4892573 w 9855200"/>
              <a:gd name="connsiteY5" fmla="*/ 91192203 h 162784554"/>
              <a:gd name="connsiteX6" fmla="*/ 5886687 w 9855200"/>
              <a:gd name="connsiteY6" fmla="*/ 126061990 h 162784554"/>
              <a:gd name="connsiteX7" fmla="*/ 6843447 w 9855200"/>
              <a:gd name="connsiteY7" fmla="*/ 66835466 h 162784554"/>
              <a:gd name="connsiteX8" fmla="*/ 7891512 w 9855200"/>
              <a:gd name="connsiteY8" fmla="*/ 71126356 h 162784554"/>
              <a:gd name="connsiteX9" fmla="*/ 8850564 w 9855200"/>
              <a:gd name="connsiteY9" fmla="*/ 122412852 h 162784554"/>
              <a:gd name="connsiteX10" fmla="*/ 9855200 w 9855200"/>
              <a:gd name="connsiteY10" fmla="*/ 24 h 162784554"/>
              <a:gd name="connsiteX11" fmla="*/ 9855200 w 9855200"/>
              <a:gd name="connsiteY11" fmla="*/ 24 h 162784554"/>
              <a:gd name="connsiteX0" fmla="*/ 0 w 9873292"/>
              <a:gd name="connsiteY0" fmla="*/ 70098483 h 162784554"/>
              <a:gd name="connsiteX1" fmla="*/ 994077 w 9873292"/>
              <a:gd name="connsiteY1" fmla="*/ 162757120 h 162784554"/>
              <a:gd name="connsiteX2" fmla="*/ 1963687 w 9873292"/>
              <a:gd name="connsiteY2" fmla="*/ 80548827 h 162784554"/>
              <a:gd name="connsiteX3" fmla="*/ 2957185 w 9873292"/>
              <a:gd name="connsiteY3" fmla="*/ 149450139 h 162784554"/>
              <a:gd name="connsiteX4" fmla="*/ 3986287 w 9873292"/>
              <a:gd name="connsiteY4" fmla="*/ 143803766 h 162784554"/>
              <a:gd name="connsiteX5" fmla="*/ 4892573 w 9873292"/>
              <a:gd name="connsiteY5" fmla="*/ 91192203 h 162784554"/>
              <a:gd name="connsiteX6" fmla="*/ 5886687 w 9873292"/>
              <a:gd name="connsiteY6" fmla="*/ 126061990 h 162784554"/>
              <a:gd name="connsiteX7" fmla="*/ 6843447 w 9873292"/>
              <a:gd name="connsiteY7" fmla="*/ 66835466 h 162784554"/>
              <a:gd name="connsiteX8" fmla="*/ 7891512 w 9873292"/>
              <a:gd name="connsiteY8" fmla="*/ 71126356 h 162784554"/>
              <a:gd name="connsiteX9" fmla="*/ 8850564 w 9873292"/>
              <a:gd name="connsiteY9" fmla="*/ 122412852 h 162784554"/>
              <a:gd name="connsiteX10" fmla="*/ 9855200 w 9873292"/>
              <a:gd name="connsiteY10" fmla="*/ 24 h 162784554"/>
              <a:gd name="connsiteX11" fmla="*/ 9873292 w 9873292"/>
              <a:gd name="connsiteY11" fmla="*/ 45742574 h 162784554"/>
              <a:gd name="connsiteX0" fmla="*/ 0 w 9873292"/>
              <a:gd name="connsiteY0" fmla="*/ 24355909 h 117041980"/>
              <a:gd name="connsiteX1" fmla="*/ 994077 w 9873292"/>
              <a:gd name="connsiteY1" fmla="*/ 117014546 h 117041980"/>
              <a:gd name="connsiteX2" fmla="*/ 1963687 w 9873292"/>
              <a:gd name="connsiteY2" fmla="*/ 34806253 h 117041980"/>
              <a:gd name="connsiteX3" fmla="*/ 2957185 w 9873292"/>
              <a:gd name="connsiteY3" fmla="*/ 103707565 h 117041980"/>
              <a:gd name="connsiteX4" fmla="*/ 3986287 w 9873292"/>
              <a:gd name="connsiteY4" fmla="*/ 98061192 h 117041980"/>
              <a:gd name="connsiteX5" fmla="*/ 4892573 w 9873292"/>
              <a:gd name="connsiteY5" fmla="*/ 45449629 h 117041980"/>
              <a:gd name="connsiteX6" fmla="*/ 5886687 w 9873292"/>
              <a:gd name="connsiteY6" fmla="*/ 80319416 h 117041980"/>
              <a:gd name="connsiteX7" fmla="*/ 6843447 w 9873292"/>
              <a:gd name="connsiteY7" fmla="*/ 21092892 h 117041980"/>
              <a:gd name="connsiteX8" fmla="*/ 7891512 w 9873292"/>
              <a:gd name="connsiteY8" fmla="*/ 25383782 h 117041980"/>
              <a:gd name="connsiteX9" fmla="*/ 8850564 w 9873292"/>
              <a:gd name="connsiteY9" fmla="*/ 76670278 h 117041980"/>
              <a:gd name="connsiteX10" fmla="*/ 9873292 w 9873292"/>
              <a:gd name="connsiteY10" fmla="*/ 0 h 117041980"/>
              <a:gd name="connsiteX0" fmla="*/ 0 w 8850564"/>
              <a:gd name="connsiteY0" fmla="*/ 8378535 h 101064606"/>
              <a:gd name="connsiteX1" fmla="*/ 994077 w 8850564"/>
              <a:gd name="connsiteY1" fmla="*/ 101037172 h 101064606"/>
              <a:gd name="connsiteX2" fmla="*/ 1963687 w 8850564"/>
              <a:gd name="connsiteY2" fmla="*/ 18828879 h 101064606"/>
              <a:gd name="connsiteX3" fmla="*/ 2957185 w 8850564"/>
              <a:gd name="connsiteY3" fmla="*/ 87730191 h 101064606"/>
              <a:gd name="connsiteX4" fmla="*/ 3986287 w 8850564"/>
              <a:gd name="connsiteY4" fmla="*/ 82083818 h 101064606"/>
              <a:gd name="connsiteX5" fmla="*/ 4892573 w 8850564"/>
              <a:gd name="connsiteY5" fmla="*/ 29472255 h 101064606"/>
              <a:gd name="connsiteX6" fmla="*/ 5886687 w 8850564"/>
              <a:gd name="connsiteY6" fmla="*/ 64342042 h 101064606"/>
              <a:gd name="connsiteX7" fmla="*/ 6843447 w 8850564"/>
              <a:gd name="connsiteY7" fmla="*/ 5115518 h 101064606"/>
              <a:gd name="connsiteX8" fmla="*/ 7891512 w 8850564"/>
              <a:gd name="connsiteY8" fmla="*/ 9406408 h 101064606"/>
              <a:gd name="connsiteX9" fmla="*/ 8850564 w 8850564"/>
              <a:gd name="connsiteY9" fmla="*/ 60692904 h 101064606"/>
              <a:gd name="connsiteX0" fmla="*/ 0 w 7891512"/>
              <a:gd name="connsiteY0" fmla="*/ 8378535 h 101064606"/>
              <a:gd name="connsiteX1" fmla="*/ 994077 w 7891512"/>
              <a:gd name="connsiteY1" fmla="*/ 101037172 h 101064606"/>
              <a:gd name="connsiteX2" fmla="*/ 1963687 w 7891512"/>
              <a:gd name="connsiteY2" fmla="*/ 18828879 h 101064606"/>
              <a:gd name="connsiteX3" fmla="*/ 2957185 w 7891512"/>
              <a:gd name="connsiteY3" fmla="*/ 87730191 h 101064606"/>
              <a:gd name="connsiteX4" fmla="*/ 3986287 w 7891512"/>
              <a:gd name="connsiteY4" fmla="*/ 82083818 h 101064606"/>
              <a:gd name="connsiteX5" fmla="*/ 4892573 w 7891512"/>
              <a:gd name="connsiteY5" fmla="*/ 29472255 h 101064606"/>
              <a:gd name="connsiteX6" fmla="*/ 5886687 w 7891512"/>
              <a:gd name="connsiteY6" fmla="*/ 64342042 h 101064606"/>
              <a:gd name="connsiteX7" fmla="*/ 6843447 w 7891512"/>
              <a:gd name="connsiteY7" fmla="*/ 5115518 h 101064606"/>
              <a:gd name="connsiteX8" fmla="*/ 7891512 w 7891512"/>
              <a:gd name="connsiteY8" fmla="*/ 9406408 h 101064606"/>
              <a:gd name="connsiteX0" fmla="*/ 0 w 6843447"/>
              <a:gd name="connsiteY0" fmla="*/ 3263017 h 95949088"/>
              <a:gd name="connsiteX1" fmla="*/ 994077 w 6843447"/>
              <a:gd name="connsiteY1" fmla="*/ 95921654 h 95949088"/>
              <a:gd name="connsiteX2" fmla="*/ 1963687 w 6843447"/>
              <a:gd name="connsiteY2" fmla="*/ 13713361 h 95949088"/>
              <a:gd name="connsiteX3" fmla="*/ 2957185 w 6843447"/>
              <a:gd name="connsiteY3" fmla="*/ 82614673 h 95949088"/>
              <a:gd name="connsiteX4" fmla="*/ 3986287 w 6843447"/>
              <a:gd name="connsiteY4" fmla="*/ 76968300 h 95949088"/>
              <a:gd name="connsiteX5" fmla="*/ 4892573 w 6843447"/>
              <a:gd name="connsiteY5" fmla="*/ 24356737 h 95949088"/>
              <a:gd name="connsiteX6" fmla="*/ 5886687 w 6843447"/>
              <a:gd name="connsiteY6" fmla="*/ 59226524 h 95949088"/>
              <a:gd name="connsiteX7" fmla="*/ 6843447 w 6843447"/>
              <a:gd name="connsiteY7" fmla="*/ 0 h 95949088"/>
              <a:gd name="connsiteX0" fmla="*/ 0 w 6843447"/>
              <a:gd name="connsiteY0" fmla="*/ 3263017 h 95949088"/>
              <a:gd name="connsiteX1" fmla="*/ 994077 w 6843447"/>
              <a:gd name="connsiteY1" fmla="*/ 95921654 h 95949088"/>
              <a:gd name="connsiteX2" fmla="*/ 1963687 w 6843447"/>
              <a:gd name="connsiteY2" fmla="*/ 13713361 h 95949088"/>
              <a:gd name="connsiteX3" fmla="*/ 2957185 w 6843447"/>
              <a:gd name="connsiteY3" fmla="*/ 82614673 h 95949088"/>
              <a:gd name="connsiteX4" fmla="*/ 3986287 w 6843447"/>
              <a:gd name="connsiteY4" fmla="*/ 76968300 h 95949088"/>
              <a:gd name="connsiteX5" fmla="*/ 4892573 w 6843447"/>
              <a:gd name="connsiteY5" fmla="*/ 24356737 h 95949088"/>
              <a:gd name="connsiteX6" fmla="*/ 6843447 w 6843447"/>
              <a:gd name="connsiteY6" fmla="*/ 0 h 95949088"/>
              <a:gd name="connsiteX0" fmla="*/ 0 w 4892573"/>
              <a:gd name="connsiteY0" fmla="*/ 5906 h 92691977"/>
              <a:gd name="connsiteX1" fmla="*/ 994077 w 4892573"/>
              <a:gd name="connsiteY1" fmla="*/ 92664543 h 92691977"/>
              <a:gd name="connsiteX2" fmla="*/ 1963687 w 4892573"/>
              <a:gd name="connsiteY2" fmla="*/ 10456250 h 92691977"/>
              <a:gd name="connsiteX3" fmla="*/ 2957185 w 4892573"/>
              <a:gd name="connsiteY3" fmla="*/ 79357562 h 92691977"/>
              <a:gd name="connsiteX4" fmla="*/ 3986287 w 4892573"/>
              <a:gd name="connsiteY4" fmla="*/ 73711189 h 92691977"/>
              <a:gd name="connsiteX5" fmla="*/ 4892573 w 4892573"/>
              <a:gd name="connsiteY5" fmla="*/ 21099626 h 92691977"/>
              <a:gd name="connsiteX0" fmla="*/ 0 w 8729853"/>
              <a:gd name="connsiteY0" fmla="*/ 5906 h 92691977"/>
              <a:gd name="connsiteX1" fmla="*/ 994077 w 8729853"/>
              <a:gd name="connsiteY1" fmla="*/ 92664543 h 92691977"/>
              <a:gd name="connsiteX2" fmla="*/ 1963687 w 8729853"/>
              <a:gd name="connsiteY2" fmla="*/ 10456250 h 92691977"/>
              <a:gd name="connsiteX3" fmla="*/ 2957185 w 8729853"/>
              <a:gd name="connsiteY3" fmla="*/ 79357562 h 92691977"/>
              <a:gd name="connsiteX4" fmla="*/ 3986287 w 8729853"/>
              <a:gd name="connsiteY4" fmla="*/ 73711189 h 92691977"/>
              <a:gd name="connsiteX5" fmla="*/ 8729853 w 8729853"/>
              <a:gd name="connsiteY5" fmla="*/ 45163088 h 92691977"/>
              <a:gd name="connsiteX0" fmla="*/ 0 w 9285248"/>
              <a:gd name="connsiteY0" fmla="*/ 5906 h 92691977"/>
              <a:gd name="connsiteX1" fmla="*/ 994077 w 9285248"/>
              <a:gd name="connsiteY1" fmla="*/ 92664543 h 92691977"/>
              <a:gd name="connsiteX2" fmla="*/ 1963687 w 9285248"/>
              <a:gd name="connsiteY2" fmla="*/ 10456250 h 92691977"/>
              <a:gd name="connsiteX3" fmla="*/ 2957185 w 9285248"/>
              <a:gd name="connsiteY3" fmla="*/ 79357562 h 92691977"/>
              <a:gd name="connsiteX4" fmla="*/ 3986287 w 9285248"/>
              <a:gd name="connsiteY4" fmla="*/ 73711189 h 92691977"/>
              <a:gd name="connsiteX5" fmla="*/ 9285248 w 9285248"/>
              <a:gd name="connsiteY5" fmla="*/ 51032246 h 92691977"/>
              <a:gd name="connsiteX0" fmla="*/ 0 w 9285248"/>
              <a:gd name="connsiteY0" fmla="*/ 5906 h 92691977"/>
              <a:gd name="connsiteX1" fmla="*/ 994077 w 9285248"/>
              <a:gd name="connsiteY1" fmla="*/ 92664543 h 92691977"/>
              <a:gd name="connsiteX2" fmla="*/ 1963687 w 9285248"/>
              <a:gd name="connsiteY2" fmla="*/ 10456250 h 92691977"/>
              <a:gd name="connsiteX3" fmla="*/ 2957185 w 9285248"/>
              <a:gd name="connsiteY3" fmla="*/ 79357562 h 92691977"/>
              <a:gd name="connsiteX4" fmla="*/ 7278270 w 9285248"/>
              <a:gd name="connsiteY4" fmla="*/ 61972928 h 92691977"/>
              <a:gd name="connsiteX5" fmla="*/ 9285248 w 9285248"/>
              <a:gd name="connsiteY5" fmla="*/ 51032246 h 92691977"/>
              <a:gd name="connsiteX0" fmla="*/ 0 w 9285248"/>
              <a:gd name="connsiteY0" fmla="*/ 5906 h 92692639"/>
              <a:gd name="connsiteX1" fmla="*/ 994077 w 9285248"/>
              <a:gd name="connsiteY1" fmla="*/ 92664543 h 92692639"/>
              <a:gd name="connsiteX2" fmla="*/ 1963687 w 9285248"/>
              <a:gd name="connsiteY2" fmla="*/ 10456250 h 92692639"/>
              <a:gd name="connsiteX3" fmla="*/ 5633183 w 9285248"/>
              <a:gd name="connsiteY3" fmla="*/ 67619300 h 92692639"/>
              <a:gd name="connsiteX4" fmla="*/ 7278270 w 9285248"/>
              <a:gd name="connsiteY4" fmla="*/ 61972928 h 92692639"/>
              <a:gd name="connsiteX5" fmla="*/ 9285248 w 9285248"/>
              <a:gd name="connsiteY5" fmla="*/ 51032246 h 92692639"/>
              <a:gd name="connsiteX0" fmla="*/ 0 w 9285248"/>
              <a:gd name="connsiteY0" fmla="*/ 6624 h 95155868"/>
              <a:gd name="connsiteX1" fmla="*/ 994077 w 9285248"/>
              <a:gd name="connsiteY1" fmla="*/ 92665261 h 95155868"/>
              <a:gd name="connsiteX2" fmla="*/ 3771247 w 9285248"/>
              <a:gd name="connsiteY2" fmla="*/ 68561393 h 95155868"/>
              <a:gd name="connsiteX3" fmla="*/ 5633183 w 9285248"/>
              <a:gd name="connsiteY3" fmla="*/ 67620018 h 95155868"/>
              <a:gd name="connsiteX4" fmla="*/ 7278270 w 9285248"/>
              <a:gd name="connsiteY4" fmla="*/ 61973646 h 95155868"/>
              <a:gd name="connsiteX5" fmla="*/ 9285248 w 9285248"/>
              <a:gd name="connsiteY5" fmla="*/ 51032964 h 95155868"/>
              <a:gd name="connsiteX0" fmla="*/ 0 w 9285248"/>
              <a:gd name="connsiteY0" fmla="*/ 9605 h 72376572"/>
              <a:gd name="connsiteX1" fmla="*/ 2195751 w 9285248"/>
              <a:gd name="connsiteY1" fmla="*/ 66844076 h 72376572"/>
              <a:gd name="connsiteX2" fmla="*/ 3771247 w 9285248"/>
              <a:gd name="connsiteY2" fmla="*/ 68564374 h 72376572"/>
              <a:gd name="connsiteX3" fmla="*/ 5633183 w 9285248"/>
              <a:gd name="connsiteY3" fmla="*/ 67622999 h 72376572"/>
              <a:gd name="connsiteX4" fmla="*/ 7278270 w 9285248"/>
              <a:gd name="connsiteY4" fmla="*/ 61976627 h 72376572"/>
              <a:gd name="connsiteX5" fmla="*/ 9285248 w 9285248"/>
              <a:gd name="connsiteY5" fmla="*/ 51035945 h 72376572"/>
              <a:gd name="connsiteX0" fmla="*/ 0 w 9285248"/>
              <a:gd name="connsiteY0" fmla="*/ 9605 h 72376572"/>
              <a:gd name="connsiteX1" fmla="*/ 2195751 w 9285248"/>
              <a:gd name="connsiteY1" fmla="*/ 66844076 h 72376572"/>
              <a:gd name="connsiteX2" fmla="*/ 3771247 w 9285248"/>
              <a:gd name="connsiteY2" fmla="*/ 68564374 h 72376572"/>
              <a:gd name="connsiteX3" fmla="*/ 5633183 w 9285248"/>
              <a:gd name="connsiteY3" fmla="*/ 67622999 h 72376572"/>
              <a:gd name="connsiteX4" fmla="*/ 7004027 w 9285248"/>
              <a:gd name="connsiteY4" fmla="*/ 38953126 h 72376572"/>
              <a:gd name="connsiteX5" fmla="*/ 9285248 w 9285248"/>
              <a:gd name="connsiteY5" fmla="*/ 51035945 h 72376572"/>
              <a:gd name="connsiteX0" fmla="*/ 0 w 9285248"/>
              <a:gd name="connsiteY0" fmla="*/ 9605 h 74710193"/>
              <a:gd name="connsiteX1" fmla="*/ 2195751 w 9285248"/>
              <a:gd name="connsiteY1" fmla="*/ 66844076 h 74710193"/>
              <a:gd name="connsiteX2" fmla="*/ 3771247 w 9285248"/>
              <a:gd name="connsiteY2" fmla="*/ 68564374 h 74710193"/>
              <a:gd name="connsiteX3" fmla="*/ 5237054 w 9285248"/>
              <a:gd name="connsiteY3" fmla="*/ 23347080 h 74710193"/>
              <a:gd name="connsiteX4" fmla="*/ 7004027 w 9285248"/>
              <a:gd name="connsiteY4" fmla="*/ 38953126 h 74710193"/>
              <a:gd name="connsiteX5" fmla="*/ 9285248 w 9285248"/>
              <a:gd name="connsiteY5" fmla="*/ 51035945 h 74710193"/>
              <a:gd name="connsiteX0" fmla="*/ 0 w 9285248"/>
              <a:gd name="connsiteY0" fmla="*/ 9605 h 74710193"/>
              <a:gd name="connsiteX1" fmla="*/ 2195751 w 9285248"/>
              <a:gd name="connsiteY1" fmla="*/ 66844076 h 74710193"/>
              <a:gd name="connsiteX2" fmla="*/ 3771247 w 9285248"/>
              <a:gd name="connsiteY2" fmla="*/ 68564374 h 74710193"/>
              <a:gd name="connsiteX3" fmla="*/ 5237054 w 9285248"/>
              <a:gd name="connsiteY3" fmla="*/ 23347080 h 74710193"/>
              <a:gd name="connsiteX4" fmla="*/ 7004027 w 9285248"/>
              <a:gd name="connsiteY4" fmla="*/ 38953126 h 74710193"/>
              <a:gd name="connsiteX5" fmla="*/ 9285248 w 9285248"/>
              <a:gd name="connsiteY5" fmla="*/ 51035945 h 74710193"/>
              <a:gd name="connsiteX0" fmla="*/ 0 w 9285248"/>
              <a:gd name="connsiteY0" fmla="*/ 9605 h 74180221"/>
              <a:gd name="connsiteX1" fmla="*/ 2195751 w 9285248"/>
              <a:gd name="connsiteY1" fmla="*/ 66844076 h 74180221"/>
              <a:gd name="connsiteX2" fmla="*/ 3771247 w 9285248"/>
              <a:gd name="connsiteY2" fmla="*/ 68564374 h 74180221"/>
              <a:gd name="connsiteX3" fmla="*/ 5267525 w 9285248"/>
              <a:gd name="connsiteY3" fmla="*/ 32202264 h 74180221"/>
              <a:gd name="connsiteX4" fmla="*/ 7004027 w 9285248"/>
              <a:gd name="connsiteY4" fmla="*/ 38953126 h 74180221"/>
              <a:gd name="connsiteX5" fmla="*/ 9285248 w 9285248"/>
              <a:gd name="connsiteY5" fmla="*/ 51035945 h 74180221"/>
              <a:gd name="connsiteX0" fmla="*/ 0 w 9178598"/>
              <a:gd name="connsiteY0" fmla="*/ 14093796 h 39583672"/>
              <a:gd name="connsiteX1" fmla="*/ 2089101 w 9178598"/>
              <a:gd name="connsiteY1" fmla="*/ 34881268 h 39583672"/>
              <a:gd name="connsiteX2" fmla="*/ 3664597 w 9178598"/>
              <a:gd name="connsiteY2" fmla="*/ 36601566 h 39583672"/>
              <a:gd name="connsiteX3" fmla="*/ 5160875 w 9178598"/>
              <a:gd name="connsiteY3" fmla="*/ 239456 h 39583672"/>
              <a:gd name="connsiteX4" fmla="*/ 6897377 w 9178598"/>
              <a:gd name="connsiteY4" fmla="*/ 6990318 h 39583672"/>
              <a:gd name="connsiteX5" fmla="*/ 9178598 w 9178598"/>
              <a:gd name="connsiteY5" fmla="*/ 19073137 h 39583672"/>
              <a:gd name="connsiteX0" fmla="*/ 0 w 9178598"/>
              <a:gd name="connsiteY0" fmla="*/ 25848838 h 47073603"/>
              <a:gd name="connsiteX1" fmla="*/ 2089101 w 9178598"/>
              <a:gd name="connsiteY1" fmla="*/ 46636310 h 47073603"/>
              <a:gd name="connsiteX2" fmla="*/ 3359883 w 9178598"/>
              <a:gd name="connsiteY2" fmla="*/ 1424151 h 47073603"/>
              <a:gd name="connsiteX3" fmla="*/ 5160875 w 9178598"/>
              <a:gd name="connsiteY3" fmla="*/ 11994498 h 47073603"/>
              <a:gd name="connsiteX4" fmla="*/ 6897377 w 9178598"/>
              <a:gd name="connsiteY4" fmla="*/ 18745360 h 47073603"/>
              <a:gd name="connsiteX5" fmla="*/ 9178598 w 9178598"/>
              <a:gd name="connsiteY5" fmla="*/ 30828179 h 47073603"/>
              <a:gd name="connsiteX0" fmla="*/ 0 w 9178598"/>
              <a:gd name="connsiteY0" fmla="*/ 24983859 h 46208624"/>
              <a:gd name="connsiteX1" fmla="*/ 2089101 w 9178598"/>
              <a:gd name="connsiteY1" fmla="*/ 45771331 h 46208624"/>
              <a:gd name="connsiteX2" fmla="*/ 3359883 w 9178598"/>
              <a:gd name="connsiteY2" fmla="*/ 559172 h 46208624"/>
              <a:gd name="connsiteX3" fmla="*/ 5160875 w 9178598"/>
              <a:gd name="connsiteY3" fmla="*/ 11129519 h 46208624"/>
              <a:gd name="connsiteX4" fmla="*/ 6897377 w 9178598"/>
              <a:gd name="connsiteY4" fmla="*/ 17880381 h 46208624"/>
              <a:gd name="connsiteX5" fmla="*/ 9178598 w 9178598"/>
              <a:gd name="connsiteY5" fmla="*/ 29963200 h 46208624"/>
              <a:gd name="connsiteX0" fmla="*/ 0 w 8856954"/>
              <a:gd name="connsiteY0" fmla="*/ 24983859 h 46208624"/>
              <a:gd name="connsiteX1" fmla="*/ 2089101 w 8856954"/>
              <a:gd name="connsiteY1" fmla="*/ 45771331 h 46208624"/>
              <a:gd name="connsiteX2" fmla="*/ 3359883 w 8856954"/>
              <a:gd name="connsiteY2" fmla="*/ 559172 h 46208624"/>
              <a:gd name="connsiteX3" fmla="*/ 5160875 w 8856954"/>
              <a:gd name="connsiteY3" fmla="*/ 11129519 h 46208624"/>
              <a:gd name="connsiteX4" fmla="*/ 6897377 w 8856954"/>
              <a:gd name="connsiteY4" fmla="*/ 17880381 h 46208624"/>
              <a:gd name="connsiteX5" fmla="*/ 8856954 w 8856954"/>
              <a:gd name="connsiteY5" fmla="*/ 6595365 h 46208624"/>
              <a:gd name="connsiteX0" fmla="*/ 0 w 8856954"/>
              <a:gd name="connsiteY0" fmla="*/ 31474510 h 52699275"/>
              <a:gd name="connsiteX1" fmla="*/ 2089101 w 8856954"/>
              <a:gd name="connsiteY1" fmla="*/ 52261982 h 52699275"/>
              <a:gd name="connsiteX2" fmla="*/ 3359883 w 8856954"/>
              <a:gd name="connsiteY2" fmla="*/ 7049823 h 52699275"/>
              <a:gd name="connsiteX3" fmla="*/ 5160875 w 8856954"/>
              <a:gd name="connsiteY3" fmla="*/ 17620170 h 52699275"/>
              <a:gd name="connsiteX4" fmla="*/ 6897377 w 8856954"/>
              <a:gd name="connsiteY4" fmla="*/ 24371032 h 52699275"/>
              <a:gd name="connsiteX5" fmla="*/ 8856954 w 8856954"/>
              <a:gd name="connsiteY5" fmla="*/ 0 h 52699275"/>
              <a:gd name="connsiteX0" fmla="*/ 0 w 8856954"/>
              <a:gd name="connsiteY0" fmla="*/ 31474510 h 52699275"/>
              <a:gd name="connsiteX1" fmla="*/ 2089101 w 8856954"/>
              <a:gd name="connsiteY1" fmla="*/ 52261982 h 52699275"/>
              <a:gd name="connsiteX2" fmla="*/ 3359883 w 8856954"/>
              <a:gd name="connsiteY2" fmla="*/ 7049823 h 52699275"/>
              <a:gd name="connsiteX3" fmla="*/ 5160875 w 8856954"/>
              <a:gd name="connsiteY3" fmla="*/ 17620170 h 52699275"/>
              <a:gd name="connsiteX4" fmla="*/ 7058198 w 8856954"/>
              <a:gd name="connsiteY4" fmla="*/ 16893357 h 52699275"/>
              <a:gd name="connsiteX5" fmla="*/ 8856954 w 8856954"/>
              <a:gd name="connsiteY5" fmla="*/ 0 h 52699275"/>
              <a:gd name="connsiteX0" fmla="*/ 0 w 8696133"/>
              <a:gd name="connsiteY0" fmla="*/ 13714961 h 52284394"/>
              <a:gd name="connsiteX1" fmla="*/ 1928280 w 8696133"/>
              <a:gd name="connsiteY1" fmla="*/ 52261982 h 52284394"/>
              <a:gd name="connsiteX2" fmla="*/ 3199062 w 8696133"/>
              <a:gd name="connsiteY2" fmla="*/ 7049823 h 52284394"/>
              <a:gd name="connsiteX3" fmla="*/ 5000054 w 8696133"/>
              <a:gd name="connsiteY3" fmla="*/ 17620170 h 52284394"/>
              <a:gd name="connsiteX4" fmla="*/ 6897377 w 8696133"/>
              <a:gd name="connsiteY4" fmla="*/ 16893357 h 52284394"/>
              <a:gd name="connsiteX5" fmla="*/ 8696133 w 8696133"/>
              <a:gd name="connsiteY5" fmla="*/ 0 h 52284394"/>
              <a:gd name="connsiteX0" fmla="*/ 0 w 8696133"/>
              <a:gd name="connsiteY0" fmla="*/ 13714961 h 20186624"/>
              <a:gd name="connsiteX1" fmla="*/ 1852292 w 8696133"/>
              <a:gd name="connsiteY1" fmla="*/ 20084449 h 20186624"/>
              <a:gd name="connsiteX2" fmla="*/ 3199062 w 8696133"/>
              <a:gd name="connsiteY2" fmla="*/ 7049823 h 20186624"/>
              <a:gd name="connsiteX3" fmla="*/ 5000054 w 8696133"/>
              <a:gd name="connsiteY3" fmla="*/ 17620170 h 20186624"/>
              <a:gd name="connsiteX4" fmla="*/ 6897377 w 8696133"/>
              <a:gd name="connsiteY4" fmla="*/ 16893357 h 20186624"/>
              <a:gd name="connsiteX5" fmla="*/ 8696133 w 8696133"/>
              <a:gd name="connsiteY5" fmla="*/ 0 h 20186624"/>
              <a:gd name="connsiteX0" fmla="*/ 0 w 8696133"/>
              <a:gd name="connsiteY0" fmla="*/ 13714961 h 20186624"/>
              <a:gd name="connsiteX1" fmla="*/ 1852292 w 8696133"/>
              <a:gd name="connsiteY1" fmla="*/ 20084449 h 20186624"/>
              <a:gd name="connsiteX2" fmla="*/ 3199062 w 8696133"/>
              <a:gd name="connsiteY2" fmla="*/ 7049823 h 20186624"/>
              <a:gd name="connsiteX3" fmla="*/ 5000054 w 8696133"/>
              <a:gd name="connsiteY3" fmla="*/ 15727375 h 20186624"/>
              <a:gd name="connsiteX4" fmla="*/ 6897377 w 8696133"/>
              <a:gd name="connsiteY4" fmla="*/ 16893357 h 20186624"/>
              <a:gd name="connsiteX5" fmla="*/ 8696133 w 8696133"/>
              <a:gd name="connsiteY5" fmla="*/ 0 h 20186624"/>
              <a:gd name="connsiteX0" fmla="*/ 0 w 8696133"/>
              <a:gd name="connsiteY0" fmla="*/ 13714961 h 20186624"/>
              <a:gd name="connsiteX1" fmla="*/ 1852292 w 8696133"/>
              <a:gd name="connsiteY1" fmla="*/ 20084449 h 20186624"/>
              <a:gd name="connsiteX2" fmla="*/ 3199062 w 8696133"/>
              <a:gd name="connsiteY2" fmla="*/ 7049823 h 20186624"/>
              <a:gd name="connsiteX3" fmla="*/ 5000054 w 8696133"/>
              <a:gd name="connsiteY3" fmla="*/ 15727375 h 20186624"/>
              <a:gd name="connsiteX4" fmla="*/ 6940799 w 8696133"/>
              <a:gd name="connsiteY4" fmla="*/ 14369629 h 20186624"/>
              <a:gd name="connsiteX5" fmla="*/ 8696133 w 8696133"/>
              <a:gd name="connsiteY5" fmla="*/ 0 h 20186624"/>
              <a:gd name="connsiteX0" fmla="*/ 0 w 8772121"/>
              <a:gd name="connsiteY0" fmla="*/ 6710677 h 13182340"/>
              <a:gd name="connsiteX1" fmla="*/ 1852292 w 8772121"/>
              <a:gd name="connsiteY1" fmla="*/ 13080165 h 13182340"/>
              <a:gd name="connsiteX2" fmla="*/ 3199062 w 8772121"/>
              <a:gd name="connsiteY2" fmla="*/ 45539 h 13182340"/>
              <a:gd name="connsiteX3" fmla="*/ 5000054 w 8772121"/>
              <a:gd name="connsiteY3" fmla="*/ 8723091 h 13182340"/>
              <a:gd name="connsiteX4" fmla="*/ 6940799 w 8772121"/>
              <a:gd name="connsiteY4" fmla="*/ 7365345 h 13182340"/>
              <a:gd name="connsiteX5" fmla="*/ 8772121 w 8772121"/>
              <a:gd name="connsiteY5" fmla="*/ 3721561 h 13182340"/>
              <a:gd name="connsiteX0" fmla="*/ 0 w 8772121"/>
              <a:gd name="connsiteY0" fmla="*/ 6710677 h 13182340"/>
              <a:gd name="connsiteX1" fmla="*/ 1852292 w 8772121"/>
              <a:gd name="connsiteY1" fmla="*/ 13080165 h 13182340"/>
              <a:gd name="connsiteX2" fmla="*/ 3199062 w 8772121"/>
              <a:gd name="connsiteY2" fmla="*/ 45539 h 13182340"/>
              <a:gd name="connsiteX3" fmla="*/ 5000054 w 8772121"/>
              <a:gd name="connsiteY3" fmla="*/ 8723091 h 13182340"/>
              <a:gd name="connsiteX4" fmla="*/ 6940799 w 8772121"/>
              <a:gd name="connsiteY4" fmla="*/ 7365345 h 13182340"/>
              <a:gd name="connsiteX5" fmla="*/ 8772121 w 8772121"/>
              <a:gd name="connsiteY5" fmla="*/ 3721561 h 13182340"/>
              <a:gd name="connsiteX0" fmla="*/ 0 w 9206340"/>
              <a:gd name="connsiteY0" fmla="*/ 130231056 h 130231056"/>
              <a:gd name="connsiteX1" fmla="*/ 2286511 w 9206340"/>
              <a:gd name="connsiteY1" fmla="*/ 14372886 h 130231056"/>
              <a:gd name="connsiteX2" fmla="*/ 3633281 w 9206340"/>
              <a:gd name="connsiteY2" fmla="*/ 1338260 h 130231056"/>
              <a:gd name="connsiteX3" fmla="*/ 5434273 w 9206340"/>
              <a:gd name="connsiteY3" fmla="*/ 10015812 h 130231056"/>
              <a:gd name="connsiteX4" fmla="*/ 7375018 w 9206340"/>
              <a:gd name="connsiteY4" fmla="*/ 8658066 h 130231056"/>
              <a:gd name="connsiteX5" fmla="*/ 9206340 w 9206340"/>
              <a:gd name="connsiteY5" fmla="*/ 5014282 h 130231056"/>
              <a:gd name="connsiteX0" fmla="*/ 0 w 9206340"/>
              <a:gd name="connsiteY0" fmla="*/ 139153749 h 142211313"/>
              <a:gd name="connsiteX1" fmla="*/ 2286511 w 9206340"/>
              <a:gd name="connsiteY1" fmla="*/ 23295579 h 142211313"/>
              <a:gd name="connsiteX2" fmla="*/ 3633281 w 9206340"/>
              <a:gd name="connsiteY2" fmla="*/ 10260953 h 142211313"/>
              <a:gd name="connsiteX3" fmla="*/ 5169172 w 9206340"/>
              <a:gd name="connsiteY3" fmla="*/ 142202702 h 142211313"/>
              <a:gd name="connsiteX4" fmla="*/ 7375018 w 9206340"/>
              <a:gd name="connsiteY4" fmla="*/ 17580759 h 142211313"/>
              <a:gd name="connsiteX5" fmla="*/ 9206340 w 9206340"/>
              <a:gd name="connsiteY5" fmla="*/ 13936975 h 142211313"/>
              <a:gd name="connsiteX0" fmla="*/ 0 w 9206340"/>
              <a:gd name="connsiteY0" fmla="*/ 139153749 h 142202867"/>
              <a:gd name="connsiteX1" fmla="*/ 2286511 w 9206340"/>
              <a:gd name="connsiteY1" fmla="*/ 23295579 h 142202867"/>
              <a:gd name="connsiteX2" fmla="*/ 3633281 w 9206340"/>
              <a:gd name="connsiteY2" fmla="*/ 10260953 h 142202867"/>
              <a:gd name="connsiteX3" fmla="*/ 5169172 w 9206340"/>
              <a:gd name="connsiteY3" fmla="*/ 142202702 h 142202867"/>
              <a:gd name="connsiteX4" fmla="*/ 7375018 w 9206340"/>
              <a:gd name="connsiteY4" fmla="*/ 17580759 h 142202867"/>
              <a:gd name="connsiteX5" fmla="*/ 9206340 w 9206340"/>
              <a:gd name="connsiteY5" fmla="*/ 13936975 h 142202867"/>
              <a:gd name="connsiteX0" fmla="*/ 0 w 8575581"/>
              <a:gd name="connsiteY0" fmla="*/ 139153749 h 142202867"/>
              <a:gd name="connsiteX1" fmla="*/ 2286511 w 8575581"/>
              <a:gd name="connsiteY1" fmla="*/ 23295579 h 142202867"/>
              <a:gd name="connsiteX2" fmla="*/ 3633281 w 8575581"/>
              <a:gd name="connsiteY2" fmla="*/ 10260953 h 142202867"/>
              <a:gd name="connsiteX3" fmla="*/ 5169172 w 8575581"/>
              <a:gd name="connsiteY3" fmla="*/ 142202702 h 142202867"/>
              <a:gd name="connsiteX4" fmla="*/ 7375018 w 8575581"/>
              <a:gd name="connsiteY4" fmla="*/ 17580759 h 142202867"/>
              <a:gd name="connsiteX5" fmla="*/ 8575581 w 8575581"/>
              <a:gd name="connsiteY5" fmla="*/ 122324478 h 142202867"/>
              <a:gd name="connsiteX0" fmla="*/ 0 w 8575581"/>
              <a:gd name="connsiteY0" fmla="*/ 139153749 h 142202867"/>
              <a:gd name="connsiteX1" fmla="*/ 2286511 w 8575581"/>
              <a:gd name="connsiteY1" fmla="*/ 23295579 h 142202867"/>
              <a:gd name="connsiteX2" fmla="*/ 3633281 w 8575581"/>
              <a:gd name="connsiteY2" fmla="*/ 10260953 h 142202867"/>
              <a:gd name="connsiteX3" fmla="*/ 5169172 w 8575581"/>
              <a:gd name="connsiteY3" fmla="*/ 142202702 h 142202867"/>
              <a:gd name="connsiteX4" fmla="*/ 7375018 w 8575581"/>
              <a:gd name="connsiteY4" fmla="*/ 17580759 h 142202867"/>
              <a:gd name="connsiteX5" fmla="*/ 8575581 w 8575581"/>
              <a:gd name="connsiteY5" fmla="*/ 122324478 h 142202867"/>
              <a:gd name="connsiteX0" fmla="*/ 0 w 8575581"/>
              <a:gd name="connsiteY0" fmla="*/ 139153749 h 147717478"/>
              <a:gd name="connsiteX1" fmla="*/ 2286511 w 8575581"/>
              <a:gd name="connsiteY1" fmla="*/ 23295579 h 147717478"/>
              <a:gd name="connsiteX2" fmla="*/ 3633281 w 8575581"/>
              <a:gd name="connsiteY2" fmla="*/ 10260953 h 147717478"/>
              <a:gd name="connsiteX3" fmla="*/ 5169172 w 8575581"/>
              <a:gd name="connsiteY3" fmla="*/ 142202702 h 147717478"/>
              <a:gd name="connsiteX4" fmla="*/ 8575581 w 8575581"/>
              <a:gd name="connsiteY4" fmla="*/ 122324478 h 147717478"/>
              <a:gd name="connsiteX0" fmla="*/ 0 w 6966687"/>
              <a:gd name="connsiteY0" fmla="*/ 139153749 h 148324564"/>
              <a:gd name="connsiteX1" fmla="*/ 2286511 w 6966687"/>
              <a:gd name="connsiteY1" fmla="*/ 23295579 h 148324564"/>
              <a:gd name="connsiteX2" fmla="*/ 3633281 w 6966687"/>
              <a:gd name="connsiteY2" fmla="*/ 10260953 h 148324564"/>
              <a:gd name="connsiteX3" fmla="*/ 5169172 w 6966687"/>
              <a:gd name="connsiteY3" fmla="*/ 142202702 h 148324564"/>
              <a:gd name="connsiteX4" fmla="*/ 6966687 w 6966687"/>
              <a:gd name="connsiteY4" fmla="*/ 125512368 h 148324564"/>
              <a:gd name="connsiteX0" fmla="*/ 0 w 6966687"/>
              <a:gd name="connsiteY0" fmla="*/ 139153749 h 149187500"/>
              <a:gd name="connsiteX1" fmla="*/ 2286511 w 6966687"/>
              <a:gd name="connsiteY1" fmla="*/ 23295579 h 149187500"/>
              <a:gd name="connsiteX2" fmla="*/ 3633281 w 6966687"/>
              <a:gd name="connsiteY2" fmla="*/ 10260953 h 149187500"/>
              <a:gd name="connsiteX3" fmla="*/ 5169172 w 6966687"/>
              <a:gd name="connsiteY3" fmla="*/ 142202702 h 149187500"/>
              <a:gd name="connsiteX4" fmla="*/ 6966687 w 6966687"/>
              <a:gd name="connsiteY4" fmla="*/ 125512368 h 149187500"/>
              <a:gd name="connsiteX0" fmla="*/ 0 w 6966687"/>
              <a:gd name="connsiteY0" fmla="*/ 139153749 h 142241010"/>
              <a:gd name="connsiteX1" fmla="*/ 2286511 w 6966687"/>
              <a:gd name="connsiteY1" fmla="*/ 23295579 h 142241010"/>
              <a:gd name="connsiteX2" fmla="*/ 3633281 w 6966687"/>
              <a:gd name="connsiteY2" fmla="*/ 10260953 h 142241010"/>
              <a:gd name="connsiteX3" fmla="*/ 5169172 w 6966687"/>
              <a:gd name="connsiteY3" fmla="*/ 142202702 h 142241010"/>
              <a:gd name="connsiteX4" fmla="*/ 6966687 w 6966687"/>
              <a:gd name="connsiteY4" fmla="*/ 125512368 h 142241010"/>
              <a:gd name="connsiteX0" fmla="*/ 0 w 6966687"/>
              <a:gd name="connsiteY0" fmla="*/ 139153749 h 142209049"/>
              <a:gd name="connsiteX1" fmla="*/ 2286511 w 6966687"/>
              <a:gd name="connsiteY1" fmla="*/ 23295579 h 142209049"/>
              <a:gd name="connsiteX2" fmla="*/ 3633281 w 6966687"/>
              <a:gd name="connsiteY2" fmla="*/ 10260953 h 142209049"/>
              <a:gd name="connsiteX3" fmla="*/ 5169172 w 6966687"/>
              <a:gd name="connsiteY3" fmla="*/ 142202702 h 142209049"/>
              <a:gd name="connsiteX4" fmla="*/ 6966687 w 6966687"/>
              <a:gd name="connsiteY4" fmla="*/ 125512368 h 142209049"/>
              <a:gd name="connsiteX0" fmla="*/ 0 w 6966687"/>
              <a:gd name="connsiteY0" fmla="*/ 139153749 h 142241010"/>
              <a:gd name="connsiteX1" fmla="*/ 2286511 w 6966687"/>
              <a:gd name="connsiteY1" fmla="*/ 23295579 h 142241010"/>
              <a:gd name="connsiteX2" fmla="*/ 3633281 w 6966687"/>
              <a:gd name="connsiteY2" fmla="*/ 10260953 h 142241010"/>
              <a:gd name="connsiteX3" fmla="*/ 5169172 w 6966687"/>
              <a:gd name="connsiteY3" fmla="*/ 142202702 h 142241010"/>
              <a:gd name="connsiteX4" fmla="*/ 6966687 w 6966687"/>
              <a:gd name="connsiteY4" fmla="*/ 125512368 h 142241010"/>
              <a:gd name="connsiteX0" fmla="*/ 0 w 6966687"/>
              <a:gd name="connsiteY0" fmla="*/ 139153749 h 142241010"/>
              <a:gd name="connsiteX1" fmla="*/ 2286511 w 6966687"/>
              <a:gd name="connsiteY1" fmla="*/ 23295579 h 142241010"/>
              <a:gd name="connsiteX2" fmla="*/ 3633281 w 6966687"/>
              <a:gd name="connsiteY2" fmla="*/ 10260953 h 142241010"/>
              <a:gd name="connsiteX3" fmla="*/ 5169172 w 6966687"/>
              <a:gd name="connsiteY3" fmla="*/ 142202701 h 142241010"/>
              <a:gd name="connsiteX4" fmla="*/ 6966687 w 6966687"/>
              <a:gd name="connsiteY4" fmla="*/ 125512368 h 142241010"/>
              <a:gd name="connsiteX0" fmla="*/ 0 w 6966687"/>
              <a:gd name="connsiteY0" fmla="*/ 139153749 h 151676839"/>
              <a:gd name="connsiteX1" fmla="*/ 2286511 w 6966687"/>
              <a:gd name="connsiteY1" fmla="*/ 23295579 h 151676839"/>
              <a:gd name="connsiteX2" fmla="*/ 3633281 w 6966687"/>
              <a:gd name="connsiteY2" fmla="*/ 10260953 h 151676839"/>
              <a:gd name="connsiteX3" fmla="*/ 5169172 w 6966687"/>
              <a:gd name="connsiteY3" fmla="*/ 142202701 h 151676839"/>
              <a:gd name="connsiteX4" fmla="*/ 5860925 w 6966687"/>
              <a:gd name="connsiteY4" fmla="*/ 139441284 h 151676839"/>
              <a:gd name="connsiteX5" fmla="*/ 6966687 w 6966687"/>
              <a:gd name="connsiteY5" fmla="*/ 125512368 h 151676839"/>
              <a:gd name="connsiteX0" fmla="*/ 0 w 6966687"/>
              <a:gd name="connsiteY0" fmla="*/ 139153749 h 149621701"/>
              <a:gd name="connsiteX1" fmla="*/ 2286511 w 6966687"/>
              <a:gd name="connsiteY1" fmla="*/ 23295579 h 149621701"/>
              <a:gd name="connsiteX2" fmla="*/ 3633281 w 6966687"/>
              <a:gd name="connsiteY2" fmla="*/ 10260953 h 149621701"/>
              <a:gd name="connsiteX3" fmla="*/ 5169172 w 6966687"/>
              <a:gd name="connsiteY3" fmla="*/ 142202701 h 149621701"/>
              <a:gd name="connsiteX4" fmla="*/ 5492338 w 6966687"/>
              <a:gd name="connsiteY4" fmla="*/ 129049452 h 149621701"/>
              <a:gd name="connsiteX5" fmla="*/ 6966687 w 6966687"/>
              <a:gd name="connsiteY5" fmla="*/ 125512368 h 149621701"/>
              <a:gd name="connsiteX0" fmla="*/ 0 w 6966687"/>
              <a:gd name="connsiteY0" fmla="*/ 139153749 h 149621701"/>
              <a:gd name="connsiteX1" fmla="*/ 2286511 w 6966687"/>
              <a:gd name="connsiteY1" fmla="*/ 23295579 h 149621701"/>
              <a:gd name="connsiteX2" fmla="*/ 3633281 w 6966687"/>
              <a:gd name="connsiteY2" fmla="*/ 10260953 h 149621701"/>
              <a:gd name="connsiteX3" fmla="*/ 4152144 w 6966687"/>
              <a:gd name="connsiteY3" fmla="*/ 142202702 h 149621701"/>
              <a:gd name="connsiteX4" fmla="*/ 5492338 w 6966687"/>
              <a:gd name="connsiteY4" fmla="*/ 129049452 h 149621701"/>
              <a:gd name="connsiteX5" fmla="*/ 6966687 w 6966687"/>
              <a:gd name="connsiteY5" fmla="*/ 125512368 h 149621701"/>
              <a:gd name="connsiteX0" fmla="*/ 0 w 6966687"/>
              <a:gd name="connsiteY0" fmla="*/ 139153749 h 142238582"/>
              <a:gd name="connsiteX1" fmla="*/ 2286511 w 6966687"/>
              <a:gd name="connsiteY1" fmla="*/ 23295579 h 142238582"/>
              <a:gd name="connsiteX2" fmla="*/ 3633281 w 6966687"/>
              <a:gd name="connsiteY2" fmla="*/ 10260953 h 142238582"/>
              <a:gd name="connsiteX3" fmla="*/ 4152144 w 6966687"/>
              <a:gd name="connsiteY3" fmla="*/ 142202702 h 142238582"/>
              <a:gd name="connsiteX4" fmla="*/ 5492338 w 6966687"/>
              <a:gd name="connsiteY4" fmla="*/ 129049452 h 142238582"/>
              <a:gd name="connsiteX5" fmla="*/ 6966687 w 6966687"/>
              <a:gd name="connsiteY5" fmla="*/ 125512368 h 142238582"/>
              <a:gd name="connsiteX0" fmla="*/ 0 w 6939385"/>
              <a:gd name="connsiteY0" fmla="*/ 139153749 h 142238582"/>
              <a:gd name="connsiteX1" fmla="*/ 2286511 w 6939385"/>
              <a:gd name="connsiteY1" fmla="*/ 23295579 h 142238582"/>
              <a:gd name="connsiteX2" fmla="*/ 3633281 w 6939385"/>
              <a:gd name="connsiteY2" fmla="*/ 10260953 h 142238582"/>
              <a:gd name="connsiteX3" fmla="*/ 4152144 w 6939385"/>
              <a:gd name="connsiteY3" fmla="*/ 142202702 h 142238582"/>
              <a:gd name="connsiteX4" fmla="*/ 5492338 w 6939385"/>
              <a:gd name="connsiteY4" fmla="*/ 129049452 h 142238582"/>
              <a:gd name="connsiteX5" fmla="*/ 6939385 w 6939385"/>
              <a:gd name="connsiteY5" fmla="*/ 76027479 h 142238582"/>
              <a:gd name="connsiteX0" fmla="*/ 0 w 6834075"/>
              <a:gd name="connsiteY0" fmla="*/ 139153749 h 188066274"/>
              <a:gd name="connsiteX1" fmla="*/ 2286511 w 6834075"/>
              <a:gd name="connsiteY1" fmla="*/ 23295579 h 188066274"/>
              <a:gd name="connsiteX2" fmla="*/ 3633281 w 6834075"/>
              <a:gd name="connsiteY2" fmla="*/ 10260953 h 188066274"/>
              <a:gd name="connsiteX3" fmla="*/ 4152144 w 6834075"/>
              <a:gd name="connsiteY3" fmla="*/ 142202702 h 188066274"/>
              <a:gd name="connsiteX4" fmla="*/ 5492338 w 6834075"/>
              <a:gd name="connsiteY4" fmla="*/ 129049452 h 188066274"/>
              <a:gd name="connsiteX5" fmla="*/ 6834075 w 6834075"/>
              <a:gd name="connsiteY5" fmla="*/ 188004671 h 188066274"/>
              <a:gd name="connsiteX0" fmla="*/ 0 w 6839926"/>
              <a:gd name="connsiteY0" fmla="*/ 139153749 h 193575531"/>
              <a:gd name="connsiteX1" fmla="*/ 2286511 w 6839926"/>
              <a:gd name="connsiteY1" fmla="*/ 23295579 h 193575531"/>
              <a:gd name="connsiteX2" fmla="*/ 3633281 w 6839926"/>
              <a:gd name="connsiteY2" fmla="*/ 10260953 h 193575531"/>
              <a:gd name="connsiteX3" fmla="*/ 4152144 w 6839926"/>
              <a:gd name="connsiteY3" fmla="*/ 142202702 h 193575531"/>
              <a:gd name="connsiteX4" fmla="*/ 5492338 w 6839926"/>
              <a:gd name="connsiteY4" fmla="*/ 129049452 h 193575531"/>
              <a:gd name="connsiteX5" fmla="*/ 6839926 w 6839926"/>
              <a:gd name="connsiteY5" fmla="*/ 193518675 h 193575531"/>
              <a:gd name="connsiteX0" fmla="*/ 0 w 6839926"/>
              <a:gd name="connsiteY0" fmla="*/ 139153749 h 193518675"/>
              <a:gd name="connsiteX1" fmla="*/ 2286511 w 6839926"/>
              <a:gd name="connsiteY1" fmla="*/ 23295579 h 193518675"/>
              <a:gd name="connsiteX2" fmla="*/ 3633281 w 6839926"/>
              <a:gd name="connsiteY2" fmla="*/ 10260953 h 193518675"/>
              <a:gd name="connsiteX3" fmla="*/ 4152144 w 6839926"/>
              <a:gd name="connsiteY3" fmla="*/ 142202702 h 193518675"/>
              <a:gd name="connsiteX4" fmla="*/ 5492338 w 6839926"/>
              <a:gd name="connsiteY4" fmla="*/ 129049452 h 193518675"/>
              <a:gd name="connsiteX5" fmla="*/ 6839926 w 6839926"/>
              <a:gd name="connsiteY5" fmla="*/ 193518675 h 193518675"/>
              <a:gd name="connsiteX0" fmla="*/ 0 w 6839926"/>
              <a:gd name="connsiteY0" fmla="*/ 129063418 h 183428344"/>
              <a:gd name="connsiteX1" fmla="*/ 1352415 w 6839926"/>
              <a:gd name="connsiteY1" fmla="*/ 163367078 h 183428344"/>
              <a:gd name="connsiteX2" fmla="*/ 3633281 w 6839926"/>
              <a:gd name="connsiteY2" fmla="*/ 170622 h 183428344"/>
              <a:gd name="connsiteX3" fmla="*/ 4152144 w 6839926"/>
              <a:gd name="connsiteY3" fmla="*/ 132112371 h 183428344"/>
              <a:gd name="connsiteX4" fmla="*/ 5492338 w 6839926"/>
              <a:gd name="connsiteY4" fmla="*/ 118959121 h 183428344"/>
              <a:gd name="connsiteX5" fmla="*/ 6839926 w 6839926"/>
              <a:gd name="connsiteY5" fmla="*/ 183428344 h 183428344"/>
              <a:gd name="connsiteX0" fmla="*/ 0 w 6839926"/>
              <a:gd name="connsiteY0" fmla="*/ 129063418 h 183428344"/>
              <a:gd name="connsiteX1" fmla="*/ 1352415 w 6839926"/>
              <a:gd name="connsiteY1" fmla="*/ 163367078 h 183428344"/>
              <a:gd name="connsiteX2" fmla="*/ 3633281 w 6839926"/>
              <a:gd name="connsiteY2" fmla="*/ 170622 h 183428344"/>
              <a:gd name="connsiteX3" fmla="*/ 4152144 w 6839926"/>
              <a:gd name="connsiteY3" fmla="*/ 132112371 h 183428344"/>
              <a:gd name="connsiteX4" fmla="*/ 5492338 w 6839926"/>
              <a:gd name="connsiteY4" fmla="*/ 118959121 h 183428344"/>
              <a:gd name="connsiteX5" fmla="*/ 6839926 w 6839926"/>
              <a:gd name="connsiteY5" fmla="*/ 183428344 h 183428344"/>
              <a:gd name="connsiteX0" fmla="*/ 0 w 6839926"/>
              <a:gd name="connsiteY0" fmla="*/ 129115250 h 183480176"/>
              <a:gd name="connsiteX1" fmla="*/ 1352415 w 6839926"/>
              <a:gd name="connsiteY1" fmla="*/ 168045745 h 183480176"/>
              <a:gd name="connsiteX2" fmla="*/ 3633281 w 6839926"/>
              <a:gd name="connsiteY2" fmla="*/ 222454 h 183480176"/>
              <a:gd name="connsiteX3" fmla="*/ 4152144 w 6839926"/>
              <a:gd name="connsiteY3" fmla="*/ 132164203 h 183480176"/>
              <a:gd name="connsiteX4" fmla="*/ 5492338 w 6839926"/>
              <a:gd name="connsiteY4" fmla="*/ 119010953 h 183480176"/>
              <a:gd name="connsiteX5" fmla="*/ 6839926 w 6839926"/>
              <a:gd name="connsiteY5" fmla="*/ 183480176 h 183480176"/>
              <a:gd name="connsiteX0" fmla="*/ 0 w 6839926"/>
              <a:gd name="connsiteY0" fmla="*/ 10200289 h 64565215"/>
              <a:gd name="connsiteX1" fmla="*/ 1352415 w 6839926"/>
              <a:gd name="connsiteY1" fmla="*/ 49130784 h 64565215"/>
              <a:gd name="connsiteX2" fmla="*/ 2699185 w 6839926"/>
              <a:gd name="connsiteY2" fmla="*/ 48294178 h 64565215"/>
              <a:gd name="connsiteX3" fmla="*/ 4152144 w 6839926"/>
              <a:gd name="connsiteY3" fmla="*/ 13249242 h 64565215"/>
              <a:gd name="connsiteX4" fmla="*/ 5492338 w 6839926"/>
              <a:gd name="connsiteY4" fmla="*/ 95992 h 64565215"/>
              <a:gd name="connsiteX5" fmla="*/ 6839926 w 6839926"/>
              <a:gd name="connsiteY5" fmla="*/ 64565215 h 64565215"/>
              <a:gd name="connsiteX0" fmla="*/ 0 w 6839926"/>
              <a:gd name="connsiteY0" fmla="*/ 10200289 h 64565215"/>
              <a:gd name="connsiteX1" fmla="*/ 1352415 w 6839926"/>
              <a:gd name="connsiteY1" fmla="*/ 49130784 h 64565215"/>
              <a:gd name="connsiteX2" fmla="*/ 2699185 w 6839926"/>
              <a:gd name="connsiteY2" fmla="*/ 48294178 h 64565215"/>
              <a:gd name="connsiteX3" fmla="*/ 4152144 w 6839926"/>
              <a:gd name="connsiteY3" fmla="*/ 13249242 h 64565215"/>
              <a:gd name="connsiteX4" fmla="*/ 5492338 w 6839926"/>
              <a:gd name="connsiteY4" fmla="*/ 95992 h 64565215"/>
              <a:gd name="connsiteX5" fmla="*/ 6839926 w 6839926"/>
              <a:gd name="connsiteY5" fmla="*/ 64565215 h 64565215"/>
              <a:gd name="connsiteX0" fmla="*/ 0 w 6839926"/>
              <a:gd name="connsiteY0" fmla="*/ 10200289 h 64565215"/>
              <a:gd name="connsiteX1" fmla="*/ 1352415 w 6839926"/>
              <a:gd name="connsiteY1" fmla="*/ 49130784 h 64565215"/>
              <a:gd name="connsiteX2" fmla="*/ 2699185 w 6839926"/>
              <a:gd name="connsiteY2" fmla="*/ 48294178 h 64565215"/>
              <a:gd name="connsiteX3" fmla="*/ 4152144 w 6839926"/>
              <a:gd name="connsiteY3" fmla="*/ 13249242 h 64565215"/>
              <a:gd name="connsiteX4" fmla="*/ 5492338 w 6839926"/>
              <a:gd name="connsiteY4" fmla="*/ 95992 h 64565215"/>
              <a:gd name="connsiteX5" fmla="*/ 6839926 w 6839926"/>
              <a:gd name="connsiteY5" fmla="*/ 64565215 h 64565215"/>
              <a:gd name="connsiteX0" fmla="*/ 0 w 6839926"/>
              <a:gd name="connsiteY0" fmla="*/ 10200289 h 64565215"/>
              <a:gd name="connsiteX1" fmla="*/ 1352415 w 6839926"/>
              <a:gd name="connsiteY1" fmla="*/ 49130784 h 64565215"/>
              <a:gd name="connsiteX2" fmla="*/ 2699185 w 6839926"/>
              <a:gd name="connsiteY2" fmla="*/ 48294178 h 64565215"/>
              <a:gd name="connsiteX3" fmla="*/ 4152144 w 6839926"/>
              <a:gd name="connsiteY3" fmla="*/ 13249242 h 64565215"/>
              <a:gd name="connsiteX4" fmla="*/ 5492338 w 6839926"/>
              <a:gd name="connsiteY4" fmla="*/ 95992 h 64565215"/>
              <a:gd name="connsiteX5" fmla="*/ 6839926 w 6839926"/>
              <a:gd name="connsiteY5" fmla="*/ 64565215 h 64565215"/>
              <a:gd name="connsiteX0" fmla="*/ 0 w 6839926"/>
              <a:gd name="connsiteY0" fmla="*/ 10200289 h 64565215"/>
              <a:gd name="connsiteX1" fmla="*/ 1352415 w 6839926"/>
              <a:gd name="connsiteY1" fmla="*/ 49130784 h 64565215"/>
              <a:gd name="connsiteX2" fmla="*/ 2699185 w 6839926"/>
              <a:gd name="connsiteY2" fmla="*/ 48294178 h 64565215"/>
              <a:gd name="connsiteX3" fmla="*/ 4152144 w 6839926"/>
              <a:gd name="connsiteY3" fmla="*/ 13249242 h 64565215"/>
              <a:gd name="connsiteX4" fmla="*/ 5492338 w 6839926"/>
              <a:gd name="connsiteY4" fmla="*/ 95992 h 64565215"/>
              <a:gd name="connsiteX5" fmla="*/ 6839926 w 6839926"/>
              <a:gd name="connsiteY5" fmla="*/ 64565215 h 64565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9926" h="64565215">
                <a:moveTo>
                  <a:pt x="0" y="10200289"/>
                </a:moveTo>
                <a:cubicBezTo>
                  <a:pt x="305505" y="9346566"/>
                  <a:pt x="902551" y="42781803"/>
                  <a:pt x="1352415" y="49130784"/>
                </a:cubicBezTo>
                <a:cubicBezTo>
                  <a:pt x="1802279" y="55479765"/>
                  <a:pt x="2232564" y="48806376"/>
                  <a:pt x="2699185" y="48294178"/>
                </a:cubicBezTo>
                <a:cubicBezTo>
                  <a:pt x="3165806" y="47781980"/>
                  <a:pt x="3612618" y="27471985"/>
                  <a:pt x="4152144" y="13249242"/>
                </a:cubicBezTo>
                <a:cubicBezTo>
                  <a:pt x="4612152" y="13995707"/>
                  <a:pt x="5192752" y="2877714"/>
                  <a:pt x="5492338" y="95992"/>
                </a:cubicBezTo>
                <a:cubicBezTo>
                  <a:pt x="5791924" y="-2685730"/>
                  <a:pt x="6632230" y="55858629"/>
                  <a:pt x="6839926" y="64565215"/>
                </a:cubicBezTo>
              </a:path>
            </a:pathLst>
          </a:custGeom>
          <a:noFill/>
          <a:ln w="136525" cap="rnd" algn="ctr">
            <a:solidFill>
              <a:srgbClr val="32E9FF"/>
            </a:solidFill>
            <a:round/>
            <a:headEnd/>
            <a:tailEnd/>
          </a:ln>
        </p:spPr>
        <p:txBody>
          <a:bodyPr rtlCol="0" anchor="ctr"/>
          <a:lstStyle/>
          <a:p>
            <a:pPr algn="ctr"/>
            <a:endParaRPr lang="en-US" b="1" dirty="0"/>
          </a:p>
        </p:txBody>
      </p:sp>
      <p:sp>
        <p:nvSpPr>
          <p:cNvPr id="61" name="Rectangle 43">
            <a:extLst>
              <a:ext uri="{FF2B5EF4-FFF2-40B4-BE49-F238E27FC236}">
                <a16:creationId xmlns:a16="http://schemas.microsoft.com/office/drawing/2014/main" id="{194F75C4-EB54-4B41-9984-E92D8DB52BF9}"/>
              </a:ext>
            </a:extLst>
          </p:cNvPr>
          <p:cNvSpPr>
            <a:spLocks noChangeArrowheads="1"/>
          </p:cNvSpPr>
          <p:nvPr/>
        </p:nvSpPr>
        <p:spPr bwMode="auto">
          <a:xfrm>
            <a:off x="9668703" y="3973128"/>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80000"/>
              </a:lnSpc>
              <a:buClr>
                <a:srgbClr val="8099CC"/>
              </a:buClr>
            </a:pPr>
            <a:r>
              <a:rPr lang="en-US" altLang="en-US" sz="1000" dirty="0">
                <a:solidFill>
                  <a:prstClr val="black"/>
                </a:solidFill>
                <a:cs typeface="Arial" pitchFamily="34" charset="0"/>
              </a:rPr>
              <a:t>Internal concerned model coordination of recruiting with future needs or knowledge management and dissemination</a:t>
            </a:r>
          </a:p>
        </p:txBody>
      </p:sp>
      <p:cxnSp>
        <p:nvCxnSpPr>
          <p:cNvPr id="62" name="AutoShape 6">
            <a:extLst>
              <a:ext uri="{FF2B5EF4-FFF2-40B4-BE49-F238E27FC236}">
                <a16:creationId xmlns:a16="http://schemas.microsoft.com/office/drawing/2014/main" id="{BF6C7512-6015-4986-BF12-B34B0148FECE}"/>
              </a:ext>
            </a:extLst>
          </p:cNvPr>
          <p:cNvCxnSpPr>
            <a:cxnSpLocks noChangeShapeType="1"/>
          </p:cNvCxnSpPr>
          <p:nvPr/>
        </p:nvCxnSpPr>
        <p:spPr bwMode="auto">
          <a:xfrm flipV="1">
            <a:off x="10430470" y="2320587"/>
            <a:ext cx="0" cy="316602"/>
          </a:xfrm>
          <a:prstGeom prst="straightConnector1">
            <a:avLst/>
          </a:prstGeom>
          <a:noFill/>
          <a:ln w="19050">
            <a:solidFill>
              <a:schemeClr val="tx1"/>
            </a:solidFill>
            <a:round/>
            <a:headEnd/>
            <a:tailEnd type="stealth" w="lg" len="lg"/>
          </a:ln>
        </p:spPr>
      </p:cxnSp>
      <p:cxnSp>
        <p:nvCxnSpPr>
          <p:cNvPr id="63" name="AutoShape 19">
            <a:extLst>
              <a:ext uri="{FF2B5EF4-FFF2-40B4-BE49-F238E27FC236}">
                <a16:creationId xmlns:a16="http://schemas.microsoft.com/office/drawing/2014/main" id="{A11798A6-2A5A-425D-8895-B97B0E6A8C4F}"/>
              </a:ext>
            </a:extLst>
          </p:cNvPr>
          <p:cNvCxnSpPr>
            <a:cxnSpLocks noChangeShapeType="1"/>
          </p:cNvCxnSpPr>
          <p:nvPr/>
        </p:nvCxnSpPr>
        <p:spPr bwMode="auto">
          <a:xfrm flipV="1">
            <a:off x="10430470" y="3750940"/>
            <a:ext cx="0" cy="222188"/>
          </a:xfrm>
          <a:prstGeom prst="straightConnector1">
            <a:avLst/>
          </a:prstGeom>
          <a:noFill/>
          <a:ln w="19050">
            <a:solidFill>
              <a:schemeClr val="tx1"/>
            </a:solidFill>
            <a:round/>
            <a:headEnd/>
            <a:tailEnd type="stealth" w="lg" len="lg"/>
          </a:ln>
        </p:spPr>
      </p:cxnSp>
      <p:sp>
        <p:nvSpPr>
          <p:cNvPr id="64" name="Rectangle 47">
            <a:extLst>
              <a:ext uri="{FF2B5EF4-FFF2-40B4-BE49-F238E27FC236}">
                <a16:creationId xmlns:a16="http://schemas.microsoft.com/office/drawing/2014/main" id="{EFB8CC3E-D120-4069-BFE4-5D21EFE04EC5}"/>
              </a:ext>
            </a:extLst>
          </p:cNvPr>
          <p:cNvSpPr>
            <a:spLocks noChangeArrowheads="1"/>
          </p:cNvSpPr>
          <p:nvPr/>
        </p:nvSpPr>
        <p:spPr bwMode="auto">
          <a:xfrm>
            <a:off x="9668703" y="1206834"/>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80000"/>
              </a:lnSpc>
              <a:buClr>
                <a:srgbClr val="8099CC"/>
              </a:buClr>
            </a:pPr>
            <a:r>
              <a:rPr lang="en-US" altLang="en-US" sz="1000" dirty="0">
                <a:solidFill>
                  <a:prstClr val="black"/>
                </a:solidFill>
                <a:cs typeface="Arial" pitchFamily="34" charset="0"/>
              </a:rPr>
              <a:t>Tight coordination within business to strategically recruit, manage knowledge, and disseminate information</a:t>
            </a:r>
          </a:p>
        </p:txBody>
      </p:sp>
      <p:sp>
        <p:nvSpPr>
          <p:cNvPr id="65" name="Rectangle 51">
            <a:extLst>
              <a:ext uri="{FF2B5EF4-FFF2-40B4-BE49-F238E27FC236}">
                <a16:creationId xmlns:a16="http://schemas.microsoft.com/office/drawing/2014/main" id="{B19CBDD9-B100-42E5-B6FE-3E3F7A5A5394}"/>
              </a:ext>
            </a:extLst>
          </p:cNvPr>
          <p:cNvSpPr>
            <a:spLocks noChangeArrowheads="1"/>
          </p:cNvSpPr>
          <p:nvPr/>
        </p:nvSpPr>
        <p:spPr bwMode="auto">
          <a:xfrm>
            <a:off x="9668703" y="2637188"/>
            <a:ext cx="1523534" cy="1113752"/>
          </a:xfrm>
          <a:prstGeom prst="roundRect">
            <a:avLst/>
          </a:prstGeom>
          <a:noFill/>
          <a:ln w="19050" algn="ctr">
            <a:solidFill>
              <a:schemeClr val="tx1"/>
            </a:solidFill>
            <a:miter lim="800000"/>
            <a:headEnd/>
            <a:tailEnd/>
          </a:ln>
        </p:spPr>
        <p:txBody>
          <a:bodyPr lIns="36576" tIns="0" rIns="36576" bIns="0" anchor="ctr"/>
          <a:lstStyle/>
          <a:p>
            <a:pPr algn="ctr" eaLnBrk="0" hangingPunct="0">
              <a:lnSpc>
                <a:spcPct val="80000"/>
              </a:lnSpc>
              <a:buClr>
                <a:srgbClr val="8099CC"/>
              </a:buClr>
            </a:pPr>
            <a:r>
              <a:rPr lang="en-US" altLang="en-US" sz="1000" dirty="0">
                <a:solidFill>
                  <a:prstClr val="black"/>
                </a:solidFill>
                <a:cs typeface="Arial" pitchFamily="34" charset="0"/>
              </a:rPr>
              <a:t>Competency model defined at high levels, limited coordination within HR and business for recruiting, knowledge efforts</a:t>
            </a:r>
          </a:p>
        </p:txBody>
      </p:sp>
    </p:spTree>
    <p:extLst>
      <p:ext uri="{BB962C8B-B14F-4D97-AF65-F5344CB8AC3E}">
        <p14:creationId xmlns:p14="http://schemas.microsoft.com/office/powerpoint/2010/main" val="147070052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
            <a:extLst>
              <a:ext uri="{FF2B5EF4-FFF2-40B4-BE49-F238E27FC236}">
                <a16:creationId xmlns:a16="http://schemas.microsoft.com/office/drawing/2014/main" id="{23AA2ACD-49F7-4F29-8E04-989FB6CB24FB}"/>
              </a:ext>
            </a:extLst>
          </p:cNvPr>
          <p:cNvSpPr>
            <a:spLocks noChangeArrowheads="1"/>
          </p:cNvSpPr>
          <p:nvPr/>
        </p:nvSpPr>
        <p:spPr bwMode="auto">
          <a:xfrm>
            <a:off x="2892217" y="5416422"/>
            <a:ext cx="1929341" cy="731520"/>
          </a:xfrm>
          <a:prstGeom prst="roundRect">
            <a:avLst/>
          </a:prstGeom>
          <a:solidFill>
            <a:srgbClr val="6E7A00"/>
          </a:solidFill>
          <a:ln w="12700" algn="ctr">
            <a:solidFill>
              <a:schemeClr val="tx1"/>
            </a:solidFill>
            <a:miter lim="800000"/>
            <a:headEnd/>
            <a:tailEnd/>
          </a:ln>
        </p:spPr>
        <p:txBody>
          <a:bodyPr lIns="18288" tIns="0" rIns="18288" bIns="0" anchor="ctr"/>
          <a:lstStyle/>
          <a:p>
            <a:pPr marL="0" marR="0" lvl="0" indent="0" algn="ctr" defTabSz="1219170" rtl="0" eaLnBrk="0" fontAlgn="auto" latinLnBrk="0" hangingPunct="0">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a:ea typeface="+mn-ea"/>
                <a:cs typeface="Arial" pitchFamily="34" charset="0"/>
              </a:rPr>
              <a:t>Governance Model / Decision Rights</a:t>
            </a:r>
          </a:p>
        </p:txBody>
      </p:sp>
      <p:sp>
        <p:nvSpPr>
          <p:cNvPr id="50" name="Rectangle 7">
            <a:extLst>
              <a:ext uri="{FF2B5EF4-FFF2-40B4-BE49-F238E27FC236}">
                <a16:creationId xmlns:a16="http://schemas.microsoft.com/office/drawing/2014/main" id="{239493CC-782E-4416-AEB9-7A1B20683962}"/>
              </a:ext>
            </a:extLst>
          </p:cNvPr>
          <p:cNvSpPr>
            <a:spLocks noChangeArrowheads="1"/>
          </p:cNvSpPr>
          <p:nvPr/>
        </p:nvSpPr>
        <p:spPr bwMode="auto">
          <a:xfrm>
            <a:off x="7247050" y="5416422"/>
            <a:ext cx="1929341" cy="731520"/>
          </a:xfrm>
          <a:prstGeom prst="roundRect">
            <a:avLst/>
          </a:prstGeom>
          <a:solidFill>
            <a:srgbClr val="6E7A00"/>
          </a:solidFill>
          <a:ln w="12700" algn="ctr">
            <a:solidFill>
              <a:schemeClr val="tx1"/>
            </a:solidFill>
            <a:miter lim="800000"/>
            <a:headEnd/>
            <a:tailEnd/>
          </a:ln>
        </p:spPr>
        <p:txBody>
          <a:bodyPr lIns="18288" tIns="0" rIns="18288" bIns="0"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a:ea typeface="+mn-ea"/>
                <a:cs typeface="Arial" pitchFamily="34" charset="0"/>
              </a:rPr>
              <a:t>Product Design Teams</a:t>
            </a:r>
          </a:p>
        </p:txBody>
      </p:sp>
      <p:sp>
        <p:nvSpPr>
          <p:cNvPr id="51" name="Rectangle 10">
            <a:extLst>
              <a:ext uri="{FF2B5EF4-FFF2-40B4-BE49-F238E27FC236}">
                <a16:creationId xmlns:a16="http://schemas.microsoft.com/office/drawing/2014/main" id="{7CA02B23-96AB-4E4C-ABF5-DC4E7CDC080D}"/>
              </a:ext>
            </a:extLst>
          </p:cNvPr>
          <p:cNvSpPr>
            <a:spLocks noChangeArrowheads="1"/>
          </p:cNvSpPr>
          <p:nvPr/>
        </p:nvSpPr>
        <p:spPr bwMode="auto">
          <a:xfrm>
            <a:off x="5069634" y="5416422"/>
            <a:ext cx="1929341" cy="731520"/>
          </a:xfrm>
          <a:prstGeom prst="roundRect">
            <a:avLst/>
          </a:prstGeom>
          <a:solidFill>
            <a:srgbClr val="6E7A00"/>
          </a:solidFill>
          <a:ln w="12700" algn="ctr">
            <a:solidFill>
              <a:schemeClr val="tx1"/>
            </a:solidFill>
            <a:miter lim="800000"/>
            <a:headEnd/>
            <a:tailEnd/>
          </a:ln>
        </p:spPr>
        <p:txBody>
          <a:bodyPr lIns="18288" tIns="0" rIns="18288" bIns="0"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en-US" sz="1000" b="1" i="0" u="none" strike="noStrike" kern="0" cap="none" spc="0" normalizeH="0" baseline="0" noProof="0" dirty="0">
                <a:ln>
                  <a:noFill/>
                </a:ln>
                <a:solidFill>
                  <a:prstClr val="white"/>
                </a:solidFill>
                <a:effectLst/>
                <a:uLnTx/>
                <a:uFillTx/>
                <a:latin typeface="Verdana"/>
                <a:ea typeface="+mn-ea"/>
                <a:cs typeface="Arial" pitchFamily="34" charset="0"/>
              </a:rPr>
              <a:t>Role Definition / </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en-US" sz="1000" b="1" i="0" u="none" strike="noStrike" kern="0" cap="none" spc="0" normalizeH="0" baseline="0" noProof="0" dirty="0">
                <a:ln>
                  <a:noFill/>
                </a:ln>
                <a:solidFill>
                  <a:prstClr val="white"/>
                </a:solidFill>
                <a:effectLst/>
                <a:uLnTx/>
                <a:uFillTx/>
                <a:latin typeface="Verdana"/>
                <a:ea typeface="+mn-ea"/>
                <a:cs typeface="Arial" pitchFamily="34" charset="0"/>
              </a:rPr>
              <a:t>Job Design</a:t>
            </a:r>
          </a:p>
        </p:txBody>
      </p:sp>
      <p:sp>
        <p:nvSpPr>
          <p:cNvPr id="52" name="Rectangle 7">
            <a:extLst>
              <a:ext uri="{FF2B5EF4-FFF2-40B4-BE49-F238E27FC236}">
                <a16:creationId xmlns:a16="http://schemas.microsoft.com/office/drawing/2014/main" id="{10AD5C90-F6F6-4859-B9B9-4EA7E6AB163E}"/>
              </a:ext>
            </a:extLst>
          </p:cNvPr>
          <p:cNvSpPr>
            <a:spLocks noChangeArrowheads="1"/>
          </p:cNvSpPr>
          <p:nvPr/>
        </p:nvSpPr>
        <p:spPr bwMode="auto">
          <a:xfrm>
            <a:off x="9424470" y="5416422"/>
            <a:ext cx="1929341" cy="731520"/>
          </a:xfrm>
          <a:prstGeom prst="roundRect">
            <a:avLst/>
          </a:prstGeom>
          <a:solidFill>
            <a:srgbClr val="6E7A00"/>
          </a:solidFill>
          <a:ln w="12700" algn="ctr">
            <a:solidFill>
              <a:schemeClr val="tx1"/>
            </a:solidFill>
            <a:miter lim="800000"/>
            <a:headEnd/>
            <a:tailEnd/>
          </a:ln>
        </p:spPr>
        <p:txBody>
          <a:bodyPr lIns="18288" tIns="0" rIns="18288" bIns="0"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a:ea typeface="+mn-ea"/>
                <a:cs typeface="Arial" pitchFamily="34" charset="0"/>
              </a:rPr>
              <a:t>Workforce Planning</a:t>
            </a:r>
          </a:p>
        </p:txBody>
      </p:sp>
      <p:sp>
        <p:nvSpPr>
          <p:cNvPr id="57" name="Rectangle 7">
            <a:extLst>
              <a:ext uri="{FF2B5EF4-FFF2-40B4-BE49-F238E27FC236}">
                <a16:creationId xmlns:a16="http://schemas.microsoft.com/office/drawing/2014/main" id="{19F69A33-77AE-4291-88E6-06F2D6199F32}"/>
              </a:ext>
            </a:extLst>
          </p:cNvPr>
          <p:cNvSpPr>
            <a:spLocks noChangeArrowheads="1"/>
          </p:cNvSpPr>
          <p:nvPr/>
        </p:nvSpPr>
        <p:spPr bwMode="auto">
          <a:xfrm>
            <a:off x="714801" y="5416422"/>
            <a:ext cx="1929341" cy="731520"/>
          </a:xfrm>
          <a:prstGeom prst="roundRect">
            <a:avLst/>
          </a:prstGeom>
          <a:solidFill>
            <a:srgbClr val="6E7A00"/>
          </a:solidFill>
          <a:ln w="12700" algn="ctr">
            <a:solidFill>
              <a:schemeClr val="tx1"/>
            </a:solidFill>
            <a:miter lim="800000"/>
            <a:headEnd/>
            <a:tailEnd/>
          </a:ln>
        </p:spPr>
        <p:txBody>
          <a:bodyPr lIns="18288" tIns="0" rIns="18288" bIns="0"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a:ea typeface="+mn-ea"/>
                <a:cs typeface="Arial" pitchFamily="34" charset="0"/>
              </a:rPr>
              <a:t>Organizational </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Verdana"/>
                <a:ea typeface="+mn-ea"/>
                <a:cs typeface="Arial" pitchFamily="34" charset="0"/>
              </a:rPr>
              <a:t>Structure</a:t>
            </a:r>
          </a:p>
        </p:txBody>
      </p:sp>
      <p:sp>
        <p:nvSpPr>
          <p:cNvPr id="60" name="Rectangle 18">
            <a:extLst>
              <a:ext uri="{FF2B5EF4-FFF2-40B4-BE49-F238E27FC236}">
                <a16:creationId xmlns:a16="http://schemas.microsoft.com/office/drawing/2014/main" id="{A1423839-CB81-4F76-8CAC-1C47B3D9C972}"/>
              </a:ext>
            </a:extLst>
          </p:cNvPr>
          <p:cNvSpPr>
            <a:spLocks noChangeArrowheads="1"/>
          </p:cNvSpPr>
          <p:nvPr/>
        </p:nvSpPr>
        <p:spPr bwMode="auto">
          <a:xfrm>
            <a:off x="2892217" y="4042760"/>
            <a:ext cx="1929341" cy="109728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No governance model or formal approach to decision making / risk escalation; ineffective roll-up and communication of decisions; unclear what signoff is required to finalize decisions</a:t>
            </a:r>
          </a:p>
        </p:txBody>
      </p:sp>
      <p:sp>
        <p:nvSpPr>
          <p:cNvPr id="61" name="Rectangle 26">
            <a:extLst>
              <a:ext uri="{FF2B5EF4-FFF2-40B4-BE49-F238E27FC236}">
                <a16:creationId xmlns:a16="http://schemas.microsoft.com/office/drawing/2014/main" id="{66951946-75B0-4B99-9AEF-940744D1F3F6}"/>
              </a:ext>
            </a:extLst>
          </p:cNvPr>
          <p:cNvSpPr>
            <a:spLocks noChangeArrowheads="1"/>
          </p:cNvSpPr>
          <p:nvPr/>
        </p:nvSpPr>
        <p:spPr bwMode="auto">
          <a:xfrm>
            <a:off x="2892217" y="1158989"/>
            <a:ext cx="1929341" cy="137160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Clear, documented governance model with clear approval flow of decisions and risk escalation; cross-functional authority for decisions are documented and adhered to; Decisions are made at right level  or organization – there is a clear delegation of authority</a:t>
            </a:r>
          </a:p>
        </p:txBody>
      </p:sp>
      <p:sp>
        <p:nvSpPr>
          <p:cNvPr id="62" name="Rectangle: Rounded Corners 61">
            <a:extLst>
              <a:ext uri="{FF2B5EF4-FFF2-40B4-BE49-F238E27FC236}">
                <a16:creationId xmlns:a16="http://schemas.microsoft.com/office/drawing/2014/main" id="{41D8C38C-004E-4B7B-AA5A-37F2740BD6C1}"/>
              </a:ext>
            </a:extLst>
          </p:cNvPr>
          <p:cNvSpPr>
            <a:spLocks noChangeArrowheads="1"/>
          </p:cNvSpPr>
          <p:nvPr/>
        </p:nvSpPr>
        <p:spPr bwMode="auto">
          <a:xfrm>
            <a:off x="2892217" y="2636694"/>
            <a:ext cx="1929341" cy="128016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Some documented governing bodies and escalation procedures, but information sharing remains inconsistent across functions and levels; contradictory decisions are not identified quickly enough to avoid waste of time and resources</a:t>
            </a:r>
          </a:p>
        </p:txBody>
      </p:sp>
      <p:sp>
        <p:nvSpPr>
          <p:cNvPr id="63" name="Rectangle 21">
            <a:extLst>
              <a:ext uri="{FF2B5EF4-FFF2-40B4-BE49-F238E27FC236}">
                <a16:creationId xmlns:a16="http://schemas.microsoft.com/office/drawing/2014/main" id="{B7FA83E6-6716-4E09-9E11-801D3E5ABC87}"/>
              </a:ext>
            </a:extLst>
          </p:cNvPr>
          <p:cNvSpPr>
            <a:spLocks noChangeArrowheads="1"/>
          </p:cNvSpPr>
          <p:nvPr/>
        </p:nvSpPr>
        <p:spPr bwMode="auto">
          <a:xfrm>
            <a:off x="7247050" y="4042760"/>
            <a:ext cx="1929341" cy="109728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Limited interaction within functions or between disciplines; functional mgmt.. provides the only leadership; individuals have responsibility to make decisions and are functionally aligned; limited roll-up of decisions to/from leadership</a:t>
            </a:r>
          </a:p>
        </p:txBody>
      </p:sp>
      <p:sp>
        <p:nvSpPr>
          <p:cNvPr id="64" name="Rectangle 29">
            <a:extLst>
              <a:ext uri="{FF2B5EF4-FFF2-40B4-BE49-F238E27FC236}">
                <a16:creationId xmlns:a16="http://schemas.microsoft.com/office/drawing/2014/main" id="{08480D0E-C7C5-4B99-A09C-0D0996C04DA3}"/>
              </a:ext>
            </a:extLst>
          </p:cNvPr>
          <p:cNvSpPr>
            <a:spLocks noChangeArrowheads="1"/>
          </p:cNvSpPr>
          <p:nvPr/>
        </p:nvSpPr>
        <p:spPr bwMode="auto">
          <a:xfrm>
            <a:off x="7247050" y="1158989"/>
            <a:ext cx="1929341" cy="137160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Multi-disciplined team (e.g., engineering, manufacturing, quality, purchasing) in place for duration of product lifecycle; aligned to the product and has authority and accountability for managing budget and schedule, and meeting technical rqmnts.; teams are co-located and have program perspective</a:t>
            </a:r>
          </a:p>
        </p:txBody>
      </p:sp>
      <p:sp>
        <p:nvSpPr>
          <p:cNvPr id="65" name="Rectangle 37">
            <a:extLst>
              <a:ext uri="{FF2B5EF4-FFF2-40B4-BE49-F238E27FC236}">
                <a16:creationId xmlns:a16="http://schemas.microsoft.com/office/drawing/2014/main" id="{FEB84071-4A0A-4FF1-9018-3859FED4CC73}"/>
              </a:ext>
            </a:extLst>
          </p:cNvPr>
          <p:cNvSpPr>
            <a:spLocks noChangeArrowheads="1"/>
          </p:cNvSpPr>
          <p:nvPr/>
        </p:nvSpPr>
        <p:spPr bwMode="auto">
          <a:xfrm>
            <a:off x="7247050" y="2636694"/>
            <a:ext cx="1929341" cy="128016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Single discipline team is aligned to a product for duration of design activity; decisions are a team responsibility; team is co-located and has a project perspective</a:t>
            </a:r>
          </a:p>
        </p:txBody>
      </p:sp>
      <p:sp>
        <p:nvSpPr>
          <p:cNvPr id="66" name="Rectangle 24">
            <a:extLst>
              <a:ext uri="{FF2B5EF4-FFF2-40B4-BE49-F238E27FC236}">
                <a16:creationId xmlns:a16="http://schemas.microsoft.com/office/drawing/2014/main" id="{4BA10586-358A-499B-8188-A217510A59DF}"/>
              </a:ext>
            </a:extLst>
          </p:cNvPr>
          <p:cNvSpPr>
            <a:spLocks noChangeArrowheads="1"/>
          </p:cNvSpPr>
          <p:nvPr/>
        </p:nvSpPr>
        <p:spPr bwMode="auto">
          <a:xfrm>
            <a:off x="5069634" y="4042760"/>
            <a:ext cx="1929341" cy="109728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alt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Job design driven by immediate personnel needs and not long-term strategy; role documentation is inconsistent across levels and functions and not used strategically for planning</a:t>
            </a:r>
          </a:p>
        </p:txBody>
      </p:sp>
      <p:sp>
        <p:nvSpPr>
          <p:cNvPr id="71" name="Rectangle 32">
            <a:extLst>
              <a:ext uri="{FF2B5EF4-FFF2-40B4-BE49-F238E27FC236}">
                <a16:creationId xmlns:a16="http://schemas.microsoft.com/office/drawing/2014/main" id="{F7CC029F-B17C-44EB-8199-B00821E83982}"/>
              </a:ext>
            </a:extLst>
          </p:cNvPr>
          <p:cNvSpPr>
            <a:spLocks noChangeArrowheads="1"/>
          </p:cNvSpPr>
          <p:nvPr/>
        </p:nvSpPr>
        <p:spPr bwMode="auto">
          <a:xfrm>
            <a:off x="5069634" y="1158989"/>
            <a:ext cx="1929341" cy="137160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alt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Job design is a strategic activity owned by the business and supported by HR; engineering jobs are organized into families, are comparable across functions and aligned to competency models; Role design is used to drive requisition development and performance expectations </a:t>
            </a:r>
          </a:p>
        </p:txBody>
      </p:sp>
      <p:sp>
        <p:nvSpPr>
          <p:cNvPr id="72" name="Rectangle 40">
            <a:extLst>
              <a:ext uri="{FF2B5EF4-FFF2-40B4-BE49-F238E27FC236}">
                <a16:creationId xmlns:a16="http://schemas.microsoft.com/office/drawing/2014/main" id="{4BEE8C24-E7DB-4A68-87EF-01EDDB7D46CD}"/>
              </a:ext>
            </a:extLst>
          </p:cNvPr>
          <p:cNvSpPr>
            <a:spLocks noChangeArrowheads="1"/>
          </p:cNvSpPr>
          <p:nvPr/>
        </p:nvSpPr>
        <p:spPr bwMode="auto">
          <a:xfrm>
            <a:off x="5069634" y="2636694"/>
            <a:ext cx="1929341" cy="128016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alt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Business leaders partner with HR to design roles within their teams; role documentation is a mix of reactive and proactive initiatives (some specific role design activities are done to align with future business priorities)</a:t>
            </a:r>
          </a:p>
        </p:txBody>
      </p:sp>
      <p:sp>
        <p:nvSpPr>
          <p:cNvPr id="73" name="Rectangle 21">
            <a:extLst>
              <a:ext uri="{FF2B5EF4-FFF2-40B4-BE49-F238E27FC236}">
                <a16:creationId xmlns:a16="http://schemas.microsoft.com/office/drawing/2014/main" id="{E737835E-C495-4071-A39D-86DBADB9AD76}"/>
              </a:ext>
            </a:extLst>
          </p:cNvPr>
          <p:cNvSpPr>
            <a:spLocks noChangeArrowheads="1"/>
          </p:cNvSpPr>
          <p:nvPr/>
        </p:nvSpPr>
        <p:spPr bwMode="auto">
          <a:xfrm>
            <a:off x="9424470" y="4042760"/>
            <a:ext cx="1929341" cy="109728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Workforce strategy is owned by individual functions with no formal approach to optimally align workforce to business needs; resource allocation is managed on an as-needed basis as workforce decisions are made based on near-term program/project needs or headcount</a:t>
            </a:r>
          </a:p>
        </p:txBody>
      </p:sp>
      <p:sp>
        <p:nvSpPr>
          <p:cNvPr id="74" name="Rectangle 29">
            <a:extLst>
              <a:ext uri="{FF2B5EF4-FFF2-40B4-BE49-F238E27FC236}">
                <a16:creationId xmlns:a16="http://schemas.microsoft.com/office/drawing/2014/main" id="{37C9FC12-0123-49F9-A7FB-B7495B9CB412}"/>
              </a:ext>
            </a:extLst>
          </p:cNvPr>
          <p:cNvSpPr>
            <a:spLocks noChangeArrowheads="1"/>
          </p:cNvSpPr>
          <p:nvPr/>
        </p:nvSpPr>
        <p:spPr bwMode="auto">
          <a:xfrm>
            <a:off x="9424469" y="1153673"/>
            <a:ext cx="1929341" cy="137160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Workforce strategy owned by business and drives short- &amp; long-term resource planning and allocation; resource needs assessed against program/project needs accounting for tradeoffs, and optimal resource alignment strategically determined using multiple factors (e.g., program needs, costs, talent rqmnts,)</a:t>
            </a:r>
          </a:p>
        </p:txBody>
      </p:sp>
      <p:sp>
        <p:nvSpPr>
          <p:cNvPr id="75" name="Rectangle: Rounded Corners 74">
            <a:extLst>
              <a:ext uri="{FF2B5EF4-FFF2-40B4-BE49-F238E27FC236}">
                <a16:creationId xmlns:a16="http://schemas.microsoft.com/office/drawing/2014/main" id="{3B460990-4D9A-41E1-8DE1-F236A929E0DD}"/>
              </a:ext>
            </a:extLst>
          </p:cNvPr>
          <p:cNvSpPr>
            <a:spLocks noChangeArrowheads="1"/>
          </p:cNvSpPr>
          <p:nvPr/>
        </p:nvSpPr>
        <p:spPr bwMode="auto">
          <a:xfrm>
            <a:off x="9424470" y="2636694"/>
            <a:ext cx="1929341" cy="128016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121917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Workforce strategy is overly static or out-of-date; may be misaligned with current and/or future business priorities or overly focused on short-term headcount needs; roles central to strategic execution are given priority focus to ensure appropriate allocation of resources</a:t>
            </a:r>
          </a:p>
        </p:txBody>
      </p:sp>
      <p:sp>
        <p:nvSpPr>
          <p:cNvPr id="76" name="Rectangle 21">
            <a:extLst>
              <a:ext uri="{FF2B5EF4-FFF2-40B4-BE49-F238E27FC236}">
                <a16:creationId xmlns:a16="http://schemas.microsoft.com/office/drawing/2014/main" id="{F3779E3C-56F1-44BE-9902-E025F22B58B5}"/>
              </a:ext>
            </a:extLst>
          </p:cNvPr>
          <p:cNvSpPr>
            <a:spLocks noChangeArrowheads="1"/>
          </p:cNvSpPr>
          <p:nvPr/>
        </p:nvSpPr>
        <p:spPr bwMode="auto">
          <a:xfrm>
            <a:off x="714801" y="4042760"/>
            <a:ext cx="1929341" cy="109728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91440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Structure reflects legacy priorities, not current business objectives; structure is either overly static (resistant to needed changes) or overly fluid (restructuring overused for problem solving)</a:t>
            </a:r>
          </a:p>
        </p:txBody>
      </p:sp>
      <p:sp>
        <p:nvSpPr>
          <p:cNvPr id="77" name="Rectangle 29">
            <a:extLst>
              <a:ext uri="{FF2B5EF4-FFF2-40B4-BE49-F238E27FC236}">
                <a16:creationId xmlns:a16="http://schemas.microsoft.com/office/drawing/2014/main" id="{97BA9AAD-A66F-484D-8426-387812953369}"/>
              </a:ext>
            </a:extLst>
          </p:cNvPr>
          <p:cNvSpPr>
            <a:spLocks noChangeArrowheads="1"/>
          </p:cNvSpPr>
          <p:nvPr/>
        </p:nvSpPr>
        <p:spPr bwMode="auto">
          <a:xfrm>
            <a:off x="714801" y="1158989"/>
            <a:ext cx="1929341" cy="137160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91440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Structure well-aligned to business model, strategy, and culture and reflect lean product development principles; structure can absorb new process changes and includes a good ratio of leadership to individual contributors; Structure enables efficient resource allocation to program teams </a:t>
            </a:r>
          </a:p>
        </p:txBody>
      </p:sp>
      <p:sp>
        <p:nvSpPr>
          <p:cNvPr id="81" name="Rectangle: Rounded Corners 80">
            <a:extLst>
              <a:ext uri="{FF2B5EF4-FFF2-40B4-BE49-F238E27FC236}">
                <a16:creationId xmlns:a16="http://schemas.microsoft.com/office/drawing/2014/main" id="{7D7CA940-6CE7-4C7C-AE05-BC0D2103F01D}"/>
              </a:ext>
            </a:extLst>
          </p:cNvPr>
          <p:cNvSpPr>
            <a:spLocks noChangeArrowheads="1"/>
          </p:cNvSpPr>
          <p:nvPr/>
        </p:nvSpPr>
        <p:spPr bwMode="auto">
          <a:xfrm>
            <a:off x="714801" y="2636694"/>
            <a:ext cx="1929341" cy="1280160"/>
          </a:xfrm>
          <a:prstGeom prst="roundRect">
            <a:avLst/>
          </a:prstGeom>
          <a:noFill/>
          <a:ln w="19050" algn="ctr">
            <a:solidFill>
              <a:schemeClr val="tx1"/>
            </a:solidFill>
            <a:miter lim="800000"/>
            <a:headEnd/>
            <a:tailEnd/>
          </a:ln>
        </p:spPr>
        <p:txBody>
          <a:bodyPr lIns="45720" tIns="45720" rIns="45720" bIns="45720" anchor="ctr"/>
          <a:lstStyle/>
          <a:p>
            <a:pPr marL="0" marR="0" lvl="0" indent="0" algn="ctr" defTabSz="914400" rtl="0" eaLnBrk="0" fontAlgn="auto" latinLnBrk="0" hangingPunct="0">
              <a:lnSpc>
                <a:spcPct val="80000"/>
              </a:lnSpc>
              <a:spcBef>
                <a:spcPct val="50000"/>
              </a:spcBef>
              <a:spcAft>
                <a:spcPts val="0"/>
              </a:spcAft>
              <a:buClr>
                <a:srgbClr val="8099CC"/>
              </a:buClr>
              <a:buSzPct val="100000"/>
              <a:buFontTx/>
              <a:buNone/>
              <a:tabLst/>
              <a:defRPr/>
            </a:pPr>
            <a:r>
              <a:rPr kumimoji="0" lang="en-US" sz="9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Structure somewhat reflective of current business priorities but may lack flexibility to withstand necessary shifts in priorities and processes; some spans &amp; layers analysis</a:t>
            </a:r>
          </a:p>
        </p:txBody>
      </p:sp>
      <p:sp>
        <p:nvSpPr>
          <p:cNvPr id="82" name="Title 3">
            <a:extLst>
              <a:ext uri="{FF2B5EF4-FFF2-40B4-BE49-F238E27FC236}">
                <a16:creationId xmlns:a16="http://schemas.microsoft.com/office/drawing/2014/main" id="{B434BF61-6BB4-42D7-B722-1112C609EB0F}"/>
              </a:ext>
            </a:extLst>
          </p:cNvPr>
          <p:cNvSpPr txBox="1">
            <a:spLocks/>
          </p:cNvSpPr>
          <p:nvPr/>
        </p:nvSpPr>
        <p:spPr bwMode="gray">
          <a:xfrm>
            <a:off x="469900" y="402587"/>
            <a:ext cx="11252200" cy="433436"/>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dirty="0"/>
              <a:t>R&amp;D Organization</a:t>
            </a:r>
          </a:p>
        </p:txBody>
      </p:sp>
      <p:sp>
        <p:nvSpPr>
          <p:cNvPr id="91" name="Text Box 28">
            <a:extLst>
              <a:ext uri="{FF2B5EF4-FFF2-40B4-BE49-F238E27FC236}">
                <a16:creationId xmlns:a16="http://schemas.microsoft.com/office/drawing/2014/main" id="{BA078A71-2D9B-4678-95E9-9D82905EB3A7}"/>
              </a:ext>
            </a:extLst>
          </p:cNvPr>
          <p:cNvSpPr txBox="1">
            <a:spLocks noChangeArrowheads="1"/>
          </p:cNvSpPr>
          <p:nvPr/>
        </p:nvSpPr>
        <p:spPr bwMode="auto">
          <a:xfrm>
            <a:off x="232751" y="954777"/>
            <a:ext cx="850504" cy="236337"/>
          </a:xfrm>
          <a:prstGeom prst="rect">
            <a:avLst/>
          </a:prstGeom>
          <a:noFill/>
          <a:ln w="25400">
            <a:noFill/>
            <a:miter lim="800000"/>
            <a:headEnd/>
            <a:tailEnd type="none" w="med" len="lg"/>
          </a:ln>
        </p:spPr>
        <p:txBody>
          <a:bodyPr wrap="square" lIns="0" tIns="54859" rIns="109718" bIns="54859">
            <a:spAutoFit/>
          </a:bodyPr>
          <a:lstStyle/>
          <a:p>
            <a:pPr marL="274320" marR="0" lvl="0" indent="-274320" algn="r" defTabSz="1082040" rtl="0" eaLnBrk="0" fontAlgn="base" latinLnBrk="0" hangingPunct="0">
              <a:lnSpc>
                <a:spcPct val="85000"/>
              </a:lnSpc>
              <a:spcBef>
                <a:spcPct val="0"/>
              </a:spcBef>
              <a:spcAft>
                <a:spcPct val="0"/>
              </a:spcAft>
              <a:buClr>
                <a:srgbClr val="8099CC"/>
              </a:buClr>
              <a:buSzTx/>
              <a:buFontTx/>
              <a:buNone/>
              <a:tabLst/>
              <a:defRPr/>
            </a:pPr>
            <a:r>
              <a:rPr kumimoji="0" lang="en-US" altLang="en-US" sz="960" b="1" i="0" u="none" strike="noStrike" kern="1200" cap="none" spc="0" normalizeH="0" baseline="0" noProof="0" dirty="0">
                <a:ln>
                  <a:noFill/>
                </a:ln>
                <a:solidFill>
                  <a:srgbClr val="000000"/>
                </a:solidFill>
                <a:effectLst/>
                <a:uLnTx/>
                <a:uFillTx/>
                <a:latin typeface="Arial" charset="0"/>
                <a:ea typeface="+mn-ea"/>
                <a:cs typeface="Arial" charset="0"/>
              </a:rPr>
              <a:t>Maturity</a:t>
            </a:r>
          </a:p>
        </p:txBody>
      </p:sp>
      <p:sp>
        <p:nvSpPr>
          <p:cNvPr id="93" name="Text Box 11">
            <a:extLst>
              <a:ext uri="{FF2B5EF4-FFF2-40B4-BE49-F238E27FC236}">
                <a16:creationId xmlns:a16="http://schemas.microsoft.com/office/drawing/2014/main" id="{8B42CA6A-8A26-4982-8BE0-EF8545FDB6A0}"/>
              </a:ext>
            </a:extLst>
          </p:cNvPr>
          <p:cNvSpPr txBox="1">
            <a:spLocks noChangeArrowheads="1"/>
          </p:cNvSpPr>
          <p:nvPr/>
        </p:nvSpPr>
        <p:spPr bwMode="auto">
          <a:xfrm rot="-5400000">
            <a:off x="91599" y="4355441"/>
            <a:ext cx="574558" cy="322882"/>
          </a:xfrm>
          <a:prstGeom prst="rect">
            <a:avLst/>
          </a:prstGeom>
          <a:noFill/>
          <a:ln w="12700" algn="ctr">
            <a:noFill/>
            <a:miter lim="800000"/>
            <a:headEnd/>
            <a:tailEnd/>
          </a:ln>
        </p:spPr>
        <p:txBody>
          <a:bodyPr lIns="0" tIns="0" rIns="0" bIns="0" anchor="b"/>
          <a:lstStyle/>
          <a:p>
            <a:pPr marL="0" marR="0" lvl="0" indent="0" algn="ctr" defTabSz="1082040" rtl="0" eaLnBrk="0" fontAlgn="base" latinLnBrk="0" hangingPunct="0">
              <a:lnSpc>
                <a:spcPct val="90000"/>
              </a:lnSpc>
              <a:spcBef>
                <a:spcPct val="50000"/>
              </a:spcBef>
              <a:spcAft>
                <a:spcPct val="0"/>
              </a:spcAft>
              <a:buClr>
                <a:srgbClr val="8099CC"/>
              </a:buClr>
              <a:buSzPct val="100000"/>
              <a:buFontTx/>
              <a:buNone/>
              <a:tabLst/>
              <a:defRPr/>
            </a:pPr>
            <a:r>
              <a:rPr kumimoji="0" lang="en-US" sz="960" b="1" i="0" u="none" strike="noStrike" kern="1200" cap="none" spc="0" normalizeH="0" baseline="0" noProof="0" dirty="0">
                <a:ln>
                  <a:noFill/>
                </a:ln>
                <a:solidFill>
                  <a:srgbClr val="000000"/>
                </a:solidFill>
                <a:effectLst/>
                <a:uLnTx/>
                <a:uFillTx/>
                <a:latin typeface="Arial" charset="0"/>
                <a:ea typeface="+mn-ea"/>
                <a:cs typeface="Arial" charset="0"/>
              </a:rPr>
              <a:t>Low</a:t>
            </a:r>
          </a:p>
        </p:txBody>
      </p:sp>
      <p:sp>
        <p:nvSpPr>
          <p:cNvPr id="94" name="Text Box 12">
            <a:extLst>
              <a:ext uri="{FF2B5EF4-FFF2-40B4-BE49-F238E27FC236}">
                <a16:creationId xmlns:a16="http://schemas.microsoft.com/office/drawing/2014/main" id="{A763B1A1-85AA-4326-9B95-05D09DD27DE2}"/>
              </a:ext>
            </a:extLst>
          </p:cNvPr>
          <p:cNvSpPr txBox="1">
            <a:spLocks noChangeArrowheads="1"/>
          </p:cNvSpPr>
          <p:nvPr/>
        </p:nvSpPr>
        <p:spPr bwMode="auto">
          <a:xfrm rot="-5400000">
            <a:off x="139476" y="1652373"/>
            <a:ext cx="649841" cy="248914"/>
          </a:xfrm>
          <a:prstGeom prst="rect">
            <a:avLst/>
          </a:prstGeom>
          <a:noFill/>
          <a:ln w="12700" algn="ctr">
            <a:noFill/>
            <a:miter lim="800000"/>
            <a:headEnd/>
            <a:tailEnd/>
          </a:ln>
        </p:spPr>
        <p:txBody>
          <a:bodyPr wrap="square" lIns="0" rIns="0" anchor="b">
            <a:spAutoFit/>
          </a:bodyPr>
          <a:lstStyle/>
          <a:p>
            <a:pPr marL="0" marR="0" lvl="0" indent="0" algn="ctr" defTabSz="1097280" rtl="0" eaLnBrk="0" fontAlgn="base" latinLnBrk="0" hangingPunct="0">
              <a:lnSpc>
                <a:spcPct val="106000"/>
              </a:lnSpc>
              <a:spcBef>
                <a:spcPct val="50000"/>
              </a:spcBef>
              <a:spcAft>
                <a:spcPct val="0"/>
              </a:spcAft>
              <a:buClrTx/>
              <a:buSzPct val="100000"/>
              <a:buFontTx/>
              <a:buNone/>
              <a:tabLst/>
              <a:defRPr/>
            </a:pPr>
            <a:r>
              <a:rPr kumimoji="0" lang="en-US" sz="960" b="1" i="0" u="none" strike="noStrike" kern="1200" cap="none" spc="0" normalizeH="0" baseline="0" noProof="0" dirty="0">
                <a:ln>
                  <a:noFill/>
                </a:ln>
                <a:solidFill>
                  <a:srgbClr val="000000"/>
                </a:solidFill>
                <a:effectLst/>
                <a:uLnTx/>
                <a:uFillTx/>
                <a:latin typeface="Arial" charset="0"/>
                <a:ea typeface="+mn-ea"/>
                <a:cs typeface="Arial" charset="0"/>
              </a:rPr>
              <a:t>Advanced</a:t>
            </a:r>
          </a:p>
        </p:txBody>
      </p:sp>
      <p:sp>
        <p:nvSpPr>
          <p:cNvPr id="101" name="Text Box 13">
            <a:extLst>
              <a:ext uri="{FF2B5EF4-FFF2-40B4-BE49-F238E27FC236}">
                <a16:creationId xmlns:a16="http://schemas.microsoft.com/office/drawing/2014/main" id="{23F7F097-967A-4E94-A47D-C3C872870003}"/>
              </a:ext>
            </a:extLst>
          </p:cNvPr>
          <p:cNvSpPr txBox="1">
            <a:spLocks noChangeArrowheads="1"/>
          </p:cNvSpPr>
          <p:nvPr/>
        </p:nvSpPr>
        <p:spPr bwMode="auto">
          <a:xfrm rot="-5400000">
            <a:off x="196119" y="3020165"/>
            <a:ext cx="544176" cy="248914"/>
          </a:xfrm>
          <a:prstGeom prst="rect">
            <a:avLst/>
          </a:prstGeom>
          <a:noFill/>
          <a:ln w="12700" algn="ctr">
            <a:noFill/>
            <a:miter lim="800000"/>
            <a:headEnd/>
            <a:tailEnd/>
          </a:ln>
        </p:spPr>
        <p:txBody>
          <a:bodyPr wrap="square" lIns="0" rIns="0" anchor="b">
            <a:spAutoFit/>
          </a:bodyPr>
          <a:lstStyle/>
          <a:p>
            <a:pPr marL="0" marR="0" lvl="0" indent="0" algn="ctr" defTabSz="1097280" rtl="0" eaLnBrk="0" fontAlgn="base" latinLnBrk="0" hangingPunct="0">
              <a:lnSpc>
                <a:spcPct val="106000"/>
              </a:lnSpc>
              <a:spcBef>
                <a:spcPct val="50000"/>
              </a:spcBef>
              <a:spcAft>
                <a:spcPct val="0"/>
              </a:spcAft>
              <a:buClrTx/>
              <a:buSzPct val="100000"/>
              <a:buFontTx/>
              <a:buNone/>
              <a:tabLst/>
              <a:defRPr/>
            </a:pPr>
            <a:r>
              <a:rPr kumimoji="0" lang="en-US" sz="960" b="1" i="0" u="none" strike="noStrike" kern="1200" cap="none" spc="0" normalizeH="0" baseline="0" noProof="0" dirty="0">
                <a:ln>
                  <a:noFill/>
                </a:ln>
                <a:solidFill>
                  <a:srgbClr val="000000"/>
                </a:solidFill>
                <a:effectLst/>
                <a:uLnTx/>
                <a:uFillTx/>
                <a:latin typeface="Arial" charset="0"/>
                <a:ea typeface="+mn-ea"/>
                <a:cs typeface="Arial" charset="0"/>
              </a:rPr>
              <a:t>Basic</a:t>
            </a:r>
          </a:p>
        </p:txBody>
      </p:sp>
      <p:grpSp>
        <p:nvGrpSpPr>
          <p:cNvPr id="102" name="Group 101">
            <a:extLst>
              <a:ext uri="{FF2B5EF4-FFF2-40B4-BE49-F238E27FC236}">
                <a16:creationId xmlns:a16="http://schemas.microsoft.com/office/drawing/2014/main" id="{76D5D4C3-1130-4538-92D1-44AF5DD88B67}"/>
              </a:ext>
            </a:extLst>
          </p:cNvPr>
          <p:cNvGrpSpPr/>
          <p:nvPr/>
        </p:nvGrpSpPr>
        <p:grpSpPr>
          <a:xfrm>
            <a:off x="602971" y="1211825"/>
            <a:ext cx="10750837" cy="4031777"/>
            <a:chOff x="1092839" y="1211825"/>
            <a:chExt cx="10290659" cy="4031777"/>
          </a:xfrm>
        </p:grpSpPr>
        <p:sp>
          <p:nvSpPr>
            <p:cNvPr id="103" name="Line 16">
              <a:extLst>
                <a:ext uri="{FF2B5EF4-FFF2-40B4-BE49-F238E27FC236}">
                  <a16:creationId xmlns:a16="http://schemas.microsoft.com/office/drawing/2014/main" id="{88386D61-88E4-4FCC-B94A-E0EFCB9787BF}"/>
                </a:ext>
              </a:extLst>
            </p:cNvPr>
            <p:cNvSpPr>
              <a:spLocks noChangeShapeType="1"/>
            </p:cNvSpPr>
            <p:nvPr/>
          </p:nvSpPr>
          <p:spPr bwMode="auto">
            <a:xfrm flipV="1">
              <a:off x="1092839" y="5243602"/>
              <a:ext cx="10290659" cy="0"/>
            </a:xfrm>
            <a:prstGeom prst="line">
              <a:avLst/>
            </a:prstGeom>
            <a:noFill/>
            <a:ln w="38100">
              <a:solidFill>
                <a:schemeClr val="tx1"/>
              </a:solidFill>
              <a:round/>
              <a:headEnd/>
              <a:tailEnd/>
            </a:ln>
          </p:spPr>
          <p:txBody>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96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4" name="Line 15">
              <a:extLst>
                <a:ext uri="{FF2B5EF4-FFF2-40B4-BE49-F238E27FC236}">
                  <a16:creationId xmlns:a16="http://schemas.microsoft.com/office/drawing/2014/main" id="{99050B1F-D01C-430B-B2AD-F74F8D1EF316}"/>
                </a:ext>
              </a:extLst>
            </p:cNvPr>
            <p:cNvSpPr>
              <a:spLocks noChangeShapeType="1"/>
            </p:cNvSpPr>
            <p:nvPr/>
          </p:nvSpPr>
          <p:spPr bwMode="auto">
            <a:xfrm flipV="1">
              <a:off x="1111657" y="1211825"/>
              <a:ext cx="0" cy="4031776"/>
            </a:xfrm>
            <a:prstGeom prst="line">
              <a:avLst/>
            </a:prstGeom>
            <a:noFill/>
            <a:ln w="38100">
              <a:solidFill>
                <a:srgbClr val="000066"/>
              </a:solidFill>
              <a:round/>
              <a:headEnd/>
              <a:tailEnd type="triangle" w="med" len="med"/>
            </a:ln>
          </p:spPr>
          <p:txBody>
            <a:bodyPr/>
            <a:lstStyle/>
            <a:p>
              <a:pPr marL="0" marR="0" lvl="0" indent="0" algn="l" defTabSz="1097280" rtl="0" eaLnBrk="0" fontAlgn="auto" latinLnBrk="0" hangingPunct="0">
                <a:lnSpc>
                  <a:spcPct val="106000"/>
                </a:lnSpc>
                <a:spcBef>
                  <a:spcPct val="50000"/>
                </a:spcBef>
                <a:spcAft>
                  <a:spcPts val="0"/>
                </a:spcAft>
                <a:buClrTx/>
                <a:buSzPct val="100000"/>
                <a:buFontTx/>
                <a:buNone/>
                <a:tabLst/>
                <a:defRPr/>
              </a:pPr>
              <a:endParaRPr kumimoji="0" lang="en-US" sz="960" b="0" i="0" u="none" strike="noStrike" kern="0" cap="none" spc="0" normalizeH="0" baseline="0" noProof="0" dirty="0">
                <a:ln>
                  <a:noFill/>
                </a:ln>
                <a:solidFill>
                  <a:srgbClr val="000000"/>
                </a:solidFill>
                <a:effectLst/>
                <a:uLnTx/>
                <a:uFillTx/>
                <a:latin typeface="Arial"/>
                <a:ea typeface="+mn-ea"/>
                <a:cs typeface="Arial" charset="0"/>
              </a:endParaRPr>
            </a:p>
          </p:txBody>
        </p:sp>
      </p:grpSp>
      <p:cxnSp>
        <p:nvCxnSpPr>
          <p:cNvPr id="105" name="AutoShape 55">
            <a:extLst>
              <a:ext uri="{FF2B5EF4-FFF2-40B4-BE49-F238E27FC236}">
                <a16:creationId xmlns:a16="http://schemas.microsoft.com/office/drawing/2014/main" id="{40E9510B-8F4C-4DD7-9138-C9051A752B50}"/>
              </a:ext>
            </a:extLst>
          </p:cNvPr>
          <p:cNvCxnSpPr>
            <a:cxnSpLocks noChangeShapeType="1"/>
            <a:stCxn id="76" idx="0"/>
            <a:endCxn id="81" idx="2"/>
          </p:cNvCxnSpPr>
          <p:nvPr/>
        </p:nvCxnSpPr>
        <p:spPr bwMode="auto">
          <a:xfrm flipV="1">
            <a:off x="1679472" y="3916854"/>
            <a:ext cx="0" cy="125906"/>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06" name="AutoShape 55">
            <a:extLst>
              <a:ext uri="{FF2B5EF4-FFF2-40B4-BE49-F238E27FC236}">
                <a16:creationId xmlns:a16="http://schemas.microsoft.com/office/drawing/2014/main" id="{590CC45C-BA84-48CE-BDE1-A060B71AAF10}"/>
              </a:ext>
            </a:extLst>
          </p:cNvPr>
          <p:cNvCxnSpPr>
            <a:cxnSpLocks noChangeShapeType="1"/>
            <a:stCxn id="81" idx="0"/>
            <a:endCxn id="77" idx="2"/>
          </p:cNvCxnSpPr>
          <p:nvPr/>
        </p:nvCxnSpPr>
        <p:spPr bwMode="auto">
          <a:xfrm flipV="1">
            <a:off x="1679472" y="2530589"/>
            <a:ext cx="0" cy="106105"/>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07" name="AutoShape 55">
            <a:extLst>
              <a:ext uri="{FF2B5EF4-FFF2-40B4-BE49-F238E27FC236}">
                <a16:creationId xmlns:a16="http://schemas.microsoft.com/office/drawing/2014/main" id="{57DAFDB3-B842-4889-BE63-F2B12479B37C}"/>
              </a:ext>
            </a:extLst>
          </p:cNvPr>
          <p:cNvCxnSpPr>
            <a:cxnSpLocks noChangeShapeType="1"/>
            <a:stCxn id="62" idx="0"/>
            <a:endCxn id="61" idx="2"/>
          </p:cNvCxnSpPr>
          <p:nvPr/>
        </p:nvCxnSpPr>
        <p:spPr bwMode="auto">
          <a:xfrm flipV="1">
            <a:off x="3856888" y="2530589"/>
            <a:ext cx="0" cy="106105"/>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08" name="AutoShape 55">
            <a:extLst>
              <a:ext uri="{FF2B5EF4-FFF2-40B4-BE49-F238E27FC236}">
                <a16:creationId xmlns:a16="http://schemas.microsoft.com/office/drawing/2014/main" id="{F59930D6-457F-42F4-99C6-71C0C443A20B}"/>
              </a:ext>
            </a:extLst>
          </p:cNvPr>
          <p:cNvCxnSpPr>
            <a:cxnSpLocks noChangeShapeType="1"/>
            <a:stCxn id="60" idx="0"/>
            <a:endCxn id="62" idx="2"/>
          </p:cNvCxnSpPr>
          <p:nvPr/>
        </p:nvCxnSpPr>
        <p:spPr bwMode="auto">
          <a:xfrm flipV="1">
            <a:off x="3856888" y="3916854"/>
            <a:ext cx="0" cy="125906"/>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09" name="AutoShape 55">
            <a:extLst>
              <a:ext uri="{FF2B5EF4-FFF2-40B4-BE49-F238E27FC236}">
                <a16:creationId xmlns:a16="http://schemas.microsoft.com/office/drawing/2014/main" id="{10F42DCA-4D85-498E-B0C4-FCC5891D0AC9}"/>
              </a:ext>
            </a:extLst>
          </p:cNvPr>
          <p:cNvCxnSpPr>
            <a:cxnSpLocks noChangeShapeType="1"/>
            <a:stCxn id="72" idx="0"/>
            <a:endCxn id="71" idx="2"/>
          </p:cNvCxnSpPr>
          <p:nvPr/>
        </p:nvCxnSpPr>
        <p:spPr bwMode="auto">
          <a:xfrm flipV="1">
            <a:off x="6034305" y="2530589"/>
            <a:ext cx="0" cy="106105"/>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10" name="AutoShape 55">
            <a:extLst>
              <a:ext uri="{FF2B5EF4-FFF2-40B4-BE49-F238E27FC236}">
                <a16:creationId xmlns:a16="http://schemas.microsoft.com/office/drawing/2014/main" id="{38F326BC-28AE-4EB7-A61F-F1B78DDF0044}"/>
              </a:ext>
            </a:extLst>
          </p:cNvPr>
          <p:cNvCxnSpPr>
            <a:cxnSpLocks noChangeShapeType="1"/>
            <a:stCxn id="66" idx="0"/>
            <a:endCxn id="72" idx="2"/>
          </p:cNvCxnSpPr>
          <p:nvPr/>
        </p:nvCxnSpPr>
        <p:spPr bwMode="auto">
          <a:xfrm flipV="1">
            <a:off x="6034305" y="3916854"/>
            <a:ext cx="0" cy="125906"/>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11" name="AutoShape 55">
            <a:extLst>
              <a:ext uri="{FF2B5EF4-FFF2-40B4-BE49-F238E27FC236}">
                <a16:creationId xmlns:a16="http://schemas.microsoft.com/office/drawing/2014/main" id="{988CA60A-7D53-4731-9A0B-4AB1418B3C06}"/>
              </a:ext>
            </a:extLst>
          </p:cNvPr>
          <p:cNvCxnSpPr>
            <a:cxnSpLocks noChangeShapeType="1"/>
            <a:stCxn id="63" idx="0"/>
            <a:endCxn id="65" idx="2"/>
          </p:cNvCxnSpPr>
          <p:nvPr/>
        </p:nvCxnSpPr>
        <p:spPr bwMode="auto">
          <a:xfrm flipV="1">
            <a:off x="8211721" y="3916854"/>
            <a:ext cx="0" cy="125906"/>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12" name="AutoShape 55">
            <a:extLst>
              <a:ext uri="{FF2B5EF4-FFF2-40B4-BE49-F238E27FC236}">
                <a16:creationId xmlns:a16="http://schemas.microsoft.com/office/drawing/2014/main" id="{20C32A3A-24E4-48FB-9241-5C0972897927}"/>
              </a:ext>
            </a:extLst>
          </p:cNvPr>
          <p:cNvCxnSpPr>
            <a:cxnSpLocks noChangeShapeType="1"/>
            <a:stCxn id="65" idx="0"/>
            <a:endCxn id="64" idx="2"/>
          </p:cNvCxnSpPr>
          <p:nvPr/>
        </p:nvCxnSpPr>
        <p:spPr bwMode="auto">
          <a:xfrm flipV="1">
            <a:off x="8211721" y="2530589"/>
            <a:ext cx="0" cy="106105"/>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13" name="AutoShape 55">
            <a:extLst>
              <a:ext uri="{FF2B5EF4-FFF2-40B4-BE49-F238E27FC236}">
                <a16:creationId xmlns:a16="http://schemas.microsoft.com/office/drawing/2014/main" id="{2F404336-B053-48A3-B554-EF3D60FA8FBD}"/>
              </a:ext>
            </a:extLst>
          </p:cNvPr>
          <p:cNvCxnSpPr>
            <a:cxnSpLocks noChangeShapeType="1"/>
            <a:stCxn id="73" idx="0"/>
            <a:endCxn id="75" idx="2"/>
          </p:cNvCxnSpPr>
          <p:nvPr/>
        </p:nvCxnSpPr>
        <p:spPr bwMode="auto">
          <a:xfrm flipV="1">
            <a:off x="10389141" y="3916854"/>
            <a:ext cx="0" cy="125906"/>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cxnSp>
        <p:nvCxnSpPr>
          <p:cNvPr id="114" name="AutoShape 55">
            <a:extLst>
              <a:ext uri="{FF2B5EF4-FFF2-40B4-BE49-F238E27FC236}">
                <a16:creationId xmlns:a16="http://schemas.microsoft.com/office/drawing/2014/main" id="{F06215E2-0210-4B54-8EB5-EE70651D8A58}"/>
              </a:ext>
            </a:extLst>
          </p:cNvPr>
          <p:cNvCxnSpPr>
            <a:cxnSpLocks noChangeShapeType="1"/>
            <a:stCxn id="75" idx="0"/>
            <a:endCxn id="74" idx="2"/>
          </p:cNvCxnSpPr>
          <p:nvPr/>
        </p:nvCxnSpPr>
        <p:spPr bwMode="auto">
          <a:xfrm flipH="1" flipV="1">
            <a:off x="10389140" y="2525273"/>
            <a:ext cx="1" cy="111421"/>
          </a:xfrm>
          <a:prstGeom prst="straightConnector1">
            <a:avLst/>
          </a:prstGeom>
          <a:noFill/>
          <a:ln w="19050">
            <a:solidFill>
              <a:schemeClr val="tx1"/>
            </a:solidFill>
            <a:round/>
            <a:headEnd/>
            <a:tailEnd type="stealth" w="lg" len="lg"/>
          </a:ln>
          <a:extLst>
            <a:ext uri="{909E8E84-426E-40DD-AFC4-6F175D3DCCD1}">
              <a14:hiddenFill xmlns:a14="http://schemas.microsoft.com/office/drawing/2010/main">
                <a:noFill/>
              </a14:hiddenFill>
            </a:ext>
          </a:extLst>
        </p:spPr>
      </p:cxnSp>
      <p:grpSp>
        <p:nvGrpSpPr>
          <p:cNvPr id="53" name="Group 90"/>
          <p:cNvGrpSpPr/>
          <p:nvPr/>
        </p:nvGrpSpPr>
        <p:grpSpPr>
          <a:xfrm>
            <a:off x="8960144" y="237259"/>
            <a:ext cx="2430508" cy="289004"/>
            <a:chOff x="9447824" y="732559"/>
            <a:chExt cx="2430508" cy="289004"/>
          </a:xfrm>
        </p:grpSpPr>
        <p:grpSp>
          <p:nvGrpSpPr>
            <p:cNvPr id="54"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69"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70"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55"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67"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68"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56"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58"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59"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sp>
        <p:nvSpPr>
          <p:cNvPr id="78" name="Freeform 42">
            <a:extLst>
              <a:ext uri="{FF2B5EF4-FFF2-40B4-BE49-F238E27FC236}">
                <a16:creationId xmlns:a16="http://schemas.microsoft.com/office/drawing/2014/main" id="{1D815BB2-ABC5-4694-B34D-48C27399863F}"/>
              </a:ext>
            </a:extLst>
          </p:cNvPr>
          <p:cNvSpPr/>
          <p:nvPr/>
        </p:nvSpPr>
        <p:spPr bwMode="auto">
          <a:xfrm flipV="1">
            <a:off x="1712101" y="1233437"/>
            <a:ext cx="8767448" cy="1225977"/>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1317807 w 7136640"/>
              <a:gd name="connsiteY1" fmla="*/ 54363 h 308134"/>
              <a:gd name="connsiteX2" fmla="*/ 1992056 w 7136640"/>
              <a:gd name="connsiteY2" fmla="*/ 307577 h 308134"/>
              <a:gd name="connsiteX3" fmla="*/ 2642777 w 7136640"/>
              <a:gd name="connsiteY3" fmla="*/ 124402 h 308134"/>
              <a:gd name="connsiteX4" fmla="*/ 3302093 w 7136640"/>
              <a:gd name="connsiteY4" fmla="*/ 189711 h 308134"/>
              <a:gd name="connsiteX5" fmla="*/ 3964644 w 7136640"/>
              <a:gd name="connsiteY5" fmla="*/ 417 h 308134"/>
              <a:gd name="connsiteX6" fmla="*/ 4578995 w 7136640"/>
              <a:gd name="connsiteY6" fmla="*/ 255894 h 308134"/>
              <a:gd name="connsiteX7" fmla="*/ 5236906 w 7136640"/>
              <a:gd name="connsiteY7" fmla="*/ 128120 h 308134"/>
              <a:gd name="connsiteX8" fmla="*/ 5843222 w 7136640"/>
              <a:gd name="connsiteY8" fmla="*/ 271154 h 308134"/>
              <a:gd name="connsiteX9" fmla="*/ 6486411 w 7136640"/>
              <a:gd name="connsiteY9" fmla="*/ 18281 h 308134"/>
              <a:gd name="connsiteX10" fmla="*/ 7136640 w 7136640"/>
              <a:gd name="connsiteY10" fmla="*/ 141032 h 308134"/>
              <a:gd name="connsiteX0" fmla="*/ 0 w 7136640"/>
              <a:gd name="connsiteY0" fmla="*/ 50651 h 308191"/>
              <a:gd name="connsiteX1" fmla="*/ 1992056 w 7136640"/>
              <a:gd name="connsiteY1" fmla="*/ 307577 h 308191"/>
              <a:gd name="connsiteX2" fmla="*/ 2642777 w 7136640"/>
              <a:gd name="connsiteY2" fmla="*/ 124402 h 308191"/>
              <a:gd name="connsiteX3" fmla="*/ 3302093 w 7136640"/>
              <a:gd name="connsiteY3" fmla="*/ 189711 h 308191"/>
              <a:gd name="connsiteX4" fmla="*/ 3964644 w 7136640"/>
              <a:gd name="connsiteY4" fmla="*/ 417 h 308191"/>
              <a:gd name="connsiteX5" fmla="*/ 4578995 w 7136640"/>
              <a:gd name="connsiteY5" fmla="*/ 255894 h 308191"/>
              <a:gd name="connsiteX6" fmla="*/ 5236906 w 7136640"/>
              <a:gd name="connsiteY6" fmla="*/ 128120 h 308191"/>
              <a:gd name="connsiteX7" fmla="*/ 5843222 w 7136640"/>
              <a:gd name="connsiteY7" fmla="*/ 271154 h 308191"/>
              <a:gd name="connsiteX8" fmla="*/ 6486411 w 7136640"/>
              <a:gd name="connsiteY8" fmla="*/ 18281 h 308191"/>
              <a:gd name="connsiteX9" fmla="*/ 7136640 w 7136640"/>
              <a:gd name="connsiteY9" fmla="*/ 141032 h 308191"/>
              <a:gd name="connsiteX0" fmla="*/ 0 w 7136640"/>
              <a:gd name="connsiteY0" fmla="*/ 50814 h 311487"/>
              <a:gd name="connsiteX1" fmla="*/ 1992056 w 7136640"/>
              <a:gd name="connsiteY1" fmla="*/ 307740 h 311487"/>
              <a:gd name="connsiteX2" fmla="*/ 3302093 w 7136640"/>
              <a:gd name="connsiteY2" fmla="*/ 189874 h 311487"/>
              <a:gd name="connsiteX3" fmla="*/ 3964644 w 7136640"/>
              <a:gd name="connsiteY3" fmla="*/ 580 h 311487"/>
              <a:gd name="connsiteX4" fmla="*/ 4578995 w 7136640"/>
              <a:gd name="connsiteY4" fmla="*/ 256057 h 311487"/>
              <a:gd name="connsiteX5" fmla="*/ 5236906 w 7136640"/>
              <a:gd name="connsiteY5" fmla="*/ 128283 h 311487"/>
              <a:gd name="connsiteX6" fmla="*/ 5843222 w 7136640"/>
              <a:gd name="connsiteY6" fmla="*/ 271317 h 311487"/>
              <a:gd name="connsiteX7" fmla="*/ 6486411 w 7136640"/>
              <a:gd name="connsiteY7" fmla="*/ 18444 h 311487"/>
              <a:gd name="connsiteX8" fmla="*/ 7136640 w 7136640"/>
              <a:gd name="connsiteY8" fmla="*/ 141195 h 311487"/>
              <a:gd name="connsiteX0" fmla="*/ 0 w 7136640"/>
              <a:gd name="connsiteY0" fmla="*/ 50234 h 307401"/>
              <a:gd name="connsiteX1" fmla="*/ 1992056 w 7136640"/>
              <a:gd name="connsiteY1" fmla="*/ 307160 h 307401"/>
              <a:gd name="connsiteX2" fmla="*/ 3964644 w 7136640"/>
              <a:gd name="connsiteY2" fmla="*/ 0 h 307401"/>
              <a:gd name="connsiteX3" fmla="*/ 4578995 w 7136640"/>
              <a:gd name="connsiteY3" fmla="*/ 255477 h 307401"/>
              <a:gd name="connsiteX4" fmla="*/ 5236906 w 7136640"/>
              <a:gd name="connsiteY4" fmla="*/ 127703 h 307401"/>
              <a:gd name="connsiteX5" fmla="*/ 5843222 w 7136640"/>
              <a:gd name="connsiteY5" fmla="*/ 270737 h 307401"/>
              <a:gd name="connsiteX6" fmla="*/ 6486411 w 7136640"/>
              <a:gd name="connsiteY6" fmla="*/ 17864 h 307401"/>
              <a:gd name="connsiteX7" fmla="*/ 7136640 w 7136640"/>
              <a:gd name="connsiteY7" fmla="*/ 140615 h 307401"/>
              <a:gd name="connsiteX0" fmla="*/ 0 w 7136640"/>
              <a:gd name="connsiteY0" fmla="*/ 55222 h 312389"/>
              <a:gd name="connsiteX1" fmla="*/ 1992056 w 7136640"/>
              <a:gd name="connsiteY1" fmla="*/ 312148 h 312389"/>
              <a:gd name="connsiteX2" fmla="*/ 3964644 w 7136640"/>
              <a:gd name="connsiteY2" fmla="*/ 4988 h 312389"/>
              <a:gd name="connsiteX3" fmla="*/ 5236906 w 7136640"/>
              <a:gd name="connsiteY3" fmla="*/ 132691 h 312389"/>
              <a:gd name="connsiteX4" fmla="*/ 5843222 w 7136640"/>
              <a:gd name="connsiteY4" fmla="*/ 275725 h 312389"/>
              <a:gd name="connsiteX5" fmla="*/ 6486411 w 7136640"/>
              <a:gd name="connsiteY5" fmla="*/ 22852 h 312389"/>
              <a:gd name="connsiteX6" fmla="*/ 7136640 w 7136640"/>
              <a:gd name="connsiteY6" fmla="*/ 145603 h 312389"/>
              <a:gd name="connsiteX0" fmla="*/ 0 w 7136640"/>
              <a:gd name="connsiteY0" fmla="*/ 54072 h 311239"/>
              <a:gd name="connsiteX1" fmla="*/ 1992056 w 7136640"/>
              <a:gd name="connsiteY1" fmla="*/ 310998 h 311239"/>
              <a:gd name="connsiteX2" fmla="*/ 3964644 w 7136640"/>
              <a:gd name="connsiteY2" fmla="*/ 3838 h 311239"/>
              <a:gd name="connsiteX3" fmla="*/ 5236906 w 7136640"/>
              <a:gd name="connsiteY3" fmla="*/ 131541 h 311239"/>
              <a:gd name="connsiteX4" fmla="*/ 6486411 w 7136640"/>
              <a:gd name="connsiteY4" fmla="*/ 21702 h 311239"/>
              <a:gd name="connsiteX5" fmla="*/ 7136640 w 7136640"/>
              <a:gd name="connsiteY5" fmla="*/ 144453 h 311239"/>
              <a:gd name="connsiteX0" fmla="*/ 0 w 6486411"/>
              <a:gd name="connsiteY0" fmla="*/ 54072 h 311239"/>
              <a:gd name="connsiteX1" fmla="*/ 1992056 w 6486411"/>
              <a:gd name="connsiteY1" fmla="*/ 310998 h 311239"/>
              <a:gd name="connsiteX2" fmla="*/ 3964644 w 6486411"/>
              <a:gd name="connsiteY2" fmla="*/ 3838 h 311239"/>
              <a:gd name="connsiteX3" fmla="*/ 5236906 w 6486411"/>
              <a:gd name="connsiteY3" fmla="*/ 131541 h 311239"/>
              <a:gd name="connsiteX4" fmla="*/ 6486411 w 6486411"/>
              <a:gd name="connsiteY4" fmla="*/ 21702 h 311239"/>
              <a:gd name="connsiteX0" fmla="*/ 0 w 7250343"/>
              <a:gd name="connsiteY0" fmla="*/ 54213 h 311380"/>
              <a:gd name="connsiteX1" fmla="*/ 1992056 w 7250343"/>
              <a:gd name="connsiteY1" fmla="*/ 311139 h 311380"/>
              <a:gd name="connsiteX2" fmla="*/ 3964644 w 7250343"/>
              <a:gd name="connsiteY2" fmla="*/ 3979 h 311380"/>
              <a:gd name="connsiteX3" fmla="*/ 5236906 w 7250343"/>
              <a:gd name="connsiteY3" fmla="*/ 131682 h 311380"/>
              <a:gd name="connsiteX4" fmla="*/ 7250343 w 7250343"/>
              <a:gd name="connsiteY4" fmla="*/ 60381 h 311380"/>
              <a:gd name="connsiteX0" fmla="*/ 0 w 7250343"/>
              <a:gd name="connsiteY0" fmla="*/ 54213 h 132426"/>
              <a:gd name="connsiteX1" fmla="*/ 1978273 w 7250343"/>
              <a:gd name="connsiteY1" fmla="*/ 118547 h 132426"/>
              <a:gd name="connsiteX2" fmla="*/ 3964644 w 7250343"/>
              <a:gd name="connsiteY2" fmla="*/ 3979 h 132426"/>
              <a:gd name="connsiteX3" fmla="*/ 5236906 w 7250343"/>
              <a:gd name="connsiteY3" fmla="*/ 131682 h 132426"/>
              <a:gd name="connsiteX4" fmla="*/ 7250343 w 7250343"/>
              <a:gd name="connsiteY4" fmla="*/ 60381 h 132426"/>
              <a:gd name="connsiteX0" fmla="*/ 0 w 7250343"/>
              <a:gd name="connsiteY0" fmla="*/ 54213 h 132426"/>
              <a:gd name="connsiteX1" fmla="*/ 1978273 w 7250343"/>
              <a:gd name="connsiteY1" fmla="*/ 118547 h 132426"/>
              <a:gd name="connsiteX2" fmla="*/ 3964644 w 7250343"/>
              <a:gd name="connsiteY2" fmla="*/ 3979 h 132426"/>
              <a:gd name="connsiteX3" fmla="*/ 5236906 w 7250343"/>
              <a:gd name="connsiteY3" fmla="*/ 131684 h 132426"/>
              <a:gd name="connsiteX4" fmla="*/ 7250343 w 7250343"/>
              <a:gd name="connsiteY4" fmla="*/ 60381 h 132426"/>
              <a:gd name="connsiteX0" fmla="*/ 0 w 7250343"/>
              <a:gd name="connsiteY0" fmla="*/ 66111 h 132331"/>
              <a:gd name="connsiteX1" fmla="*/ 1978273 w 7250343"/>
              <a:gd name="connsiteY1" fmla="*/ 130445 h 132331"/>
              <a:gd name="connsiteX2" fmla="*/ 3964644 w 7250343"/>
              <a:gd name="connsiteY2" fmla="*/ 15877 h 132331"/>
              <a:gd name="connsiteX3" fmla="*/ 5236906 w 7250343"/>
              <a:gd name="connsiteY3" fmla="*/ 15181 h 132331"/>
              <a:gd name="connsiteX4" fmla="*/ 7250343 w 7250343"/>
              <a:gd name="connsiteY4" fmla="*/ 72279 h 132331"/>
              <a:gd name="connsiteX0" fmla="*/ 0 w 6874337"/>
              <a:gd name="connsiteY0" fmla="*/ 18660101 h 18660251"/>
              <a:gd name="connsiteX1" fmla="*/ 1602267 w 6874337"/>
              <a:gd name="connsiteY1" fmla="*/ 1321240 h 18660251"/>
              <a:gd name="connsiteX2" fmla="*/ 3588638 w 6874337"/>
              <a:gd name="connsiteY2" fmla="*/ 1206672 h 18660251"/>
              <a:gd name="connsiteX3" fmla="*/ 4860900 w 6874337"/>
              <a:gd name="connsiteY3" fmla="*/ 1205976 h 18660251"/>
              <a:gd name="connsiteX4" fmla="*/ 6874337 w 6874337"/>
              <a:gd name="connsiteY4" fmla="*/ 1263074 h 18660251"/>
              <a:gd name="connsiteX0" fmla="*/ 0 w 6874337"/>
              <a:gd name="connsiteY0" fmla="*/ 17469306 h 26729364"/>
              <a:gd name="connsiteX1" fmla="*/ 1626140 w 6874337"/>
              <a:gd name="connsiteY1" fmla="*/ 26263035 h 26729364"/>
              <a:gd name="connsiteX2" fmla="*/ 3588638 w 6874337"/>
              <a:gd name="connsiteY2" fmla="*/ 15877 h 26729364"/>
              <a:gd name="connsiteX3" fmla="*/ 4860900 w 6874337"/>
              <a:gd name="connsiteY3" fmla="*/ 15181 h 26729364"/>
              <a:gd name="connsiteX4" fmla="*/ 6874337 w 6874337"/>
              <a:gd name="connsiteY4" fmla="*/ 72279 h 26729364"/>
              <a:gd name="connsiteX0" fmla="*/ 0 w 6874337"/>
              <a:gd name="connsiteY0" fmla="*/ 17454126 h 26256116"/>
              <a:gd name="connsiteX1" fmla="*/ 1626140 w 6874337"/>
              <a:gd name="connsiteY1" fmla="*/ 26247855 h 26256116"/>
              <a:gd name="connsiteX2" fmla="*/ 3117138 w 6874337"/>
              <a:gd name="connsiteY2" fmla="*/ 19183133 h 26256116"/>
              <a:gd name="connsiteX3" fmla="*/ 4860900 w 6874337"/>
              <a:gd name="connsiteY3" fmla="*/ 1 h 26256116"/>
              <a:gd name="connsiteX4" fmla="*/ 6874337 w 6874337"/>
              <a:gd name="connsiteY4" fmla="*/ 57099 h 26256116"/>
              <a:gd name="connsiteX0" fmla="*/ 0 w 6874337"/>
              <a:gd name="connsiteY0" fmla="*/ 17397028 h 26199018"/>
              <a:gd name="connsiteX1" fmla="*/ 1626140 w 6874337"/>
              <a:gd name="connsiteY1" fmla="*/ 26190757 h 26199018"/>
              <a:gd name="connsiteX2" fmla="*/ 3117138 w 6874337"/>
              <a:gd name="connsiteY2" fmla="*/ 19126035 h 26199018"/>
              <a:gd name="connsiteX3" fmla="*/ 4765406 w 6874337"/>
              <a:gd name="connsiteY3" fmla="*/ 22628219 h 26199018"/>
              <a:gd name="connsiteX4" fmla="*/ 6874337 w 6874337"/>
              <a:gd name="connsiteY4" fmla="*/ 1 h 26199018"/>
              <a:gd name="connsiteX0" fmla="*/ 0 w 6426711"/>
              <a:gd name="connsiteY0" fmla="*/ 0 h 8801990"/>
              <a:gd name="connsiteX1" fmla="*/ 1626140 w 6426711"/>
              <a:gd name="connsiteY1" fmla="*/ 8793729 h 8801990"/>
              <a:gd name="connsiteX2" fmla="*/ 3117138 w 6426711"/>
              <a:gd name="connsiteY2" fmla="*/ 1729007 h 8801990"/>
              <a:gd name="connsiteX3" fmla="*/ 4765406 w 6426711"/>
              <a:gd name="connsiteY3" fmla="*/ 5231191 h 8801990"/>
              <a:gd name="connsiteX4" fmla="*/ 6426711 w 6426711"/>
              <a:gd name="connsiteY4" fmla="*/ 5010279 h 8801990"/>
              <a:gd name="connsiteX0" fmla="*/ 0 w 6426711"/>
              <a:gd name="connsiteY0" fmla="*/ 0 h 7071077"/>
              <a:gd name="connsiteX1" fmla="*/ 1653705 w 6426711"/>
              <a:gd name="connsiteY1" fmla="*/ 7060343 h 7071077"/>
              <a:gd name="connsiteX2" fmla="*/ 3117138 w 6426711"/>
              <a:gd name="connsiteY2" fmla="*/ 1729007 h 7071077"/>
              <a:gd name="connsiteX3" fmla="*/ 4765406 w 6426711"/>
              <a:gd name="connsiteY3" fmla="*/ 5231191 h 7071077"/>
              <a:gd name="connsiteX4" fmla="*/ 6426711 w 6426711"/>
              <a:gd name="connsiteY4" fmla="*/ 5010279 h 7071077"/>
              <a:gd name="connsiteX0" fmla="*/ 0 w 6585469"/>
              <a:gd name="connsiteY0" fmla="*/ 5043418 h 5651496"/>
              <a:gd name="connsiteX1" fmla="*/ 1812463 w 6585469"/>
              <a:gd name="connsiteY1" fmla="*/ 5331527 h 5651496"/>
              <a:gd name="connsiteX2" fmla="*/ 3275896 w 6585469"/>
              <a:gd name="connsiteY2" fmla="*/ 191 h 5651496"/>
              <a:gd name="connsiteX3" fmla="*/ 4924164 w 6585469"/>
              <a:gd name="connsiteY3" fmla="*/ 3502375 h 5651496"/>
              <a:gd name="connsiteX4" fmla="*/ 6585469 w 6585469"/>
              <a:gd name="connsiteY4" fmla="*/ 3281463 h 5651496"/>
              <a:gd name="connsiteX0" fmla="*/ 0 w 6585469"/>
              <a:gd name="connsiteY0" fmla="*/ 1761969 h 2050957"/>
              <a:gd name="connsiteX1" fmla="*/ 1812463 w 6585469"/>
              <a:gd name="connsiteY1" fmla="*/ 2050078 h 2050957"/>
              <a:gd name="connsiteX2" fmla="*/ 3275896 w 6585469"/>
              <a:gd name="connsiteY2" fmla="*/ 1856298 h 2050957"/>
              <a:gd name="connsiteX3" fmla="*/ 4924164 w 6585469"/>
              <a:gd name="connsiteY3" fmla="*/ 220926 h 2050957"/>
              <a:gd name="connsiteX4" fmla="*/ 6585469 w 6585469"/>
              <a:gd name="connsiteY4" fmla="*/ 14 h 2050957"/>
              <a:gd name="connsiteX0" fmla="*/ 0 w 6585469"/>
              <a:gd name="connsiteY0" fmla="*/ 1761955 h 2050943"/>
              <a:gd name="connsiteX1" fmla="*/ 1812463 w 6585469"/>
              <a:gd name="connsiteY1" fmla="*/ 2050064 h 2050943"/>
              <a:gd name="connsiteX2" fmla="*/ 3275896 w 6585469"/>
              <a:gd name="connsiteY2" fmla="*/ 1856284 h 2050943"/>
              <a:gd name="connsiteX3" fmla="*/ 4915808 w 6585469"/>
              <a:gd name="connsiteY3" fmla="*/ 1622064 h 2050943"/>
              <a:gd name="connsiteX4" fmla="*/ 6585469 w 6585469"/>
              <a:gd name="connsiteY4" fmla="*/ 0 h 2050943"/>
              <a:gd name="connsiteX0" fmla="*/ 0 w 6585469"/>
              <a:gd name="connsiteY0" fmla="*/ 360817 h 649805"/>
              <a:gd name="connsiteX1" fmla="*/ 1812463 w 6585469"/>
              <a:gd name="connsiteY1" fmla="*/ 648926 h 649805"/>
              <a:gd name="connsiteX2" fmla="*/ 3275896 w 6585469"/>
              <a:gd name="connsiteY2" fmla="*/ 455146 h 649805"/>
              <a:gd name="connsiteX3" fmla="*/ 4915808 w 6585469"/>
              <a:gd name="connsiteY3" fmla="*/ 220926 h 649805"/>
              <a:gd name="connsiteX4" fmla="*/ 6585469 w 6585469"/>
              <a:gd name="connsiteY4" fmla="*/ 14 h 649805"/>
              <a:gd name="connsiteX0" fmla="*/ 0 w 6580287"/>
              <a:gd name="connsiteY0" fmla="*/ 0 h 4971187"/>
              <a:gd name="connsiteX1" fmla="*/ 1807281 w 6580287"/>
              <a:gd name="connsiteY1" fmla="*/ 4681040 h 4971187"/>
              <a:gd name="connsiteX2" fmla="*/ 3270714 w 6580287"/>
              <a:gd name="connsiteY2" fmla="*/ 4487260 h 4971187"/>
              <a:gd name="connsiteX3" fmla="*/ 4910626 w 6580287"/>
              <a:gd name="connsiteY3" fmla="*/ 4253040 h 4971187"/>
              <a:gd name="connsiteX4" fmla="*/ 6580287 w 6580287"/>
              <a:gd name="connsiteY4" fmla="*/ 4032128 h 4971187"/>
              <a:gd name="connsiteX0" fmla="*/ 0 w 6580287"/>
              <a:gd name="connsiteY0" fmla="*/ 6092953 h 10580220"/>
              <a:gd name="connsiteX1" fmla="*/ 1568917 w 6580287"/>
              <a:gd name="connsiteY1" fmla="*/ 57173 h 10580220"/>
              <a:gd name="connsiteX2" fmla="*/ 3270714 w 6580287"/>
              <a:gd name="connsiteY2" fmla="*/ 10580213 h 10580220"/>
              <a:gd name="connsiteX3" fmla="*/ 4910626 w 6580287"/>
              <a:gd name="connsiteY3" fmla="*/ 10345993 h 10580220"/>
              <a:gd name="connsiteX4" fmla="*/ 6580287 w 6580287"/>
              <a:gd name="connsiteY4" fmla="*/ 10125081 h 10580220"/>
              <a:gd name="connsiteX0" fmla="*/ 0 w 6580287"/>
              <a:gd name="connsiteY0" fmla="*/ 6036407 h 10523674"/>
              <a:gd name="connsiteX1" fmla="*/ 1568917 w 6580287"/>
              <a:gd name="connsiteY1" fmla="*/ 627 h 10523674"/>
              <a:gd name="connsiteX2" fmla="*/ 3270714 w 6580287"/>
              <a:gd name="connsiteY2" fmla="*/ 10523667 h 10523674"/>
              <a:gd name="connsiteX3" fmla="*/ 4910626 w 6580287"/>
              <a:gd name="connsiteY3" fmla="*/ 10289447 h 10523674"/>
              <a:gd name="connsiteX4" fmla="*/ 6580287 w 6580287"/>
              <a:gd name="connsiteY4" fmla="*/ 10068535 h 10523674"/>
              <a:gd name="connsiteX0" fmla="*/ 0 w 6580287"/>
              <a:gd name="connsiteY0" fmla="*/ 8305395 h 12558715"/>
              <a:gd name="connsiteX1" fmla="*/ 1568917 w 6580287"/>
              <a:gd name="connsiteY1" fmla="*/ 2269615 h 12558715"/>
              <a:gd name="connsiteX2" fmla="*/ 3161896 w 6580287"/>
              <a:gd name="connsiteY2" fmla="*/ 54 h 12558715"/>
              <a:gd name="connsiteX3" fmla="*/ 4910626 w 6580287"/>
              <a:gd name="connsiteY3" fmla="*/ 12558435 h 12558715"/>
              <a:gd name="connsiteX4" fmla="*/ 6580287 w 6580287"/>
              <a:gd name="connsiteY4" fmla="*/ 12337523 h 12558715"/>
              <a:gd name="connsiteX0" fmla="*/ 0 w 6580287"/>
              <a:gd name="connsiteY0" fmla="*/ 8305395 h 12558715"/>
              <a:gd name="connsiteX1" fmla="*/ 1568917 w 6580287"/>
              <a:gd name="connsiteY1" fmla="*/ 2269615 h 12558715"/>
              <a:gd name="connsiteX2" fmla="*/ 3161896 w 6580287"/>
              <a:gd name="connsiteY2" fmla="*/ 54 h 12558715"/>
              <a:gd name="connsiteX3" fmla="*/ 4910626 w 6580287"/>
              <a:gd name="connsiteY3" fmla="*/ 12558435 h 12558715"/>
              <a:gd name="connsiteX4" fmla="*/ 6580287 w 6580287"/>
              <a:gd name="connsiteY4" fmla="*/ 12337523 h 12558715"/>
              <a:gd name="connsiteX0" fmla="*/ 0 w 6580287"/>
              <a:gd name="connsiteY0" fmla="*/ 8317524 h 12570844"/>
              <a:gd name="connsiteX1" fmla="*/ 1568917 w 6580287"/>
              <a:gd name="connsiteY1" fmla="*/ 2281744 h 12570844"/>
              <a:gd name="connsiteX2" fmla="*/ 3161896 w 6580287"/>
              <a:gd name="connsiteY2" fmla="*/ 12183 h 12570844"/>
              <a:gd name="connsiteX3" fmla="*/ 4910626 w 6580287"/>
              <a:gd name="connsiteY3" fmla="*/ 12570564 h 12570844"/>
              <a:gd name="connsiteX4" fmla="*/ 6580287 w 6580287"/>
              <a:gd name="connsiteY4" fmla="*/ 12349652 h 12570844"/>
              <a:gd name="connsiteX0" fmla="*/ 0 w 6580287"/>
              <a:gd name="connsiteY0" fmla="*/ 6551749 h 10805069"/>
              <a:gd name="connsiteX1" fmla="*/ 1568917 w 6580287"/>
              <a:gd name="connsiteY1" fmla="*/ 515969 h 10805069"/>
              <a:gd name="connsiteX2" fmla="*/ 3151532 w 6580287"/>
              <a:gd name="connsiteY2" fmla="*/ 418732 h 10805069"/>
              <a:gd name="connsiteX3" fmla="*/ 4910626 w 6580287"/>
              <a:gd name="connsiteY3" fmla="*/ 10804789 h 10805069"/>
              <a:gd name="connsiteX4" fmla="*/ 6580287 w 6580287"/>
              <a:gd name="connsiteY4" fmla="*/ 10583877 h 10805069"/>
              <a:gd name="connsiteX0" fmla="*/ 0 w 6580287"/>
              <a:gd name="connsiteY0" fmla="*/ 6538952 h 10792272"/>
              <a:gd name="connsiteX1" fmla="*/ 1568917 w 6580287"/>
              <a:gd name="connsiteY1" fmla="*/ 503172 h 10792272"/>
              <a:gd name="connsiteX2" fmla="*/ 3151532 w 6580287"/>
              <a:gd name="connsiteY2" fmla="*/ 405935 h 10792272"/>
              <a:gd name="connsiteX3" fmla="*/ 4910626 w 6580287"/>
              <a:gd name="connsiteY3" fmla="*/ 10791992 h 10792272"/>
              <a:gd name="connsiteX4" fmla="*/ 6580287 w 6580287"/>
              <a:gd name="connsiteY4" fmla="*/ 10571080 h 10792272"/>
              <a:gd name="connsiteX0" fmla="*/ 0 w 6580287"/>
              <a:gd name="connsiteY0" fmla="*/ 6248104 h 10501424"/>
              <a:gd name="connsiteX1" fmla="*/ 1568917 w 6580287"/>
              <a:gd name="connsiteY1" fmla="*/ 212324 h 10501424"/>
              <a:gd name="connsiteX2" fmla="*/ 3151532 w 6580287"/>
              <a:gd name="connsiteY2" fmla="*/ 115087 h 10501424"/>
              <a:gd name="connsiteX3" fmla="*/ 4910626 w 6580287"/>
              <a:gd name="connsiteY3" fmla="*/ 10501144 h 10501424"/>
              <a:gd name="connsiteX4" fmla="*/ 6580287 w 6580287"/>
              <a:gd name="connsiteY4" fmla="*/ 10280232 h 10501424"/>
              <a:gd name="connsiteX0" fmla="*/ 0 w 6580287"/>
              <a:gd name="connsiteY0" fmla="*/ 6248104 h 10280232"/>
              <a:gd name="connsiteX1" fmla="*/ 1568917 w 6580287"/>
              <a:gd name="connsiteY1" fmla="*/ 212324 h 10280232"/>
              <a:gd name="connsiteX2" fmla="*/ 3151532 w 6580287"/>
              <a:gd name="connsiteY2" fmla="*/ 115087 h 10280232"/>
              <a:gd name="connsiteX3" fmla="*/ 4770717 w 6580287"/>
              <a:gd name="connsiteY3" fmla="*/ 8280544 h 10280232"/>
              <a:gd name="connsiteX4" fmla="*/ 6580287 w 6580287"/>
              <a:gd name="connsiteY4" fmla="*/ 10280232 h 10280232"/>
              <a:gd name="connsiteX0" fmla="*/ 0 w 6580287"/>
              <a:gd name="connsiteY0" fmla="*/ 6248104 h 10280232"/>
              <a:gd name="connsiteX1" fmla="*/ 1568917 w 6580287"/>
              <a:gd name="connsiteY1" fmla="*/ 212324 h 10280232"/>
              <a:gd name="connsiteX2" fmla="*/ 3151532 w 6580287"/>
              <a:gd name="connsiteY2" fmla="*/ 115087 h 10280232"/>
              <a:gd name="connsiteX3" fmla="*/ 4770717 w 6580287"/>
              <a:gd name="connsiteY3" fmla="*/ 8280544 h 10280232"/>
              <a:gd name="connsiteX4" fmla="*/ 6580287 w 6580287"/>
              <a:gd name="connsiteY4" fmla="*/ 10280232 h 10280232"/>
              <a:gd name="connsiteX0" fmla="*/ 0 w 6580287"/>
              <a:gd name="connsiteY0" fmla="*/ 6248104 h 10280232"/>
              <a:gd name="connsiteX1" fmla="*/ 1568917 w 6580287"/>
              <a:gd name="connsiteY1" fmla="*/ 212324 h 10280232"/>
              <a:gd name="connsiteX2" fmla="*/ 3151532 w 6580287"/>
              <a:gd name="connsiteY2" fmla="*/ 115087 h 10280232"/>
              <a:gd name="connsiteX3" fmla="*/ 4770717 w 6580287"/>
              <a:gd name="connsiteY3" fmla="*/ 8280544 h 10280232"/>
              <a:gd name="connsiteX4" fmla="*/ 6580287 w 6580287"/>
              <a:gd name="connsiteY4" fmla="*/ 10280232 h 10280232"/>
              <a:gd name="connsiteX0" fmla="*/ 0 w 6409287"/>
              <a:gd name="connsiteY0" fmla="*/ 6248104 h 8349273"/>
              <a:gd name="connsiteX1" fmla="*/ 1568917 w 6409287"/>
              <a:gd name="connsiteY1" fmla="*/ 212324 h 8349273"/>
              <a:gd name="connsiteX2" fmla="*/ 3151532 w 6409287"/>
              <a:gd name="connsiteY2" fmla="*/ 115087 h 8349273"/>
              <a:gd name="connsiteX3" fmla="*/ 4770717 w 6409287"/>
              <a:gd name="connsiteY3" fmla="*/ 8280544 h 8349273"/>
              <a:gd name="connsiteX4" fmla="*/ 6409287 w 6409287"/>
              <a:gd name="connsiteY4" fmla="*/ 8349273 h 8349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9287" h="8349273">
                <a:moveTo>
                  <a:pt x="0" y="6248104"/>
                </a:moveTo>
                <a:cubicBezTo>
                  <a:pt x="415012" y="6301630"/>
                  <a:pt x="1162844" y="558662"/>
                  <a:pt x="1568917" y="212324"/>
                </a:cubicBezTo>
                <a:cubicBezTo>
                  <a:pt x="1974990" y="-134014"/>
                  <a:pt x="2927649" y="27152"/>
                  <a:pt x="3151532" y="115087"/>
                </a:cubicBezTo>
                <a:cubicBezTo>
                  <a:pt x="3417704" y="954103"/>
                  <a:pt x="4378556" y="6485008"/>
                  <a:pt x="4770717" y="8280544"/>
                </a:cubicBezTo>
                <a:cubicBezTo>
                  <a:pt x="5318333" y="8289944"/>
                  <a:pt x="6092665" y="8347121"/>
                  <a:pt x="6409287" y="8349273"/>
                </a:cubicBezTo>
              </a:path>
            </a:pathLst>
          </a:custGeom>
          <a:noFill/>
          <a:ln w="136525" cap="rnd" cmpd="sng" algn="ctr">
            <a:solidFill>
              <a:srgbClr val="43B02A">
                <a:alpha val="50000"/>
              </a:srgb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79" name="Freeform 42">
            <a:extLst>
              <a:ext uri="{FF2B5EF4-FFF2-40B4-BE49-F238E27FC236}">
                <a16:creationId xmlns:a16="http://schemas.microsoft.com/office/drawing/2014/main" id="{286F6667-77F7-43CC-BE41-57D7478C13B1}"/>
              </a:ext>
            </a:extLst>
          </p:cNvPr>
          <p:cNvSpPr/>
          <p:nvPr/>
        </p:nvSpPr>
        <p:spPr bwMode="auto">
          <a:xfrm flipV="1">
            <a:off x="1686935" y="3473844"/>
            <a:ext cx="8781626" cy="1159490"/>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1317807 w 7136640"/>
              <a:gd name="connsiteY1" fmla="*/ 54363 h 308134"/>
              <a:gd name="connsiteX2" fmla="*/ 1992056 w 7136640"/>
              <a:gd name="connsiteY2" fmla="*/ 307577 h 308134"/>
              <a:gd name="connsiteX3" fmla="*/ 2642777 w 7136640"/>
              <a:gd name="connsiteY3" fmla="*/ 124402 h 308134"/>
              <a:gd name="connsiteX4" fmla="*/ 3302093 w 7136640"/>
              <a:gd name="connsiteY4" fmla="*/ 189711 h 308134"/>
              <a:gd name="connsiteX5" fmla="*/ 3964644 w 7136640"/>
              <a:gd name="connsiteY5" fmla="*/ 417 h 308134"/>
              <a:gd name="connsiteX6" fmla="*/ 4578995 w 7136640"/>
              <a:gd name="connsiteY6" fmla="*/ 255894 h 308134"/>
              <a:gd name="connsiteX7" fmla="*/ 5236906 w 7136640"/>
              <a:gd name="connsiteY7" fmla="*/ 128120 h 308134"/>
              <a:gd name="connsiteX8" fmla="*/ 5843222 w 7136640"/>
              <a:gd name="connsiteY8" fmla="*/ 271154 h 308134"/>
              <a:gd name="connsiteX9" fmla="*/ 6486411 w 7136640"/>
              <a:gd name="connsiteY9" fmla="*/ 18281 h 308134"/>
              <a:gd name="connsiteX10" fmla="*/ 7136640 w 7136640"/>
              <a:gd name="connsiteY10" fmla="*/ 141032 h 308134"/>
              <a:gd name="connsiteX0" fmla="*/ 0 w 7136640"/>
              <a:gd name="connsiteY0" fmla="*/ 50651 h 308191"/>
              <a:gd name="connsiteX1" fmla="*/ 1992056 w 7136640"/>
              <a:gd name="connsiteY1" fmla="*/ 307577 h 308191"/>
              <a:gd name="connsiteX2" fmla="*/ 2642777 w 7136640"/>
              <a:gd name="connsiteY2" fmla="*/ 124402 h 308191"/>
              <a:gd name="connsiteX3" fmla="*/ 3302093 w 7136640"/>
              <a:gd name="connsiteY3" fmla="*/ 189711 h 308191"/>
              <a:gd name="connsiteX4" fmla="*/ 3964644 w 7136640"/>
              <a:gd name="connsiteY4" fmla="*/ 417 h 308191"/>
              <a:gd name="connsiteX5" fmla="*/ 4578995 w 7136640"/>
              <a:gd name="connsiteY5" fmla="*/ 255894 h 308191"/>
              <a:gd name="connsiteX6" fmla="*/ 5236906 w 7136640"/>
              <a:gd name="connsiteY6" fmla="*/ 128120 h 308191"/>
              <a:gd name="connsiteX7" fmla="*/ 5843222 w 7136640"/>
              <a:gd name="connsiteY7" fmla="*/ 271154 h 308191"/>
              <a:gd name="connsiteX8" fmla="*/ 6486411 w 7136640"/>
              <a:gd name="connsiteY8" fmla="*/ 18281 h 308191"/>
              <a:gd name="connsiteX9" fmla="*/ 7136640 w 7136640"/>
              <a:gd name="connsiteY9" fmla="*/ 141032 h 308191"/>
              <a:gd name="connsiteX0" fmla="*/ 0 w 7136640"/>
              <a:gd name="connsiteY0" fmla="*/ 50814 h 311487"/>
              <a:gd name="connsiteX1" fmla="*/ 1992056 w 7136640"/>
              <a:gd name="connsiteY1" fmla="*/ 307740 h 311487"/>
              <a:gd name="connsiteX2" fmla="*/ 3302093 w 7136640"/>
              <a:gd name="connsiteY2" fmla="*/ 189874 h 311487"/>
              <a:gd name="connsiteX3" fmla="*/ 3964644 w 7136640"/>
              <a:gd name="connsiteY3" fmla="*/ 580 h 311487"/>
              <a:gd name="connsiteX4" fmla="*/ 4578995 w 7136640"/>
              <a:gd name="connsiteY4" fmla="*/ 256057 h 311487"/>
              <a:gd name="connsiteX5" fmla="*/ 5236906 w 7136640"/>
              <a:gd name="connsiteY5" fmla="*/ 128283 h 311487"/>
              <a:gd name="connsiteX6" fmla="*/ 5843222 w 7136640"/>
              <a:gd name="connsiteY6" fmla="*/ 271317 h 311487"/>
              <a:gd name="connsiteX7" fmla="*/ 6486411 w 7136640"/>
              <a:gd name="connsiteY7" fmla="*/ 18444 h 311487"/>
              <a:gd name="connsiteX8" fmla="*/ 7136640 w 7136640"/>
              <a:gd name="connsiteY8" fmla="*/ 141195 h 311487"/>
              <a:gd name="connsiteX0" fmla="*/ 0 w 7136640"/>
              <a:gd name="connsiteY0" fmla="*/ 50234 h 307401"/>
              <a:gd name="connsiteX1" fmla="*/ 1992056 w 7136640"/>
              <a:gd name="connsiteY1" fmla="*/ 307160 h 307401"/>
              <a:gd name="connsiteX2" fmla="*/ 3964644 w 7136640"/>
              <a:gd name="connsiteY2" fmla="*/ 0 h 307401"/>
              <a:gd name="connsiteX3" fmla="*/ 4578995 w 7136640"/>
              <a:gd name="connsiteY3" fmla="*/ 255477 h 307401"/>
              <a:gd name="connsiteX4" fmla="*/ 5236906 w 7136640"/>
              <a:gd name="connsiteY4" fmla="*/ 127703 h 307401"/>
              <a:gd name="connsiteX5" fmla="*/ 5843222 w 7136640"/>
              <a:gd name="connsiteY5" fmla="*/ 270737 h 307401"/>
              <a:gd name="connsiteX6" fmla="*/ 6486411 w 7136640"/>
              <a:gd name="connsiteY6" fmla="*/ 17864 h 307401"/>
              <a:gd name="connsiteX7" fmla="*/ 7136640 w 7136640"/>
              <a:gd name="connsiteY7" fmla="*/ 140615 h 307401"/>
              <a:gd name="connsiteX0" fmla="*/ 0 w 7136640"/>
              <a:gd name="connsiteY0" fmla="*/ 55222 h 312389"/>
              <a:gd name="connsiteX1" fmla="*/ 1992056 w 7136640"/>
              <a:gd name="connsiteY1" fmla="*/ 312148 h 312389"/>
              <a:gd name="connsiteX2" fmla="*/ 3964644 w 7136640"/>
              <a:gd name="connsiteY2" fmla="*/ 4988 h 312389"/>
              <a:gd name="connsiteX3" fmla="*/ 5236906 w 7136640"/>
              <a:gd name="connsiteY3" fmla="*/ 132691 h 312389"/>
              <a:gd name="connsiteX4" fmla="*/ 5843222 w 7136640"/>
              <a:gd name="connsiteY4" fmla="*/ 275725 h 312389"/>
              <a:gd name="connsiteX5" fmla="*/ 6486411 w 7136640"/>
              <a:gd name="connsiteY5" fmla="*/ 22852 h 312389"/>
              <a:gd name="connsiteX6" fmla="*/ 7136640 w 7136640"/>
              <a:gd name="connsiteY6" fmla="*/ 145603 h 312389"/>
              <a:gd name="connsiteX0" fmla="*/ 0 w 7136640"/>
              <a:gd name="connsiteY0" fmla="*/ 54072 h 311239"/>
              <a:gd name="connsiteX1" fmla="*/ 1992056 w 7136640"/>
              <a:gd name="connsiteY1" fmla="*/ 310998 h 311239"/>
              <a:gd name="connsiteX2" fmla="*/ 3964644 w 7136640"/>
              <a:gd name="connsiteY2" fmla="*/ 3838 h 311239"/>
              <a:gd name="connsiteX3" fmla="*/ 5236906 w 7136640"/>
              <a:gd name="connsiteY3" fmla="*/ 131541 h 311239"/>
              <a:gd name="connsiteX4" fmla="*/ 6486411 w 7136640"/>
              <a:gd name="connsiteY4" fmla="*/ 21702 h 311239"/>
              <a:gd name="connsiteX5" fmla="*/ 7136640 w 7136640"/>
              <a:gd name="connsiteY5" fmla="*/ 144453 h 311239"/>
              <a:gd name="connsiteX0" fmla="*/ 0 w 6486411"/>
              <a:gd name="connsiteY0" fmla="*/ 54072 h 311239"/>
              <a:gd name="connsiteX1" fmla="*/ 1992056 w 6486411"/>
              <a:gd name="connsiteY1" fmla="*/ 310998 h 311239"/>
              <a:gd name="connsiteX2" fmla="*/ 3964644 w 6486411"/>
              <a:gd name="connsiteY2" fmla="*/ 3838 h 311239"/>
              <a:gd name="connsiteX3" fmla="*/ 5236906 w 6486411"/>
              <a:gd name="connsiteY3" fmla="*/ 131541 h 311239"/>
              <a:gd name="connsiteX4" fmla="*/ 6486411 w 6486411"/>
              <a:gd name="connsiteY4" fmla="*/ 21702 h 311239"/>
              <a:gd name="connsiteX0" fmla="*/ 0 w 7250343"/>
              <a:gd name="connsiteY0" fmla="*/ 54213 h 311380"/>
              <a:gd name="connsiteX1" fmla="*/ 1992056 w 7250343"/>
              <a:gd name="connsiteY1" fmla="*/ 311139 h 311380"/>
              <a:gd name="connsiteX2" fmla="*/ 3964644 w 7250343"/>
              <a:gd name="connsiteY2" fmla="*/ 3979 h 311380"/>
              <a:gd name="connsiteX3" fmla="*/ 5236906 w 7250343"/>
              <a:gd name="connsiteY3" fmla="*/ 131682 h 311380"/>
              <a:gd name="connsiteX4" fmla="*/ 7250343 w 7250343"/>
              <a:gd name="connsiteY4" fmla="*/ 60381 h 311380"/>
              <a:gd name="connsiteX0" fmla="*/ 0 w 7250343"/>
              <a:gd name="connsiteY0" fmla="*/ 54213 h 132426"/>
              <a:gd name="connsiteX1" fmla="*/ 1978273 w 7250343"/>
              <a:gd name="connsiteY1" fmla="*/ 118547 h 132426"/>
              <a:gd name="connsiteX2" fmla="*/ 3964644 w 7250343"/>
              <a:gd name="connsiteY2" fmla="*/ 3979 h 132426"/>
              <a:gd name="connsiteX3" fmla="*/ 5236906 w 7250343"/>
              <a:gd name="connsiteY3" fmla="*/ 131682 h 132426"/>
              <a:gd name="connsiteX4" fmla="*/ 7250343 w 7250343"/>
              <a:gd name="connsiteY4" fmla="*/ 60381 h 132426"/>
              <a:gd name="connsiteX0" fmla="*/ 0 w 7250343"/>
              <a:gd name="connsiteY0" fmla="*/ 54213 h 132426"/>
              <a:gd name="connsiteX1" fmla="*/ 1978273 w 7250343"/>
              <a:gd name="connsiteY1" fmla="*/ 118547 h 132426"/>
              <a:gd name="connsiteX2" fmla="*/ 3964644 w 7250343"/>
              <a:gd name="connsiteY2" fmla="*/ 3979 h 132426"/>
              <a:gd name="connsiteX3" fmla="*/ 5236906 w 7250343"/>
              <a:gd name="connsiteY3" fmla="*/ 131684 h 132426"/>
              <a:gd name="connsiteX4" fmla="*/ 7250343 w 7250343"/>
              <a:gd name="connsiteY4" fmla="*/ 60381 h 132426"/>
              <a:gd name="connsiteX0" fmla="*/ 0 w 7250343"/>
              <a:gd name="connsiteY0" fmla="*/ 66111 h 132331"/>
              <a:gd name="connsiteX1" fmla="*/ 1978273 w 7250343"/>
              <a:gd name="connsiteY1" fmla="*/ 130445 h 132331"/>
              <a:gd name="connsiteX2" fmla="*/ 3964644 w 7250343"/>
              <a:gd name="connsiteY2" fmla="*/ 15877 h 132331"/>
              <a:gd name="connsiteX3" fmla="*/ 5236906 w 7250343"/>
              <a:gd name="connsiteY3" fmla="*/ 15181 h 132331"/>
              <a:gd name="connsiteX4" fmla="*/ 7250343 w 7250343"/>
              <a:gd name="connsiteY4" fmla="*/ 72279 h 132331"/>
              <a:gd name="connsiteX0" fmla="*/ 0 w 6874337"/>
              <a:gd name="connsiteY0" fmla="*/ 18660101 h 18660251"/>
              <a:gd name="connsiteX1" fmla="*/ 1602267 w 6874337"/>
              <a:gd name="connsiteY1" fmla="*/ 1321240 h 18660251"/>
              <a:gd name="connsiteX2" fmla="*/ 3588638 w 6874337"/>
              <a:gd name="connsiteY2" fmla="*/ 1206672 h 18660251"/>
              <a:gd name="connsiteX3" fmla="*/ 4860900 w 6874337"/>
              <a:gd name="connsiteY3" fmla="*/ 1205976 h 18660251"/>
              <a:gd name="connsiteX4" fmla="*/ 6874337 w 6874337"/>
              <a:gd name="connsiteY4" fmla="*/ 1263074 h 18660251"/>
              <a:gd name="connsiteX0" fmla="*/ 0 w 6874337"/>
              <a:gd name="connsiteY0" fmla="*/ 17469306 h 26729364"/>
              <a:gd name="connsiteX1" fmla="*/ 1626140 w 6874337"/>
              <a:gd name="connsiteY1" fmla="*/ 26263035 h 26729364"/>
              <a:gd name="connsiteX2" fmla="*/ 3588638 w 6874337"/>
              <a:gd name="connsiteY2" fmla="*/ 15877 h 26729364"/>
              <a:gd name="connsiteX3" fmla="*/ 4860900 w 6874337"/>
              <a:gd name="connsiteY3" fmla="*/ 15181 h 26729364"/>
              <a:gd name="connsiteX4" fmla="*/ 6874337 w 6874337"/>
              <a:gd name="connsiteY4" fmla="*/ 72279 h 26729364"/>
              <a:gd name="connsiteX0" fmla="*/ 0 w 6874337"/>
              <a:gd name="connsiteY0" fmla="*/ 17454126 h 26256116"/>
              <a:gd name="connsiteX1" fmla="*/ 1626140 w 6874337"/>
              <a:gd name="connsiteY1" fmla="*/ 26247855 h 26256116"/>
              <a:gd name="connsiteX2" fmla="*/ 3117138 w 6874337"/>
              <a:gd name="connsiteY2" fmla="*/ 19183133 h 26256116"/>
              <a:gd name="connsiteX3" fmla="*/ 4860900 w 6874337"/>
              <a:gd name="connsiteY3" fmla="*/ 1 h 26256116"/>
              <a:gd name="connsiteX4" fmla="*/ 6874337 w 6874337"/>
              <a:gd name="connsiteY4" fmla="*/ 57099 h 26256116"/>
              <a:gd name="connsiteX0" fmla="*/ 0 w 6874337"/>
              <a:gd name="connsiteY0" fmla="*/ 17397028 h 26199018"/>
              <a:gd name="connsiteX1" fmla="*/ 1626140 w 6874337"/>
              <a:gd name="connsiteY1" fmla="*/ 26190757 h 26199018"/>
              <a:gd name="connsiteX2" fmla="*/ 3117138 w 6874337"/>
              <a:gd name="connsiteY2" fmla="*/ 19126035 h 26199018"/>
              <a:gd name="connsiteX3" fmla="*/ 4765406 w 6874337"/>
              <a:gd name="connsiteY3" fmla="*/ 22628219 h 26199018"/>
              <a:gd name="connsiteX4" fmla="*/ 6874337 w 6874337"/>
              <a:gd name="connsiteY4" fmla="*/ 1 h 26199018"/>
              <a:gd name="connsiteX0" fmla="*/ 0 w 6426711"/>
              <a:gd name="connsiteY0" fmla="*/ 0 h 8801990"/>
              <a:gd name="connsiteX1" fmla="*/ 1626140 w 6426711"/>
              <a:gd name="connsiteY1" fmla="*/ 8793729 h 8801990"/>
              <a:gd name="connsiteX2" fmla="*/ 3117138 w 6426711"/>
              <a:gd name="connsiteY2" fmla="*/ 1729007 h 8801990"/>
              <a:gd name="connsiteX3" fmla="*/ 4765406 w 6426711"/>
              <a:gd name="connsiteY3" fmla="*/ 5231191 h 8801990"/>
              <a:gd name="connsiteX4" fmla="*/ 6426711 w 6426711"/>
              <a:gd name="connsiteY4" fmla="*/ 5010279 h 8801990"/>
              <a:gd name="connsiteX0" fmla="*/ 0 w 6426711"/>
              <a:gd name="connsiteY0" fmla="*/ 0 h 7071077"/>
              <a:gd name="connsiteX1" fmla="*/ 1653705 w 6426711"/>
              <a:gd name="connsiteY1" fmla="*/ 7060343 h 7071077"/>
              <a:gd name="connsiteX2" fmla="*/ 3117138 w 6426711"/>
              <a:gd name="connsiteY2" fmla="*/ 1729007 h 7071077"/>
              <a:gd name="connsiteX3" fmla="*/ 4765406 w 6426711"/>
              <a:gd name="connsiteY3" fmla="*/ 5231191 h 7071077"/>
              <a:gd name="connsiteX4" fmla="*/ 6426711 w 6426711"/>
              <a:gd name="connsiteY4" fmla="*/ 5010279 h 7071077"/>
              <a:gd name="connsiteX0" fmla="*/ 0 w 6585469"/>
              <a:gd name="connsiteY0" fmla="*/ 5043418 h 5651496"/>
              <a:gd name="connsiteX1" fmla="*/ 1812463 w 6585469"/>
              <a:gd name="connsiteY1" fmla="*/ 5331527 h 5651496"/>
              <a:gd name="connsiteX2" fmla="*/ 3275896 w 6585469"/>
              <a:gd name="connsiteY2" fmla="*/ 191 h 5651496"/>
              <a:gd name="connsiteX3" fmla="*/ 4924164 w 6585469"/>
              <a:gd name="connsiteY3" fmla="*/ 3502375 h 5651496"/>
              <a:gd name="connsiteX4" fmla="*/ 6585469 w 6585469"/>
              <a:gd name="connsiteY4" fmla="*/ 3281463 h 5651496"/>
              <a:gd name="connsiteX0" fmla="*/ 0 w 6585469"/>
              <a:gd name="connsiteY0" fmla="*/ 1761969 h 2050957"/>
              <a:gd name="connsiteX1" fmla="*/ 1812463 w 6585469"/>
              <a:gd name="connsiteY1" fmla="*/ 2050078 h 2050957"/>
              <a:gd name="connsiteX2" fmla="*/ 3275896 w 6585469"/>
              <a:gd name="connsiteY2" fmla="*/ 1856298 h 2050957"/>
              <a:gd name="connsiteX3" fmla="*/ 4924164 w 6585469"/>
              <a:gd name="connsiteY3" fmla="*/ 220926 h 2050957"/>
              <a:gd name="connsiteX4" fmla="*/ 6585469 w 6585469"/>
              <a:gd name="connsiteY4" fmla="*/ 14 h 2050957"/>
              <a:gd name="connsiteX0" fmla="*/ 0 w 6585469"/>
              <a:gd name="connsiteY0" fmla="*/ 1761955 h 2050943"/>
              <a:gd name="connsiteX1" fmla="*/ 1812463 w 6585469"/>
              <a:gd name="connsiteY1" fmla="*/ 2050064 h 2050943"/>
              <a:gd name="connsiteX2" fmla="*/ 3275896 w 6585469"/>
              <a:gd name="connsiteY2" fmla="*/ 1856284 h 2050943"/>
              <a:gd name="connsiteX3" fmla="*/ 4915808 w 6585469"/>
              <a:gd name="connsiteY3" fmla="*/ 1622064 h 2050943"/>
              <a:gd name="connsiteX4" fmla="*/ 6585469 w 6585469"/>
              <a:gd name="connsiteY4" fmla="*/ 0 h 2050943"/>
              <a:gd name="connsiteX0" fmla="*/ 0 w 6585469"/>
              <a:gd name="connsiteY0" fmla="*/ 360817 h 649805"/>
              <a:gd name="connsiteX1" fmla="*/ 1812463 w 6585469"/>
              <a:gd name="connsiteY1" fmla="*/ 648926 h 649805"/>
              <a:gd name="connsiteX2" fmla="*/ 3275896 w 6585469"/>
              <a:gd name="connsiteY2" fmla="*/ 455146 h 649805"/>
              <a:gd name="connsiteX3" fmla="*/ 4915808 w 6585469"/>
              <a:gd name="connsiteY3" fmla="*/ 220926 h 649805"/>
              <a:gd name="connsiteX4" fmla="*/ 6585469 w 6585469"/>
              <a:gd name="connsiteY4" fmla="*/ 14 h 649805"/>
              <a:gd name="connsiteX0" fmla="*/ 0 w 6683924"/>
              <a:gd name="connsiteY0" fmla="*/ 30034646 h 30034741"/>
              <a:gd name="connsiteX1" fmla="*/ 1910918 w 6683924"/>
              <a:gd name="connsiteY1" fmla="*/ 2130766 h 30034741"/>
              <a:gd name="connsiteX2" fmla="*/ 3374351 w 6683924"/>
              <a:gd name="connsiteY2" fmla="*/ 1936986 h 30034741"/>
              <a:gd name="connsiteX3" fmla="*/ 5014263 w 6683924"/>
              <a:gd name="connsiteY3" fmla="*/ 1702766 h 30034741"/>
              <a:gd name="connsiteX4" fmla="*/ 6683924 w 6683924"/>
              <a:gd name="connsiteY4" fmla="*/ 1481854 h 30034741"/>
              <a:gd name="connsiteX0" fmla="*/ 0 w 6658015"/>
              <a:gd name="connsiteY0" fmla="*/ 30190193 h 30190281"/>
              <a:gd name="connsiteX1" fmla="*/ 1885009 w 6658015"/>
              <a:gd name="connsiteY1" fmla="*/ 2141492 h 30190281"/>
              <a:gd name="connsiteX2" fmla="*/ 3348442 w 6658015"/>
              <a:gd name="connsiteY2" fmla="*/ 1947712 h 30190281"/>
              <a:gd name="connsiteX3" fmla="*/ 4988354 w 6658015"/>
              <a:gd name="connsiteY3" fmla="*/ 1713492 h 30190281"/>
              <a:gd name="connsiteX4" fmla="*/ 6658015 w 6658015"/>
              <a:gd name="connsiteY4" fmla="*/ 1492580 h 30190281"/>
              <a:gd name="connsiteX0" fmla="*/ 0 w 6652833"/>
              <a:gd name="connsiteY0" fmla="*/ 17280461 h 17280624"/>
              <a:gd name="connsiteX1" fmla="*/ 1879827 w 6652833"/>
              <a:gd name="connsiteY1" fmla="*/ 1251978 h 17280624"/>
              <a:gd name="connsiteX2" fmla="*/ 3343260 w 6652833"/>
              <a:gd name="connsiteY2" fmla="*/ 1058198 h 17280624"/>
              <a:gd name="connsiteX3" fmla="*/ 4983172 w 6652833"/>
              <a:gd name="connsiteY3" fmla="*/ 823978 h 17280624"/>
              <a:gd name="connsiteX4" fmla="*/ 6652833 w 6652833"/>
              <a:gd name="connsiteY4" fmla="*/ 603066 h 17280624"/>
              <a:gd name="connsiteX0" fmla="*/ 0 w 6626924"/>
              <a:gd name="connsiteY0" fmla="*/ 17124926 h 17125090"/>
              <a:gd name="connsiteX1" fmla="*/ 1853918 w 6626924"/>
              <a:gd name="connsiteY1" fmla="*/ 1241265 h 17125090"/>
              <a:gd name="connsiteX2" fmla="*/ 3317351 w 6626924"/>
              <a:gd name="connsiteY2" fmla="*/ 1047485 h 17125090"/>
              <a:gd name="connsiteX3" fmla="*/ 4957263 w 6626924"/>
              <a:gd name="connsiteY3" fmla="*/ 813265 h 17125090"/>
              <a:gd name="connsiteX4" fmla="*/ 6626924 w 6626924"/>
              <a:gd name="connsiteY4" fmla="*/ 592353 h 17125090"/>
              <a:gd name="connsiteX0" fmla="*/ 0 w 6626924"/>
              <a:gd name="connsiteY0" fmla="*/ 16532586 h 22166321"/>
              <a:gd name="connsiteX1" fmla="*/ 1636282 w 6626924"/>
              <a:gd name="connsiteY1" fmla="*/ 21599819 h 22166321"/>
              <a:gd name="connsiteX2" fmla="*/ 3317351 w 6626924"/>
              <a:gd name="connsiteY2" fmla="*/ 455145 h 22166321"/>
              <a:gd name="connsiteX3" fmla="*/ 4957263 w 6626924"/>
              <a:gd name="connsiteY3" fmla="*/ 220925 h 22166321"/>
              <a:gd name="connsiteX4" fmla="*/ 6626924 w 6626924"/>
              <a:gd name="connsiteY4" fmla="*/ 13 h 22166321"/>
              <a:gd name="connsiteX0" fmla="*/ 0 w 6626924"/>
              <a:gd name="connsiteY0" fmla="*/ 16532586 h 19601439"/>
              <a:gd name="connsiteX1" fmla="*/ 1620737 w 6626924"/>
              <a:gd name="connsiteY1" fmla="*/ 18799927 h 19601439"/>
              <a:gd name="connsiteX2" fmla="*/ 3317351 w 6626924"/>
              <a:gd name="connsiteY2" fmla="*/ 455145 h 19601439"/>
              <a:gd name="connsiteX3" fmla="*/ 4957263 w 6626924"/>
              <a:gd name="connsiteY3" fmla="*/ 220925 h 19601439"/>
              <a:gd name="connsiteX4" fmla="*/ 6626924 w 6626924"/>
              <a:gd name="connsiteY4" fmla="*/ 13 h 19601439"/>
              <a:gd name="connsiteX0" fmla="*/ 0 w 6626924"/>
              <a:gd name="connsiteY0" fmla="*/ 16532586 h 18813705"/>
              <a:gd name="connsiteX1" fmla="*/ 1620737 w 6626924"/>
              <a:gd name="connsiteY1" fmla="*/ 18799927 h 18813705"/>
              <a:gd name="connsiteX2" fmla="*/ 3317351 w 6626924"/>
              <a:gd name="connsiteY2" fmla="*/ 455145 h 18813705"/>
              <a:gd name="connsiteX3" fmla="*/ 4957263 w 6626924"/>
              <a:gd name="connsiteY3" fmla="*/ 220925 h 18813705"/>
              <a:gd name="connsiteX4" fmla="*/ 6626924 w 6626924"/>
              <a:gd name="connsiteY4" fmla="*/ 13 h 18813705"/>
              <a:gd name="connsiteX0" fmla="*/ 0 w 6626924"/>
              <a:gd name="connsiteY0" fmla="*/ 16532586 h 18954154"/>
              <a:gd name="connsiteX1" fmla="*/ 1620737 w 6626924"/>
              <a:gd name="connsiteY1" fmla="*/ 18799927 h 18954154"/>
              <a:gd name="connsiteX2" fmla="*/ 3198170 w 6626924"/>
              <a:gd name="connsiteY2" fmla="*/ 18750975 h 18954154"/>
              <a:gd name="connsiteX3" fmla="*/ 4957263 w 6626924"/>
              <a:gd name="connsiteY3" fmla="*/ 220925 h 18954154"/>
              <a:gd name="connsiteX4" fmla="*/ 6626924 w 6626924"/>
              <a:gd name="connsiteY4" fmla="*/ 13 h 18954154"/>
              <a:gd name="connsiteX0" fmla="*/ 0 w 6626924"/>
              <a:gd name="connsiteY0" fmla="*/ 16532586 h 18954154"/>
              <a:gd name="connsiteX1" fmla="*/ 1620737 w 6626924"/>
              <a:gd name="connsiteY1" fmla="*/ 18799927 h 18954154"/>
              <a:gd name="connsiteX2" fmla="*/ 3198170 w 6626924"/>
              <a:gd name="connsiteY2" fmla="*/ 18750975 h 18954154"/>
              <a:gd name="connsiteX3" fmla="*/ 4957263 w 6626924"/>
              <a:gd name="connsiteY3" fmla="*/ 220925 h 18954154"/>
              <a:gd name="connsiteX4" fmla="*/ 6626924 w 6626924"/>
              <a:gd name="connsiteY4" fmla="*/ 13 h 18954154"/>
              <a:gd name="connsiteX0" fmla="*/ 0 w 6626924"/>
              <a:gd name="connsiteY0" fmla="*/ 16532586 h 18847934"/>
              <a:gd name="connsiteX1" fmla="*/ 1620737 w 6626924"/>
              <a:gd name="connsiteY1" fmla="*/ 18799927 h 18847934"/>
              <a:gd name="connsiteX2" fmla="*/ 3198170 w 6626924"/>
              <a:gd name="connsiteY2" fmla="*/ 18750975 h 18847934"/>
              <a:gd name="connsiteX3" fmla="*/ 4957263 w 6626924"/>
              <a:gd name="connsiteY3" fmla="*/ 220925 h 18847934"/>
              <a:gd name="connsiteX4" fmla="*/ 6626924 w 6626924"/>
              <a:gd name="connsiteY4" fmla="*/ 13 h 18847934"/>
              <a:gd name="connsiteX0" fmla="*/ 0 w 6626924"/>
              <a:gd name="connsiteY0" fmla="*/ 16532586 h 18847934"/>
              <a:gd name="connsiteX1" fmla="*/ 1620737 w 6626924"/>
              <a:gd name="connsiteY1" fmla="*/ 18799927 h 18847934"/>
              <a:gd name="connsiteX2" fmla="*/ 3198170 w 6626924"/>
              <a:gd name="connsiteY2" fmla="*/ 18750975 h 18847934"/>
              <a:gd name="connsiteX3" fmla="*/ 4957263 w 6626924"/>
              <a:gd name="connsiteY3" fmla="*/ 220925 h 18847934"/>
              <a:gd name="connsiteX4" fmla="*/ 6626924 w 6626924"/>
              <a:gd name="connsiteY4" fmla="*/ 13 h 18847934"/>
              <a:gd name="connsiteX0" fmla="*/ 0 w 6626924"/>
              <a:gd name="connsiteY0" fmla="*/ 16532586 h 20488890"/>
              <a:gd name="connsiteX1" fmla="*/ 1620737 w 6626924"/>
              <a:gd name="connsiteY1" fmla="*/ 18799927 h 20488890"/>
              <a:gd name="connsiteX2" fmla="*/ 3172261 w 6626924"/>
              <a:gd name="connsiteY2" fmla="*/ 20488835 h 20488890"/>
              <a:gd name="connsiteX3" fmla="*/ 4957263 w 6626924"/>
              <a:gd name="connsiteY3" fmla="*/ 220925 h 20488890"/>
              <a:gd name="connsiteX4" fmla="*/ 6626924 w 6626924"/>
              <a:gd name="connsiteY4" fmla="*/ 13 h 20488890"/>
              <a:gd name="connsiteX0" fmla="*/ 0 w 6626924"/>
              <a:gd name="connsiteY0" fmla="*/ 16532572 h 21171814"/>
              <a:gd name="connsiteX1" fmla="*/ 1620737 w 6626924"/>
              <a:gd name="connsiteY1" fmla="*/ 18799913 h 21171814"/>
              <a:gd name="connsiteX2" fmla="*/ 3172261 w 6626924"/>
              <a:gd name="connsiteY2" fmla="*/ 20488821 h 21171814"/>
              <a:gd name="connsiteX3" fmla="*/ 4791444 w 6626924"/>
              <a:gd name="connsiteY3" fmla="*/ 21171813 h 21171814"/>
              <a:gd name="connsiteX4" fmla="*/ 6626924 w 6626924"/>
              <a:gd name="connsiteY4" fmla="*/ -1 h 21171814"/>
              <a:gd name="connsiteX0" fmla="*/ 0 w 6435197"/>
              <a:gd name="connsiteY0" fmla="*/ 4560625 h 9199874"/>
              <a:gd name="connsiteX1" fmla="*/ 1620737 w 6435197"/>
              <a:gd name="connsiteY1" fmla="*/ 6827966 h 9199874"/>
              <a:gd name="connsiteX2" fmla="*/ 3172261 w 6435197"/>
              <a:gd name="connsiteY2" fmla="*/ 8516874 h 9199874"/>
              <a:gd name="connsiteX3" fmla="*/ 4791444 w 6435197"/>
              <a:gd name="connsiteY3" fmla="*/ 9199866 h 9199874"/>
              <a:gd name="connsiteX4" fmla="*/ 6435197 w 6435197"/>
              <a:gd name="connsiteY4" fmla="*/ 0 h 9199874"/>
              <a:gd name="connsiteX0" fmla="*/ 0 w 6435197"/>
              <a:gd name="connsiteY0" fmla="*/ 4560625 h 9199874"/>
              <a:gd name="connsiteX1" fmla="*/ 1620737 w 6435197"/>
              <a:gd name="connsiteY1" fmla="*/ 6827966 h 9199874"/>
              <a:gd name="connsiteX2" fmla="*/ 3172261 w 6435197"/>
              <a:gd name="connsiteY2" fmla="*/ 8516874 h 9199874"/>
              <a:gd name="connsiteX3" fmla="*/ 4791444 w 6435197"/>
              <a:gd name="connsiteY3" fmla="*/ 9199866 h 9199874"/>
              <a:gd name="connsiteX4" fmla="*/ 6435197 w 6435197"/>
              <a:gd name="connsiteY4" fmla="*/ 0 h 9199874"/>
              <a:gd name="connsiteX0" fmla="*/ 0 w 6419652"/>
              <a:gd name="connsiteY0" fmla="*/ 3257228 h 7896477"/>
              <a:gd name="connsiteX1" fmla="*/ 1620737 w 6419652"/>
              <a:gd name="connsiteY1" fmla="*/ 5524569 h 7896477"/>
              <a:gd name="connsiteX2" fmla="*/ 3172261 w 6419652"/>
              <a:gd name="connsiteY2" fmla="*/ 7213477 h 7896477"/>
              <a:gd name="connsiteX3" fmla="*/ 4791444 w 6419652"/>
              <a:gd name="connsiteY3" fmla="*/ 7896469 h 7896477"/>
              <a:gd name="connsiteX4" fmla="*/ 6419652 w 6419652"/>
              <a:gd name="connsiteY4" fmla="*/ 0 h 789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9652" h="7896477">
                <a:moveTo>
                  <a:pt x="0" y="3257228"/>
                </a:moveTo>
                <a:cubicBezTo>
                  <a:pt x="378739" y="3793493"/>
                  <a:pt x="1092027" y="4865194"/>
                  <a:pt x="1620737" y="5524569"/>
                </a:cubicBezTo>
                <a:cubicBezTo>
                  <a:pt x="2149447" y="6183944"/>
                  <a:pt x="2896560" y="7222092"/>
                  <a:pt x="3172261" y="7213477"/>
                </a:cubicBezTo>
                <a:cubicBezTo>
                  <a:pt x="3713069" y="7183567"/>
                  <a:pt x="4243828" y="7887069"/>
                  <a:pt x="4791444" y="7896469"/>
                </a:cubicBezTo>
                <a:cubicBezTo>
                  <a:pt x="5339060" y="7905869"/>
                  <a:pt x="6118576" y="1783986"/>
                  <a:pt x="6419652" y="0"/>
                </a:cubicBezTo>
              </a:path>
            </a:pathLst>
          </a:custGeom>
          <a:noFill/>
          <a:ln w="136525" cap="rnd" cmpd="sng" algn="ctr">
            <a:solidFill>
              <a:srgbClr val="FFCD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80" name="Freeform 42">
            <a:extLst>
              <a:ext uri="{FF2B5EF4-FFF2-40B4-BE49-F238E27FC236}">
                <a16:creationId xmlns:a16="http://schemas.microsoft.com/office/drawing/2014/main" id="{0CA690E3-8FDB-43FC-91C6-716A7AF96972}"/>
              </a:ext>
            </a:extLst>
          </p:cNvPr>
          <p:cNvSpPr/>
          <p:nvPr/>
        </p:nvSpPr>
        <p:spPr bwMode="auto">
          <a:xfrm flipV="1">
            <a:off x="1697567" y="2456667"/>
            <a:ext cx="8732005" cy="1121025"/>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1317807 w 7136640"/>
              <a:gd name="connsiteY1" fmla="*/ 54363 h 308134"/>
              <a:gd name="connsiteX2" fmla="*/ 1992056 w 7136640"/>
              <a:gd name="connsiteY2" fmla="*/ 307577 h 308134"/>
              <a:gd name="connsiteX3" fmla="*/ 2642777 w 7136640"/>
              <a:gd name="connsiteY3" fmla="*/ 124402 h 308134"/>
              <a:gd name="connsiteX4" fmla="*/ 3302093 w 7136640"/>
              <a:gd name="connsiteY4" fmla="*/ 189711 h 308134"/>
              <a:gd name="connsiteX5" fmla="*/ 3964644 w 7136640"/>
              <a:gd name="connsiteY5" fmla="*/ 417 h 308134"/>
              <a:gd name="connsiteX6" fmla="*/ 4578995 w 7136640"/>
              <a:gd name="connsiteY6" fmla="*/ 255894 h 308134"/>
              <a:gd name="connsiteX7" fmla="*/ 5236906 w 7136640"/>
              <a:gd name="connsiteY7" fmla="*/ 128120 h 308134"/>
              <a:gd name="connsiteX8" fmla="*/ 5843222 w 7136640"/>
              <a:gd name="connsiteY8" fmla="*/ 271154 h 308134"/>
              <a:gd name="connsiteX9" fmla="*/ 6486411 w 7136640"/>
              <a:gd name="connsiteY9" fmla="*/ 18281 h 308134"/>
              <a:gd name="connsiteX10" fmla="*/ 7136640 w 7136640"/>
              <a:gd name="connsiteY10" fmla="*/ 141032 h 308134"/>
              <a:gd name="connsiteX0" fmla="*/ 0 w 7136640"/>
              <a:gd name="connsiteY0" fmla="*/ 50651 h 308191"/>
              <a:gd name="connsiteX1" fmla="*/ 1992056 w 7136640"/>
              <a:gd name="connsiteY1" fmla="*/ 307577 h 308191"/>
              <a:gd name="connsiteX2" fmla="*/ 2642777 w 7136640"/>
              <a:gd name="connsiteY2" fmla="*/ 124402 h 308191"/>
              <a:gd name="connsiteX3" fmla="*/ 3302093 w 7136640"/>
              <a:gd name="connsiteY3" fmla="*/ 189711 h 308191"/>
              <a:gd name="connsiteX4" fmla="*/ 3964644 w 7136640"/>
              <a:gd name="connsiteY4" fmla="*/ 417 h 308191"/>
              <a:gd name="connsiteX5" fmla="*/ 4578995 w 7136640"/>
              <a:gd name="connsiteY5" fmla="*/ 255894 h 308191"/>
              <a:gd name="connsiteX6" fmla="*/ 5236906 w 7136640"/>
              <a:gd name="connsiteY6" fmla="*/ 128120 h 308191"/>
              <a:gd name="connsiteX7" fmla="*/ 5843222 w 7136640"/>
              <a:gd name="connsiteY7" fmla="*/ 271154 h 308191"/>
              <a:gd name="connsiteX8" fmla="*/ 6486411 w 7136640"/>
              <a:gd name="connsiteY8" fmla="*/ 18281 h 308191"/>
              <a:gd name="connsiteX9" fmla="*/ 7136640 w 7136640"/>
              <a:gd name="connsiteY9" fmla="*/ 141032 h 308191"/>
              <a:gd name="connsiteX0" fmla="*/ 0 w 7136640"/>
              <a:gd name="connsiteY0" fmla="*/ 50814 h 311487"/>
              <a:gd name="connsiteX1" fmla="*/ 1992056 w 7136640"/>
              <a:gd name="connsiteY1" fmla="*/ 307740 h 311487"/>
              <a:gd name="connsiteX2" fmla="*/ 3302093 w 7136640"/>
              <a:gd name="connsiteY2" fmla="*/ 189874 h 311487"/>
              <a:gd name="connsiteX3" fmla="*/ 3964644 w 7136640"/>
              <a:gd name="connsiteY3" fmla="*/ 580 h 311487"/>
              <a:gd name="connsiteX4" fmla="*/ 4578995 w 7136640"/>
              <a:gd name="connsiteY4" fmla="*/ 256057 h 311487"/>
              <a:gd name="connsiteX5" fmla="*/ 5236906 w 7136640"/>
              <a:gd name="connsiteY5" fmla="*/ 128283 h 311487"/>
              <a:gd name="connsiteX6" fmla="*/ 5843222 w 7136640"/>
              <a:gd name="connsiteY6" fmla="*/ 271317 h 311487"/>
              <a:gd name="connsiteX7" fmla="*/ 6486411 w 7136640"/>
              <a:gd name="connsiteY7" fmla="*/ 18444 h 311487"/>
              <a:gd name="connsiteX8" fmla="*/ 7136640 w 7136640"/>
              <a:gd name="connsiteY8" fmla="*/ 141195 h 311487"/>
              <a:gd name="connsiteX0" fmla="*/ 0 w 7136640"/>
              <a:gd name="connsiteY0" fmla="*/ 50234 h 307401"/>
              <a:gd name="connsiteX1" fmla="*/ 1992056 w 7136640"/>
              <a:gd name="connsiteY1" fmla="*/ 307160 h 307401"/>
              <a:gd name="connsiteX2" fmla="*/ 3964644 w 7136640"/>
              <a:gd name="connsiteY2" fmla="*/ 0 h 307401"/>
              <a:gd name="connsiteX3" fmla="*/ 4578995 w 7136640"/>
              <a:gd name="connsiteY3" fmla="*/ 255477 h 307401"/>
              <a:gd name="connsiteX4" fmla="*/ 5236906 w 7136640"/>
              <a:gd name="connsiteY4" fmla="*/ 127703 h 307401"/>
              <a:gd name="connsiteX5" fmla="*/ 5843222 w 7136640"/>
              <a:gd name="connsiteY5" fmla="*/ 270737 h 307401"/>
              <a:gd name="connsiteX6" fmla="*/ 6486411 w 7136640"/>
              <a:gd name="connsiteY6" fmla="*/ 17864 h 307401"/>
              <a:gd name="connsiteX7" fmla="*/ 7136640 w 7136640"/>
              <a:gd name="connsiteY7" fmla="*/ 140615 h 307401"/>
              <a:gd name="connsiteX0" fmla="*/ 0 w 7136640"/>
              <a:gd name="connsiteY0" fmla="*/ 55222 h 312389"/>
              <a:gd name="connsiteX1" fmla="*/ 1992056 w 7136640"/>
              <a:gd name="connsiteY1" fmla="*/ 312148 h 312389"/>
              <a:gd name="connsiteX2" fmla="*/ 3964644 w 7136640"/>
              <a:gd name="connsiteY2" fmla="*/ 4988 h 312389"/>
              <a:gd name="connsiteX3" fmla="*/ 5236906 w 7136640"/>
              <a:gd name="connsiteY3" fmla="*/ 132691 h 312389"/>
              <a:gd name="connsiteX4" fmla="*/ 5843222 w 7136640"/>
              <a:gd name="connsiteY4" fmla="*/ 275725 h 312389"/>
              <a:gd name="connsiteX5" fmla="*/ 6486411 w 7136640"/>
              <a:gd name="connsiteY5" fmla="*/ 22852 h 312389"/>
              <a:gd name="connsiteX6" fmla="*/ 7136640 w 7136640"/>
              <a:gd name="connsiteY6" fmla="*/ 145603 h 312389"/>
              <a:gd name="connsiteX0" fmla="*/ 0 w 7136640"/>
              <a:gd name="connsiteY0" fmla="*/ 54072 h 311239"/>
              <a:gd name="connsiteX1" fmla="*/ 1992056 w 7136640"/>
              <a:gd name="connsiteY1" fmla="*/ 310998 h 311239"/>
              <a:gd name="connsiteX2" fmla="*/ 3964644 w 7136640"/>
              <a:gd name="connsiteY2" fmla="*/ 3838 h 311239"/>
              <a:gd name="connsiteX3" fmla="*/ 5236906 w 7136640"/>
              <a:gd name="connsiteY3" fmla="*/ 131541 h 311239"/>
              <a:gd name="connsiteX4" fmla="*/ 6486411 w 7136640"/>
              <a:gd name="connsiteY4" fmla="*/ 21702 h 311239"/>
              <a:gd name="connsiteX5" fmla="*/ 7136640 w 7136640"/>
              <a:gd name="connsiteY5" fmla="*/ 144453 h 311239"/>
              <a:gd name="connsiteX0" fmla="*/ 0 w 6486411"/>
              <a:gd name="connsiteY0" fmla="*/ 54072 h 311239"/>
              <a:gd name="connsiteX1" fmla="*/ 1992056 w 6486411"/>
              <a:gd name="connsiteY1" fmla="*/ 310998 h 311239"/>
              <a:gd name="connsiteX2" fmla="*/ 3964644 w 6486411"/>
              <a:gd name="connsiteY2" fmla="*/ 3838 h 311239"/>
              <a:gd name="connsiteX3" fmla="*/ 5236906 w 6486411"/>
              <a:gd name="connsiteY3" fmla="*/ 131541 h 311239"/>
              <a:gd name="connsiteX4" fmla="*/ 6486411 w 6486411"/>
              <a:gd name="connsiteY4" fmla="*/ 21702 h 311239"/>
              <a:gd name="connsiteX0" fmla="*/ 0 w 7250343"/>
              <a:gd name="connsiteY0" fmla="*/ 54213 h 311380"/>
              <a:gd name="connsiteX1" fmla="*/ 1992056 w 7250343"/>
              <a:gd name="connsiteY1" fmla="*/ 311139 h 311380"/>
              <a:gd name="connsiteX2" fmla="*/ 3964644 w 7250343"/>
              <a:gd name="connsiteY2" fmla="*/ 3979 h 311380"/>
              <a:gd name="connsiteX3" fmla="*/ 5236906 w 7250343"/>
              <a:gd name="connsiteY3" fmla="*/ 131682 h 311380"/>
              <a:gd name="connsiteX4" fmla="*/ 7250343 w 7250343"/>
              <a:gd name="connsiteY4" fmla="*/ 60381 h 311380"/>
              <a:gd name="connsiteX0" fmla="*/ 0 w 7250343"/>
              <a:gd name="connsiteY0" fmla="*/ 54213 h 132426"/>
              <a:gd name="connsiteX1" fmla="*/ 1978273 w 7250343"/>
              <a:gd name="connsiteY1" fmla="*/ 118547 h 132426"/>
              <a:gd name="connsiteX2" fmla="*/ 3964644 w 7250343"/>
              <a:gd name="connsiteY2" fmla="*/ 3979 h 132426"/>
              <a:gd name="connsiteX3" fmla="*/ 5236906 w 7250343"/>
              <a:gd name="connsiteY3" fmla="*/ 131682 h 132426"/>
              <a:gd name="connsiteX4" fmla="*/ 7250343 w 7250343"/>
              <a:gd name="connsiteY4" fmla="*/ 60381 h 132426"/>
              <a:gd name="connsiteX0" fmla="*/ 0 w 7250343"/>
              <a:gd name="connsiteY0" fmla="*/ 54213 h 132426"/>
              <a:gd name="connsiteX1" fmla="*/ 1978273 w 7250343"/>
              <a:gd name="connsiteY1" fmla="*/ 118547 h 132426"/>
              <a:gd name="connsiteX2" fmla="*/ 3964644 w 7250343"/>
              <a:gd name="connsiteY2" fmla="*/ 3979 h 132426"/>
              <a:gd name="connsiteX3" fmla="*/ 5236906 w 7250343"/>
              <a:gd name="connsiteY3" fmla="*/ 131684 h 132426"/>
              <a:gd name="connsiteX4" fmla="*/ 7250343 w 7250343"/>
              <a:gd name="connsiteY4" fmla="*/ 60381 h 132426"/>
              <a:gd name="connsiteX0" fmla="*/ 0 w 7250343"/>
              <a:gd name="connsiteY0" fmla="*/ 66111 h 132331"/>
              <a:gd name="connsiteX1" fmla="*/ 1978273 w 7250343"/>
              <a:gd name="connsiteY1" fmla="*/ 130445 h 132331"/>
              <a:gd name="connsiteX2" fmla="*/ 3964644 w 7250343"/>
              <a:gd name="connsiteY2" fmla="*/ 15877 h 132331"/>
              <a:gd name="connsiteX3" fmla="*/ 5236906 w 7250343"/>
              <a:gd name="connsiteY3" fmla="*/ 15181 h 132331"/>
              <a:gd name="connsiteX4" fmla="*/ 7250343 w 7250343"/>
              <a:gd name="connsiteY4" fmla="*/ 72279 h 132331"/>
              <a:gd name="connsiteX0" fmla="*/ 0 w 6874337"/>
              <a:gd name="connsiteY0" fmla="*/ 18660101 h 18660251"/>
              <a:gd name="connsiteX1" fmla="*/ 1602267 w 6874337"/>
              <a:gd name="connsiteY1" fmla="*/ 1321240 h 18660251"/>
              <a:gd name="connsiteX2" fmla="*/ 3588638 w 6874337"/>
              <a:gd name="connsiteY2" fmla="*/ 1206672 h 18660251"/>
              <a:gd name="connsiteX3" fmla="*/ 4860900 w 6874337"/>
              <a:gd name="connsiteY3" fmla="*/ 1205976 h 18660251"/>
              <a:gd name="connsiteX4" fmla="*/ 6874337 w 6874337"/>
              <a:gd name="connsiteY4" fmla="*/ 1263074 h 18660251"/>
              <a:gd name="connsiteX0" fmla="*/ 0 w 6874337"/>
              <a:gd name="connsiteY0" fmla="*/ 17469306 h 26729364"/>
              <a:gd name="connsiteX1" fmla="*/ 1626140 w 6874337"/>
              <a:gd name="connsiteY1" fmla="*/ 26263035 h 26729364"/>
              <a:gd name="connsiteX2" fmla="*/ 3588638 w 6874337"/>
              <a:gd name="connsiteY2" fmla="*/ 15877 h 26729364"/>
              <a:gd name="connsiteX3" fmla="*/ 4860900 w 6874337"/>
              <a:gd name="connsiteY3" fmla="*/ 15181 h 26729364"/>
              <a:gd name="connsiteX4" fmla="*/ 6874337 w 6874337"/>
              <a:gd name="connsiteY4" fmla="*/ 72279 h 26729364"/>
              <a:gd name="connsiteX0" fmla="*/ 0 w 6874337"/>
              <a:gd name="connsiteY0" fmla="*/ 17454126 h 26256116"/>
              <a:gd name="connsiteX1" fmla="*/ 1626140 w 6874337"/>
              <a:gd name="connsiteY1" fmla="*/ 26247855 h 26256116"/>
              <a:gd name="connsiteX2" fmla="*/ 3117138 w 6874337"/>
              <a:gd name="connsiteY2" fmla="*/ 19183133 h 26256116"/>
              <a:gd name="connsiteX3" fmla="*/ 4860900 w 6874337"/>
              <a:gd name="connsiteY3" fmla="*/ 1 h 26256116"/>
              <a:gd name="connsiteX4" fmla="*/ 6874337 w 6874337"/>
              <a:gd name="connsiteY4" fmla="*/ 57099 h 26256116"/>
              <a:gd name="connsiteX0" fmla="*/ 0 w 6874337"/>
              <a:gd name="connsiteY0" fmla="*/ 17397028 h 26199018"/>
              <a:gd name="connsiteX1" fmla="*/ 1626140 w 6874337"/>
              <a:gd name="connsiteY1" fmla="*/ 26190757 h 26199018"/>
              <a:gd name="connsiteX2" fmla="*/ 3117138 w 6874337"/>
              <a:gd name="connsiteY2" fmla="*/ 19126035 h 26199018"/>
              <a:gd name="connsiteX3" fmla="*/ 4765406 w 6874337"/>
              <a:gd name="connsiteY3" fmla="*/ 22628219 h 26199018"/>
              <a:gd name="connsiteX4" fmla="*/ 6874337 w 6874337"/>
              <a:gd name="connsiteY4" fmla="*/ 1 h 26199018"/>
              <a:gd name="connsiteX0" fmla="*/ 0 w 6426711"/>
              <a:gd name="connsiteY0" fmla="*/ 0 h 8801990"/>
              <a:gd name="connsiteX1" fmla="*/ 1626140 w 6426711"/>
              <a:gd name="connsiteY1" fmla="*/ 8793729 h 8801990"/>
              <a:gd name="connsiteX2" fmla="*/ 3117138 w 6426711"/>
              <a:gd name="connsiteY2" fmla="*/ 1729007 h 8801990"/>
              <a:gd name="connsiteX3" fmla="*/ 4765406 w 6426711"/>
              <a:gd name="connsiteY3" fmla="*/ 5231191 h 8801990"/>
              <a:gd name="connsiteX4" fmla="*/ 6426711 w 6426711"/>
              <a:gd name="connsiteY4" fmla="*/ 5010279 h 8801990"/>
              <a:gd name="connsiteX0" fmla="*/ 0 w 6426711"/>
              <a:gd name="connsiteY0" fmla="*/ 0 h 7071077"/>
              <a:gd name="connsiteX1" fmla="*/ 1653705 w 6426711"/>
              <a:gd name="connsiteY1" fmla="*/ 7060343 h 7071077"/>
              <a:gd name="connsiteX2" fmla="*/ 3117138 w 6426711"/>
              <a:gd name="connsiteY2" fmla="*/ 1729007 h 7071077"/>
              <a:gd name="connsiteX3" fmla="*/ 4765406 w 6426711"/>
              <a:gd name="connsiteY3" fmla="*/ 5231191 h 7071077"/>
              <a:gd name="connsiteX4" fmla="*/ 6426711 w 6426711"/>
              <a:gd name="connsiteY4" fmla="*/ 5010279 h 7071077"/>
              <a:gd name="connsiteX0" fmla="*/ 0 w 6585469"/>
              <a:gd name="connsiteY0" fmla="*/ 5043418 h 5651496"/>
              <a:gd name="connsiteX1" fmla="*/ 1812463 w 6585469"/>
              <a:gd name="connsiteY1" fmla="*/ 5331527 h 5651496"/>
              <a:gd name="connsiteX2" fmla="*/ 3275896 w 6585469"/>
              <a:gd name="connsiteY2" fmla="*/ 191 h 5651496"/>
              <a:gd name="connsiteX3" fmla="*/ 4924164 w 6585469"/>
              <a:gd name="connsiteY3" fmla="*/ 3502375 h 5651496"/>
              <a:gd name="connsiteX4" fmla="*/ 6585469 w 6585469"/>
              <a:gd name="connsiteY4" fmla="*/ 3281463 h 5651496"/>
              <a:gd name="connsiteX0" fmla="*/ 0 w 6585469"/>
              <a:gd name="connsiteY0" fmla="*/ 1761969 h 2050957"/>
              <a:gd name="connsiteX1" fmla="*/ 1812463 w 6585469"/>
              <a:gd name="connsiteY1" fmla="*/ 2050078 h 2050957"/>
              <a:gd name="connsiteX2" fmla="*/ 3275896 w 6585469"/>
              <a:gd name="connsiteY2" fmla="*/ 1856298 h 2050957"/>
              <a:gd name="connsiteX3" fmla="*/ 4924164 w 6585469"/>
              <a:gd name="connsiteY3" fmla="*/ 220926 h 2050957"/>
              <a:gd name="connsiteX4" fmla="*/ 6585469 w 6585469"/>
              <a:gd name="connsiteY4" fmla="*/ 14 h 2050957"/>
              <a:gd name="connsiteX0" fmla="*/ 0 w 6585469"/>
              <a:gd name="connsiteY0" fmla="*/ 1761955 h 2050943"/>
              <a:gd name="connsiteX1" fmla="*/ 1812463 w 6585469"/>
              <a:gd name="connsiteY1" fmla="*/ 2050064 h 2050943"/>
              <a:gd name="connsiteX2" fmla="*/ 3275896 w 6585469"/>
              <a:gd name="connsiteY2" fmla="*/ 1856284 h 2050943"/>
              <a:gd name="connsiteX3" fmla="*/ 4915808 w 6585469"/>
              <a:gd name="connsiteY3" fmla="*/ 1622064 h 2050943"/>
              <a:gd name="connsiteX4" fmla="*/ 6585469 w 6585469"/>
              <a:gd name="connsiteY4" fmla="*/ 0 h 2050943"/>
              <a:gd name="connsiteX0" fmla="*/ 0 w 6585469"/>
              <a:gd name="connsiteY0" fmla="*/ 360817 h 649805"/>
              <a:gd name="connsiteX1" fmla="*/ 1812463 w 6585469"/>
              <a:gd name="connsiteY1" fmla="*/ 648926 h 649805"/>
              <a:gd name="connsiteX2" fmla="*/ 3275896 w 6585469"/>
              <a:gd name="connsiteY2" fmla="*/ 455146 h 649805"/>
              <a:gd name="connsiteX3" fmla="*/ 4915808 w 6585469"/>
              <a:gd name="connsiteY3" fmla="*/ 220926 h 649805"/>
              <a:gd name="connsiteX4" fmla="*/ 6585469 w 6585469"/>
              <a:gd name="connsiteY4" fmla="*/ 14 h 649805"/>
              <a:gd name="connsiteX0" fmla="*/ 0 w 6756469"/>
              <a:gd name="connsiteY0" fmla="*/ 31279004 h 31279092"/>
              <a:gd name="connsiteX1" fmla="*/ 1983463 w 6756469"/>
              <a:gd name="connsiteY1" fmla="*/ 2216542 h 31279092"/>
              <a:gd name="connsiteX2" fmla="*/ 3446896 w 6756469"/>
              <a:gd name="connsiteY2" fmla="*/ 2022762 h 31279092"/>
              <a:gd name="connsiteX3" fmla="*/ 5086808 w 6756469"/>
              <a:gd name="connsiteY3" fmla="*/ 1788542 h 31279092"/>
              <a:gd name="connsiteX4" fmla="*/ 6756469 w 6756469"/>
              <a:gd name="connsiteY4" fmla="*/ 1567630 h 31279092"/>
              <a:gd name="connsiteX0" fmla="*/ 0 w 6756469"/>
              <a:gd name="connsiteY0" fmla="*/ 31279004 h 31279003"/>
              <a:gd name="connsiteX1" fmla="*/ 1983463 w 6756469"/>
              <a:gd name="connsiteY1" fmla="*/ 2216542 h 31279003"/>
              <a:gd name="connsiteX2" fmla="*/ 3446896 w 6756469"/>
              <a:gd name="connsiteY2" fmla="*/ 2022762 h 31279003"/>
              <a:gd name="connsiteX3" fmla="*/ 5086808 w 6756469"/>
              <a:gd name="connsiteY3" fmla="*/ 1788542 h 31279003"/>
              <a:gd name="connsiteX4" fmla="*/ 6756469 w 6756469"/>
              <a:gd name="connsiteY4" fmla="*/ 1567630 h 31279003"/>
              <a:gd name="connsiteX0" fmla="*/ 0 w 6730560"/>
              <a:gd name="connsiteY0" fmla="*/ 28219992 h 28219992"/>
              <a:gd name="connsiteX1" fmla="*/ 1957554 w 6730560"/>
              <a:gd name="connsiteY1" fmla="*/ 2005688 h 28219992"/>
              <a:gd name="connsiteX2" fmla="*/ 3420987 w 6730560"/>
              <a:gd name="connsiteY2" fmla="*/ 1811908 h 28219992"/>
              <a:gd name="connsiteX3" fmla="*/ 5060899 w 6730560"/>
              <a:gd name="connsiteY3" fmla="*/ 1577688 h 28219992"/>
              <a:gd name="connsiteX4" fmla="*/ 6730560 w 6730560"/>
              <a:gd name="connsiteY4" fmla="*/ 1356776 h 28219992"/>
              <a:gd name="connsiteX0" fmla="*/ 0 w 6730560"/>
              <a:gd name="connsiteY0" fmla="*/ 26863230 h 26863230"/>
              <a:gd name="connsiteX1" fmla="*/ 1620735 w 6730560"/>
              <a:gd name="connsiteY1" fmla="*/ 23385958 h 26863230"/>
              <a:gd name="connsiteX2" fmla="*/ 3420987 w 6730560"/>
              <a:gd name="connsiteY2" fmla="*/ 455146 h 26863230"/>
              <a:gd name="connsiteX3" fmla="*/ 5060899 w 6730560"/>
              <a:gd name="connsiteY3" fmla="*/ 220926 h 26863230"/>
              <a:gd name="connsiteX4" fmla="*/ 6730560 w 6730560"/>
              <a:gd name="connsiteY4" fmla="*/ 14 h 26863230"/>
              <a:gd name="connsiteX0" fmla="*/ 0 w 6730560"/>
              <a:gd name="connsiteY0" fmla="*/ 26863230 h 26863230"/>
              <a:gd name="connsiteX1" fmla="*/ 1620735 w 6730560"/>
              <a:gd name="connsiteY1" fmla="*/ 23385958 h 26863230"/>
              <a:gd name="connsiteX2" fmla="*/ 3420987 w 6730560"/>
              <a:gd name="connsiteY2" fmla="*/ 455146 h 26863230"/>
              <a:gd name="connsiteX3" fmla="*/ 5060899 w 6730560"/>
              <a:gd name="connsiteY3" fmla="*/ 220926 h 26863230"/>
              <a:gd name="connsiteX4" fmla="*/ 6730560 w 6730560"/>
              <a:gd name="connsiteY4" fmla="*/ 14 h 26863230"/>
              <a:gd name="connsiteX0" fmla="*/ 0 w 6730560"/>
              <a:gd name="connsiteY0" fmla="*/ 26863230 h 26863230"/>
              <a:gd name="connsiteX1" fmla="*/ 1620735 w 6730560"/>
              <a:gd name="connsiteY1" fmla="*/ 23385958 h 26863230"/>
              <a:gd name="connsiteX2" fmla="*/ 3161896 w 6730560"/>
              <a:gd name="connsiteY2" fmla="*/ 21502596 h 26863230"/>
              <a:gd name="connsiteX3" fmla="*/ 5060899 w 6730560"/>
              <a:gd name="connsiteY3" fmla="*/ 220926 h 26863230"/>
              <a:gd name="connsiteX4" fmla="*/ 6730560 w 6730560"/>
              <a:gd name="connsiteY4" fmla="*/ 14 h 26863230"/>
              <a:gd name="connsiteX0" fmla="*/ 0 w 6730560"/>
              <a:gd name="connsiteY0" fmla="*/ 26863216 h 29137013"/>
              <a:gd name="connsiteX1" fmla="*/ 1620735 w 6730560"/>
              <a:gd name="connsiteY1" fmla="*/ 23385944 h 29137013"/>
              <a:gd name="connsiteX2" fmla="*/ 3161896 w 6730560"/>
              <a:gd name="connsiteY2" fmla="*/ 21502582 h 29137013"/>
              <a:gd name="connsiteX3" fmla="*/ 4781081 w 6730560"/>
              <a:gd name="connsiteY3" fmla="*/ 29137012 h 29137013"/>
              <a:gd name="connsiteX4" fmla="*/ 6730560 w 6730560"/>
              <a:gd name="connsiteY4" fmla="*/ 0 h 29137013"/>
              <a:gd name="connsiteX0" fmla="*/ 0 w 6730560"/>
              <a:gd name="connsiteY0" fmla="*/ 26863216 h 29137013"/>
              <a:gd name="connsiteX1" fmla="*/ 1620735 w 6730560"/>
              <a:gd name="connsiteY1" fmla="*/ 23385944 h 29137013"/>
              <a:gd name="connsiteX2" fmla="*/ 3161896 w 6730560"/>
              <a:gd name="connsiteY2" fmla="*/ 21502582 h 29137013"/>
              <a:gd name="connsiteX3" fmla="*/ 4781081 w 6730560"/>
              <a:gd name="connsiteY3" fmla="*/ 29137012 h 29137013"/>
              <a:gd name="connsiteX4" fmla="*/ 6730560 w 6730560"/>
              <a:gd name="connsiteY4" fmla="*/ 0 h 29137013"/>
              <a:gd name="connsiteX0" fmla="*/ 0 w 6730560"/>
              <a:gd name="connsiteY0" fmla="*/ 26863216 h 29137013"/>
              <a:gd name="connsiteX1" fmla="*/ 1620735 w 6730560"/>
              <a:gd name="connsiteY1" fmla="*/ 23385944 h 29137013"/>
              <a:gd name="connsiteX2" fmla="*/ 3161896 w 6730560"/>
              <a:gd name="connsiteY2" fmla="*/ 21502582 h 29137013"/>
              <a:gd name="connsiteX3" fmla="*/ 4781081 w 6730560"/>
              <a:gd name="connsiteY3" fmla="*/ 29137012 h 29137013"/>
              <a:gd name="connsiteX4" fmla="*/ 6730560 w 6730560"/>
              <a:gd name="connsiteY4" fmla="*/ 0 h 29137013"/>
              <a:gd name="connsiteX0" fmla="*/ 0 w 6383377"/>
              <a:gd name="connsiteY0" fmla="*/ 5360722 h 7634519"/>
              <a:gd name="connsiteX1" fmla="*/ 1620735 w 6383377"/>
              <a:gd name="connsiteY1" fmla="*/ 1883450 h 7634519"/>
              <a:gd name="connsiteX2" fmla="*/ 3161896 w 6383377"/>
              <a:gd name="connsiteY2" fmla="*/ 88 h 7634519"/>
              <a:gd name="connsiteX3" fmla="*/ 4781081 w 6383377"/>
              <a:gd name="connsiteY3" fmla="*/ 7634518 h 7634519"/>
              <a:gd name="connsiteX4" fmla="*/ 6383377 w 6383377"/>
              <a:gd name="connsiteY4" fmla="*/ 4710264 h 7634519"/>
              <a:gd name="connsiteX0" fmla="*/ 0 w 6383377"/>
              <a:gd name="connsiteY0" fmla="*/ 5360722 h 7634519"/>
              <a:gd name="connsiteX1" fmla="*/ 1620735 w 6383377"/>
              <a:gd name="connsiteY1" fmla="*/ 1883450 h 7634519"/>
              <a:gd name="connsiteX2" fmla="*/ 3161896 w 6383377"/>
              <a:gd name="connsiteY2" fmla="*/ 88 h 7634519"/>
              <a:gd name="connsiteX3" fmla="*/ 4781081 w 6383377"/>
              <a:gd name="connsiteY3" fmla="*/ 7634518 h 7634519"/>
              <a:gd name="connsiteX4" fmla="*/ 6383377 w 6383377"/>
              <a:gd name="connsiteY4" fmla="*/ 4710264 h 7634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77" h="7634519">
                <a:moveTo>
                  <a:pt x="0" y="5360722"/>
                </a:moveTo>
                <a:cubicBezTo>
                  <a:pt x="249194" y="4497046"/>
                  <a:pt x="1093752" y="2776889"/>
                  <a:pt x="1620735" y="1883450"/>
                </a:cubicBezTo>
                <a:cubicBezTo>
                  <a:pt x="2147718" y="990011"/>
                  <a:pt x="2730740" y="8702"/>
                  <a:pt x="3161896" y="88"/>
                </a:cubicBezTo>
                <a:cubicBezTo>
                  <a:pt x="3702704" y="-29822"/>
                  <a:pt x="4565102" y="7528571"/>
                  <a:pt x="4781081" y="7634518"/>
                </a:cubicBezTo>
                <a:cubicBezTo>
                  <a:pt x="5038514" y="7547368"/>
                  <a:pt x="6061574" y="5239125"/>
                  <a:pt x="6383377" y="4710264"/>
                </a:cubicBezTo>
              </a:path>
            </a:pathLst>
          </a:custGeom>
          <a:noFill/>
          <a:ln w="136525" cap="rnd" cmpd="sng" algn="ctr">
            <a:solidFill>
              <a:srgbClr val="32E9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99837930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Group 29"/>
          <p:cNvGraphicFramePr>
            <a:graphicFrameLocks noGrp="1"/>
          </p:cNvGraphicFramePr>
          <p:nvPr>
            <p:extLst>
              <p:ext uri="{D42A27DB-BD31-4B8C-83A1-F6EECF244321}">
                <p14:modId xmlns:p14="http://schemas.microsoft.com/office/powerpoint/2010/main" val="4276465425"/>
              </p:ext>
            </p:extLst>
          </p:nvPr>
        </p:nvGraphicFramePr>
        <p:xfrm>
          <a:off x="373084" y="914399"/>
          <a:ext cx="11445832" cy="5750482"/>
        </p:xfrm>
        <a:graphic>
          <a:graphicData uri="http://schemas.openxmlformats.org/drawingml/2006/table">
            <a:tbl>
              <a:tblPr/>
              <a:tblGrid>
                <a:gridCol w="1923228">
                  <a:extLst>
                    <a:ext uri="{9D8B030D-6E8A-4147-A177-3AD203B41FA5}">
                      <a16:colId xmlns:a16="http://schemas.microsoft.com/office/drawing/2014/main" val="20000"/>
                    </a:ext>
                  </a:extLst>
                </a:gridCol>
                <a:gridCol w="4761302">
                  <a:extLst>
                    <a:ext uri="{9D8B030D-6E8A-4147-A177-3AD203B41FA5}">
                      <a16:colId xmlns:a16="http://schemas.microsoft.com/office/drawing/2014/main" val="20001"/>
                    </a:ext>
                  </a:extLst>
                </a:gridCol>
                <a:gridCol w="4761302">
                  <a:extLst>
                    <a:ext uri="{9D8B030D-6E8A-4147-A177-3AD203B41FA5}">
                      <a16:colId xmlns:a16="http://schemas.microsoft.com/office/drawing/2014/main" val="20002"/>
                    </a:ext>
                  </a:extLst>
                </a:gridCol>
              </a:tblGrid>
              <a:tr h="399749">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900" b="1" i="0" u="none" strike="noStrike" cap="none" normalizeH="0" baseline="0" dirty="0">
                        <a:ln>
                          <a:noFill/>
                        </a:ln>
                        <a:solidFill>
                          <a:srgbClr val="002776"/>
                        </a:solidFill>
                        <a:effectLst/>
                        <a:latin typeface="+mj-lt"/>
                        <a:cs typeface="Arial" pitchFamily="34" charset="0"/>
                      </a:endParaRPr>
                    </a:p>
                  </a:txBody>
                  <a:tcPr marL="54864" marR="54864" marT="36576" marB="3657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eaLnBrk="0" hangingPunct="0">
                        <a:lnSpc>
                          <a:spcPct val="90000"/>
                        </a:lnSpc>
                        <a:buSzPct val="100000"/>
                        <a:buFont typeface="Wingdings 2" pitchFamily="18" charset="2"/>
                        <a:buNone/>
                      </a:pPr>
                      <a:r>
                        <a:rPr lang="en-US" altLang="en-US" sz="900" b="1" kern="1200" dirty="0">
                          <a:solidFill>
                            <a:schemeClr val="bg1"/>
                          </a:solidFill>
                          <a:latin typeface="+mn-lt"/>
                          <a:ea typeface="+mn-ea"/>
                          <a:cs typeface="+mn-cs"/>
                        </a:rPr>
                        <a:t>Key</a:t>
                      </a:r>
                      <a:r>
                        <a:rPr lang="en-US" altLang="en-US" sz="900" b="1" kern="1200" baseline="0" dirty="0">
                          <a:solidFill>
                            <a:schemeClr val="bg1"/>
                          </a:solidFill>
                          <a:latin typeface="+mn-lt"/>
                          <a:ea typeface="+mn-ea"/>
                          <a:cs typeface="+mn-cs"/>
                        </a:rPr>
                        <a:t> Observations</a:t>
                      </a:r>
                      <a:endParaRPr lang="en-US" altLang="en-US" sz="900" b="1" kern="1200" dirty="0">
                        <a:solidFill>
                          <a:schemeClr val="bg1"/>
                        </a:solidFill>
                        <a:latin typeface="+mn-lt"/>
                        <a:ea typeface="+mn-ea"/>
                        <a:cs typeface="+mn-cs"/>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algn="ctr" eaLnBrk="0" hangingPunct="0">
                        <a:lnSpc>
                          <a:spcPct val="90000"/>
                        </a:lnSpc>
                        <a:buSzPct val="100000"/>
                        <a:buFont typeface="Wingdings 2" pitchFamily="18" charset="2"/>
                        <a:buNone/>
                      </a:pPr>
                      <a:r>
                        <a:rPr lang="en-US" altLang="en-US" sz="900" b="1" kern="1200" dirty="0">
                          <a:solidFill>
                            <a:schemeClr val="bg1"/>
                          </a:solidFill>
                          <a:latin typeface="+mn-lt"/>
                          <a:ea typeface="+mn-ea"/>
                          <a:cs typeface="+mn-cs"/>
                        </a:rPr>
                        <a:t>Business Implica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91382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900" b="1" dirty="0">
                          <a:solidFill>
                            <a:schemeClr val="bg1"/>
                          </a:solidFill>
                        </a:rPr>
                        <a:t>Skill &amp; Proficiency Definition and Planning</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900" dirty="0">
                          <a:solidFill>
                            <a:schemeClr val="tx1"/>
                          </a:solidFill>
                        </a:rPr>
                        <a:t>Although there is a skill map specialized for work, it is defined for each department in HR Driven, and it can not be seen in the department level. Not dropped from the overall strategy. (MSBU)</a:t>
                      </a:r>
                    </a:p>
                    <a:p>
                      <a:pPr marL="171450" indent="-171450">
                        <a:lnSpc>
                          <a:spcPct val="100000"/>
                        </a:lnSpc>
                        <a:spcBef>
                          <a:spcPts val="0"/>
                        </a:spcBef>
                        <a:buFont typeface="Arial" panose="020B0604020202020204" pitchFamily="34" charset="0"/>
                        <a:buChar char="•"/>
                      </a:pPr>
                      <a:r>
                        <a:rPr lang="en-US" sz="900" dirty="0">
                          <a:solidFill>
                            <a:schemeClr val="tx1"/>
                          </a:solidFill>
                        </a:rPr>
                        <a:t>Although the drop-in from the vision is weak, there is a skill map specialized for work. Thought is different for each department and area. It is necessary to drop in the superiors. (P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900" dirty="0">
                          <a:solidFill>
                            <a:schemeClr val="tx1"/>
                          </a:solidFill>
                        </a:rPr>
                        <a:t>Should be improved in the current direction</a:t>
                      </a:r>
                      <a:endParaRPr lang="ja-JP" altLang="en-US" sz="90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913825">
                <a:tc>
                  <a:txBody>
                    <a:bodyPr/>
                    <a:lstStyle/>
                    <a:p>
                      <a:pPr algn="l"/>
                      <a:r>
                        <a:rPr lang="en-US" sz="900" b="1" dirty="0">
                          <a:solidFill>
                            <a:schemeClr val="bg1"/>
                          </a:solidFill>
                        </a:rPr>
                        <a:t>Talent Recruitment &amp; Reten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Invest in on-site members and create an environment that is easy to work and motivated. The site members come in and carry out improvement activities continuously. Insufficient company-wide activity program. (MSBU)</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b="0" baseline="0" dirty="0">
                          <a:solidFill>
                            <a:schemeClr val="tx1"/>
                          </a:solidFill>
                        </a:rPr>
                        <a:t>Same activities as PSBU, but not enough expectations from the site members. Need a rotation program. (MSBU)</a:t>
                      </a:r>
                      <a:endParaRPr lang="en-US" sz="9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dirty="0">
                          <a:solidFill>
                            <a:schemeClr val="tx1"/>
                          </a:solidFill>
                        </a:rPr>
                        <a:t>Utilize</a:t>
                      </a:r>
                      <a:r>
                        <a:rPr lang="en-US" altLang="ja-JP" sz="900" baseline="0" dirty="0">
                          <a:solidFill>
                            <a:schemeClr val="tx1"/>
                          </a:solidFill>
                        </a:rPr>
                        <a:t> cutting-edge </a:t>
                      </a:r>
                      <a:r>
                        <a:rPr lang="en-US" altLang="ja-JP" sz="900" dirty="0">
                          <a:solidFill>
                            <a:schemeClr val="tx1"/>
                          </a:solidFill>
                        </a:rPr>
                        <a:t>technology. Must</a:t>
                      </a:r>
                      <a:r>
                        <a:rPr lang="ja-JP" altLang="en-US" sz="900" dirty="0">
                          <a:solidFill>
                            <a:schemeClr val="tx1"/>
                          </a:solidFill>
                        </a:rPr>
                        <a:t> </a:t>
                      </a:r>
                      <a:r>
                        <a:rPr lang="en-US" altLang="ja-JP" sz="900" dirty="0">
                          <a:solidFill>
                            <a:schemeClr val="tx1"/>
                          </a:solidFill>
                        </a:rPr>
                        <a:t>invest</a:t>
                      </a:r>
                      <a:r>
                        <a:rPr lang="ja-JP" altLang="en-US" sz="900" baseline="0" dirty="0">
                          <a:solidFill>
                            <a:schemeClr val="tx1"/>
                          </a:solidFill>
                        </a:rPr>
                        <a:t> </a:t>
                      </a:r>
                      <a:r>
                        <a:rPr lang="en-US" altLang="ja-JP" sz="900" baseline="0" dirty="0">
                          <a:solidFill>
                            <a:schemeClr val="tx1"/>
                          </a:solidFill>
                        </a:rPr>
                        <a:t>and </a:t>
                      </a:r>
                      <a:r>
                        <a:rPr lang="en-US" altLang="ja-JP" sz="900" dirty="0">
                          <a:solidFill>
                            <a:schemeClr val="tx1"/>
                          </a:solidFill>
                        </a:rPr>
                        <a:t>increase site satisfaction. Improve the brand and become popular in the hiring market.</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9075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n-lt"/>
                          <a:ea typeface="+mn-ea"/>
                          <a:cs typeface="Arial" pitchFamily="34" charset="0"/>
                        </a:rPr>
                        <a:t>Knowledge Managemen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There is training programs but don’t manage the knowledge</a:t>
                      </a:r>
                      <a:r>
                        <a:rPr lang="en-US" altLang="ja-JP" sz="900" b="0" baseline="0" dirty="0">
                          <a:solidFill>
                            <a:schemeClr val="tx1"/>
                          </a:solidFill>
                        </a:rPr>
                        <a:t> (especially OJT) .</a:t>
                      </a:r>
                      <a:endParaRPr lang="en-US" sz="9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aseline="0" dirty="0">
                          <a:solidFill>
                            <a:schemeClr val="tx1"/>
                          </a:solidFill>
                        </a:rPr>
                        <a:t>Necessary to generalize the knowledge. We should build best practices for the next generation by accumulating knowledge. But don't have to be the market leader.</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9075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mn-lt"/>
                          <a:ea typeface="+mn-ea"/>
                          <a:cs typeface="Arial" pitchFamily="34" charset="0"/>
                        </a:rPr>
                        <a:t>Learning &amp; Developmen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dirty="0"/>
                        <a:t>Collaborate between HR and departments is doing, but not constant. There are gap between departments. Don’t know how far the effect i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baseline="0" dirty="0">
                          <a:solidFill>
                            <a:schemeClr val="tx1"/>
                          </a:solidFill>
                        </a:rPr>
                        <a:t>Necessary to provide learning opportunities, but the effect is limited.</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96658287"/>
                  </a:ext>
                </a:extLst>
              </a:tr>
              <a:tr h="772803">
                <a:tc>
                  <a:txBody>
                    <a:bodyPr/>
                    <a:lstStyle/>
                    <a:p>
                      <a:pPr algn="l"/>
                      <a:r>
                        <a:rPr lang="en-US" sz="900" b="1" dirty="0">
                          <a:solidFill>
                            <a:schemeClr val="bg1"/>
                          </a:solidFill>
                        </a:rPr>
                        <a:t>Organizational </a:t>
                      </a:r>
                    </a:p>
                    <a:p>
                      <a:pPr algn="l"/>
                      <a:r>
                        <a:rPr lang="en-US" sz="900" b="1" dirty="0">
                          <a:solidFill>
                            <a:schemeClr val="bg1"/>
                          </a:solidFill>
                        </a:rPr>
                        <a:t>Structure</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900" b="0" baseline="0" dirty="0">
                          <a:solidFill>
                            <a:schemeClr val="tx1"/>
                          </a:solidFill>
                        </a:rPr>
                        <a:t>F</a:t>
                      </a:r>
                      <a:r>
                        <a:rPr lang="en-US" sz="900" b="0" baseline="0" dirty="0">
                          <a:solidFill>
                            <a:schemeClr val="tx1"/>
                          </a:solidFill>
                        </a:rPr>
                        <a:t>ocused on the market and able to build an organization in line with strategy. There is a problem in flexible change according to market trend. (PSBU)</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b="0" baseline="0" dirty="0">
                          <a:solidFill>
                            <a:schemeClr val="tx1"/>
                          </a:solidFill>
                        </a:rPr>
                        <a:t>There is not enough flexibility as an organization, because the market does not change significantly. (M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Need an organization that can quickly deliver products that meet market need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3551714"/>
                  </a:ext>
                </a:extLst>
              </a:tr>
              <a:tr h="478733">
                <a:tc>
                  <a:txBody>
                    <a:bodyPr/>
                    <a:lstStyle/>
                    <a:p>
                      <a:pPr algn="l"/>
                      <a:r>
                        <a:rPr lang="en-US" sz="900" b="1" dirty="0">
                          <a:solidFill>
                            <a:schemeClr val="bg1"/>
                          </a:solidFill>
                        </a:rPr>
                        <a:t>Governance Model / Decision Right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There is a governance process but it has not penetrated. Take time to consensus with appropriate members. (MSBU)</a:t>
                      </a:r>
                    </a:p>
                    <a:p>
                      <a:pPr marL="171450" indent="-171450">
                        <a:lnSpc>
                          <a:spcPct val="100000"/>
                        </a:lnSpc>
                        <a:spcBef>
                          <a:spcPts val="0"/>
                        </a:spcBef>
                        <a:buFont typeface="Arial" panose="020B0604020202020204" pitchFamily="34" charset="0"/>
                        <a:buChar char="•"/>
                      </a:pPr>
                      <a:r>
                        <a:rPr lang="en-US" altLang="ja-JP" sz="900" b="0" baseline="0" dirty="0">
                          <a:solidFill>
                            <a:schemeClr val="tx1"/>
                          </a:solidFill>
                        </a:rPr>
                        <a:t>H</a:t>
                      </a:r>
                      <a:r>
                        <a:rPr lang="en-US" sz="900" b="0" baseline="0" dirty="0">
                          <a:solidFill>
                            <a:schemeClr val="tx1"/>
                          </a:solidFill>
                        </a:rPr>
                        <a:t>ave a process and I can assign the right person. (P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Important but not as high priority as Molex.</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86354471"/>
                  </a:ext>
                </a:extLst>
              </a:tr>
              <a:tr h="399749">
                <a:tc>
                  <a:txBody>
                    <a:bodyPr/>
                    <a:lstStyle/>
                    <a:p>
                      <a:pPr algn="l"/>
                      <a:r>
                        <a:rPr lang="en-US" sz="900" b="1" dirty="0">
                          <a:solidFill>
                            <a:schemeClr val="bg1"/>
                          </a:solidFill>
                        </a:rPr>
                        <a:t>Role Definition / </a:t>
                      </a:r>
                    </a:p>
                    <a:p>
                      <a:pPr algn="l"/>
                      <a:r>
                        <a:rPr lang="en-US" sz="900" b="1" dirty="0">
                          <a:solidFill>
                            <a:schemeClr val="bg1"/>
                          </a:solidFill>
                        </a:rPr>
                        <a:t>Job Desig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There is no need to define Role and Job Design strictly because not working in cooperation with other department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aseline="0" dirty="0">
                          <a:solidFill>
                            <a:schemeClr val="tx1"/>
                          </a:solidFill>
                        </a:rPr>
                        <a:t>Cross-divisional definition of Role and Job Design is necessary but not so valuable.</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46147242"/>
                  </a:ext>
                </a:extLst>
              </a:tr>
              <a:tr h="399749">
                <a:tc>
                  <a:txBody>
                    <a:bodyPr/>
                    <a:lstStyle/>
                    <a:p>
                      <a:pPr algn="l"/>
                      <a:r>
                        <a:rPr lang="en-US" sz="900" b="1" dirty="0">
                          <a:solidFill>
                            <a:schemeClr val="bg1"/>
                          </a:solidFill>
                        </a:rPr>
                        <a:t>Product Design Team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Design Team manages everything in the product life cycle. (PSBU)</a:t>
                      </a:r>
                    </a:p>
                    <a:p>
                      <a:pPr marL="171450" indent="-171450">
                        <a:lnSpc>
                          <a:spcPct val="100000"/>
                        </a:lnSpc>
                        <a:spcBef>
                          <a:spcPts val="0"/>
                        </a:spcBef>
                        <a:buFont typeface="Arial" panose="020B0604020202020204" pitchFamily="34" charset="0"/>
                        <a:buChar char="•"/>
                      </a:pPr>
                      <a:r>
                        <a:rPr lang="en-US" sz="900" b="0" baseline="0" dirty="0">
                          <a:solidFill>
                            <a:schemeClr val="tx1"/>
                          </a:solidFill>
                        </a:rPr>
                        <a:t>The role of Design Team is not thoroughly managed. (M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b="0" baseline="0" dirty="0">
                          <a:solidFill>
                            <a:schemeClr val="tx1"/>
                          </a:solidFill>
                        </a:rPr>
                        <a:t>Make Time to Market faster by collaborating faster.</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9054611"/>
                  </a:ext>
                </a:extLst>
              </a:tr>
              <a:tr h="399749">
                <a:tc>
                  <a:txBody>
                    <a:bodyPr/>
                    <a:lstStyle/>
                    <a:p>
                      <a:pPr algn="l"/>
                      <a:r>
                        <a:rPr lang="en-US" sz="900" b="1" dirty="0">
                          <a:solidFill>
                            <a:schemeClr val="bg1"/>
                          </a:solidFill>
                        </a:rPr>
                        <a:t>Workforce Planning</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aseline="0" dirty="0">
                          <a:solidFill>
                            <a:schemeClr val="tx1"/>
                          </a:solidFill>
                        </a:rPr>
                        <a:t>It is not a resource plan considering future vision. (PSBU)</a:t>
                      </a:r>
                    </a:p>
                    <a:p>
                      <a:pPr marL="171450" indent="-171450">
                        <a:lnSpc>
                          <a:spcPct val="100000"/>
                        </a:lnSpc>
                        <a:spcBef>
                          <a:spcPts val="0"/>
                        </a:spcBef>
                        <a:buFont typeface="Arial" panose="020B0604020202020204" pitchFamily="34" charset="0"/>
                        <a:buChar char="•"/>
                      </a:pPr>
                      <a:r>
                        <a:rPr lang="en-US" sz="900" baseline="0" dirty="0">
                          <a:solidFill>
                            <a:schemeClr val="tx1"/>
                          </a:solidFill>
                        </a:rPr>
                        <a:t>As it’s order product, resource planning and placement accuracy can not be improved. There is a big gap of working time among. (M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Improving the accuracy of resource planning is essential. Need to respond with high priority.</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4600831"/>
                  </a:ext>
                </a:extLst>
              </a:tr>
            </a:tbl>
          </a:graphicData>
        </a:graphic>
      </p:graphicFrame>
      <p:sp>
        <p:nvSpPr>
          <p:cNvPr id="4" name="Title 3">
            <a:extLst>
              <a:ext uri="{FF2B5EF4-FFF2-40B4-BE49-F238E27FC236}">
                <a16:creationId xmlns:a16="http://schemas.microsoft.com/office/drawing/2014/main" id="{026705D2-9A1E-4A1F-80F4-6BC1AE8E4025}"/>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defTabSz="914400">
              <a:defRPr/>
            </a:pPr>
            <a:r>
              <a:rPr lang="en-US" sz="2400" b="1" dirty="0">
                <a:solidFill>
                  <a:prstClr val="black"/>
                </a:solidFill>
              </a:rPr>
              <a:t>R&amp;D Talent /</a:t>
            </a:r>
            <a:r>
              <a:rPr lang="en-US" sz="2400" b="1" dirty="0"/>
              <a:t>R&amp;D Organization</a:t>
            </a:r>
          </a:p>
          <a:p>
            <a:pPr lvl="0" defTabSz="914400">
              <a:defRPr/>
            </a:pPr>
            <a:endParaRPr lang="en-US" sz="2400" b="1" dirty="0">
              <a:solidFill>
                <a:prstClr val="black"/>
              </a:solidFill>
            </a:endParaRPr>
          </a:p>
        </p:txBody>
      </p:sp>
    </p:spTree>
    <p:extLst>
      <p:ext uri="{BB962C8B-B14F-4D97-AF65-F5344CB8AC3E}">
        <p14:creationId xmlns:p14="http://schemas.microsoft.com/office/powerpoint/2010/main" val="6221606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en-US" dirty="0"/>
              <a:t>Current-State Capability </a:t>
            </a:r>
            <a:r>
              <a:rPr lang="en-US" altLang="ja-JP" dirty="0"/>
              <a:t>Product</a:t>
            </a:r>
            <a:r>
              <a:rPr lang="ja-JP" altLang="en-US" dirty="0"/>
              <a:t> </a:t>
            </a:r>
            <a:r>
              <a:rPr lang="en-US" altLang="ja-JP" dirty="0"/>
              <a:t>Cost</a:t>
            </a:r>
            <a:r>
              <a:rPr lang="ja-JP" altLang="en-US" dirty="0"/>
              <a:t> </a:t>
            </a:r>
            <a:r>
              <a:rPr lang="en-US" altLang="ja-JP" dirty="0"/>
              <a:t>Management</a:t>
            </a:r>
            <a:endParaRPr lang="en-US" dirty="0"/>
          </a:p>
        </p:txBody>
      </p:sp>
      <p:sp>
        <p:nvSpPr>
          <p:cNvPr id="7" name="Rectangle 6">
            <a:extLst>
              <a:ext uri="{FF2B5EF4-FFF2-40B4-BE49-F238E27FC236}">
                <a16:creationId xmlns:a16="http://schemas.microsoft.com/office/drawing/2014/main" id="{1617907B-D8E2-4123-ACEC-F245D7D4077D}"/>
              </a:ext>
            </a:extLst>
          </p:cNvPr>
          <p:cNvSpPr>
            <a:spLocks noChangeArrowheads="1"/>
          </p:cNvSpPr>
          <p:nvPr/>
        </p:nvSpPr>
        <p:spPr bwMode="gray">
          <a:xfrm>
            <a:off x="1263928" y="1812899"/>
            <a:ext cx="3085363" cy="215444"/>
          </a:xfrm>
          <a:prstGeom prst="rect">
            <a:avLst/>
          </a:prstGeom>
          <a:solidFill>
            <a:schemeClr val="bg1"/>
          </a:solidFill>
          <a:ln w="12700" cap="rnd" algn="ctr">
            <a:noFill/>
            <a:miter lim="800000"/>
            <a:headEnd/>
            <a:tailEnd/>
          </a:ln>
        </p:spPr>
        <p:txBody>
          <a:bodyPr wrap="square" lIns="71966" tIns="0" rIns="71966" bIns="0" anchor="ctr" anchorCtr="1">
            <a:spAutoFit/>
          </a:bodyPr>
          <a:lstStyle/>
          <a:p>
            <a:pPr defTabSz="913961" fontAlgn="base">
              <a:spcBef>
                <a:spcPct val="20000"/>
              </a:spcBef>
              <a:spcAft>
                <a:spcPct val="0"/>
              </a:spcAft>
            </a:pPr>
            <a:r>
              <a:rPr lang="en-US" sz="1400" b="1" dirty="0">
                <a:solidFill>
                  <a:srgbClr val="92D400"/>
                </a:solidFill>
                <a:latin typeface="+mj-lt"/>
                <a:cs typeface="Arial" pitchFamily="34" charset="0"/>
              </a:rPr>
              <a:t>Current State Journey</a:t>
            </a:r>
          </a:p>
        </p:txBody>
      </p:sp>
      <p:pic>
        <p:nvPicPr>
          <p:cNvPr id="8" name="Picture 7">
            <a:extLst>
              <a:ext uri="{FF2B5EF4-FFF2-40B4-BE49-F238E27FC236}">
                <a16:creationId xmlns:a16="http://schemas.microsoft.com/office/drawing/2014/main" id="{F58A16F7-C5FE-4FA0-95B9-317D632AC5C9}"/>
              </a:ext>
            </a:extLst>
          </p:cNvPr>
          <p:cNvPicPr>
            <a:picLocks noChangeAspect="1" noChangeArrowheads="1"/>
          </p:cNvPicPr>
          <p:nvPr/>
        </p:nvPicPr>
        <p:blipFill>
          <a:blip r:embed="rId2">
            <a:lum contrast="22000"/>
            <a:extLst>
              <a:ext uri="{28A0092B-C50C-407E-A947-70E740481C1C}">
                <a14:useLocalDpi xmlns:a14="http://schemas.microsoft.com/office/drawing/2010/main" val="0"/>
              </a:ext>
            </a:extLst>
          </a:blip>
          <a:srcRect/>
          <a:stretch>
            <a:fillRect/>
          </a:stretch>
        </p:blipFill>
        <p:spPr bwMode="auto">
          <a:xfrm>
            <a:off x="1197632" y="2240043"/>
            <a:ext cx="9311976" cy="2749079"/>
          </a:xfrm>
          <a:prstGeom prst="rect">
            <a:avLst/>
          </a:prstGeom>
          <a:solidFill>
            <a:schemeClr val="accent1">
              <a:lumMod val="20000"/>
              <a:lumOff val="80000"/>
            </a:schemeClr>
          </a:solidFill>
          <a:ln>
            <a:noFill/>
          </a:ln>
          <a:effectLst/>
        </p:spPr>
      </p:pic>
      <p:sp>
        <p:nvSpPr>
          <p:cNvPr id="9" name="Rectangle 8">
            <a:extLst>
              <a:ext uri="{FF2B5EF4-FFF2-40B4-BE49-F238E27FC236}">
                <a16:creationId xmlns:a16="http://schemas.microsoft.com/office/drawing/2014/main" id="{7B1A2920-D963-46D7-9BBE-A417E9448C54}"/>
              </a:ext>
            </a:extLst>
          </p:cNvPr>
          <p:cNvSpPr/>
          <p:nvPr/>
        </p:nvSpPr>
        <p:spPr bwMode="invGray">
          <a:xfrm>
            <a:off x="7302495" y="2611651"/>
            <a:ext cx="1354655" cy="230832"/>
          </a:xfrm>
          <a:prstGeom prst="rect">
            <a:avLst/>
          </a:prstGeom>
          <a:scene3d>
            <a:camera prst="orthographicFront">
              <a:rot lat="0" lon="0" rev="0"/>
            </a:camera>
            <a:lightRig rig="threePt" dir="t"/>
          </a:scene3d>
        </p:spPr>
        <p:txBody>
          <a:bodyPr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900" dirty="0">
              <a:solidFill>
                <a:prstClr val="white"/>
              </a:solidFill>
              <a:latin typeface="+mj-lt"/>
            </a:endParaRPr>
          </a:p>
        </p:txBody>
      </p:sp>
      <p:sp>
        <p:nvSpPr>
          <p:cNvPr id="10" name="Text Box 24">
            <a:extLst>
              <a:ext uri="{FF2B5EF4-FFF2-40B4-BE49-F238E27FC236}">
                <a16:creationId xmlns:a16="http://schemas.microsoft.com/office/drawing/2014/main" id="{EE00105A-566B-47B3-A87C-CAE93F806529}"/>
              </a:ext>
            </a:extLst>
          </p:cNvPr>
          <p:cNvSpPr txBox="1">
            <a:spLocks noChangeArrowheads="1"/>
          </p:cNvSpPr>
          <p:nvPr/>
        </p:nvSpPr>
        <p:spPr bwMode="auto">
          <a:xfrm>
            <a:off x="3620122" y="4305588"/>
            <a:ext cx="2095323" cy="34414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Request Estimation of equipment and production way based on Design concept by GPM for each country </a:t>
            </a:r>
          </a:p>
        </p:txBody>
      </p:sp>
      <p:sp>
        <p:nvSpPr>
          <p:cNvPr id="11" name="Text Box 24">
            <a:extLst>
              <a:ext uri="{FF2B5EF4-FFF2-40B4-BE49-F238E27FC236}">
                <a16:creationId xmlns:a16="http://schemas.microsoft.com/office/drawing/2014/main" id="{FEC057F0-58B4-4B1B-BE17-B6AD277A3863}"/>
              </a:ext>
            </a:extLst>
          </p:cNvPr>
          <p:cNvSpPr txBox="1">
            <a:spLocks noChangeArrowheads="1"/>
          </p:cNvSpPr>
          <p:nvPr/>
        </p:nvSpPr>
        <p:spPr bwMode="auto">
          <a:xfrm>
            <a:off x="4297191" y="2599727"/>
            <a:ext cx="1889780" cy="33237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Select production by GPM and get kick off’s approval for NPI</a:t>
            </a:r>
          </a:p>
        </p:txBody>
      </p:sp>
      <p:sp>
        <p:nvSpPr>
          <p:cNvPr id="12" name="Text Box 9">
            <a:extLst>
              <a:ext uri="{FF2B5EF4-FFF2-40B4-BE49-F238E27FC236}">
                <a16:creationId xmlns:a16="http://schemas.microsoft.com/office/drawing/2014/main" id="{C8A41943-F33A-4533-A39B-9CD8C84306AD}"/>
              </a:ext>
            </a:extLst>
          </p:cNvPr>
          <p:cNvSpPr txBox="1">
            <a:spLocks noChangeArrowheads="1"/>
          </p:cNvSpPr>
          <p:nvPr/>
        </p:nvSpPr>
        <p:spPr bwMode="gray">
          <a:xfrm>
            <a:off x="2156323" y="2643498"/>
            <a:ext cx="855935" cy="176095"/>
          </a:xfrm>
          <a:prstGeom prst="rect">
            <a:avLst/>
          </a:prstGeom>
          <a:noFill/>
          <a:ln w="12700" algn="ctr">
            <a:noFill/>
            <a:miter lim="800000"/>
            <a:headEnd/>
            <a:tailEnd/>
          </a:ln>
          <a:effectLst/>
        </p:spPr>
        <p:txBody>
          <a:bodyPr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1</a:t>
            </a:r>
          </a:p>
        </p:txBody>
      </p:sp>
      <p:sp>
        <p:nvSpPr>
          <p:cNvPr id="13" name="Oval 12">
            <a:extLst>
              <a:ext uri="{FF2B5EF4-FFF2-40B4-BE49-F238E27FC236}">
                <a16:creationId xmlns:a16="http://schemas.microsoft.com/office/drawing/2014/main" id="{032AF74C-4888-4BB8-A919-D966CF10B213}"/>
              </a:ext>
            </a:extLst>
          </p:cNvPr>
          <p:cNvSpPr>
            <a:spLocks noChangeArrowheads="1"/>
          </p:cNvSpPr>
          <p:nvPr/>
        </p:nvSpPr>
        <p:spPr bwMode="gray">
          <a:xfrm>
            <a:off x="1686199" y="2596105"/>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1</a:t>
            </a:r>
          </a:p>
        </p:txBody>
      </p:sp>
      <p:sp>
        <p:nvSpPr>
          <p:cNvPr id="14" name="Text Box 10">
            <a:extLst>
              <a:ext uri="{FF2B5EF4-FFF2-40B4-BE49-F238E27FC236}">
                <a16:creationId xmlns:a16="http://schemas.microsoft.com/office/drawing/2014/main" id="{9AB60634-0756-4848-9686-A7E0E572378C}"/>
              </a:ext>
            </a:extLst>
          </p:cNvPr>
          <p:cNvSpPr txBox="1">
            <a:spLocks noChangeArrowheads="1"/>
          </p:cNvSpPr>
          <p:nvPr/>
        </p:nvSpPr>
        <p:spPr bwMode="gray">
          <a:xfrm>
            <a:off x="3630604" y="4088230"/>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2</a:t>
            </a:r>
          </a:p>
        </p:txBody>
      </p:sp>
      <p:sp>
        <p:nvSpPr>
          <p:cNvPr id="15" name="Line 28">
            <a:extLst>
              <a:ext uri="{FF2B5EF4-FFF2-40B4-BE49-F238E27FC236}">
                <a16:creationId xmlns:a16="http://schemas.microsoft.com/office/drawing/2014/main" id="{888E09D3-4434-4D5C-8407-D2929B50A26B}"/>
              </a:ext>
            </a:extLst>
          </p:cNvPr>
          <p:cNvSpPr>
            <a:spLocks noChangeShapeType="1"/>
          </p:cNvSpPr>
          <p:nvPr/>
        </p:nvSpPr>
        <p:spPr bwMode="auto">
          <a:xfrm flipV="1">
            <a:off x="3377117" y="3874998"/>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16" name="Text Box 11">
            <a:extLst>
              <a:ext uri="{FF2B5EF4-FFF2-40B4-BE49-F238E27FC236}">
                <a16:creationId xmlns:a16="http://schemas.microsoft.com/office/drawing/2014/main" id="{46B996A9-99E3-4826-B6E1-B3F9341EA480}"/>
              </a:ext>
            </a:extLst>
          </p:cNvPr>
          <p:cNvSpPr txBox="1">
            <a:spLocks noChangeArrowheads="1"/>
          </p:cNvSpPr>
          <p:nvPr/>
        </p:nvSpPr>
        <p:spPr bwMode="gray">
          <a:xfrm>
            <a:off x="4297193" y="2385155"/>
            <a:ext cx="1477186" cy="177539"/>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3</a:t>
            </a:r>
          </a:p>
        </p:txBody>
      </p:sp>
      <p:sp>
        <p:nvSpPr>
          <p:cNvPr id="17" name="Rectangle 16">
            <a:extLst>
              <a:ext uri="{FF2B5EF4-FFF2-40B4-BE49-F238E27FC236}">
                <a16:creationId xmlns:a16="http://schemas.microsoft.com/office/drawing/2014/main" id="{9EB41562-1EC8-4C34-977A-A1ADF53BCBD8}"/>
              </a:ext>
            </a:extLst>
          </p:cNvPr>
          <p:cNvSpPr/>
          <p:nvPr/>
        </p:nvSpPr>
        <p:spPr bwMode="auto">
          <a:xfrm>
            <a:off x="1185243" y="1719587"/>
            <a:ext cx="9313296" cy="326953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defPPr>
              <a:defRPr lang="en-US"/>
            </a:defPPr>
            <a:lvl1pPr algn="ctr" rtl="0" fontAlgn="base">
              <a:spcBef>
                <a:spcPct val="20000"/>
              </a:spcBef>
              <a:spcAft>
                <a:spcPct val="0"/>
              </a:spcAft>
              <a:defRPr sz="1100" b="1" kern="1200">
                <a:solidFill>
                  <a:schemeClr val="lt1"/>
                </a:solidFill>
                <a:latin typeface="+mn-lt"/>
                <a:ea typeface="+mn-ea"/>
                <a:cs typeface="+mn-cs"/>
              </a:defRPr>
            </a:lvl1pPr>
            <a:lvl2pPr marL="457200" algn="ctr" rtl="0" fontAlgn="base">
              <a:spcBef>
                <a:spcPct val="20000"/>
              </a:spcBef>
              <a:spcAft>
                <a:spcPct val="0"/>
              </a:spcAft>
              <a:defRPr sz="1100" b="1" kern="1200">
                <a:solidFill>
                  <a:schemeClr val="lt1"/>
                </a:solidFill>
                <a:latin typeface="+mn-lt"/>
                <a:ea typeface="+mn-ea"/>
                <a:cs typeface="+mn-cs"/>
              </a:defRPr>
            </a:lvl2pPr>
            <a:lvl3pPr marL="914400" algn="ctr" rtl="0" fontAlgn="base">
              <a:spcBef>
                <a:spcPct val="20000"/>
              </a:spcBef>
              <a:spcAft>
                <a:spcPct val="0"/>
              </a:spcAft>
              <a:defRPr sz="1100" b="1" kern="1200">
                <a:solidFill>
                  <a:schemeClr val="lt1"/>
                </a:solidFill>
                <a:latin typeface="+mn-lt"/>
                <a:ea typeface="+mn-ea"/>
                <a:cs typeface="+mn-cs"/>
              </a:defRPr>
            </a:lvl3pPr>
            <a:lvl4pPr marL="1371600" algn="ctr" rtl="0" fontAlgn="base">
              <a:spcBef>
                <a:spcPct val="20000"/>
              </a:spcBef>
              <a:spcAft>
                <a:spcPct val="0"/>
              </a:spcAft>
              <a:defRPr sz="1100" b="1" kern="1200">
                <a:solidFill>
                  <a:schemeClr val="lt1"/>
                </a:solidFill>
                <a:latin typeface="+mn-lt"/>
                <a:ea typeface="+mn-ea"/>
                <a:cs typeface="+mn-cs"/>
              </a:defRPr>
            </a:lvl4pPr>
            <a:lvl5pPr marL="1828800" algn="ctr" rtl="0" fontAlgn="base">
              <a:spcBef>
                <a:spcPct val="20000"/>
              </a:spcBef>
              <a:spcAft>
                <a:spcPct val="0"/>
              </a:spcAft>
              <a:defRPr sz="1100" b="1" kern="1200">
                <a:solidFill>
                  <a:schemeClr val="lt1"/>
                </a:solidFill>
                <a:latin typeface="+mn-lt"/>
                <a:ea typeface="+mn-ea"/>
                <a:cs typeface="+mn-cs"/>
              </a:defRPr>
            </a:lvl5pPr>
            <a:lvl6pPr marL="2286000" algn="l" defTabSz="914400" rtl="0" eaLnBrk="1" latinLnBrk="0" hangingPunct="1">
              <a:defRPr sz="1100" b="1" kern="1200">
                <a:solidFill>
                  <a:schemeClr val="lt1"/>
                </a:solidFill>
                <a:latin typeface="+mn-lt"/>
                <a:ea typeface="+mn-ea"/>
                <a:cs typeface="+mn-cs"/>
              </a:defRPr>
            </a:lvl6pPr>
            <a:lvl7pPr marL="2743200" algn="l" defTabSz="914400" rtl="0" eaLnBrk="1" latinLnBrk="0" hangingPunct="1">
              <a:defRPr sz="1100" b="1" kern="1200">
                <a:solidFill>
                  <a:schemeClr val="lt1"/>
                </a:solidFill>
                <a:latin typeface="+mn-lt"/>
                <a:ea typeface="+mn-ea"/>
                <a:cs typeface="+mn-cs"/>
              </a:defRPr>
            </a:lvl7pPr>
            <a:lvl8pPr marL="3200400" algn="l" defTabSz="914400" rtl="0" eaLnBrk="1" latinLnBrk="0" hangingPunct="1">
              <a:defRPr sz="1100" b="1" kern="1200">
                <a:solidFill>
                  <a:schemeClr val="lt1"/>
                </a:solidFill>
                <a:latin typeface="+mn-lt"/>
                <a:ea typeface="+mn-ea"/>
                <a:cs typeface="+mn-cs"/>
              </a:defRPr>
            </a:lvl8pPr>
            <a:lvl9pPr marL="3657600" algn="l" defTabSz="914400" rtl="0" eaLnBrk="1" latinLnBrk="0" hangingPunct="1">
              <a:defRPr sz="1100" b="1" kern="1200">
                <a:solidFill>
                  <a:schemeClr val="lt1"/>
                </a:solidFill>
                <a:latin typeface="+mn-lt"/>
                <a:ea typeface="+mn-ea"/>
                <a:cs typeface="+mn-cs"/>
              </a:defRPr>
            </a:lvl9pPr>
          </a:lstStyle>
          <a:p>
            <a:pPr defTabSz="913961" fontAlgn="auto">
              <a:spcBef>
                <a:spcPts val="0"/>
              </a:spcBef>
              <a:spcAft>
                <a:spcPts val="0"/>
              </a:spcAft>
              <a:defRPr/>
            </a:pPr>
            <a:endParaRPr lang="en-US" sz="1050" dirty="0">
              <a:solidFill>
                <a:prstClr val="white"/>
              </a:solidFill>
              <a:latin typeface="+mj-lt"/>
            </a:endParaRPr>
          </a:p>
        </p:txBody>
      </p:sp>
      <p:sp>
        <p:nvSpPr>
          <p:cNvPr id="18" name="Text Box 24">
            <a:extLst>
              <a:ext uri="{FF2B5EF4-FFF2-40B4-BE49-F238E27FC236}">
                <a16:creationId xmlns:a16="http://schemas.microsoft.com/office/drawing/2014/main" id="{FFC98F6A-C43A-4D2B-AF2D-DF855F9BFC67}"/>
              </a:ext>
            </a:extLst>
          </p:cNvPr>
          <p:cNvSpPr txBox="1">
            <a:spLocks noChangeArrowheads="1"/>
          </p:cNvSpPr>
          <p:nvPr/>
        </p:nvSpPr>
        <p:spPr bwMode="auto">
          <a:xfrm>
            <a:off x="2156323" y="2888641"/>
            <a:ext cx="1621347" cy="293726"/>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Make GCA and input cost by each GPM’s experience roughly for NPI</a:t>
            </a:r>
          </a:p>
        </p:txBody>
      </p:sp>
      <p:sp>
        <p:nvSpPr>
          <p:cNvPr id="19" name="Text Box 24">
            <a:extLst>
              <a:ext uri="{FF2B5EF4-FFF2-40B4-BE49-F238E27FC236}">
                <a16:creationId xmlns:a16="http://schemas.microsoft.com/office/drawing/2014/main" id="{FE7CF495-07E0-40DF-B5B1-35D4E6592281}"/>
              </a:ext>
            </a:extLst>
          </p:cNvPr>
          <p:cNvSpPr txBox="1">
            <a:spLocks noChangeArrowheads="1"/>
          </p:cNvSpPr>
          <p:nvPr/>
        </p:nvSpPr>
        <p:spPr bwMode="auto">
          <a:xfrm>
            <a:off x="6232861" y="2209420"/>
            <a:ext cx="2174050" cy="625361"/>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spc="-20" dirty="0">
                <a:solidFill>
                  <a:srgbClr val="002776"/>
                </a:solidFill>
                <a:latin typeface="+mj-lt"/>
              </a:rPr>
              <a:t>Released and input cost in SAP</a:t>
            </a:r>
          </a:p>
        </p:txBody>
      </p:sp>
      <p:sp>
        <p:nvSpPr>
          <p:cNvPr id="20" name="Text Box 11">
            <a:extLst>
              <a:ext uri="{FF2B5EF4-FFF2-40B4-BE49-F238E27FC236}">
                <a16:creationId xmlns:a16="http://schemas.microsoft.com/office/drawing/2014/main" id="{D580D44A-823E-476D-8183-36AB135B8253}"/>
              </a:ext>
            </a:extLst>
          </p:cNvPr>
          <p:cNvSpPr txBox="1">
            <a:spLocks noChangeArrowheads="1"/>
          </p:cNvSpPr>
          <p:nvPr/>
        </p:nvSpPr>
        <p:spPr bwMode="gray">
          <a:xfrm>
            <a:off x="6232860" y="2014062"/>
            <a:ext cx="1341777"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5</a:t>
            </a:r>
          </a:p>
        </p:txBody>
      </p:sp>
      <p:sp>
        <p:nvSpPr>
          <p:cNvPr id="21" name="Text Box 24">
            <a:extLst>
              <a:ext uri="{FF2B5EF4-FFF2-40B4-BE49-F238E27FC236}">
                <a16:creationId xmlns:a16="http://schemas.microsoft.com/office/drawing/2014/main" id="{97A0FE0F-77A4-4B69-ABDE-A9988C3C23AA}"/>
              </a:ext>
            </a:extLst>
          </p:cNvPr>
          <p:cNvSpPr txBox="1">
            <a:spLocks noChangeArrowheads="1"/>
          </p:cNvSpPr>
          <p:nvPr/>
        </p:nvSpPr>
        <p:spPr bwMode="auto">
          <a:xfrm>
            <a:off x="6072154" y="4024161"/>
            <a:ext cx="2174050" cy="480337"/>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Track and manage until release by PJM</a:t>
            </a:r>
          </a:p>
        </p:txBody>
      </p:sp>
      <p:sp>
        <p:nvSpPr>
          <p:cNvPr id="22" name="Text Box 14">
            <a:extLst>
              <a:ext uri="{FF2B5EF4-FFF2-40B4-BE49-F238E27FC236}">
                <a16:creationId xmlns:a16="http://schemas.microsoft.com/office/drawing/2014/main" id="{957A023C-F13B-4843-A681-19BADC0F0BE1}"/>
              </a:ext>
            </a:extLst>
          </p:cNvPr>
          <p:cNvSpPr txBox="1">
            <a:spLocks noChangeArrowheads="1"/>
          </p:cNvSpPr>
          <p:nvPr/>
        </p:nvSpPr>
        <p:spPr bwMode="gray">
          <a:xfrm>
            <a:off x="6072153" y="3793742"/>
            <a:ext cx="1151165" cy="176095"/>
          </a:xfrm>
          <a:prstGeom prst="rect">
            <a:avLst/>
          </a:prstGeom>
          <a:noFill/>
          <a:ln w="12700" algn="ctr">
            <a:noFill/>
            <a:miter lim="800000"/>
            <a:headEnd/>
            <a:tailEnd/>
          </a:ln>
          <a:effectLst/>
        </p:spPr>
        <p:txBody>
          <a:bodyPr wrap="non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4</a:t>
            </a:r>
          </a:p>
        </p:txBody>
      </p:sp>
      <p:sp>
        <p:nvSpPr>
          <p:cNvPr id="23" name="Text Box 24">
            <a:extLst>
              <a:ext uri="{FF2B5EF4-FFF2-40B4-BE49-F238E27FC236}">
                <a16:creationId xmlns:a16="http://schemas.microsoft.com/office/drawing/2014/main" id="{FF7A872D-426A-4D46-A4A4-DABD2E0C69F0}"/>
              </a:ext>
            </a:extLst>
          </p:cNvPr>
          <p:cNvSpPr txBox="1">
            <a:spLocks noChangeArrowheads="1"/>
          </p:cNvSpPr>
          <p:nvPr/>
        </p:nvSpPr>
        <p:spPr bwMode="auto">
          <a:xfrm>
            <a:off x="8284653" y="3720359"/>
            <a:ext cx="2213886" cy="501152"/>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Update cost 1 time / year</a:t>
            </a:r>
          </a:p>
        </p:txBody>
      </p:sp>
      <p:sp>
        <p:nvSpPr>
          <p:cNvPr id="24" name="Text Box 10">
            <a:extLst>
              <a:ext uri="{FF2B5EF4-FFF2-40B4-BE49-F238E27FC236}">
                <a16:creationId xmlns:a16="http://schemas.microsoft.com/office/drawing/2014/main" id="{9CFBC63D-CE03-4161-9C29-FAB75D09F3AC}"/>
              </a:ext>
            </a:extLst>
          </p:cNvPr>
          <p:cNvSpPr txBox="1">
            <a:spLocks noChangeArrowheads="1"/>
          </p:cNvSpPr>
          <p:nvPr/>
        </p:nvSpPr>
        <p:spPr bwMode="gray">
          <a:xfrm>
            <a:off x="8284653" y="3499115"/>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6</a:t>
            </a:r>
          </a:p>
        </p:txBody>
      </p:sp>
      <p:sp>
        <p:nvSpPr>
          <p:cNvPr id="25" name="Oval 24">
            <a:extLst>
              <a:ext uri="{FF2B5EF4-FFF2-40B4-BE49-F238E27FC236}">
                <a16:creationId xmlns:a16="http://schemas.microsoft.com/office/drawing/2014/main" id="{562825D5-3D20-41DE-A3D7-832BE944793B}"/>
              </a:ext>
            </a:extLst>
          </p:cNvPr>
          <p:cNvSpPr>
            <a:spLocks noChangeArrowheads="1"/>
          </p:cNvSpPr>
          <p:nvPr/>
        </p:nvSpPr>
        <p:spPr bwMode="gray">
          <a:xfrm>
            <a:off x="3211331" y="4176276"/>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2</a:t>
            </a:r>
          </a:p>
        </p:txBody>
      </p:sp>
      <p:sp>
        <p:nvSpPr>
          <p:cNvPr id="26" name="Oval 25">
            <a:extLst>
              <a:ext uri="{FF2B5EF4-FFF2-40B4-BE49-F238E27FC236}">
                <a16:creationId xmlns:a16="http://schemas.microsoft.com/office/drawing/2014/main" id="{2955288C-C806-4891-9240-DFB031C3690C}"/>
              </a:ext>
            </a:extLst>
          </p:cNvPr>
          <p:cNvSpPr>
            <a:spLocks noChangeArrowheads="1"/>
          </p:cNvSpPr>
          <p:nvPr/>
        </p:nvSpPr>
        <p:spPr bwMode="gray">
          <a:xfrm>
            <a:off x="3916575" y="2300638"/>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3</a:t>
            </a:r>
          </a:p>
        </p:txBody>
      </p:sp>
      <p:sp>
        <p:nvSpPr>
          <p:cNvPr id="27" name="Oval 26">
            <a:extLst>
              <a:ext uri="{FF2B5EF4-FFF2-40B4-BE49-F238E27FC236}">
                <a16:creationId xmlns:a16="http://schemas.microsoft.com/office/drawing/2014/main" id="{6EABAB19-C5C1-49C9-8BC5-5F7CA5E9D95E}"/>
              </a:ext>
            </a:extLst>
          </p:cNvPr>
          <p:cNvSpPr>
            <a:spLocks noChangeArrowheads="1"/>
          </p:cNvSpPr>
          <p:nvPr/>
        </p:nvSpPr>
        <p:spPr bwMode="gray">
          <a:xfrm>
            <a:off x="7316378" y="3736294"/>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4</a:t>
            </a:r>
          </a:p>
        </p:txBody>
      </p:sp>
      <p:sp>
        <p:nvSpPr>
          <p:cNvPr id="28" name="Oval 27">
            <a:extLst>
              <a:ext uri="{FF2B5EF4-FFF2-40B4-BE49-F238E27FC236}">
                <a16:creationId xmlns:a16="http://schemas.microsoft.com/office/drawing/2014/main" id="{2E12D42A-ECC4-48E8-9A65-F5076BFE4749}"/>
              </a:ext>
            </a:extLst>
          </p:cNvPr>
          <p:cNvSpPr>
            <a:spLocks noChangeArrowheads="1"/>
          </p:cNvSpPr>
          <p:nvPr/>
        </p:nvSpPr>
        <p:spPr bwMode="gray">
          <a:xfrm>
            <a:off x="8280541" y="1965128"/>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5</a:t>
            </a:r>
          </a:p>
        </p:txBody>
      </p:sp>
      <p:sp>
        <p:nvSpPr>
          <p:cNvPr id="29" name="Line 28">
            <a:extLst>
              <a:ext uri="{FF2B5EF4-FFF2-40B4-BE49-F238E27FC236}">
                <a16:creationId xmlns:a16="http://schemas.microsoft.com/office/drawing/2014/main" id="{E47B6F27-9413-4D13-9C97-7C4233E36561}"/>
              </a:ext>
            </a:extLst>
          </p:cNvPr>
          <p:cNvSpPr>
            <a:spLocks noChangeShapeType="1"/>
          </p:cNvSpPr>
          <p:nvPr/>
        </p:nvSpPr>
        <p:spPr bwMode="auto">
          <a:xfrm flipH="1">
            <a:off x="8438503" y="2360554"/>
            <a:ext cx="0" cy="708058"/>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0" name="Oval 29">
            <a:extLst>
              <a:ext uri="{FF2B5EF4-FFF2-40B4-BE49-F238E27FC236}">
                <a16:creationId xmlns:a16="http://schemas.microsoft.com/office/drawing/2014/main" id="{1F289621-C8DD-44CC-94E4-CCBBE5737121}"/>
              </a:ext>
            </a:extLst>
          </p:cNvPr>
          <p:cNvSpPr>
            <a:spLocks noChangeArrowheads="1"/>
          </p:cNvSpPr>
          <p:nvPr/>
        </p:nvSpPr>
        <p:spPr bwMode="gray">
          <a:xfrm>
            <a:off x="9721613" y="3438451"/>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6</a:t>
            </a:r>
          </a:p>
        </p:txBody>
      </p:sp>
      <p:sp>
        <p:nvSpPr>
          <p:cNvPr id="33" name="Line 28">
            <a:extLst>
              <a:ext uri="{FF2B5EF4-FFF2-40B4-BE49-F238E27FC236}">
                <a16:creationId xmlns:a16="http://schemas.microsoft.com/office/drawing/2014/main" id="{312CD55C-5FB0-4E6D-A463-1F16AF8532D2}"/>
              </a:ext>
            </a:extLst>
          </p:cNvPr>
          <p:cNvSpPr>
            <a:spLocks noChangeShapeType="1"/>
          </p:cNvSpPr>
          <p:nvPr/>
        </p:nvSpPr>
        <p:spPr bwMode="auto">
          <a:xfrm flipH="1">
            <a:off x="4074538" y="2673990"/>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4" name="Line 28">
            <a:extLst>
              <a:ext uri="{FF2B5EF4-FFF2-40B4-BE49-F238E27FC236}">
                <a16:creationId xmlns:a16="http://schemas.microsoft.com/office/drawing/2014/main" id="{3751E61F-80AC-4F1D-A479-3A6E82BAF3B1}"/>
              </a:ext>
            </a:extLst>
          </p:cNvPr>
          <p:cNvSpPr>
            <a:spLocks noChangeShapeType="1"/>
          </p:cNvSpPr>
          <p:nvPr/>
        </p:nvSpPr>
        <p:spPr bwMode="auto">
          <a:xfrm flipH="1">
            <a:off x="1844162" y="2952413"/>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5" name="Line 28">
            <a:extLst>
              <a:ext uri="{FF2B5EF4-FFF2-40B4-BE49-F238E27FC236}">
                <a16:creationId xmlns:a16="http://schemas.microsoft.com/office/drawing/2014/main" id="{68083D47-6964-4128-A1EE-ED0743EC6C88}"/>
              </a:ext>
            </a:extLst>
          </p:cNvPr>
          <p:cNvSpPr>
            <a:spLocks noChangeShapeType="1"/>
          </p:cNvSpPr>
          <p:nvPr/>
        </p:nvSpPr>
        <p:spPr bwMode="auto">
          <a:xfrm flipV="1">
            <a:off x="6890552" y="3380733"/>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6" name="Line 28">
            <a:extLst>
              <a:ext uri="{FF2B5EF4-FFF2-40B4-BE49-F238E27FC236}">
                <a16:creationId xmlns:a16="http://schemas.microsoft.com/office/drawing/2014/main" id="{46D2E657-231D-4CAB-8C61-68DEC1453E60}"/>
              </a:ext>
            </a:extLst>
          </p:cNvPr>
          <p:cNvSpPr>
            <a:spLocks noChangeShapeType="1"/>
          </p:cNvSpPr>
          <p:nvPr/>
        </p:nvSpPr>
        <p:spPr bwMode="auto">
          <a:xfrm flipV="1">
            <a:off x="9877736" y="3039741"/>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Tree>
    <p:extLst>
      <p:ext uri="{BB962C8B-B14F-4D97-AF65-F5344CB8AC3E}">
        <p14:creationId xmlns:p14="http://schemas.microsoft.com/office/powerpoint/2010/main" val="392997854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en-US" dirty="0"/>
              <a:t>Current-State Capability </a:t>
            </a:r>
            <a:r>
              <a:rPr lang="en-US" altLang="ja-JP" dirty="0"/>
              <a:t>Product</a:t>
            </a:r>
            <a:r>
              <a:rPr lang="ja-JP" altLang="en-US" dirty="0"/>
              <a:t> </a:t>
            </a:r>
            <a:r>
              <a:rPr lang="en-US" altLang="ja-JP" dirty="0"/>
              <a:t>Cost</a:t>
            </a:r>
            <a:r>
              <a:rPr lang="ja-JP" altLang="en-US" dirty="0"/>
              <a:t> </a:t>
            </a:r>
            <a:r>
              <a:rPr lang="en-US" altLang="ja-JP" dirty="0"/>
              <a:t>Management</a:t>
            </a:r>
            <a:endParaRPr lang="en-US" dirty="0"/>
          </a:p>
        </p:txBody>
      </p:sp>
      <p:grpSp>
        <p:nvGrpSpPr>
          <p:cNvPr id="2" name="Group 1">
            <a:extLst>
              <a:ext uri="{FF2B5EF4-FFF2-40B4-BE49-F238E27FC236}">
                <a16:creationId xmlns:a16="http://schemas.microsoft.com/office/drawing/2014/main" id="{E7A21B8F-4ED2-46A4-8680-2EDCE3257591}"/>
              </a:ext>
            </a:extLst>
          </p:cNvPr>
          <p:cNvGrpSpPr/>
          <p:nvPr/>
        </p:nvGrpSpPr>
        <p:grpSpPr>
          <a:xfrm>
            <a:off x="469900" y="867610"/>
            <a:ext cx="10985196" cy="5435535"/>
            <a:chOff x="649252" y="4562516"/>
            <a:chExt cx="10985196" cy="2745216"/>
          </a:xfrm>
        </p:grpSpPr>
        <p:sp>
          <p:nvSpPr>
            <p:cNvPr id="5" name="Content Placeholder 2">
              <a:extLst>
                <a:ext uri="{FF2B5EF4-FFF2-40B4-BE49-F238E27FC236}">
                  <a16:creationId xmlns:a16="http://schemas.microsoft.com/office/drawing/2014/main" id="{D105B340-91FE-4713-91F6-44138599D7D9}"/>
                </a:ext>
              </a:extLst>
            </p:cNvPr>
            <p:cNvSpPr txBox="1">
              <a:spLocks/>
            </p:cNvSpPr>
            <p:nvPr/>
          </p:nvSpPr>
          <p:spPr>
            <a:xfrm>
              <a:off x="649252" y="4562516"/>
              <a:ext cx="2708081" cy="2745216"/>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Pain Points </a:t>
              </a:r>
            </a:p>
            <a:p>
              <a:pPr marL="344487" lvl="1" indent="-342900">
                <a:buFont typeface="Arial" panose="020B0604020202020204" pitchFamily="34" charset="0"/>
                <a:buAutoNum type="arabicPeriod"/>
              </a:pPr>
              <a:r>
                <a:rPr lang="en-US" altLang="ja-JP" sz="1400" dirty="0">
                  <a:latin typeface="+mj-lt"/>
                </a:rPr>
                <a:t>No</a:t>
              </a:r>
              <a:r>
                <a:rPr lang="ja-JP" altLang="en-US" sz="1400" dirty="0">
                  <a:latin typeface="+mj-lt"/>
                </a:rPr>
                <a:t> </a:t>
              </a:r>
              <a:r>
                <a:rPr lang="en-US" altLang="ja-JP" sz="1400" dirty="0">
                  <a:latin typeface="+mj-lt"/>
                </a:rPr>
                <a:t>automated</a:t>
              </a:r>
              <a:r>
                <a:rPr lang="ja-JP" altLang="en-US" sz="1400" dirty="0">
                  <a:latin typeface="+mj-lt"/>
                </a:rPr>
                <a:t> </a:t>
              </a:r>
              <a:r>
                <a:rPr lang="en-US" altLang="ja-JP" sz="1400" dirty="0">
                  <a:latin typeface="+mj-lt"/>
                </a:rPr>
                <a:t>systems</a:t>
              </a:r>
              <a:r>
                <a:rPr lang="ja-JP" altLang="en-US" sz="1400" dirty="0">
                  <a:latin typeface="+mj-lt"/>
                </a:rPr>
                <a:t> </a:t>
              </a:r>
              <a:r>
                <a:rPr lang="en-US" altLang="ja-JP" sz="1400" dirty="0">
                  <a:latin typeface="+mj-lt"/>
                </a:rPr>
                <a:t>to</a:t>
              </a:r>
              <a:r>
                <a:rPr lang="ja-JP" altLang="en-US" sz="1400" dirty="0">
                  <a:latin typeface="+mj-lt"/>
                </a:rPr>
                <a:t> </a:t>
              </a:r>
              <a:r>
                <a:rPr lang="en-US" altLang="ja-JP" sz="1400" dirty="0">
                  <a:latin typeface="+mj-lt"/>
                </a:rPr>
                <a:t>take</a:t>
              </a:r>
              <a:r>
                <a:rPr lang="ja-JP" altLang="en-US" sz="1400" dirty="0">
                  <a:latin typeface="+mj-lt"/>
                </a:rPr>
                <a:t> </a:t>
              </a:r>
              <a:r>
                <a:rPr lang="en-US" altLang="ja-JP" sz="1400" dirty="0">
                  <a:latin typeface="+mj-lt"/>
                </a:rPr>
                <a:t>estimation</a:t>
              </a:r>
              <a:r>
                <a:rPr lang="ja-JP" altLang="en-US" sz="1400" dirty="0">
                  <a:latin typeface="+mj-lt"/>
                </a:rPr>
                <a:t> </a:t>
              </a:r>
              <a:r>
                <a:rPr lang="en-US" altLang="ja-JP" sz="1400" dirty="0">
                  <a:latin typeface="+mj-lt"/>
                </a:rPr>
                <a:t>for</a:t>
              </a:r>
              <a:r>
                <a:rPr lang="ja-JP" altLang="en-US" sz="1400" dirty="0">
                  <a:latin typeface="+mj-lt"/>
                </a:rPr>
                <a:t> </a:t>
              </a:r>
              <a:r>
                <a:rPr lang="en-US" altLang="ja-JP" sz="1400" dirty="0">
                  <a:latin typeface="+mj-lt"/>
                </a:rPr>
                <a:t>global.</a:t>
              </a:r>
              <a:endParaRPr lang="en-US" sz="1400" dirty="0">
                <a:latin typeface="+mj-lt"/>
              </a:endParaRPr>
            </a:p>
            <a:p>
              <a:pPr marL="344487" lvl="1" indent="-342900">
                <a:buFont typeface="Arial" panose="020B0604020202020204" pitchFamily="34" charset="0"/>
                <a:buAutoNum type="arabicPeriod"/>
              </a:pPr>
              <a:r>
                <a:rPr lang="en-US" altLang="ja-JP" sz="1400" dirty="0">
                  <a:latin typeface="+mj-lt"/>
                </a:rPr>
                <a:t>Cost gap</a:t>
              </a:r>
              <a:r>
                <a:rPr lang="ja-JP" altLang="en-US" sz="1400" dirty="0">
                  <a:latin typeface="+mj-lt"/>
                </a:rPr>
                <a:t> </a:t>
              </a:r>
              <a:r>
                <a:rPr lang="en-US" altLang="ja-JP" sz="1400" dirty="0">
                  <a:latin typeface="+mj-lt"/>
                </a:rPr>
                <a:t>between vendor and internal</a:t>
              </a:r>
            </a:p>
            <a:p>
              <a:pPr marL="344487" lvl="1" indent="-342900">
                <a:buFont typeface="Arial" panose="020B0604020202020204" pitchFamily="34" charset="0"/>
                <a:buAutoNum type="arabicPeriod"/>
              </a:pPr>
              <a:r>
                <a:rPr lang="en-US" sz="1400" dirty="0">
                  <a:latin typeface="+mj-lt"/>
                </a:rPr>
                <a:t>Cost gap among plants</a:t>
              </a:r>
            </a:p>
            <a:p>
              <a:pPr marL="344487" lvl="1" indent="-342900">
                <a:buFont typeface="Arial" panose="020B0604020202020204" pitchFamily="34" charset="0"/>
                <a:buAutoNum type="arabicPeriod"/>
              </a:pPr>
              <a:r>
                <a:rPr lang="en-US" sz="1400" dirty="0">
                  <a:latin typeface="+mj-lt"/>
                </a:rPr>
                <a:t>Vendor info (Which vendor is recommended)</a:t>
              </a:r>
            </a:p>
            <a:p>
              <a:pPr marL="344487" lvl="1" indent="-342900">
                <a:buFont typeface="Arial" panose="020B0604020202020204" pitchFamily="34" charset="0"/>
                <a:buAutoNum type="arabicPeriod"/>
              </a:pPr>
              <a:r>
                <a:rPr lang="en-US" sz="1400" dirty="0">
                  <a:latin typeface="+mj-lt"/>
                </a:rPr>
                <a:t>Plant &amp; Production strategy</a:t>
              </a:r>
            </a:p>
            <a:p>
              <a:pPr marL="344487" lvl="1" indent="-342900">
                <a:buFont typeface="Arial" panose="020B0604020202020204" pitchFamily="34" charset="0"/>
                <a:buAutoNum type="arabicPeriod"/>
              </a:pPr>
              <a:r>
                <a:rPr lang="en-US" sz="1400" dirty="0">
                  <a:latin typeface="+mj-lt"/>
                </a:rPr>
                <a:t>Gap analysis between planning cost and released cost</a:t>
              </a:r>
            </a:p>
            <a:p>
              <a:pPr marL="344487" lvl="1" indent="-342900">
                <a:buFont typeface="Arial" panose="020B0604020202020204" pitchFamily="34" charset="0"/>
                <a:buAutoNum type="arabicPeriod"/>
              </a:pPr>
              <a:r>
                <a:rPr lang="en-US" sz="1400" dirty="0">
                  <a:latin typeface="+mj-lt"/>
                </a:rPr>
                <a:t>Cost update is only one time / year</a:t>
              </a:r>
            </a:p>
            <a:p>
              <a:pPr marL="344487" lvl="1" indent="-342900">
                <a:buFont typeface="Arial" panose="020B0604020202020204" pitchFamily="34" charset="0"/>
                <a:buAutoNum type="arabicPeriod"/>
              </a:pPr>
              <a:r>
                <a:rPr lang="en-US" sz="1400" dirty="0">
                  <a:latin typeface="+mj-lt"/>
                </a:rPr>
                <a:t>Time consuming</a:t>
              </a:r>
            </a:p>
            <a:p>
              <a:pPr marL="344487" lvl="1" indent="-342900">
                <a:buFont typeface="Arial" panose="020B0604020202020204" pitchFamily="34" charset="0"/>
                <a:buAutoNum type="arabicPeriod"/>
              </a:pPr>
              <a:endParaRPr lang="en-US" sz="1400" dirty="0">
                <a:latin typeface="+mj-lt"/>
              </a:endParaRPr>
            </a:p>
            <a:p>
              <a:pPr marL="344487" lvl="1" indent="-342900">
                <a:buFont typeface="Arial" panose="020B0604020202020204" pitchFamily="34" charset="0"/>
                <a:buAutoNum type="arabicPeriod"/>
              </a:pPr>
              <a:endParaRPr lang="en-US" sz="1400" dirty="0">
                <a:latin typeface="+mj-lt"/>
              </a:endParaRPr>
            </a:p>
            <a:p>
              <a:pPr marL="344487" lvl="1" indent="-342900">
                <a:buFont typeface="Arial" panose="020B0604020202020204" pitchFamily="34" charset="0"/>
                <a:buAutoNum type="arabicPeriod"/>
              </a:pPr>
              <a:endParaRPr lang="en-US" sz="1400" dirty="0">
                <a:latin typeface="+mj-lt"/>
              </a:endParaRPr>
            </a:p>
            <a:p>
              <a:pPr lvl="1"/>
              <a:endParaRPr lang="en-US" dirty="0">
                <a:latin typeface="+mj-lt"/>
              </a:endParaRPr>
            </a:p>
            <a:p>
              <a:pPr lvl="1"/>
              <a:endParaRPr lang="en-US" dirty="0">
                <a:latin typeface="+mj-lt"/>
              </a:endParaRPr>
            </a:p>
            <a:p>
              <a:pPr lvl="1"/>
              <a:endParaRPr lang="en-US" dirty="0">
                <a:latin typeface="+mj-lt"/>
              </a:endParaRPr>
            </a:p>
          </p:txBody>
        </p:sp>
        <p:sp>
          <p:nvSpPr>
            <p:cNvPr id="38" name="Content Placeholder 2">
              <a:extLst>
                <a:ext uri="{FF2B5EF4-FFF2-40B4-BE49-F238E27FC236}">
                  <a16:creationId xmlns:a16="http://schemas.microsoft.com/office/drawing/2014/main" id="{1CC05C0C-D496-46EE-A944-9B2BB98AFC14}"/>
                </a:ext>
              </a:extLst>
            </p:cNvPr>
            <p:cNvSpPr txBox="1">
              <a:spLocks/>
            </p:cNvSpPr>
            <p:nvPr/>
          </p:nvSpPr>
          <p:spPr>
            <a:xfrm>
              <a:off x="3599073" y="4562516"/>
              <a:ext cx="4387584" cy="2745215"/>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Improvement Opportunities  </a:t>
              </a:r>
            </a:p>
            <a:p>
              <a:pPr marL="344487" lvl="1" indent="-342900">
                <a:buFont typeface="Arial" panose="020B0604020202020204" pitchFamily="34" charset="0"/>
                <a:buAutoNum type="arabicPeriod"/>
              </a:pPr>
              <a:r>
                <a:rPr lang="en-US" sz="1400" dirty="0">
                  <a:latin typeface="+mj-lt"/>
                </a:rPr>
                <a:t>Automate E-work flow</a:t>
              </a:r>
            </a:p>
            <a:p>
              <a:pPr marL="1587" lvl="1" indent="0">
                <a:buNone/>
              </a:pPr>
              <a:r>
                <a:rPr lang="en-US" sz="1400" dirty="0">
                  <a:latin typeface="+mj-lt"/>
                </a:rPr>
                <a:t>2.~5.</a:t>
              </a:r>
            </a:p>
            <a:p>
              <a:pPr marL="1587" lvl="1" indent="0">
                <a:buNone/>
              </a:pPr>
              <a:r>
                <a:rPr lang="en-US" sz="1400" dirty="0">
                  <a:latin typeface="+mj-lt"/>
                </a:rPr>
                <a:t>      Automate optimizing the choice of </a:t>
              </a:r>
            </a:p>
            <a:p>
              <a:pPr marL="1587" lvl="1" indent="0">
                <a:buNone/>
              </a:pPr>
              <a:r>
                <a:rPr lang="en-US" sz="1400" dirty="0">
                  <a:latin typeface="+mj-lt"/>
                </a:rPr>
                <a:t>      production place</a:t>
              </a:r>
            </a:p>
            <a:p>
              <a:pPr marL="1587" lvl="1" indent="0">
                <a:buNone/>
              </a:pPr>
              <a:endParaRPr lang="en-US" sz="1400" dirty="0">
                <a:latin typeface="+mj-lt"/>
              </a:endParaRPr>
            </a:p>
            <a:p>
              <a:pPr marL="1587" lvl="1" indent="0">
                <a:buNone/>
              </a:pPr>
              <a:endParaRPr lang="en-US" sz="1400" dirty="0">
                <a:latin typeface="+mj-lt"/>
              </a:endParaRPr>
            </a:p>
            <a:p>
              <a:pPr marL="1587" lvl="1" indent="0">
                <a:buNone/>
              </a:pPr>
              <a:endParaRPr lang="en-US" sz="1400" dirty="0">
                <a:latin typeface="+mj-lt"/>
              </a:endParaRPr>
            </a:p>
            <a:p>
              <a:pPr marL="1587" lvl="1" indent="0">
                <a:buNone/>
              </a:pPr>
              <a:endParaRPr lang="en-US" sz="1400" dirty="0">
                <a:latin typeface="+mj-lt"/>
              </a:endParaRPr>
            </a:p>
            <a:p>
              <a:pPr marL="344487" lvl="1" indent="-342900">
                <a:buAutoNum type="arabicPeriod" startAt="6"/>
              </a:pPr>
              <a:r>
                <a:rPr lang="en-US" sz="1400" dirty="0">
                  <a:latin typeface="+mj-lt"/>
                </a:rPr>
                <a:t>Make clear the hysterical data from planning to released</a:t>
              </a:r>
            </a:p>
            <a:p>
              <a:pPr marL="344487" lvl="1" indent="-342900">
                <a:buAutoNum type="arabicPeriod" startAt="6"/>
              </a:pPr>
              <a:r>
                <a:rPr lang="en-US" sz="1400" dirty="0">
                  <a:latin typeface="+mj-lt"/>
                </a:rPr>
                <a:t>Update the latest cost timely in SAP</a:t>
              </a:r>
            </a:p>
            <a:p>
              <a:pPr marL="344487" lvl="1" indent="-342900">
                <a:buAutoNum type="arabicPeriod" startAt="6"/>
              </a:pPr>
              <a:r>
                <a:rPr lang="en-US" sz="1400" dirty="0">
                  <a:latin typeface="+mj-lt"/>
                </a:rPr>
                <a:t>Reduce the time of correcting estimation and judgement to choice the production place (included transfer)  </a:t>
              </a:r>
            </a:p>
            <a:p>
              <a:pPr lvl="1"/>
              <a:endParaRPr lang="en-US" dirty="0">
                <a:latin typeface="+mj-lt"/>
              </a:endParaRPr>
            </a:p>
            <a:p>
              <a:pPr lvl="1"/>
              <a:endParaRPr lang="en-US" dirty="0">
                <a:latin typeface="+mj-lt"/>
              </a:endParaRPr>
            </a:p>
            <a:p>
              <a:pPr lvl="1"/>
              <a:endParaRPr lang="en-US" dirty="0">
                <a:latin typeface="+mj-lt"/>
              </a:endParaRPr>
            </a:p>
          </p:txBody>
        </p:sp>
        <p:sp>
          <p:nvSpPr>
            <p:cNvPr id="37" name="Content Placeholder 2">
              <a:extLst>
                <a:ext uri="{FF2B5EF4-FFF2-40B4-BE49-F238E27FC236}">
                  <a16:creationId xmlns:a16="http://schemas.microsoft.com/office/drawing/2014/main" id="{1368719C-95CF-444F-8171-A5A2E1569750}"/>
                </a:ext>
              </a:extLst>
            </p:cNvPr>
            <p:cNvSpPr txBox="1">
              <a:spLocks/>
            </p:cNvSpPr>
            <p:nvPr/>
          </p:nvSpPr>
          <p:spPr>
            <a:xfrm>
              <a:off x="8290541" y="4562516"/>
              <a:ext cx="3343907" cy="2745214"/>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Technology / Data Utilized   </a:t>
              </a:r>
            </a:p>
            <a:p>
              <a:pPr marL="344487" lvl="1" indent="-342900">
                <a:buFont typeface="Arial" panose="020B0604020202020204" pitchFamily="34" charset="0"/>
                <a:buAutoNum type="arabicPeriod"/>
              </a:pPr>
              <a:r>
                <a:rPr lang="en-US" sz="1400" dirty="0">
                  <a:latin typeface="+mj-lt"/>
                </a:rPr>
                <a:t>E-workflow</a:t>
              </a:r>
            </a:p>
            <a:p>
              <a:pPr marL="1587" lvl="1" indent="0">
                <a:buNone/>
              </a:pPr>
              <a:r>
                <a:rPr lang="en-US" sz="1400" dirty="0">
                  <a:latin typeface="+mj-lt"/>
                </a:rPr>
                <a:t>2.~5.</a:t>
              </a:r>
            </a:p>
            <a:p>
              <a:pPr marL="1587" lvl="1" indent="0">
                <a:buNone/>
              </a:pPr>
              <a:r>
                <a:rPr lang="en-US" sz="1400" dirty="0">
                  <a:latin typeface="+mj-lt"/>
                </a:rPr>
                <a:t>     Any judgement tool</a:t>
              </a:r>
            </a:p>
            <a:p>
              <a:pPr marL="1587" lvl="1" indent="0">
                <a:buNone/>
              </a:pPr>
              <a:endParaRPr lang="en-US" sz="1400" dirty="0">
                <a:latin typeface="+mj-lt"/>
              </a:endParaRPr>
            </a:p>
            <a:p>
              <a:pPr marL="1587" lvl="1" indent="0">
                <a:buNone/>
              </a:pPr>
              <a:endParaRPr lang="en-US" sz="1400" dirty="0">
                <a:latin typeface="+mj-lt"/>
              </a:endParaRPr>
            </a:p>
            <a:p>
              <a:pPr marL="1587" lvl="1" indent="0">
                <a:buNone/>
              </a:pPr>
              <a:endParaRPr lang="en-US" sz="1400" dirty="0">
                <a:latin typeface="+mj-lt"/>
              </a:endParaRPr>
            </a:p>
            <a:p>
              <a:pPr marL="1587" lvl="1" indent="0">
                <a:buNone/>
              </a:pPr>
              <a:endParaRPr lang="en-US" sz="1400" dirty="0">
                <a:latin typeface="+mj-lt"/>
              </a:endParaRPr>
            </a:p>
            <a:p>
              <a:pPr marL="1587" lvl="1" indent="0">
                <a:buNone/>
              </a:pPr>
              <a:endParaRPr lang="en-US" sz="1400" dirty="0">
                <a:latin typeface="+mj-lt"/>
              </a:endParaRPr>
            </a:p>
            <a:p>
              <a:pPr marL="344487" lvl="1" indent="-342900">
                <a:buAutoNum type="arabicPeriod" startAt="6"/>
              </a:pPr>
              <a:r>
                <a:rPr lang="en-US" sz="1400" dirty="0">
                  <a:latin typeface="+mj-lt"/>
                </a:rPr>
                <a:t>Common data folder or file</a:t>
              </a:r>
            </a:p>
            <a:p>
              <a:pPr marL="344487" lvl="1" indent="-342900">
                <a:buAutoNum type="arabicPeriod" startAt="6"/>
              </a:pPr>
              <a:r>
                <a:rPr lang="en-US" sz="1400" dirty="0">
                  <a:latin typeface="+mj-lt"/>
                </a:rPr>
                <a:t>SAP</a:t>
              </a:r>
            </a:p>
            <a:p>
              <a:pPr marL="344487" lvl="1" indent="-342900">
                <a:buAutoNum type="arabicPeriod" startAt="6"/>
              </a:pPr>
              <a:r>
                <a:rPr lang="en-US" sz="1400" dirty="0">
                  <a:latin typeface="+mj-lt"/>
                </a:rPr>
                <a:t>SAP and E-workflow</a:t>
              </a:r>
            </a:p>
            <a:p>
              <a:pPr marL="1587" lvl="1" indent="0">
                <a:buNone/>
              </a:pPr>
              <a:endParaRPr lang="en-US" sz="1400" dirty="0">
                <a:latin typeface="+mj-lt"/>
              </a:endParaRPr>
            </a:p>
            <a:p>
              <a:pPr marL="1587" lvl="1" indent="0">
                <a:buNone/>
              </a:pPr>
              <a:endParaRPr lang="en-US" sz="1400" dirty="0">
                <a:latin typeface="+mj-lt"/>
              </a:endParaRPr>
            </a:p>
            <a:p>
              <a:pPr lvl="1"/>
              <a:endParaRPr lang="en-US" dirty="0">
                <a:latin typeface="+mj-lt"/>
              </a:endParaRPr>
            </a:p>
            <a:p>
              <a:pPr lvl="1"/>
              <a:endParaRPr lang="en-US" dirty="0">
                <a:latin typeface="+mj-lt"/>
              </a:endParaRPr>
            </a:p>
            <a:p>
              <a:pPr lvl="1"/>
              <a:endParaRPr lang="en-US" dirty="0">
                <a:latin typeface="+mj-lt"/>
              </a:endParaRPr>
            </a:p>
          </p:txBody>
        </p:sp>
      </p:grpSp>
    </p:spTree>
    <p:extLst>
      <p:ext uri="{BB962C8B-B14F-4D97-AF65-F5344CB8AC3E}">
        <p14:creationId xmlns:p14="http://schemas.microsoft.com/office/powerpoint/2010/main" val="371718058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1"/>
          <p:cNvSpPr txBox="1">
            <a:spLocks/>
          </p:cNvSpPr>
          <p:nvPr/>
        </p:nvSpPr>
        <p:spPr>
          <a:xfrm>
            <a:off x="466344" y="402336"/>
            <a:ext cx="8397735" cy="338328"/>
          </a:xfrm>
          <a:prstGeom prst="rect">
            <a:avLst/>
          </a:prstGeom>
        </p:spPr>
        <p:txBody>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r>
              <a:rPr lang="en-US" sz="2400" b="1" dirty="0">
                <a:solidFill>
                  <a:schemeClr val="tx1"/>
                </a:solidFill>
                <a:latin typeface="+mn-lt"/>
              </a:rPr>
              <a:t>Product Cost Management</a:t>
            </a:r>
          </a:p>
        </p:txBody>
      </p:sp>
      <p:sp>
        <p:nvSpPr>
          <p:cNvPr id="72" name="Text Box 11"/>
          <p:cNvSpPr txBox="1">
            <a:spLocks noChangeArrowheads="1"/>
          </p:cNvSpPr>
          <p:nvPr/>
        </p:nvSpPr>
        <p:spPr bwMode="auto">
          <a:xfrm rot="-5400000">
            <a:off x="70986" y="4872832"/>
            <a:ext cx="690563"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b"/>
          <a:lstStyle>
            <a:lvl1pPr defTabSz="901700" eaLnBrk="0" hangingPunct="0">
              <a:defRPr sz="2400">
                <a:solidFill>
                  <a:schemeClr val="tx1"/>
                </a:solidFill>
                <a:latin typeface="Tahoma" pitchFamily="34" charset="0"/>
                <a:cs typeface="Arial" pitchFamily="34" charset="0"/>
              </a:defRPr>
            </a:lvl1pPr>
            <a:lvl2pPr marL="742950" indent="-285750" defTabSz="901700" eaLnBrk="0" hangingPunct="0">
              <a:defRPr sz="2400">
                <a:solidFill>
                  <a:schemeClr val="tx1"/>
                </a:solidFill>
                <a:latin typeface="Tahoma" pitchFamily="34" charset="0"/>
                <a:cs typeface="Arial" pitchFamily="34" charset="0"/>
              </a:defRPr>
            </a:lvl2pPr>
            <a:lvl3pPr marL="1143000" indent="-228600" defTabSz="901700" eaLnBrk="0" hangingPunct="0">
              <a:defRPr sz="2400">
                <a:solidFill>
                  <a:schemeClr val="tx1"/>
                </a:solidFill>
                <a:latin typeface="Tahoma" pitchFamily="34" charset="0"/>
                <a:cs typeface="Arial" pitchFamily="34" charset="0"/>
              </a:defRPr>
            </a:lvl3pPr>
            <a:lvl4pPr marL="1600200" indent="-228600" defTabSz="901700" eaLnBrk="0" hangingPunct="0">
              <a:defRPr sz="2400">
                <a:solidFill>
                  <a:schemeClr val="tx1"/>
                </a:solidFill>
                <a:latin typeface="Tahoma" pitchFamily="34" charset="0"/>
                <a:cs typeface="Arial" pitchFamily="34" charset="0"/>
              </a:defRPr>
            </a:lvl4pPr>
            <a:lvl5pPr marL="2057400" indent="-228600" defTabSz="901700" eaLnBrk="0" hangingPunct="0">
              <a:defRPr sz="2400">
                <a:solidFill>
                  <a:schemeClr val="tx1"/>
                </a:solidFill>
                <a:latin typeface="Tahoma" pitchFamily="34" charset="0"/>
                <a:cs typeface="Arial" pitchFamily="34" charset="0"/>
              </a:defRPr>
            </a:lvl5pPr>
            <a:lvl6pPr marL="2514600" indent="-228600" defTabSz="9017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defTabSz="9017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defTabSz="9017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defTabSz="901700" eaLnBrk="0" fontAlgn="base" hangingPunct="0">
              <a:spcBef>
                <a:spcPct val="0"/>
              </a:spcBef>
              <a:spcAft>
                <a:spcPct val="0"/>
              </a:spcAft>
              <a:defRPr sz="2400">
                <a:solidFill>
                  <a:schemeClr val="tx1"/>
                </a:solidFill>
                <a:latin typeface="Tahoma" pitchFamily="34" charset="0"/>
                <a:cs typeface="Arial" pitchFamily="34" charset="0"/>
              </a:defRPr>
            </a:lvl9pPr>
          </a:lstStyle>
          <a:p>
            <a:pPr algn="ctr">
              <a:lnSpc>
                <a:spcPct val="90000"/>
              </a:lnSpc>
              <a:spcBef>
                <a:spcPct val="50000"/>
              </a:spcBef>
              <a:buClr>
                <a:srgbClr val="8099CC"/>
              </a:buClr>
              <a:buSzPct val="100000"/>
              <a:buFont typeface="Monotype Sorts" pitchFamily="2" charset="2"/>
              <a:buNone/>
            </a:pPr>
            <a:r>
              <a:rPr lang="en-US" sz="960" b="1" dirty="0">
                <a:solidFill>
                  <a:srgbClr val="000000"/>
                </a:solidFill>
                <a:latin typeface="+mn-lt"/>
              </a:rPr>
              <a:t>Low</a:t>
            </a:r>
          </a:p>
        </p:txBody>
      </p:sp>
      <p:sp>
        <p:nvSpPr>
          <p:cNvPr id="73" name="Text Box 12"/>
          <p:cNvSpPr txBox="1">
            <a:spLocks noChangeArrowheads="1"/>
          </p:cNvSpPr>
          <p:nvPr/>
        </p:nvSpPr>
        <p:spPr bwMode="auto">
          <a:xfrm rot="-5400000">
            <a:off x="67017" y="1685294"/>
            <a:ext cx="781050" cy="248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rIns="0" anchor="b">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algn="ctr">
              <a:lnSpc>
                <a:spcPct val="106000"/>
              </a:lnSpc>
              <a:spcBef>
                <a:spcPct val="50000"/>
              </a:spcBef>
              <a:buSzPct val="100000"/>
              <a:buFont typeface="Wingdings 2" pitchFamily="18" charset="2"/>
              <a:buNone/>
            </a:pPr>
            <a:r>
              <a:rPr lang="en-US" sz="960" b="1" dirty="0">
                <a:solidFill>
                  <a:srgbClr val="000000"/>
                </a:solidFill>
                <a:latin typeface="+mn-lt"/>
              </a:rPr>
              <a:t>Advanced</a:t>
            </a:r>
          </a:p>
        </p:txBody>
      </p:sp>
      <p:sp>
        <p:nvSpPr>
          <p:cNvPr id="74" name="Text Box 13"/>
          <p:cNvSpPr txBox="1">
            <a:spLocks noChangeArrowheads="1"/>
          </p:cNvSpPr>
          <p:nvPr/>
        </p:nvSpPr>
        <p:spPr bwMode="auto">
          <a:xfrm rot="-5400000">
            <a:off x="133692" y="3399794"/>
            <a:ext cx="654050" cy="248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rIns="0" anchor="b">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algn="ctr">
              <a:lnSpc>
                <a:spcPct val="106000"/>
              </a:lnSpc>
              <a:spcBef>
                <a:spcPct val="50000"/>
              </a:spcBef>
              <a:buSzPct val="100000"/>
              <a:buFont typeface="Wingdings 2" pitchFamily="18" charset="2"/>
              <a:buNone/>
            </a:pPr>
            <a:r>
              <a:rPr lang="en-US" sz="960" b="1" dirty="0">
                <a:solidFill>
                  <a:srgbClr val="000000"/>
                </a:solidFill>
                <a:latin typeface="+mn-lt"/>
              </a:rPr>
              <a:t>Basic</a:t>
            </a:r>
          </a:p>
        </p:txBody>
      </p:sp>
      <p:sp>
        <p:nvSpPr>
          <p:cNvPr id="77" name="Rectangle 8"/>
          <p:cNvSpPr>
            <a:spLocks noChangeArrowheads="1"/>
          </p:cNvSpPr>
          <p:nvPr/>
        </p:nvSpPr>
        <p:spPr bwMode="auto">
          <a:xfrm>
            <a:off x="3816019" y="5679392"/>
            <a:ext cx="1371600" cy="615083"/>
          </a:xfrm>
          <a:prstGeom prst="roundRect">
            <a:avLst/>
          </a:prstGeom>
          <a:solidFill>
            <a:srgbClr val="336600"/>
          </a:solidFill>
          <a:ln w="12700" algn="ctr">
            <a:solidFill>
              <a:schemeClr val="tx1"/>
            </a:solidFill>
            <a:miter lim="800000"/>
            <a:headEnd/>
            <a:tailEnd/>
          </a:ln>
        </p:spPr>
        <p:txBody>
          <a:bodyPr lIns="36000" tIns="72000" rIns="36000" bIns="72000" anchor="ctr"/>
          <a:lstStyle/>
          <a:p>
            <a:pPr algn="ctr" eaLnBrk="0" hangingPunct="0">
              <a:lnSpc>
                <a:spcPct val="90000"/>
              </a:lnSpc>
              <a:spcBef>
                <a:spcPct val="50000"/>
              </a:spcBef>
              <a:buSzPct val="100000"/>
            </a:pPr>
            <a:r>
              <a:rPr lang="en-US" sz="900" b="1" kern="0" dirty="0">
                <a:solidFill>
                  <a:schemeClr val="bg1"/>
                </a:solidFill>
              </a:rPr>
              <a:t>Cost Evaluation</a:t>
            </a:r>
          </a:p>
        </p:txBody>
      </p:sp>
      <p:sp>
        <p:nvSpPr>
          <p:cNvPr id="78" name="Rectangle: Rounded Corners 77"/>
          <p:cNvSpPr>
            <a:spLocks noChangeArrowheads="1"/>
          </p:cNvSpPr>
          <p:nvPr/>
        </p:nvSpPr>
        <p:spPr bwMode="auto">
          <a:xfrm>
            <a:off x="3817131" y="4565280"/>
            <a:ext cx="1371600" cy="91440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Costs evaluated twice: project kick-off and transition to production</a:t>
            </a:r>
          </a:p>
        </p:txBody>
      </p:sp>
      <p:sp>
        <p:nvSpPr>
          <p:cNvPr id="79" name="Rectangle 30"/>
          <p:cNvSpPr>
            <a:spLocks noChangeArrowheads="1"/>
          </p:cNvSpPr>
          <p:nvPr/>
        </p:nvSpPr>
        <p:spPr bwMode="auto">
          <a:xfrm>
            <a:off x="3817131" y="1190345"/>
            <a:ext cx="1371600" cy="1554480"/>
          </a:xfrm>
          <a:prstGeom prst="roundRect">
            <a:avLst/>
          </a:prstGeom>
          <a:noFill/>
          <a:ln w="19050" algn="ctr">
            <a:solidFill>
              <a:schemeClr val="tx1"/>
            </a:solidFill>
            <a:miter lim="800000"/>
            <a:headEnd/>
            <a:tailEnd/>
          </a:ln>
        </p:spPr>
        <p:txBody>
          <a:bodyPr lIns="0" tIns="45720" rIns="0" bIns="45720" anchor="ctr"/>
          <a:lstStyle/>
          <a:p>
            <a:pPr algn="ctr" eaLnBrk="0" hangingPunct="0">
              <a:lnSpc>
                <a:spcPct val="80000"/>
              </a:lnSpc>
              <a:spcBef>
                <a:spcPct val="50000"/>
              </a:spcBef>
              <a:buClr>
                <a:srgbClr val="8099CC"/>
              </a:buClr>
              <a:buSzPct val="100000"/>
              <a:buFont typeface="Monotype Sorts" pitchFamily="2" charset="2"/>
              <a:buNone/>
            </a:pPr>
            <a:r>
              <a:rPr lang="en-US" altLang="en-US" sz="900" dirty="0">
                <a:ea typeface="Tahoma" pitchFamily="34" charset="0"/>
                <a:cs typeface="Tahoma" pitchFamily="34" charset="0"/>
              </a:rPr>
              <a:t>Costs evaluated at each design review, identifying the maturity (accuracy) of the cost estimate. Historical data is used to improve the accuracy of estimated costs</a:t>
            </a:r>
          </a:p>
        </p:txBody>
      </p:sp>
      <p:sp>
        <p:nvSpPr>
          <p:cNvPr id="80" name="Rectangle 38"/>
          <p:cNvSpPr>
            <a:spLocks noChangeArrowheads="1"/>
          </p:cNvSpPr>
          <p:nvPr/>
        </p:nvSpPr>
        <p:spPr bwMode="auto">
          <a:xfrm>
            <a:off x="3817131" y="3146055"/>
            <a:ext cx="1371600" cy="114300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Costs evaluated based on target, estimate / should cost and actual</a:t>
            </a:r>
          </a:p>
        </p:txBody>
      </p:sp>
      <p:sp>
        <p:nvSpPr>
          <p:cNvPr id="81" name="Rectangle 9"/>
          <p:cNvSpPr>
            <a:spLocks noChangeArrowheads="1"/>
          </p:cNvSpPr>
          <p:nvPr/>
        </p:nvSpPr>
        <p:spPr bwMode="auto">
          <a:xfrm>
            <a:off x="737887" y="5679392"/>
            <a:ext cx="1371600" cy="615083"/>
          </a:xfrm>
          <a:prstGeom prst="roundRect">
            <a:avLst/>
          </a:prstGeom>
          <a:solidFill>
            <a:srgbClr val="336600"/>
          </a:solidFill>
          <a:ln w="12700" algn="ctr">
            <a:solidFill>
              <a:schemeClr val="tx1"/>
            </a:solidFill>
            <a:miter lim="800000"/>
            <a:headEnd/>
            <a:tailEnd/>
          </a:ln>
        </p:spPr>
        <p:txBody>
          <a:bodyPr lIns="36000" tIns="72000" rIns="36000" bIns="72000" anchor="ctr"/>
          <a:lstStyle/>
          <a:p>
            <a:pPr algn="ctr" eaLnBrk="0" hangingPunct="0">
              <a:lnSpc>
                <a:spcPct val="90000"/>
              </a:lnSpc>
              <a:spcBef>
                <a:spcPct val="50000"/>
              </a:spcBef>
              <a:buSzPct val="100000"/>
            </a:pPr>
            <a:r>
              <a:rPr lang="en-US" sz="900" b="1" kern="0" dirty="0">
                <a:solidFill>
                  <a:schemeClr val="bg1"/>
                </a:solidFill>
              </a:rPr>
              <a:t>Cross-Functional Collaboration</a:t>
            </a:r>
          </a:p>
        </p:txBody>
      </p:sp>
      <p:sp>
        <p:nvSpPr>
          <p:cNvPr id="82" name="Rectangle 23"/>
          <p:cNvSpPr>
            <a:spLocks noChangeArrowheads="1"/>
          </p:cNvSpPr>
          <p:nvPr/>
        </p:nvSpPr>
        <p:spPr bwMode="auto">
          <a:xfrm>
            <a:off x="737887" y="4565280"/>
            <a:ext cx="1371600" cy="91440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Engineering has no or limited visibility into product costs during design</a:t>
            </a:r>
          </a:p>
        </p:txBody>
      </p:sp>
      <p:sp>
        <p:nvSpPr>
          <p:cNvPr id="83" name="Rectangle 31"/>
          <p:cNvSpPr>
            <a:spLocks noChangeArrowheads="1"/>
          </p:cNvSpPr>
          <p:nvPr/>
        </p:nvSpPr>
        <p:spPr bwMode="auto">
          <a:xfrm>
            <a:off x="737887" y="1190345"/>
            <a:ext cx="1371600" cy="1554480"/>
          </a:xfrm>
          <a:prstGeom prst="roundRect">
            <a:avLst/>
          </a:prstGeom>
          <a:noFill/>
          <a:ln w="19050" algn="ctr">
            <a:solidFill>
              <a:schemeClr val="tx1"/>
            </a:solidFill>
            <a:miter lim="800000"/>
            <a:headEnd/>
            <a:tailEnd/>
          </a:ln>
        </p:spPr>
        <p:txBody>
          <a:bodyPr lIns="0" tIns="0" rIns="0" bIns="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Cross functional teams involved in cost management processes (including Engineering, Manufacturing/</a:t>
            </a:r>
            <a:br>
              <a:rPr lang="en-US" sz="900" dirty="0">
                <a:ea typeface="Tahoma" pitchFamily="34" charset="0"/>
                <a:cs typeface="Tahoma" pitchFamily="34" charset="0"/>
              </a:rPr>
            </a:br>
            <a:r>
              <a:rPr lang="en-US" sz="900" dirty="0">
                <a:ea typeface="Tahoma" pitchFamily="34" charset="0"/>
                <a:cs typeface="Tahoma" pitchFamily="34" charset="0"/>
              </a:rPr>
              <a:t>Planning, Procurement, Finance, Quality, Service/</a:t>
            </a:r>
            <a:br>
              <a:rPr lang="en-US" sz="900" dirty="0">
                <a:ea typeface="Tahoma" pitchFamily="34" charset="0"/>
                <a:cs typeface="Tahoma" pitchFamily="34" charset="0"/>
              </a:rPr>
            </a:br>
            <a:r>
              <a:rPr lang="en-US" sz="900" dirty="0">
                <a:ea typeface="Tahoma" pitchFamily="34" charset="0"/>
                <a:cs typeface="Tahoma" pitchFamily="34" charset="0"/>
              </a:rPr>
              <a:t>Aftermarket)</a:t>
            </a:r>
          </a:p>
        </p:txBody>
      </p:sp>
      <p:sp>
        <p:nvSpPr>
          <p:cNvPr id="84" name="Rectangle 39"/>
          <p:cNvSpPr>
            <a:spLocks noChangeArrowheads="1"/>
          </p:cNvSpPr>
          <p:nvPr/>
        </p:nvSpPr>
        <p:spPr bwMode="auto">
          <a:xfrm>
            <a:off x="737887" y="3146055"/>
            <a:ext cx="1371600" cy="114300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Engineering provided with cost information to resolve issues and cost overruns</a:t>
            </a:r>
          </a:p>
        </p:txBody>
      </p:sp>
      <p:sp>
        <p:nvSpPr>
          <p:cNvPr id="85" name="Rectangle 4"/>
          <p:cNvSpPr>
            <a:spLocks noChangeArrowheads="1"/>
          </p:cNvSpPr>
          <p:nvPr/>
        </p:nvSpPr>
        <p:spPr bwMode="auto">
          <a:xfrm>
            <a:off x="2276953" y="5679392"/>
            <a:ext cx="1371600" cy="615083"/>
          </a:xfrm>
          <a:prstGeom prst="roundRect">
            <a:avLst/>
          </a:prstGeom>
          <a:solidFill>
            <a:srgbClr val="336600"/>
          </a:solidFill>
          <a:ln w="12700" algn="ctr">
            <a:solidFill>
              <a:schemeClr val="tx1"/>
            </a:solidFill>
            <a:miter lim="800000"/>
            <a:headEnd/>
            <a:tailEnd/>
          </a:ln>
        </p:spPr>
        <p:txBody>
          <a:bodyPr lIns="36000" tIns="72000" rIns="36000" bIns="72000" anchor="ctr"/>
          <a:lstStyle/>
          <a:p>
            <a:pPr algn="ctr" eaLnBrk="0" hangingPunct="0">
              <a:lnSpc>
                <a:spcPct val="90000"/>
              </a:lnSpc>
              <a:spcBef>
                <a:spcPct val="50000"/>
              </a:spcBef>
              <a:buSzPct val="100000"/>
            </a:pPr>
            <a:r>
              <a:rPr lang="en-US" sz="900" b="1" kern="0" dirty="0">
                <a:solidFill>
                  <a:schemeClr val="bg1"/>
                </a:solidFill>
              </a:rPr>
              <a:t>Cost Metrics Visibility</a:t>
            </a:r>
          </a:p>
        </p:txBody>
      </p:sp>
      <p:sp>
        <p:nvSpPr>
          <p:cNvPr id="86" name="Rectangle 18"/>
          <p:cNvSpPr>
            <a:spLocks noChangeArrowheads="1"/>
          </p:cNvSpPr>
          <p:nvPr/>
        </p:nvSpPr>
        <p:spPr bwMode="auto">
          <a:xfrm>
            <a:off x="2277509" y="4565280"/>
            <a:ext cx="1371600" cy="91440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Product Cost metrics not defined or not communicated to stakeholders</a:t>
            </a:r>
          </a:p>
        </p:txBody>
      </p:sp>
      <p:sp>
        <p:nvSpPr>
          <p:cNvPr id="87" name="Rectangle 26"/>
          <p:cNvSpPr>
            <a:spLocks noChangeArrowheads="1"/>
          </p:cNvSpPr>
          <p:nvPr/>
        </p:nvSpPr>
        <p:spPr bwMode="auto">
          <a:xfrm>
            <a:off x="2277509" y="1190345"/>
            <a:ext cx="1371600" cy="155448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Metrics linked with enterprise business metrics</a:t>
            </a:r>
          </a:p>
        </p:txBody>
      </p:sp>
      <p:sp>
        <p:nvSpPr>
          <p:cNvPr id="88" name="Rectangle 7"/>
          <p:cNvSpPr>
            <a:spLocks noChangeArrowheads="1"/>
          </p:cNvSpPr>
          <p:nvPr/>
        </p:nvSpPr>
        <p:spPr bwMode="auto">
          <a:xfrm>
            <a:off x="8433217" y="5679392"/>
            <a:ext cx="1371600" cy="615083"/>
          </a:xfrm>
          <a:prstGeom prst="roundRect">
            <a:avLst/>
          </a:prstGeom>
          <a:solidFill>
            <a:srgbClr val="336600"/>
          </a:solidFill>
          <a:ln w="12700" algn="ctr">
            <a:solidFill>
              <a:schemeClr val="tx1"/>
            </a:solidFill>
            <a:miter lim="800000"/>
            <a:headEnd/>
            <a:tailEnd/>
          </a:ln>
        </p:spPr>
        <p:txBody>
          <a:bodyPr lIns="36000" tIns="72000" rIns="36000" bIns="72000" anchor="ctr"/>
          <a:lstStyle/>
          <a:p>
            <a:pPr algn="ctr" eaLnBrk="0" hangingPunct="0">
              <a:lnSpc>
                <a:spcPct val="90000"/>
              </a:lnSpc>
              <a:spcBef>
                <a:spcPct val="50000"/>
              </a:spcBef>
              <a:buSzPct val="100000"/>
            </a:pPr>
            <a:r>
              <a:rPr lang="en-US" sz="900" b="1" kern="0" dirty="0">
                <a:solidFill>
                  <a:schemeClr val="bg1"/>
                </a:solidFill>
              </a:rPr>
              <a:t>RFQ Management</a:t>
            </a:r>
          </a:p>
        </p:txBody>
      </p:sp>
      <p:sp>
        <p:nvSpPr>
          <p:cNvPr id="89" name="Rectangle 21"/>
          <p:cNvSpPr>
            <a:spLocks noChangeArrowheads="1"/>
          </p:cNvSpPr>
          <p:nvPr/>
        </p:nvSpPr>
        <p:spPr bwMode="auto">
          <a:xfrm>
            <a:off x="8435997" y="4565280"/>
            <a:ext cx="1371600" cy="91440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RFQs issued ad-hoc and by product line/product</a:t>
            </a:r>
          </a:p>
        </p:txBody>
      </p:sp>
      <p:sp>
        <p:nvSpPr>
          <p:cNvPr id="90" name="Rectangle 29"/>
          <p:cNvSpPr>
            <a:spLocks noChangeArrowheads="1"/>
          </p:cNvSpPr>
          <p:nvPr/>
        </p:nvSpPr>
        <p:spPr bwMode="auto">
          <a:xfrm>
            <a:off x="8435997" y="1190345"/>
            <a:ext cx="1371600" cy="155448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RFQs issued on regular, scheduled basis leveraging total demand across product lines/ products</a:t>
            </a:r>
          </a:p>
        </p:txBody>
      </p:sp>
      <p:sp>
        <p:nvSpPr>
          <p:cNvPr id="91" name="Rectangle 37"/>
          <p:cNvSpPr>
            <a:spLocks noChangeArrowheads="1"/>
          </p:cNvSpPr>
          <p:nvPr/>
        </p:nvSpPr>
        <p:spPr bwMode="auto">
          <a:xfrm>
            <a:off x="8435997" y="3146055"/>
            <a:ext cx="1371600" cy="114300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RFQs issued on scheduled basis by product line / product</a:t>
            </a:r>
          </a:p>
        </p:txBody>
      </p:sp>
      <p:sp>
        <p:nvSpPr>
          <p:cNvPr id="92" name="Rectangle 7"/>
          <p:cNvSpPr>
            <a:spLocks noChangeArrowheads="1"/>
          </p:cNvSpPr>
          <p:nvPr/>
        </p:nvSpPr>
        <p:spPr bwMode="auto">
          <a:xfrm>
            <a:off x="9972285" y="5679392"/>
            <a:ext cx="1368871" cy="615083"/>
          </a:xfrm>
          <a:prstGeom prst="roundRect">
            <a:avLst/>
          </a:prstGeom>
          <a:solidFill>
            <a:srgbClr val="336600"/>
          </a:solidFill>
          <a:ln w="12700" algn="ctr">
            <a:solidFill>
              <a:schemeClr val="tx1"/>
            </a:solidFill>
            <a:miter lim="800000"/>
            <a:headEnd/>
            <a:tailEnd/>
          </a:ln>
        </p:spPr>
        <p:txBody>
          <a:bodyPr lIns="36000" tIns="72000" rIns="36000" bIns="72000" anchor="ctr"/>
          <a:lstStyle/>
          <a:p>
            <a:pPr algn="ctr" eaLnBrk="0" hangingPunct="0">
              <a:lnSpc>
                <a:spcPct val="90000"/>
              </a:lnSpc>
              <a:spcBef>
                <a:spcPct val="50000"/>
              </a:spcBef>
              <a:buSzPct val="100000"/>
            </a:pPr>
            <a:r>
              <a:rPr lang="en-US" sz="900" b="1" kern="0" dirty="0">
                <a:solidFill>
                  <a:schemeClr val="bg1"/>
                </a:solidFill>
              </a:rPr>
              <a:t>Management Tools</a:t>
            </a:r>
          </a:p>
        </p:txBody>
      </p:sp>
      <p:sp>
        <p:nvSpPr>
          <p:cNvPr id="96" name="Rectangle 7"/>
          <p:cNvSpPr>
            <a:spLocks noChangeArrowheads="1"/>
          </p:cNvSpPr>
          <p:nvPr/>
        </p:nvSpPr>
        <p:spPr bwMode="auto">
          <a:xfrm>
            <a:off x="6894151" y="5679392"/>
            <a:ext cx="1371600" cy="615083"/>
          </a:xfrm>
          <a:prstGeom prst="roundRect">
            <a:avLst/>
          </a:prstGeom>
          <a:solidFill>
            <a:srgbClr val="336600"/>
          </a:solidFill>
          <a:ln w="12700" algn="ctr">
            <a:solidFill>
              <a:schemeClr val="tx1"/>
            </a:solidFill>
            <a:miter lim="800000"/>
            <a:headEnd/>
            <a:tailEnd/>
          </a:ln>
        </p:spPr>
        <p:txBody>
          <a:bodyPr lIns="36000" tIns="72000" rIns="36000" bIns="72000" anchor="ctr"/>
          <a:lstStyle/>
          <a:p>
            <a:pPr algn="ctr" eaLnBrk="0" hangingPunct="0">
              <a:lnSpc>
                <a:spcPct val="90000"/>
              </a:lnSpc>
              <a:spcBef>
                <a:spcPct val="50000"/>
              </a:spcBef>
              <a:buSzPct val="100000"/>
            </a:pPr>
            <a:r>
              <a:rPr lang="en-US" sz="900" b="1" kern="0" dirty="0">
                <a:solidFill>
                  <a:schemeClr val="bg1"/>
                </a:solidFill>
              </a:rPr>
              <a:t>Design for Cost</a:t>
            </a:r>
          </a:p>
        </p:txBody>
      </p:sp>
      <p:sp>
        <p:nvSpPr>
          <p:cNvPr id="97" name="Rectangle 21"/>
          <p:cNvSpPr>
            <a:spLocks noChangeArrowheads="1"/>
          </p:cNvSpPr>
          <p:nvPr/>
        </p:nvSpPr>
        <p:spPr bwMode="auto">
          <a:xfrm>
            <a:off x="6896375" y="4565280"/>
            <a:ext cx="1371600" cy="91440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Costs are not factored into design decisions until detailed design phase</a:t>
            </a:r>
          </a:p>
        </p:txBody>
      </p:sp>
      <p:sp>
        <p:nvSpPr>
          <p:cNvPr id="98" name="Rectangle 29"/>
          <p:cNvSpPr>
            <a:spLocks noChangeArrowheads="1"/>
          </p:cNvSpPr>
          <p:nvPr/>
        </p:nvSpPr>
        <p:spPr bwMode="auto">
          <a:xfrm>
            <a:off x="6896375" y="1190345"/>
            <a:ext cx="1371600" cy="155448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Product Costs and design decisions evaluated with just-in-time cost information</a:t>
            </a:r>
          </a:p>
        </p:txBody>
      </p:sp>
      <p:sp>
        <p:nvSpPr>
          <p:cNvPr id="99" name="Rectangle 37"/>
          <p:cNvSpPr>
            <a:spLocks noChangeArrowheads="1"/>
          </p:cNvSpPr>
          <p:nvPr/>
        </p:nvSpPr>
        <p:spPr bwMode="auto">
          <a:xfrm>
            <a:off x="6896375" y="3146055"/>
            <a:ext cx="1371600" cy="114300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Design decisions not evaluated on cost information until detailed design or later</a:t>
            </a:r>
          </a:p>
        </p:txBody>
      </p:sp>
      <p:sp>
        <p:nvSpPr>
          <p:cNvPr id="100" name="Rectangle 7"/>
          <p:cNvSpPr>
            <a:spLocks noChangeArrowheads="1"/>
          </p:cNvSpPr>
          <p:nvPr/>
        </p:nvSpPr>
        <p:spPr bwMode="auto">
          <a:xfrm>
            <a:off x="5355085" y="5679392"/>
            <a:ext cx="1371600" cy="615083"/>
          </a:xfrm>
          <a:prstGeom prst="roundRect">
            <a:avLst/>
          </a:prstGeom>
          <a:solidFill>
            <a:srgbClr val="336600"/>
          </a:solidFill>
          <a:ln w="12700" algn="ctr">
            <a:solidFill>
              <a:schemeClr val="tx1"/>
            </a:solidFill>
            <a:miter lim="800000"/>
            <a:headEnd/>
            <a:tailEnd/>
          </a:ln>
        </p:spPr>
        <p:txBody>
          <a:bodyPr lIns="36000" tIns="72000" rIns="36000" bIns="72000" anchor="ctr"/>
          <a:lstStyle/>
          <a:p>
            <a:pPr algn="ctr" eaLnBrk="0" hangingPunct="0">
              <a:lnSpc>
                <a:spcPct val="90000"/>
              </a:lnSpc>
              <a:spcBef>
                <a:spcPct val="50000"/>
              </a:spcBef>
              <a:buSzPct val="100000"/>
            </a:pPr>
            <a:r>
              <a:rPr lang="en-US" sz="900" b="1" kern="0" dirty="0">
                <a:solidFill>
                  <a:schemeClr val="bg1"/>
                </a:solidFill>
              </a:rPr>
              <a:t>Total Cost of Ownership</a:t>
            </a:r>
          </a:p>
        </p:txBody>
      </p:sp>
      <p:sp>
        <p:nvSpPr>
          <p:cNvPr id="101" name="Rectangle 21"/>
          <p:cNvSpPr>
            <a:spLocks noChangeArrowheads="1"/>
          </p:cNvSpPr>
          <p:nvPr/>
        </p:nvSpPr>
        <p:spPr bwMode="auto">
          <a:xfrm>
            <a:off x="5356753" y="4565280"/>
            <a:ext cx="1371600" cy="91440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Costs include only COGS</a:t>
            </a:r>
          </a:p>
        </p:txBody>
      </p:sp>
      <p:sp>
        <p:nvSpPr>
          <p:cNvPr id="102" name="Rectangle 29"/>
          <p:cNvSpPr>
            <a:spLocks noChangeArrowheads="1"/>
          </p:cNvSpPr>
          <p:nvPr/>
        </p:nvSpPr>
        <p:spPr bwMode="auto">
          <a:xfrm>
            <a:off x="5356753" y="1190345"/>
            <a:ext cx="1371600" cy="155448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Costs include full product lifetime costs including non-recurring engineering, COGS, labor, direct overhead, warranty, and aftermarket</a:t>
            </a:r>
          </a:p>
        </p:txBody>
      </p:sp>
      <p:sp>
        <p:nvSpPr>
          <p:cNvPr id="103" name="Rectangle: Rounded Corners 102"/>
          <p:cNvSpPr>
            <a:spLocks noChangeArrowheads="1"/>
          </p:cNvSpPr>
          <p:nvPr/>
        </p:nvSpPr>
        <p:spPr bwMode="auto">
          <a:xfrm>
            <a:off x="5356753" y="3146055"/>
            <a:ext cx="1371600" cy="114300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Cost includes non-recurring engineering costs and COGS</a:t>
            </a:r>
          </a:p>
        </p:txBody>
      </p:sp>
      <p:cxnSp>
        <p:nvCxnSpPr>
          <p:cNvPr id="104" name="AutoShape 54"/>
          <p:cNvCxnSpPr>
            <a:cxnSpLocks noChangeShapeType="1"/>
            <a:stCxn id="84" idx="0"/>
            <a:endCxn id="83" idx="2"/>
          </p:cNvCxnSpPr>
          <p:nvPr/>
        </p:nvCxnSpPr>
        <p:spPr bwMode="auto">
          <a:xfrm flipV="1">
            <a:off x="1423687" y="2744825"/>
            <a:ext cx="0" cy="401230"/>
          </a:xfrm>
          <a:prstGeom prst="straightConnector1">
            <a:avLst/>
          </a:prstGeom>
          <a:noFill/>
          <a:ln w="222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5" name="AutoShape 55"/>
          <p:cNvCxnSpPr>
            <a:cxnSpLocks noChangeShapeType="1"/>
            <a:stCxn id="118" idx="0"/>
            <a:endCxn id="87" idx="2"/>
          </p:cNvCxnSpPr>
          <p:nvPr/>
        </p:nvCxnSpPr>
        <p:spPr bwMode="auto">
          <a:xfrm flipV="1">
            <a:off x="2963309" y="2744825"/>
            <a:ext cx="0" cy="401230"/>
          </a:xfrm>
          <a:prstGeom prst="straightConnector1">
            <a:avLst/>
          </a:prstGeom>
          <a:noFill/>
          <a:ln w="222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6" name="AutoShape 56"/>
          <p:cNvCxnSpPr>
            <a:cxnSpLocks noChangeShapeType="1"/>
            <a:stCxn id="80" idx="0"/>
            <a:endCxn id="79" idx="2"/>
          </p:cNvCxnSpPr>
          <p:nvPr/>
        </p:nvCxnSpPr>
        <p:spPr bwMode="auto">
          <a:xfrm flipV="1">
            <a:off x="4502931" y="2744825"/>
            <a:ext cx="0" cy="401230"/>
          </a:xfrm>
          <a:prstGeom prst="straightConnector1">
            <a:avLst/>
          </a:prstGeom>
          <a:noFill/>
          <a:ln w="222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7" name="AutoShape 57"/>
          <p:cNvCxnSpPr>
            <a:cxnSpLocks noChangeShapeType="1"/>
            <a:stCxn id="103" idx="0"/>
            <a:endCxn id="102" idx="2"/>
          </p:cNvCxnSpPr>
          <p:nvPr/>
        </p:nvCxnSpPr>
        <p:spPr bwMode="auto">
          <a:xfrm flipV="1">
            <a:off x="6042553" y="2744825"/>
            <a:ext cx="0" cy="401230"/>
          </a:xfrm>
          <a:prstGeom prst="straightConnector1">
            <a:avLst/>
          </a:prstGeom>
          <a:noFill/>
          <a:ln w="222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8" name="AutoShape 54"/>
          <p:cNvCxnSpPr>
            <a:cxnSpLocks noChangeShapeType="1"/>
            <a:stCxn id="99" idx="0"/>
            <a:endCxn id="98" idx="2"/>
          </p:cNvCxnSpPr>
          <p:nvPr/>
        </p:nvCxnSpPr>
        <p:spPr bwMode="auto">
          <a:xfrm flipV="1">
            <a:off x="7582175" y="2744825"/>
            <a:ext cx="0" cy="401230"/>
          </a:xfrm>
          <a:prstGeom prst="straightConnector1">
            <a:avLst/>
          </a:prstGeom>
          <a:noFill/>
          <a:ln w="222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09" name="AutoShape 55"/>
          <p:cNvCxnSpPr>
            <a:cxnSpLocks noChangeShapeType="1"/>
            <a:stCxn id="91" idx="0"/>
            <a:endCxn id="90" idx="2"/>
          </p:cNvCxnSpPr>
          <p:nvPr/>
        </p:nvCxnSpPr>
        <p:spPr bwMode="auto">
          <a:xfrm flipV="1">
            <a:off x="9121797" y="2744825"/>
            <a:ext cx="0" cy="401230"/>
          </a:xfrm>
          <a:prstGeom prst="straightConnector1">
            <a:avLst/>
          </a:prstGeom>
          <a:noFill/>
          <a:ln w="222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11" name="AutoShape 54"/>
          <p:cNvCxnSpPr>
            <a:cxnSpLocks noChangeShapeType="1"/>
            <a:stCxn id="82" idx="0"/>
            <a:endCxn id="84" idx="2"/>
          </p:cNvCxnSpPr>
          <p:nvPr/>
        </p:nvCxnSpPr>
        <p:spPr bwMode="auto">
          <a:xfrm flipV="1">
            <a:off x="1423687" y="4289055"/>
            <a:ext cx="0" cy="2762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12" name="AutoShape 55"/>
          <p:cNvCxnSpPr>
            <a:cxnSpLocks noChangeShapeType="1"/>
            <a:stCxn id="86" idx="0"/>
            <a:endCxn id="118" idx="2"/>
          </p:cNvCxnSpPr>
          <p:nvPr/>
        </p:nvCxnSpPr>
        <p:spPr bwMode="auto">
          <a:xfrm flipV="1">
            <a:off x="2963309" y="4289055"/>
            <a:ext cx="0" cy="2762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13" name="AutoShape 56"/>
          <p:cNvCxnSpPr>
            <a:cxnSpLocks noChangeShapeType="1"/>
            <a:stCxn id="78" idx="0"/>
            <a:endCxn id="80" idx="2"/>
          </p:cNvCxnSpPr>
          <p:nvPr/>
        </p:nvCxnSpPr>
        <p:spPr bwMode="auto">
          <a:xfrm flipV="1">
            <a:off x="4502931" y="4289055"/>
            <a:ext cx="0" cy="2762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14" name="AutoShape 57"/>
          <p:cNvCxnSpPr>
            <a:cxnSpLocks noChangeShapeType="1"/>
            <a:stCxn id="101" idx="0"/>
            <a:endCxn id="103" idx="2"/>
          </p:cNvCxnSpPr>
          <p:nvPr/>
        </p:nvCxnSpPr>
        <p:spPr bwMode="auto">
          <a:xfrm flipV="1">
            <a:off x="6042553" y="4289055"/>
            <a:ext cx="0" cy="2762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15" name="AutoShape 54"/>
          <p:cNvCxnSpPr>
            <a:cxnSpLocks noChangeShapeType="1"/>
            <a:stCxn id="97" idx="0"/>
            <a:endCxn id="99" idx="2"/>
          </p:cNvCxnSpPr>
          <p:nvPr/>
        </p:nvCxnSpPr>
        <p:spPr bwMode="auto">
          <a:xfrm flipV="1">
            <a:off x="7582175" y="4289055"/>
            <a:ext cx="0" cy="2762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16" name="AutoShape 55"/>
          <p:cNvCxnSpPr>
            <a:cxnSpLocks noChangeShapeType="1"/>
            <a:stCxn id="89" idx="0"/>
            <a:endCxn id="91" idx="2"/>
          </p:cNvCxnSpPr>
          <p:nvPr/>
        </p:nvCxnSpPr>
        <p:spPr bwMode="auto">
          <a:xfrm flipV="1">
            <a:off x="9121797" y="4289055"/>
            <a:ext cx="0" cy="2762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93" name="Rectangle 21"/>
          <p:cNvSpPr>
            <a:spLocks noChangeArrowheads="1"/>
          </p:cNvSpPr>
          <p:nvPr/>
        </p:nvSpPr>
        <p:spPr bwMode="auto">
          <a:xfrm>
            <a:off x="9975621" y="4565280"/>
            <a:ext cx="1371600" cy="91440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Clear definition of Product Cost information managed on spreadsheets</a:t>
            </a:r>
          </a:p>
        </p:txBody>
      </p:sp>
      <p:sp>
        <p:nvSpPr>
          <p:cNvPr id="94" name="Rectangle 29"/>
          <p:cNvSpPr>
            <a:spLocks noChangeArrowheads="1"/>
          </p:cNvSpPr>
          <p:nvPr/>
        </p:nvSpPr>
        <p:spPr bwMode="auto">
          <a:xfrm>
            <a:off x="9975621" y="1190345"/>
            <a:ext cx="1371600" cy="155448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One source of product cost information integrated with forecasting/ demand planning/ inventory systems</a:t>
            </a:r>
          </a:p>
        </p:txBody>
      </p:sp>
      <p:sp>
        <p:nvSpPr>
          <p:cNvPr id="95" name="Rectangle 37"/>
          <p:cNvSpPr>
            <a:spLocks noChangeArrowheads="1"/>
          </p:cNvSpPr>
          <p:nvPr/>
        </p:nvSpPr>
        <p:spPr bwMode="auto">
          <a:xfrm>
            <a:off x="9975621" y="3146055"/>
            <a:ext cx="1371600" cy="114300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Multiple sources of product cost information (by function, by business unit, etc.)</a:t>
            </a:r>
          </a:p>
        </p:txBody>
      </p:sp>
      <p:cxnSp>
        <p:nvCxnSpPr>
          <p:cNvPr id="110" name="AutoShape 56"/>
          <p:cNvCxnSpPr>
            <a:cxnSpLocks noChangeShapeType="1"/>
            <a:stCxn id="95" idx="0"/>
            <a:endCxn id="94" idx="2"/>
          </p:cNvCxnSpPr>
          <p:nvPr/>
        </p:nvCxnSpPr>
        <p:spPr bwMode="auto">
          <a:xfrm flipV="1">
            <a:off x="10661421" y="2744825"/>
            <a:ext cx="0" cy="401230"/>
          </a:xfrm>
          <a:prstGeom prst="straightConnector1">
            <a:avLst/>
          </a:prstGeom>
          <a:noFill/>
          <a:ln w="222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17" name="AutoShape 56"/>
          <p:cNvCxnSpPr>
            <a:cxnSpLocks noChangeShapeType="1"/>
            <a:stCxn id="93" idx="0"/>
            <a:endCxn id="95" idx="2"/>
          </p:cNvCxnSpPr>
          <p:nvPr/>
        </p:nvCxnSpPr>
        <p:spPr bwMode="auto">
          <a:xfrm flipV="1">
            <a:off x="10661421" y="4289055"/>
            <a:ext cx="0" cy="2762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18" name="Rectangle 34"/>
          <p:cNvSpPr>
            <a:spLocks noChangeArrowheads="1"/>
          </p:cNvSpPr>
          <p:nvPr/>
        </p:nvSpPr>
        <p:spPr bwMode="auto">
          <a:xfrm>
            <a:off x="2277509" y="3146055"/>
            <a:ext cx="1371600" cy="1143000"/>
          </a:xfrm>
          <a:prstGeom prst="roundRect">
            <a:avLst/>
          </a:prstGeom>
          <a:noFill/>
          <a:ln w="19050" algn="ctr">
            <a:solidFill>
              <a:schemeClr val="tx1"/>
            </a:solidFill>
            <a:miter lim="800000"/>
            <a:headEnd/>
            <a:tailEnd/>
          </a:ln>
        </p:spPr>
        <p:txBody>
          <a:bodyPr lIns="45720" tIns="45720" rIns="45720" bIns="45720" anchor="ctr"/>
          <a:lstStyle/>
          <a:p>
            <a:pPr algn="ctr" eaLnBrk="0" hangingPunct="0">
              <a:lnSpc>
                <a:spcPct val="80000"/>
              </a:lnSpc>
              <a:spcBef>
                <a:spcPct val="50000"/>
              </a:spcBef>
              <a:buClr>
                <a:srgbClr val="8099CC"/>
              </a:buClr>
              <a:buSzPct val="100000"/>
              <a:buFont typeface="Monotype Sorts" pitchFamily="2" charset="2"/>
              <a:buNone/>
            </a:pPr>
            <a:r>
              <a:rPr lang="en-US" sz="900" dirty="0">
                <a:ea typeface="Tahoma" pitchFamily="34" charset="0"/>
                <a:cs typeface="Tahoma" pitchFamily="34" charset="0"/>
              </a:rPr>
              <a:t>Product Cost metrics defined and communicated to all stakeholders</a:t>
            </a:r>
          </a:p>
        </p:txBody>
      </p:sp>
      <p:sp>
        <p:nvSpPr>
          <p:cNvPr id="119" name="Text Box 28"/>
          <p:cNvSpPr txBox="1">
            <a:spLocks noChangeArrowheads="1"/>
          </p:cNvSpPr>
          <p:nvPr/>
        </p:nvSpPr>
        <p:spPr bwMode="auto">
          <a:xfrm>
            <a:off x="546443" y="972992"/>
            <a:ext cx="846138" cy="217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type="none" w="med" len="lg"/>
              </a14:hiddenLine>
            </a:ext>
          </a:extLst>
        </p:spPr>
        <p:txBody>
          <a:bodyPr lIns="0" tIns="45716" rIns="91432" bIns="45716">
            <a:spAutoFit/>
          </a:bodyPr>
          <a:lstStyle>
            <a:lvl1pPr marL="228600" indent="-228600" defTabSz="901700" eaLnBrk="0" hangingPunct="0">
              <a:defRPr sz="2400">
                <a:solidFill>
                  <a:schemeClr val="tx1"/>
                </a:solidFill>
                <a:latin typeface="Tahoma" pitchFamily="34" charset="0"/>
                <a:cs typeface="Arial" pitchFamily="34" charset="0"/>
              </a:defRPr>
            </a:lvl1pPr>
            <a:lvl2pPr marL="742950" indent="-285750" defTabSz="901700" eaLnBrk="0" hangingPunct="0">
              <a:defRPr sz="2400">
                <a:solidFill>
                  <a:schemeClr val="tx1"/>
                </a:solidFill>
                <a:latin typeface="Tahoma" pitchFamily="34" charset="0"/>
                <a:cs typeface="Arial" pitchFamily="34" charset="0"/>
              </a:defRPr>
            </a:lvl2pPr>
            <a:lvl3pPr marL="1143000" indent="-228600" defTabSz="901700" eaLnBrk="0" hangingPunct="0">
              <a:defRPr sz="2400">
                <a:solidFill>
                  <a:schemeClr val="tx1"/>
                </a:solidFill>
                <a:latin typeface="Tahoma" pitchFamily="34" charset="0"/>
                <a:cs typeface="Arial" pitchFamily="34" charset="0"/>
              </a:defRPr>
            </a:lvl3pPr>
            <a:lvl4pPr marL="1600200" indent="-228600" defTabSz="901700" eaLnBrk="0" hangingPunct="0">
              <a:defRPr sz="2400">
                <a:solidFill>
                  <a:schemeClr val="tx1"/>
                </a:solidFill>
                <a:latin typeface="Tahoma" pitchFamily="34" charset="0"/>
                <a:cs typeface="Arial" pitchFamily="34" charset="0"/>
              </a:defRPr>
            </a:lvl4pPr>
            <a:lvl5pPr marL="2057400" indent="-228600" defTabSz="901700" eaLnBrk="0" hangingPunct="0">
              <a:defRPr sz="2400">
                <a:solidFill>
                  <a:schemeClr val="tx1"/>
                </a:solidFill>
                <a:latin typeface="Tahoma" pitchFamily="34" charset="0"/>
                <a:cs typeface="Arial" pitchFamily="34" charset="0"/>
              </a:defRPr>
            </a:lvl5pPr>
            <a:lvl6pPr marL="2514600" indent="-228600" defTabSz="9017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defTabSz="9017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defTabSz="9017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defTabSz="901700" eaLnBrk="0" fontAlgn="base" hangingPunct="0">
              <a:spcBef>
                <a:spcPct val="0"/>
              </a:spcBef>
              <a:spcAft>
                <a:spcPct val="0"/>
              </a:spcAft>
              <a:defRPr sz="2400">
                <a:solidFill>
                  <a:schemeClr val="tx1"/>
                </a:solidFill>
                <a:latin typeface="Tahoma" pitchFamily="34" charset="0"/>
                <a:cs typeface="Arial" pitchFamily="34" charset="0"/>
              </a:defRPr>
            </a:lvl9pPr>
          </a:lstStyle>
          <a:p>
            <a:pPr>
              <a:lnSpc>
                <a:spcPct val="85000"/>
              </a:lnSpc>
              <a:spcBef>
                <a:spcPct val="20000"/>
              </a:spcBef>
              <a:buClr>
                <a:srgbClr val="8099CC"/>
              </a:buClr>
              <a:buFont typeface="Monotype Sorts" pitchFamily="2" charset="2"/>
              <a:buNone/>
            </a:pPr>
            <a:r>
              <a:rPr lang="en-US" altLang="en-US" sz="960" b="1" dirty="0">
                <a:solidFill>
                  <a:srgbClr val="000000"/>
                </a:solidFill>
                <a:latin typeface="+mn-lt"/>
              </a:rPr>
              <a:t>Maturity</a:t>
            </a:r>
          </a:p>
        </p:txBody>
      </p:sp>
      <p:grpSp>
        <p:nvGrpSpPr>
          <p:cNvPr id="141" name="Group 140">
            <a:extLst>
              <a:ext uri="{FF2B5EF4-FFF2-40B4-BE49-F238E27FC236}">
                <a16:creationId xmlns:a16="http://schemas.microsoft.com/office/drawing/2014/main" id="{74479054-BC47-4252-9721-7C64491A68EF}"/>
              </a:ext>
            </a:extLst>
          </p:cNvPr>
          <p:cNvGrpSpPr/>
          <p:nvPr/>
        </p:nvGrpSpPr>
        <p:grpSpPr>
          <a:xfrm>
            <a:off x="602971" y="1211825"/>
            <a:ext cx="10750837" cy="4359416"/>
            <a:chOff x="1092839" y="1211825"/>
            <a:chExt cx="10290659" cy="4031777"/>
          </a:xfrm>
        </p:grpSpPr>
        <p:sp>
          <p:nvSpPr>
            <p:cNvPr id="142" name="Line 16">
              <a:extLst>
                <a:ext uri="{FF2B5EF4-FFF2-40B4-BE49-F238E27FC236}">
                  <a16:creationId xmlns:a16="http://schemas.microsoft.com/office/drawing/2014/main" id="{9A125ABB-E81D-48F1-B5E5-EFC0190A0B10}"/>
                </a:ext>
              </a:extLst>
            </p:cNvPr>
            <p:cNvSpPr>
              <a:spLocks noChangeShapeType="1"/>
            </p:cNvSpPr>
            <p:nvPr/>
          </p:nvSpPr>
          <p:spPr bwMode="auto">
            <a:xfrm flipV="1">
              <a:off x="1092839" y="5243602"/>
              <a:ext cx="10290659" cy="0"/>
            </a:xfrm>
            <a:prstGeom prst="line">
              <a:avLst/>
            </a:prstGeom>
            <a:noFill/>
            <a:ln w="38100">
              <a:solidFill>
                <a:schemeClr val="tx1"/>
              </a:solidFill>
              <a:round/>
              <a:headEnd/>
              <a:tailEnd/>
            </a:ln>
          </p:spPr>
          <p:txBody>
            <a:bodyPr/>
            <a:lstStyle/>
            <a:p>
              <a:pPr defTabSz="1097280" fontAlgn="base">
                <a:spcBef>
                  <a:spcPct val="0"/>
                </a:spcBef>
                <a:spcAft>
                  <a:spcPct val="0"/>
                </a:spcAft>
                <a:defRPr/>
              </a:pPr>
              <a:endParaRPr lang="en-US" sz="960" dirty="0">
                <a:solidFill>
                  <a:srgbClr val="000000"/>
                </a:solidFill>
                <a:cs typeface="Arial" charset="0"/>
              </a:endParaRPr>
            </a:p>
          </p:txBody>
        </p:sp>
        <p:sp>
          <p:nvSpPr>
            <p:cNvPr id="143" name="Line 15">
              <a:extLst>
                <a:ext uri="{FF2B5EF4-FFF2-40B4-BE49-F238E27FC236}">
                  <a16:creationId xmlns:a16="http://schemas.microsoft.com/office/drawing/2014/main" id="{AAB8A483-54A8-4ECF-8192-F054159990FF}"/>
                </a:ext>
              </a:extLst>
            </p:cNvPr>
            <p:cNvSpPr>
              <a:spLocks noChangeShapeType="1"/>
            </p:cNvSpPr>
            <p:nvPr/>
          </p:nvSpPr>
          <p:spPr bwMode="auto">
            <a:xfrm flipV="1">
              <a:off x="1111657" y="1211825"/>
              <a:ext cx="0" cy="4031776"/>
            </a:xfrm>
            <a:prstGeom prst="line">
              <a:avLst/>
            </a:prstGeom>
            <a:noFill/>
            <a:ln w="38100">
              <a:solidFill>
                <a:srgbClr val="000066"/>
              </a:solidFill>
              <a:round/>
              <a:headEnd/>
              <a:tailEnd type="triangle" w="med" len="med"/>
            </a:ln>
          </p:spPr>
          <p:txBody>
            <a:bodyPr/>
            <a:lstStyle/>
            <a:p>
              <a:pPr defTabSz="1097280" eaLnBrk="0" hangingPunct="0">
                <a:lnSpc>
                  <a:spcPct val="106000"/>
                </a:lnSpc>
                <a:spcBef>
                  <a:spcPct val="50000"/>
                </a:spcBef>
                <a:buSzPct val="100000"/>
                <a:defRPr/>
              </a:pPr>
              <a:endParaRPr lang="en-US" sz="960" kern="0" dirty="0">
                <a:solidFill>
                  <a:srgbClr val="000000"/>
                </a:solidFill>
                <a:cs typeface="Arial" charset="0"/>
              </a:endParaRPr>
            </a:p>
          </p:txBody>
        </p:sp>
      </p:grpSp>
      <p:grpSp>
        <p:nvGrpSpPr>
          <p:cNvPr id="65" name="Group 90"/>
          <p:cNvGrpSpPr/>
          <p:nvPr/>
        </p:nvGrpSpPr>
        <p:grpSpPr>
          <a:xfrm>
            <a:off x="8960144" y="237259"/>
            <a:ext cx="2430508" cy="289004"/>
            <a:chOff x="9447824" y="732559"/>
            <a:chExt cx="2430508" cy="289004"/>
          </a:xfrm>
        </p:grpSpPr>
        <p:grpSp>
          <p:nvGrpSpPr>
            <p:cNvPr id="66"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130"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131"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67"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128"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129"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68"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69"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70"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sp>
        <p:nvSpPr>
          <p:cNvPr id="75" name="Freeform 42">
            <a:extLst>
              <a:ext uri="{FF2B5EF4-FFF2-40B4-BE49-F238E27FC236}">
                <a16:creationId xmlns:a16="http://schemas.microsoft.com/office/drawing/2014/main" id="{25B9BAB0-310C-4298-A769-DF03814CDF2F}"/>
              </a:ext>
            </a:extLst>
          </p:cNvPr>
          <p:cNvSpPr/>
          <p:nvPr/>
        </p:nvSpPr>
        <p:spPr bwMode="auto">
          <a:xfrm flipV="1">
            <a:off x="1389158" y="1276770"/>
            <a:ext cx="9301475" cy="1418870"/>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869650 w 7136640"/>
              <a:gd name="connsiteY2" fmla="*/ 244077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211883 w 7136640"/>
              <a:gd name="connsiteY5" fmla="*/ 190348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6500954 w 7136640"/>
              <a:gd name="connsiteY8" fmla="*/ 80343 h 360799"/>
              <a:gd name="connsiteX9" fmla="*/ 7136640 w 7136640"/>
              <a:gd name="connsiteY9"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7136640 w 7136640"/>
              <a:gd name="connsiteY8" fmla="*/ 360799 h 360799"/>
              <a:gd name="connsiteX0" fmla="*/ 0 w 7074022"/>
              <a:gd name="connsiteY0" fmla="*/ 280402 h 360576"/>
              <a:gd name="connsiteX1" fmla="*/ 700803 w 7074022"/>
              <a:gd name="connsiteY1" fmla="*/ 203308 h 360576"/>
              <a:gd name="connsiteX2" fmla="*/ 1869650 w 7074022"/>
              <a:gd name="connsiteY2" fmla="*/ 333744 h 360576"/>
              <a:gd name="connsiteX3" fmla="*/ 2744581 w 7074022"/>
              <a:gd name="connsiteY3" fmla="*/ 309399 h 360576"/>
              <a:gd name="connsiteX4" fmla="*/ 3609121 w 7074022"/>
              <a:gd name="connsiteY4" fmla="*/ 9984 h 360576"/>
              <a:gd name="connsiteX5" fmla="*/ 4468614 w 7074022"/>
              <a:gd name="connsiteY5" fmla="*/ 356320 h 360576"/>
              <a:gd name="connsiteX6" fmla="*/ 5280714 w 7074022"/>
              <a:gd name="connsiteY6" fmla="*/ 214988 h 360576"/>
              <a:gd name="connsiteX7" fmla="*/ 6344970 w 7074022"/>
              <a:gd name="connsiteY7" fmla="*/ 208938 h 360576"/>
              <a:gd name="connsiteX8" fmla="*/ 7074022 w 7074022"/>
              <a:gd name="connsiteY8" fmla="*/ 3751 h 360576"/>
              <a:gd name="connsiteX0" fmla="*/ 0 w 7117854"/>
              <a:gd name="connsiteY0" fmla="*/ 287645 h 367819"/>
              <a:gd name="connsiteX1" fmla="*/ 700803 w 7117854"/>
              <a:gd name="connsiteY1" fmla="*/ 210551 h 367819"/>
              <a:gd name="connsiteX2" fmla="*/ 1869650 w 7117854"/>
              <a:gd name="connsiteY2" fmla="*/ 340987 h 367819"/>
              <a:gd name="connsiteX3" fmla="*/ 2744581 w 7117854"/>
              <a:gd name="connsiteY3" fmla="*/ 316642 h 367819"/>
              <a:gd name="connsiteX4" fmla="*/ 3609121 w 7117854"/>
              <a:gd name="connsiteY4" fmla="*/ 17227 h 367819"/>
              <a:gd name="connsiteX5" fmla="*/ 4468614 w 7117854"/>
              <a:gd name="connsiteY5" fmla="*/ 363563 h 367819"/>
              <a:gd name="connsiteX6" fmla="*/ 5280714 w 7117854"/>
              <a:gd name="connsiteY6" fmla="*/ 222231 h 367819"/>
              <a:gd name="connsiteX7" fmla="*/ 6344970 w 7117854"/>
              <a:gd name="connsiteY7" fmla="*/ 216181 h 367819"/>
              <a:gd name="connsiteX8" fmla="*/ 7117854 w 7117854"/>
              <a:gd name="connsiteY8" fmla="*/ 3653 h 367819"/>
              <a:gd name="connsiteX0" fmla="*/ 0 w 7117854"/>
              <a:gd name="connsiteY0" fmla="*/ 287645 h 435640"/>
              <a:gd name="connsiteX1" fmla="*/ 700803 w 7117854"/>
              <a:gd name="connsiteY1" fmla="*/ 210551 h 435640"/>
              <a:gd name="connsiteX2" fmla="*/ 1869650 w 7117854"/>
              <a:gd name="connsiteY2" fmla="*/ 340987 h 435640"/>
              <a:gd name="connsiteX3" fmla="*/ 2744581 w 7117854"/>
              <a:gd name="connsiteY3" fmla="*/ 316642 h 435640"/>
              <a:gd name="connsiteX4" fmla="*/ 3659215 w 7117854"/>
              <a:gd name="connsiteY4" fmla="*/ 433808 h 435640"/>
              <a:gd name="connsiteX5" fmla="*/ 4468614 w 7117854"/>
              <a:gd name="connsiteY5" fmla="*/ 363563 h 435640"/>
              <a:gd name="connsiteX6" fmla="*/ 5280714 w 7117854"/>
              <a:gd name="connsiteY6" fmla="*/ 222231 h 435640"/>
              <a:gd name="connsiteX7" fmla="*/ 6344970 w 7117854"/>
              <a:gd name="connsiteY7" fmla="*/ 216181 h 435640"/>
              <a:gd name="connsiteX8" fmla="*/ 7117854 w 7117854"/>
              <a:gd name="connsiteY8" fmla="*/ 3653 h 435640"/>
              <a:gd name="connsiteX0" fmla="*/ 0 w 6998881"/>
              <a:gd name="connsiteY0" fmla="*/ 537227 h 537227"/>
              <a:gd name="connsiteX1" fmla="*/ 581830 w 6998881"/>
              <a:gd name="connsiteY1" fmla="*/ 210551 h 537227"/>
              <a:gd name="connsiteX2" fmla="*/ 1750677 w 6998881"/>
              <a:gd name="connsiteY2" fmla="*/ 340987 h 537227"/>
              <a:gd name="connsiteX3" fmla="*/ 2625608 w 6998881"/>
              <a:gd name="connsiteY3" fmla="*/ 316642 h 537227"/>
              <a:gd name="connsiteX4" fmla="*/ 3540242 w 6998881"/>
              <a:gd name="connsiteY4" fmla="*/ 433808 h 537227"/>
              <a:gd name="connsiteX5" fmla="*/ 4349641 w 6998881"/>
              <a:gd name="connsiteY5" fmla="*/ 363563 h 537227"/>
              <a:gd name="connsiteX6" fmla="*/ 5161741 w 6998881"/>
              <a:gd name="connsiteY6" fmla="*/ 222231 h 537227"/>
              <a:gd name="connsiteX7" fmla="*/ 6225997 w 6998881"/>
              <a:gd name="connsiteY7" fmla="*/ 216181 h 537227"/>
              <a:gd name="connsiteX8" fmla="*/ 6998881 w 6998881"/>
              <a:gd name="connsiteY8" fmla="*/ 3653 h 537227"/>
              <a:gd name="connsiteX0" fmla="*/ 0 w 6998881"/>
              <a:gd name="connsiteY0" fmla="*/ 537227 h 537227"/>
              <a:gd name="connsiteX1" fmla="*/ 1750677 w 6998881"/>
              <a:gd name="connsiteY1" fmla="*/ 340987 h 537227"/>
              <a:gd name="connsiteX2" fmla="*/ 2625608 w 6998881"/>
              <a:gd name="connsiteY2" fmla="*/ 316642 h 537227"/>
              <a:gd name="connsiteX3" fmla="*/ 3540242 w 6998881"/>
              <a:gd name="connsiteY3" fmla="*/ 433808 h 537227"/>
              <a:gd name="connsiteX4" fmla="*/ 4349641 w 6998881"/>
              <a:gd name="connsiteY4" fmla="*/ 363563 h 537227"/>
              <a:gd name="connsiteX5" fmla="*/ 5161741 w 6998881"/>
              <a:gd name="connsiteY5" fmla="*/ 222231 h 537227"/>
              <a:gd name="connsiteX6" fmla="*/ 6225997 w 6998881"/>
              <a:gd name="connsiteY6" fmla="*/ 216181 h 537227"/>
              <a:gd name="connsiteX7" fmla="*/ 6998881 w 6998881"/>
              <a:gd name="connsiteY7" fmla="*/ 3653 h 537227"/>
              <a:gd name="connsiteX0" fmla="*/ 0 w 6998881"/>
              <a:gd name="connsiteY0" fmla="*/ 537227 h 537227"/>
              <a:gd name="connsiteX1" fmla="*/ 1199644 w 6998881"/>
              <a:gd name="connsiteY1" fmla="*/ 320800 h 537227"/>
              <a:gd name="connsiteX2" fmla="*/ 2625608 w 6998881"/>
              <a:gd name="connsiteY2" fmla="*/ 316642 h 537227"/>
              <a:gd name="connsiteX3" fmla="*/ 3540242 w 6998881"/>
              <a:gd name="connsiteY3" fmla="*/ 433808 h 537227"/>
              <a:gd name="connsiteX4" fmla="*/ 4349641 w 6998881"/>
              <a:gd name="connsiteY4" fmla="*/ 363563 h 537227"/>
              <a:gd name="connsiteX5" fmla="*/ 5161741 w 6998881"/>
              <a:gd name="connsiteY5" fmla="*/ 222231 h 537227"/>
              <a:gd name="connsiteX6" fmla="*/ 6225997 w 6998881"/>
              <a:gd name="connsiteY6" fmla="*/ 216181 h 537227"/>
              <a:gd name="connsiteX7" fmla="*/ 6998881 w 6998881"/>
              <a:gd name="connsiteY7" fmla="*/ 3653 h 537227"/>
              <a:gd name="connsiteX0" fmla="*/ 0 w 6998881"/>
              <a:gd name="connsiteY0" fmla="*/ 537227 h 537227"/>
              <a:gd name="connsiteX1" fmla="*/ 1199644 w 6998881"/>
              <a:gd name="connsiteY1" fmla="*/ 320800 h 537227"/>
              <a:gd name="connsiteX2" fmla="*/ 2625608 w 6998881"/>
              <a:gd name="connsiteY2" fmla="*/ 316642 h 537227"/>
              <a:gd name="connsiteX3" fmla="*/ 3540242 w 6998881"/>
              <a:gd name="connsiteY3" fmla="*/ 433808 h 537227"/>
              <a:gd name="connsiteX4" fmla="*/ 4349641 w 6998881"/>
              <a:gd name="connsiteY4" fmla="*/ 363563 h 537227"/>
              <a:gd name="connsiteX5" fmla="*/ 5161741 w 6998881"/>
              <a:gd name="connsiteY5" fmla="*/ 222231 h 537227"/>
              <a:gd name="connsiteX6" fmla="*/ 6225997 w 6998881"/>
              <a:gd name="connsiteY6" fmla="*/ 216181 h 537227"/>
              <a:gd name="connsiteX7" fmla="*/ 6998881 w 6998881"/>
              <a:gd name="connsiteY7" fmla="*/ 3653 h 537227"/>
              <a:gd name="connsiteX0" fmla="*/ 0 w 6998881"/>
              <a:gd name="connsiteY0" fmla="*/ 537227 h 537227"/>
              <a:gd name="connsiteX1" fmla="*/ 1199644 w 6998881"/>
              <a:gd name="connsiteY1" fmla="*/ 320800 h 537227"/>
              <a:gd name="connsiteX2" fmla="*/ 2625608 w 6998881"/>
              <a:gd name="connsiteY2" fmla="*/ 316642 h 537227"/>
              <a:gd name="connsiteX3" fmla="*/ 3540242 w 6998881"/>
              <a:gd name="connsiteY3" fmla="*/ 433808 h 537227"/>
              <a:gd name="connsiteX4" fmla="*/ 4556278 w 6998881"/>
              <a:gd name="connsiteY4" fmla="*/ 341541 h 537227"/>
              <a:gd name="connsiteX5" fmla="*/ 5161741 w 6998881"/>
              <a:gd name="connsiteY5" fmla="*/ 222231 h 537227"/>
              <a:gd name="connsiteX6" fmla="*/ 6225997 w 6998881"/>
              <a:gd name="connsiteY6" fmla="*/ 216181 h 537227"/>
              <a:gd name="connsiteX7" fmla="*/ 6998881 w 6998881"/>
              <a:gd name="connsiteY7" fmla="*/ 3653 h 537227"/>
              <a:gd name="connsiteX0" fmla="*/ 0 w 6998881"/>
              <a:gd name="connsiteY0" fmla="*/ 537605 h 537605"/>
              <a:gd name="connsiteX1" fmla="*/ 1199644 w 6998881"/>
              <a:gd name="connsiteY1" fmla="*/ 321178 h 537605"/>
              <a:gd name="connsiteX2" fmla="*/ 2625608 w 6998881"/>
              <a:gd name="connsiteY2" fmla="*/ 317020 h 537605"/>
              <a:gd name="connsiteX3" fmla="*/ 3540242 w 6998881"/>
              <a:gd name="connsiteY3" fmla="*/ 434186 h 537605"/>
              <a:gd name="connsiteX4" fmla="*/ 4556278 w 6998881"/>
              <a:gd name="connsiteY4" fmla="*/ 341919 h 537605"/>
              <a:gd name="connsiteX5" fmla="*/ 5831747 w 6998881"/>
              <a:gd name="connsiteY5" fmla="*/ 358411 h 537605"/>
              <a:gd name="connsiteX6" fmla="*/ 6225997 w 6998881"/>
              <a:gd name="connsiteY6" fmla="*/ 216559 h 537605"/>
              <a:gd name="connsiteX7" fmla="*/ 6998881 w 6998881"/>
              <a:gd name="connsiteY7" fmla="*/ 4031 h 537605"/>
              <a:gd name="connsiteX0" fmla="*/ 0 w 7029079"/>
              <a:gd name="connsiteY0" fmla="*/ 536246 h 536246"/>
              <a:gd name="connsiteX1" fmla="*/ 1199644 w 7029079"/>
              <a:gd name="connsiteY1" fmla="*/ 319819 h 536246"/>
              <a:gd name="connsiteX2" fmla="*/ 2625608 w 7029079"/>
              <a:gd name="connsiteY2" fmla="*/ 315661 h 536246"/>
              <a:gd name="connsiteX3" fmla="*/ 3540242 w 7029079"/>
              <a:gd name="connsiteY3" fmla="*/ 432827 h 536246"/>
              <a:gd name="connsiteX4" fmla="*/ 4556278 w 7029079"/>
              <a:gd name="connsiteY4" fmla="*/ 340560 h 536246"/>
              <a:gd name="connsiteX5" fmla="*/ 5831747 w 7029079"/>
              <a:gd name="connsiteY5" fmla="*/ 357052 h 536246"/>
              <a:gd name="connsiteX6" fmla="*/ 6964882 w 7029079"/>
              <a:gd name="connsiteY6" fmla="*/ 323474 h 536246"/>
              <a:gd name="connsiteX7" fmla="*/ 6998881 w 7029079"/>
              <a:gd name="connsiteY7" fmla="*/ 2672 h 536246"/>
              <a:gd name="connsiteX0" fmla="*/ 0 w 6964882"/>
              <a:gd name="connsiteY0" fmla="*/ 239508 h 239508"/>
              <a:gd name="connsiteX1" fmla="*/ 1199644 w 6964882"/>
              <a:gd name="connsiteY1" fmla="*/ 23081 h 239508"/>
              <a:gd name="connsiteX2" fmla="*/ 2625608 w 6964882"/>
              <a:gd name="connsiteY2" fmla="*/ 18923 h 239508"/>
              <a:gd name="connsiteX3" fmla="*/ 3540242 w 6964882"/>
              <a:gd name="connsiteY3" fmla="*/ 136089 h 239508"/>
              <a:gd name="connsiteX4" fmla="*/ 4556278 w 6964882"/>
              <a:gd name="connsiteY4" fmla="*/ 43822 h 239508"/>
              <a:gd name="connsiteX5" fmla="*/ 5831747 w 6964882"/>
              <a:gd name="connsiteY5" fmla="*/ 60314 h 239508"/>
              <a:gd name="connsiteX6" fmla="*/ 6964882 w 6964882"/>
              <a:gd name="connsiteY6" fmla="*/ 26736 h 239508"/>
              <a:gd name="connsiteX0" fmla="*/ 0 w 6964882"/>
              <a:gd name="connsiteY0" fmla="*/ 300953 h 300953"/>
              <a:gd name="connsiteX1" fmla="*/ 1199644 w 6964882"/>
              <a:gd name="connsiteY1" fmla="*/ 84526 h 300953"/>
              <a:gd name="connsiteX2" fmla="*/ 2625608 w 6964882"/>
              <a:gd name="connsiteY2" fmla="*/ 80368 h 300953"/>
              <a:gd name="connsiteX3" fmla="*/ 3533415 w 6964882"/>
              <a:gd name="connsiteY3" fmla="*/ 0 h 300953"/>
              <a:gd name="connsiteX4" fmla="*/ 4556278 w 6964882"/>
              <a:gd name="connsiteY4" fmla="*/ 105267 h 300953"/>
              <a:gd name="connsiteX5" fmla="*/ 5831747 w 6964882"/>
              <a:gd name="connsiteY5" fmla="*/ 121759 h 300953"/>
              <a:gd name="connsiteX6" fmla="*/ 6964882 w 6964882"/>
              <a:gd name="connsiteY6" fmla="*/ 88181 h 300953"/>
              <a:gd name="connsiteX0" fmla="*/ 0 w 6958055"/>
              <a:gd name="connsiteY0" fmla="*/ 202182 h 202182"/>
              <a:gd name="connsiteX1" fmla="*/ 1192817 w 6958055"/>
              <a:gd name="connsiteY1" fmla="*/ 84526 h 202182"/>
              <a:gd name="connsiteX2" fmla="*/ 2618781 w 6958055"/>
              <a:gd name="connsiteY2" fmla="*/ 80368 h 202182"/>
              <a:gd name="connsiteX3" fmla="*/ 3526588 w 6958055"/>
              <a:gd name="connsiteY3" fmla="*/ 0 h 202182"/>
              <a:gd name="connsiteX4" fmla="*/ 4549451 w 6958055"/>
              <a:gd name="connsiteY4" fmla="*/ 105267 h 202182"/>
              <a:gd name="connsiteX5" fmla="*/ 5824920 w 6958055"/>
              <a:gd name="connsiteY5" fmla="*/ 121759 h 202182"/>
              <a:gd name="connsiteX6" fmla="*/ 6958055 w 6958055"/>
              <a:gd name="connsiteY6" fmla="*/ 88181 h 202182"/>
              <a:gd name="connsiteX0" fmla="*/ 0 w 6958055"/>
              <a:gd name="connsiteY0" fmla="*/ 319476 h 319476"/>
              <a:gd name="connsiteX1" fmla="*/ 1185989 w 6958055"/>
              <a:gd name="connsiteY1" fmla="*/ 4285 h 319476"/>
              <a:gd name="connsiteX2" fmla="*/ 2618781 w 6958055"/>
              <a:gd name="connsiteY2" fmla="*/ 197662 h 319476"/>
              <a:gd name="connsiteX3" fmla="*/ 3526588 w 6958055"/>
              <a:gd name="connsiteY3" fmla="*/ 117294 h 319476"/>
              <a:gd name="connsiteX4" fmla="*/ 4549451 w 6958055"/>
              <a:gd name="connsiteY4" fmla="*/ 222561 h 319476"/>
              <a:gd name="connsiteX5" fmla="*/ 5824920 w 6958055"/>
              <a:gd name="connsiteY5" fmla="*/ 239053 h 319476"/>
              <a:gd name="connsiteX6" fmla="*/ 6958055 w 6958055"/>
              <a:gd name="connsiteY6" fmla="*/ 205475 h 319476"/>
              <a:gd name="connsiteX0" fmla="*/ 0 w 6958055"/>
              <a:gd name="connsiteY0" fmla="*/ 319476 h 319476"/>
              <a:gd name="connsiteX1" fmla="*/ 1185989 w 6958055"/>
              <a:gd name="connsiteY1" fmla="*/ 4285 h 319476"/>
              <a:gd name="connsiteX2" fmla="*/ 2618781 w 6958055"/>
              <a:gd name="connsiteY2" fmla="*/ 197662 h 319476"/>
              <a:gd name="connsiteX3" fmla="*/ 3526588 w 6958055"/>
              <a:gd name="connsiteY3" fmla="*/ 117294 h 319476"/>
              <a:gd name="connsiteX4" fmla="*/ 4556279 w 6958055"/>
              <a:gd name="connsiteY4" fmla="*/ 25025 h 319476"/>
              <a:gd name="connsiteX5" fmla="*/ 5824920 w 6958055"/>
              <a:gd name="connsiteY5" fmla="*/ 239053 h 319476"/>
              <a:gd name="connsiteX6" fmla="*/ 6958055 w 6958055"/>
              <a:gd name="connsiteY6" fmla="*/ 205475 h 319476"/>
              <a:gd name="connsiteX0" fmla="*/ 0 w 6958055"/>
              <a:gd name="connsiteY0" fmla="*/ 328979 h 328979"/>
              <a:gd name="connsiteX1" fmla="*/ 1185989 w 6958055"/>
              <a:gd name="connsiteY1" fmla="*/ 13788 h 328979"/>
              <a:gd name="connsiteX2" fmla="*/ 2618781 w 6958055"/>
              <a:gd name="connsiteY2" fmla="*/ 207165 h 328979"/>
              <a:gd name="connsiteX3" fmla="*/ 3526588 w 6958055"/>
              <a:gd name="connsiteY3" fmla="*/ 126797 h 328979"/>
              <a:gd name="connsiteX4" fmla="*/ 4556279 w 6958055"/>
              <a:gd name="connsiteY4" fmla="*/ 34528 h 328979"/>
              <a:gd name="connsiteX5" fmla="*/ 5824920 w 6958055"/>
              <a:gd name="connsiteY5" fmla="*/ 1634 h 328979"/>
              <a:gd name="connsiteX6" fmla="*/ 6958055 w 6958055"/>
              <a:gd name="connsiteY6" fmla="*/ 214978 h 328979"/>
              <a:gd name="connsiteX0" fmla="*/ 0 w 6958055"/>
              <a:gd name="connsiteY0" fmla="*/ 131444 h 222765"/>
              <a:gd name="connsiteX1" fmla="*/ 1185989 w 6958055"/>
              <a:gd name="connsiteY1" fmla="*/ 13788 h 222765"/>
              <a:gd name="connsiteX2" fmla="*/ 2618781 w 6958055"/>
              <a:gd name="connsiteY2" fmla="*/ 207165 h 222765"/>
              <a:gd name="connsiteX3" fmla="*/ 3526588 w 6958055"/>
              <a:gd name="connsiteY3" fmla="*/ 126797 h 222765"/>
              <a:gd name="connsiteX4" fmla="*/ 4556279 w 6958055"/>
              <a:gd name="connsiteY4" fmla="*/ 34528 h 222765"/>
              <a:gd name="connsiteX5" fmla="*/ 5824920 w 6958055"/>
              <a:gd name="connsiteY5" fmla="*/ 1634 h 222765"/>
              <a:gd name="connsiteX6" fmla="*/ 6958055 w 6958055"/>
              <a:gd name="connsiteY6" fmla="*/ 214978 h 222765"/>
              <a:gd name="connsiteX0" fmla="*/ 0 w 6958055"/>
              <a:gd name="connsiteY0" fmla="*/ 131444 h 222765"/>
              <a:gd name="connsiteX1" fmla="*/ 1185989 w 6958055"/>
              <a:gd name="connsiteY1" fmla="*/ 13788 h 222765"/>
              <a:gd name="connsiteX2" fmla="*/ 2618781 w 6958055"/>
              <a:gd name="connsiteY2" fmla="*/ 157779 h 222765"/>
              <a:gd name="connsiteX3" fmla="*/ 3526588 w 6958055"/>
              <a:gd name="connsiteY3" fmla="*/ 126797 h 222765"/>
              <a:gd name="connsiteX4" fmla="*/ 4556279 w 6958055"/>
              <a:gd name="connsiteY4" fmla="*/ 34528 h 222765"/>
              <a:gd name="connsiteX5" fmla="*/ 5824920 w 6958055"/>
              <a:gd name="connsiteY5" fmla="*/ 1634 h 222765"/>
              <a:gd name="connsiteX6" fmla="*/ 6958055 w 6958055"/>
              <a:gd name="connsiteY6" fmla="*/ 214978 h 222765"/>
              <a:gd name="connsiteX0" fmla="*/ 0 w 6958055"/>
              <a:gd name="connsiteY0" fmla="*/ 131444 h 222765"/>
              <a:gd name="connsiteX1" fmla="*/ 1185989 w 6958055"/>
              <a:gd name="connsiteY1" fmla="*/ 13788 h 222765"/>
              <a:gd name="connsiteX2" fmla="*/ 2618781 w 6958055"/>
              <a:gd name="connsiteY2" fmla="*/ 157779 h 222765"/>
              <a:gd name="connsiteX3" fmla="*/ 3526588 w 6958055"/>
              <a:gd name="connsiteY3" fmla="*/ 126797 h 222765"/>
              <a:gd name="connsiteX4" fmla="*/ 4556279 w 6958055"/>
              <a:gd name="connsiteY4" fmla="*/ 34528 h 222765"/>
              <a:gd name="connsiteX5" fmla="*/ 5824920 w 6958055"/>
              <a:gd name="connsiteY5" fmla="*/ 1634 h 222765"/>
              <a:gd name="connsiteX6" fmla="*/ 6958055 w 6958055"/>
              <a:gd name="connsiteY6" fmla="*/ 214978 h 222765"/>
              <a:gd name="connsiteX0" fmla="*/ 0 w 6958055"/>
              <a:gd name="connsiteY0" fmla="*/ 131255 h 222576"/>
              <a:gd name="connsiteX1" fmla="*/ 1185989 w 6958055"/>
              <a:gd name="connsiteY1" fmla="*/ 13599 h 222576"/>
              <a:gd name="connsiteX2" fmla="*/ 2618781 w 6958055"/>
              <a:gd name="connsiteY2" fmla="*/ 157590 h 222576"/>
              <a:gd name="connsiteX3" fmla="*/ 3533417 w 6958055"/>
              <a:gd name="connsiteY3" fmla="*/ 77223 h 222576"/>
              <a:gd name="connsiteX4" fmla="*/ 4556279 w 6958055"/>
              <a:gd name="connsiteY4" fmla="*/ 34339 h 222576"/>
              <a:gd name="connsiteX5" fmla="*/ 5824920 w 6958055"/>
              <a:gd name="connsiteY5" fmla="*/ 1445 h 222576"/>
              <a:gd name="connsiteX6" fmla="*/ 6958055 w 6958055"/>
              <a:gd name="connsiteY6" fmla="*/ 214789 h 222576"/>
              <a:gd name="connsiteX0" fmla="*/ 0 w 6978539"/>
              <a:gd name="connsiteY0" fmla="*/ 131527 h 174815"/>
              <a:gd name="connsiteX1" fmla="*/ 1185989 w 6978539"/>
              <a:gd name="connsiteY1" fmla="*/ 13871 h 174815"/>
              <a:gd name="connsiteX2" fmla="*/ 2618781 w 6978539"/>
              <a:gd name="connsiteY2" fmla="*/ 157862 h 174815"/>
              <a:gd name="connsiteX3" fmla="*/ 3533417 w 6978539"/>
              <a:gd name="connsiteY3" fmla="*/ 77495 h 174815"/>
              <a:gd name="connsiteX4" fmla="*/ 4556279 w 6978539"/>
              <a:gd name="connsiteY4" fmla="*/ 34611 h 174815"/>
              <a:gd name="connsiteX5" fmla="*/ 5824920 w 6978539"/>
              <a:gd name="connsiteY5" fmla="*/ 1717 h 174815"/>
              <a:gd name="connsiteX6" fmla="*/ 6978539 w 6978539"/>
              <a:gd name="connsiteY6" fmla="*/ 165678 h 174815"/>
              <a:gd name="connsiteX0" fmla="*/ 0 w 6870720"/>
              <a:gd name="connsiteY0" fmla="*/ 19849565 h 19849565"/>
              <a:gd name="connsiteX1" fmla="*/ 1078170 w 6870720"/>
              <a:gd name="connsiteY1" fmla="*/ 13876 h 19849565"/>
              <a:gd name="connsiteX2" fmla="*/ 2510962 w 6870720"/>
              <a:gd name="connsiteY2" fmla="*/ 157867 h 19849565"/>
              <a:gd name="connsiteX3" fmla="*/ 3425598 w 6870720"/>
              <a:gd name="connsiteY3" fmla="*/ 77500 h 19849565"/>
              <a:gd name="connsiteX4" fmla="*/ 4448460 w 6870720"/>
              <a:gd name="connsiteY4" fmla="*/ 34616 h 19849565"/>
              <a:gd name="connsiteX5" fmla="*/ 5717101 w 6870720"/>
              <a:gd name="connsiteY5" fmla="*/ 1722 h 19849565"/>
              <a:gd name="connsiteX6" fmla="*/ 6870720 w 6870720"/>
              <a:gd name="connsiteY6" fmla="*/ 165683 h 19849565"/>
              <a:gd name="connsiteX0" fmla="*/ 0 w 6870720"/>
              <a:gd name="connsiteY0" fmla="*/ 21134034 h 21134034"/>
              <a:gd name="connsiteX1" fmla="*/ 1139781 w 6870720"/>
              <a:gd name="connsiteY1" fmla="*/ 20570770 h 21134034"/>
              <a:gd name="connsiteX2" fmla="*/ 2510962 w 6870720"/>
              <a:gd name="connsiteY2" fmla="*/ 1442336 h 21134034"/>
              <a:gd name="connsiteX3" fmla="*/ 3425598 w 6870720"/>
              <a:gd name="connsiteY3" fmla="*/ 1361969 h 21134034"/>
              <a:gd name="connsiteX4" fmla="*/ 4448460 w 6870720"/>
              <a:gd name="connsiteY4" fmla="*/ 1319085 h 21134034"/>
              <a:gd name="connsiteX5" fmla="*/ 5717101 w 6870720"/>
              <a:gd name="connsiteY5" fmla="*/ 1286191 h 21134034"/>
              <a:gd name="connsiteX6" fmla="*/ 6870720 w 6870720"/>
              <a:gd name="connsiteY6" fmla="*/ 1450152 h 21134034"/>
              <a:gd name="connsiteX0" fmla="*/ 0 w 6870720"/>
              <a:gd name="connsiteY0" fmla="*/ 19849565 h 19849565"/>
              <a:gd name="connsiteX1" fmla="*/ 1139781 w 6870720"/>
              <a:gd name="connsiteY1" fmla="*/ 19286301 h 19849565"/>
              <a:gd name="connsiteX2" fmla="*/ 2310727 w 6870720"/>
              <a:gd name="connsiteY2" fmla="*/ 7844557 h 19849565"/>
              <a:gd name="connsiteX3" fmla="*/ 3425598 w 6870720"/>
              <a:gd name="connsiteY3" fmla="*/ 77500 h 19849565"/>
              <a:gd name="connsiteX4" fmla="*/ 4448460 w 6870720"/>
              <a:gd name="connsiteY4" fmla="*/ 34616 h 19849565"/>
              <a:gd name="connsiteX5" fmla="*/ 5717101 w 6870720"/>
              <a:gd name="connsiteY5" fmla="*/ 1722 h 19849565"/>
              <a:gd name="connsiteX6" fmla="*/ 6870720 w 6870720"/>
              <a:gd name="connsiteY6" fmla="*/ 165683 h 19849565"/>
              <a:gd name="connsiteX0" fmla="*/ 0 w 6870720"/>
              <a:gd name="connsiteY0" fmla="*/ 19849565 h 19849565"/>
              <a:gd name="connsiteX1" fmla="*/ 1139781 w 6870720"/>
              <a:gd name="connsiteY1" fmla="*/ 19286301 h 19849565"/>
              <a:gd name="connsiteX2" fmla="*/ 2310727 w 6870720"/>
              <a:gd name="connsiteY2" fmla="*/ 7844557 h 19849565"/>
              <a:gd name="connsiteX3" fmla="*/ 3425598 w 6870720"/>
              <a:gd name="connsiteY3" fmla="*/ 77500 h 19849565"/>
              <a:gd name="connsiteX4" fmla="*/ 4448460 w 6870720"/>
              <a:gd name="connsiteY4" fmla="*/ 34616 h 19849565"/>
              <a:gd name="connsiteX5" fmla="*/ 5717101 w 6870720"/>
              <a:gd name="connsiteY5" fmla="*/ 1722 h 19849565"/>
              <a:gd name="connsiteX6" fmla="*/ 6870720 w 6870720"/>
              <a:gd name="connsiteY6" fmla="*/ 165683 h 19849565"/>
              <a:gd name="connsiteX0" fmla="*/ 0 w 6870720"/>
              <a:gd name="connsiteY0" fmla="*/ 19849565 h 19849565"/>
              <a:gd name="connsiteX1" fmla="*/ 1139781 w 6870720"/>
              <a:gd name="connsiteY1" fmla="*/ 19286301 h 19849565"/>
              <a:gd name="connsiteX2" fmla="*/ 2310727 w 6870720"/>
              <a:gd name="connsiteY2" fmla="*/ 7844557 h 19849565"/>
              <a:gd name="connsiteX3" fmla="*/ 3425598 w 6870720"/>
              <a:gd name="connsiteY3" fmla="*/ 77500 h 19849565"/>
              <a:gd name="connsiteX4" fmla="*/ 4448460 w 6870720"/>
              <a:gd name="connsiteY4" fmla="*/ 34616 h 19849565"/>
              <a:gd name="connsiteX5" fmla="*/ 5717101 w 6870720"/>
              <a:gd name="connsiteY5" fmla="*/ 1722 h 19849565"/>
              <a:gd name="connsiteX6" fmla="*/ 6870720 w 6870720"/>
              <a:gd name="connsiteY6" fmla="*/ 165683 h 19849565"/>
              <a:gd name="connsiteX0" fmla="*/ 0 w 6870720"/>
              <a:gd name="connsiteY0" fmla="*/ 19849565 h 23145564"/>
              <a:gd name="connsiteX1" fmla="*/ 1139781 w 6870720"/>
              <a:gd name="connsiteY1" fmla="*/ 19286301 h 23145564"/>
              <a:gd name="connsiteX2" fmla="*/ 2310727 w 6870720"/>
              <a:gd name="connsiteY2" fmla="*/ 23050838 h 23145564"/>
              <a:gd name="connsiteX3" fmla="*/ 3425598 w 6870720"/>
              <a:gd name="connsiteY3" fmla="*/ 77500 h 23145564"/>
              <a:gd name="connsiteX4" fmla="*/ 4448460 w 6870720"/>
              <a:gd name="connsiteY4" fmla="*/ 34616 h 23145564"/>
              <a:gd name="connsiteX5" fmla="*/ 5717101 w 6870720"/>
              <a:gd name="connsiteY5" fmla="*/ 1722 h 23145564"/>
              <a:gd name="connsiteX6" fmla="*/ 6870720 w 6870720"/>
              <a:gd name="connsiteY6" fmla="*/ 165683 h 23145564"/>
              <a:gd name="connsiteX0" fmla="*/ 0 w 6870720"/>
              <a:gd name="connsiteY0" fmla="*/ 19849565 h 23214007"/>
              <a:gd name="connsiteX1" fmla="*/ 1139781 w 6870720"/>
              <a:gd name="connsiteY1" fmla="*/ 19286301 h 23214007"/>
              <a:gd name="connsiteX2" fmla="*/ 2310727 w 6870720"/>
              <a:gd name="connsiteY2" fmla="*/ 23050838 h 23214007"/>
              <a:gd name="connsiteX3" fmla="*/ 3464105 w 6870720"/>
              <a:gd name="connsiteY3" fmla="*/ 22580566 h 23214007"/>
              <a:gd name="connsiteX4" fmla="*/ 4448460 w 6870720"/>
              <a:gd name="connsiteY4" fmla="*/ 34616 h 23214007"/>
              <a:gd name="connsiteX5" fmla="*/ 5717101 w 6870720"/>
              <a:gd name="connsiteY5" fmla="*/ 1722 h 23214007"/>
              <a:gd name="connsiteX6" fmla="*/ 6870720 w 6870720"/>
              <a:gd name="connsiteY6" fmla="*/ 165683 h 23214007"/>
              <a:gd name="connsiteX0" fmla="*/ 0 w 6870720"/>
              <a:gd name="connsiteY0" fmla="*/ 19849565 h 23214007"/>
              <a:gd name="connsiteX1" fmla="*/ 1139781 w 6870720"/>
              <a:gd name="connsiteY1" fmla="*/ 19286301 h 23214007"/>
              <a:gd name="connsiteX2" fmla="*/ 2310727 w 6870720"/>
              <a:gd name="connsiteY2" fmla="*/ 23050838 h 23214007"/>
              <a:gd name="connsiteX3" fmla="*/ 3464105 w 6870720"/>
              <a:gd name="connsiteY3" fmla="*/ 22580566 h 23214007"/>
              <a:gd name="connsiteX4" fmla="*/ 4448460 w 6870720"/>
              <a:gd name="connsiteY4" fmla="*/ 34616 h 23214007"/>
              <a:gd name="connsiteX5" fmla="*/ 5717101 w 6870720"/>
              <a:gd name="connsiteY5" fmla="*/ 1722 h 23214007"/>
              <a:gd name="connsiteX6" fmla="*/ 6870720 w 6870720"/>
              <a:gd name="connsiteY6" fmla="*/ 165683 h 23214007"/>
              <a:gd name="connsiteX0" fmla="*/ 0 w 6870720"/>
              <a:gd name="connsiteY0" fmla="*/ 19849565 h 23494664"/>
              <a:gd name="connsiteX1" fmla="*/ 1139781 w 6870720"/>
              <a:gd name="connsiteY1" fmla="*/ 19286301 h 23494664"/>
              <a:gd name="connsiteX2" fmla="*/ 2310727 w 6870720"/>
              <a:gd name="connsiteY2" fmla="*/ 23050838 h 23494664"/>
              <a:gd name="connsiteX3" fmla="*/ 3456404 w 6870720"/>
              <a:gd name="connsiteY3" fmla="*/ 23416074 h 23494664"/>
              <a:gd name="connsiteX4" fmla="*/ 4448460 w 6870720"/>
              <a:gd name="connsiteY4" fmla="*/ 34616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448460 w 6870720"/>
              <a:gd name="connsiteY4" fmla="*/ 34616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563980 w 6870720"/>
              <a:gd name="connsiteY4" fmla="*/ 17413219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563980 w 6870720"/>
              <a:gd name="connsiteY4" fmla="*/ 17413219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563980 w 6870720"/>
              <a:gd name="connsiteY4" fmla="*/ 17413219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448460 w 6870720"/>
              <a:gd name="connsiteY4" fmla="*/ 19307041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448460 w 6870720"/>
              <a:gd name="connsiteY4" fmla="*/ 19307041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448460 w 6870720"/>
              <a:gd name="connsiteY4" fmla="*/ 20031148 h 23494664"/>
              <a:gd name="connsiteX5" fmla="*/ 5717101 w 6870720"/>
              <a:gd name="connsiteY5" fmla="*/ 1722 h 23494664"/>
              <a:gd name="connsiteX6" fmla="*/ 6870720 w 6870720"/>
              <a:gd name="connsiteY6" fmla="*/ 165683 h 23494664"/>
              <a:gd name="connsiteX0" fmla="*/ 0 w 6870720"/>
              <a:gd name="connsiteY0" fmla="*/ 19683881 h 23328980"/>
              <a:gd name="connsiteX1" fmla="*/ 1139781 w 6870720"/>
              <a:gd name="connsiteY1" fmla="*/ 19120617 h 23328980"/>
              <a:gd name="connsiteX2" fmla="*/ 2310727 w 6870720"/>
              <a:gd name="connsiteY2" fmla="*/ 22885154 h 23328980"/>
              <a:gd name="connsiteX3" fmla="*/ 3340884 w 6870720"/>
              <a:gd name="connsiteY3" fmla="*/ 23250389 h 23328980"/>
              <a:gd name="connsiteX4" fmla="*/ 4448460 w 6870720"/>
              <a:gd name="connsiteY4" fmla="*/ 19865464 h 23328980"/>
              <a:gd name="connsiteX5" fmla="*/ 5670893 w 6870720"/>
              <a:gd name="connsiteY5" fmla="*/ 19554071 h 23328980"/>
              <a:gd name="connsiteX6" fmla="*/ 6870720 w 6870720"/>
              <a:gd name="connsiteY6" fmla="*/ -1 h 23328980"/>
              <a:gd name="connsiteX0" fmla="*/ 0 w 6870720"/>
              <a:gd name="connsiteY0" fmla="*/ 19683881 h 23328980"/>
              <a:gd name="connsiteX1" fmla="*/ 1139781 w 6870720"/>
              <a:gd name="connsiteY1" fmla="*/ 19120617 h 23328980"/>
              <a:gd name="connsiteX2" fmla="*/ 2310727 w 6870720"/>
              <a:gd name="connsiteY2" fmla="*/ 22885154 h 23328980"/>
              <a:gd name="connsiteX3" fmla="*/ 3340884 w 6870720"/>
              <a:gd name="connsiteY3" fmla="*/ 23250389 h 23328980"/>
              <a:gd name="connsiteX4" fmla="*/ 4448460 w 6870720"/>
              <a:gd name="connsiteY4" fmla="*/ 19865464 h 23328980"/>
              <a:gd name="connsiteX5" fmla="*/ 5570775 w 6870720"/>
              <a:gd name="connsiteY5" fmla="*/ 20278178 h 23328980"/>
              <a:gd name="connsiteX6" fmla="*/ 6870720 w 6870720"/>
              <a:gd name="connsiteY6" fmla="*/ -1 h 23328980"/>
              <a:gd name="connsiteX0" fmla="*/ 0 w 6870720"/>
              <a:gd name="connsiteY0" fmla="*/ 19683881 h 23328980"/>
              <a:gd name="connsiteX1" fmla="*/ 1139781 w 6870720"/>
              <a:gd name="connsiteY1" fmla="*/ 19120617 h 23328980"/>
              <a:gd name="connsiteX2" fmla="*/ 2310727 w 6870720"/>
              <a:gd name="connsiteY2" fmla="*/ 22885154 h 23328980"/>
              <a:gd name="connsiteX3" fmla="*/ 3340884 w 6870720"/>
              <a:gd name="connsiteY3" fmla="*/ 23250389 h 23328980"/>
              <a:gd name="connsiteX4" fmla="*/ 4448460 w 6870720"/>
              <a:gd name="connsiteY4" fmla="*/ 19865464 h 23328980"/>
              <a:gd name="connsiteX5" fmla="*/ 5601581 w 6870720"/>
              <a:gd name="connsiteY5" fmla="*/ 21225092 h 23328980"/>
              <a:gd name="connsiteX6" fmla="*/ 6870720 w 6870720"/>
              <a:gd name="connsiteY6" fmla="*/ -1 h 23328980"/>
              <a:gd name="connsiteX0" fmla="*/ 0 w 6701290"/>
              <a:gd name="connsiteY0" fmla="*/ 563589 h 4208688"/>
              <a:gd name="connsiteX1" fmla="*/ 1139781 w 6701290"/>
              <a:gd name="connsiteY1" fmla="*/ 325 h 4208688"/>
              <a:gd name="connsiteX2" fmla="*/ 2310727 w 6701290"/>
              <a:gd name="connsiteY2" fmla="*/ 3764862 h 4208688"/>
              <a:gd name="connsiteX3" fmla="*/ 3340884 w 6701290"/>
              <a:gd name="connsiteY3" fmla="*/ 4130097 h 4208688"/>
              <a:gd name="connsiteX4" fmla="*/ 4448460 w 6701290"/>
              <a:gd name="connsiteY4" fmla="*/ 745172 h 4208688"/>
              <a:gd name="connsiteX5" fmla="*/ 5601581 w 6701290"/>
              <a:gd name="connsiteY5" fmla="*/ 2104800 h 4208688"/>
              <a:gd name="connsiteX6" fmla="*/ 6701290 w 6701290"/>
              <a:gd name="connsiteY6" fmla="*/ 764838 h 4208688"/>
              <a:gd name="connsiteX0" fmla="*/ 0 w 6701290"/>
              <a:gd name="connsiteY0" fmla="*/ 583224 h 4149748"/>
              <a:gd name="connsiteX1" fmla="*/ 1139781 w 6701290"/>
              <a:gd name="connsiteY1" fmla="*/ 19960 h 4149748"/>
              <a:gd name="connsiteX2" fmla="*/ 2310727 w 6701290"/>
              <a:gd name="connsiteY2" fmla="*/ 610952 h 4149748"/>
              <a:gd name="connsiteX3" fmla="*/ 3340884 w 6701290"/>
              <a:gd name="connsiteY3" fmla="*/ 4149732 h 4149748"/>
              <a:gd name="connsiteX4" fmla="*/ 4448460 w 6701290"/>
              <a:gd name="connsiteY4" fmla="*/ 764807 h 4149748"/>
              <a:gd name="connsiteX5" fmla="*/ 5601581 w 6701290"/>
              <a:gd name="connsiteY5" fmla="*/ 2124435 h 4149748"/>
              <a:gd name="connsiteX6" fmla="*/ 6701290 w 6701290"/>
              <a:gd name="connsiteY6" fmla="*/ 784473 h 4149748"/>
              <a:gd name="connsiteX0" fmla="*/ 0 w 6701290"/>
              <a:gd name="connsiteY0" fmla="*/ 565093 h 2106304"/>
              <a:gd name="connsiteX1" fmla="*/ 1139781 w 6701290"/>
              <a:gd name="connsiteY1" fmla="*/ 1829 h 2106304"/>
              <a:gd name="connsiteX2" fmla="*/ 2310727 w 6701290"/>
              <a:gd name="connsiteY2" fmla="*/ 592821 h 2106304"/>
              <a:gd name="connsiteX3" fmla="*/ 3431953 w 6701290"/>
              <a:gd name="connsiteY3" fmla="*/ 598787 h 2106304"/>
              <a:gd name="connsiteX4" fmla="*/ 4448460 w 6701290"/>
              <a:gd name="connsiteY4" fmla="*/ 746676 h 2106304"/>
              <a:gd name="connsiteX5" fmla="*/ 5601581 w 6701290"/>
              <a:gd name="connsiteY5" fmla="*/ 2106304 h 2106304"/>
              <a:gd name="connsiteX6" fmla="*/ 6701290 w 6701290"/>
              <a:gd name="connsiteY6" fmla="*/ 766342 h 2106304"/>
              <a:gd name="connsiteX0" fmla="*/ 0 w 6701290"/>
              <a:gd name="connsiteY0" fmla="*/ 1321596 h 2862807"/>
              <a:gd name="connsiteX1" fmla="*/ 1139781 w 6701290"/>
              <a:gd name="connsiteY1" fmla="*/ 758332 h 2862807"/>
              <a:gd name="connsiteX2" fmla="*/ 2310727 w 6701290"/>
              <a:gd name="connsiteY2" fmla="*/ 1349324 h 2862807"/>
              <a:gd name="connsiteX3" fmla="*/ 3431953 w 6701290"/>
              <a:gd name="connsiteY3" fmla="*/ 1355290 h 2862807"/>
              <a:gd name="connsiteX4" fmla="*/ 4564366 w 6701290"/>
              <a:gd name="connsiteY4" fmla="*/ 605005 h 2862807"/>
              <a:gd name="connsiteX5" fmla="*/ 5601581 w 6701290"/>
              <a:gd name="connsiteY5" fmla="*/ 2862807 h 2862807"/>
              <a:gd name="connsiteX6" fmla="*/ 6701290 w 6701290"/>
              <a:gd name="connsiteY6" fmla="*/ 1522845 h 2862807"/>
              <a:gd name="connsiteX0" fmla="*/ 0 w 6701290"/>
              <a:gd name="connsiteY0" fmla="*/ 1321596 h 2862807"/>
              <a:gd name="connsiteX1" fmla="*/ 1139781 w 6701290"/>
              <a:gd name="connsiteY1" fmla="*/ 758332 h 2862807"/>
              <a:gd name="connsiteX2" fmla="*/ 2310727 w 6701290"/>
              <a:gd name="connsiteY2" fmla="*/ 1349324 h 2862807"/>
              <a:gd name="connsiteX3" fmla="*/ 3431953 w 6701290"/>
              <a:gd name="connsiteY3" fmla="*/ 1355290 h 2862807"/>
              <a:gd name="connsiteX4" fmla="*/ 4564366 w 6701290"/>
              <a:gd name="connsiteY4" fmla="*/ 605005 h 2862807"/>
              <a:gd name="connsiteX5" fmla="*/ 5601581 w 6701290"/>
              <a:gd name="connsiteY5" fmla="*/ 2862807 h 2862807"/>
              <a:gd name="connsiteX6" fmla="*/ 6701290 w 6701290"/>
              <a:gd name="connsiteY6" fmla="*/ 1522845 h 2862807"/>
              <a:gd name="connsiteX0" fmla="*/ 0 w 6701290"/>
              <a:gd name="connsiteY0" fmla="*/ 745545 h 2286756"/>
              <a:gd name="connsiteX1" fmla="*/ 1139781 w 6701290"/>
              <a:gd name="connsiteY1" fmla="*/ 182281 h 2286756"/>
              <a:gd name="connsiteX2" fmla="*/ 2310727 w 6701290"/>
              <a:gd name="connsiteY2" fmla="*/ 773273 h 2286756"/>
              <a:gd name="connsiteX3" fmla="*/ 3431953 w 6701290"/>
              <a:gd name="connsiteY3" fmla="*/ 779239 h 2286756"/>
              <a:gd name="connsiteX4" fmla="*/ 4564366 w 6701290"/>
              <a:gd name="connsiteY4" fmla="*/ 28954 h 2286756"/>
              <a:gd name="connsiteX5" fmla="*/ 5601581 w 6701290"/>
              <a:gd name="connsiteY5" fmla="*/ 2286756 h 2286756"/>
              <a:gd name="connsiteX6" fmla="*/ 6701290 w 6701290"/>
              <a:gd name="connsiteY6" fmla="*/ 946794 h 2286756"/>
              <a:gd name="connsiteX0" fmla="*/ 0 w 6701290"/>
              <a:gd name="connsiteY0" fmla="*/ 911921 h 1115390"/>
              <a:gd name="connsiteX1" fmla="*/ 1139781 w 6701290"/>
              <a:gd name="connsiteY1" fmla="*/ 348657 h 1115390"/>
              <a:gd name="connsiteX2" fmla="*/ 2310727 w 6701290"/>
              <a:gd name="connsiteY2" fmla="*/ 939649 h 1115390"/>
              <a:gd name="connsiteX3" fmla="*/ 3431953 w 6701290"/>
              <a:gd name="connsiteY3" fmla="*/ 945615 h 1115390"/>
              <a:gd name="connsiteX4" fmla="*/ 4564366 w 6701290"/>
              <a:gd name="connsiteY4" fmla="*/ 195330 h 1115390"/>
              <a:gd name="connsiteX5" fmla="*/ 5651255 w 6701290"/>
              <a:gd name="connsiteY5" fmla="*/ 58003 h 1115390"/>
              <a:gd name="connsiteX6" fmla="*/ 6701290 w 6701290"/>
              <a:gd name="connsiteY6" fmla="*/ 1113170 h 1115390"/>
              <a:gd name="connsiteX0" fmla="*/ 0 w 6547263"/>
              <a:gd name="connsiteY0" fmla="*/ 4914 h 2176471"/>
              <a:gd name="connsiteX1" fmla="*/ 985754 w 6547263"/>
              <a:gd name="connsiteY1" fmla="*/ 1409738 h 2176471"/>
              <a:gd name="connsiteX2" fmla="*/ 2156700 w 6547263"/>
              <a:gd name="connsiteY2" fmla="*/ 2000730 h 2176471"/>
              <a:gd name="connsiteX3" fmla="*/ 3277926 w 6547263"/>
              <a:gd name="connsiteY3" fmla="*/ 2006696 h 2176471"/>
              <a:gd name="connsiteX4" fmla="*/ 4410339 w 6547263"/>
              <a:gd name="connsiteY4" fmla="*/ 1256411 h 2176471"/>
              <a:gd name="connsiteX5" fmla="*/ 5497228 w 6547263"/>
              <a:gd name="connsiteY5" fmla="*/ 1119084 h 2176471"/>
              <a:gd name="connsiteX6" fmla="*/ 6547263 w 6547263"/>
              <a:gd name="connsiteY6" fmla="*/ 2174251 h 2176471"/>
              <a:gd name="connsiteX0" fmla="*/ 0 w 6547263"/>
              <a:gd name="connsiteY0" fmla="*/ 7433145 h 10131027"/>
              <a:gd name="connsiteX1" fmla="*/ 1160318 w 6547263"/>
              <a:gd name="connsiteY1" fmla="*/ 126 h 10131027"/>
              <a:gd name="connsiteX2" fmla="*/ 2156700 w 6547263"/>
              <a:gd name="connsiteY2" fmla="*/ 9428961 h 10131027"/>
              <a:gd name="connsiteX3" fmla="*/ 3277926 w 6547263"/>
              <a:gd name="connsiteY3" fmla="*/ 9434927 h 10131027"/>
              <a:gd name="connsiteX4" fmla="*/ 4410339 w 6547263"/>
              <a:gd name="connsiteY4" fmla="*/ 8684642 h 10131027"/>
              <a:gd name="connsiteX5" fmla="*/ 5497228 w 6547263"/>
              <a:gd name="connsiteY5" fmla="*/ 8547315 h 10131027"/>
              <a:gd name="connsiteX6" fmla="*/ 6547263 w 6547263"/>
              <a:gd name="connsiteY6" fmla="*/ 9602482 h 10131027"/>
              <a:gd name="connsiteX0" fmla="*/ 0 w 6547263"/>
              <a:gd name="connsiteY0" fmla="*/ 7433019 h 10130907"/>
              <a:gd name="connsiteX1" fmla="*/ 1160318 w 6547263"/>
              <a:gd name="connsiteY1" fmla="*/ 0 h 10130907"/>
              <a:gd name="connsiteX2" fmla="*/ 2156700 w 6547263"/>
              <a:gd name="connsiteY2" fmla="*/ 9428835 h 10130907"/>
              <a:gd name="connsiteX3" fmla="*/ 3277926 w 6547263"/>
              <a:gd name="connsiteY3" fmla="*/ 9434801 h 10130907"/>
              <a:gd name="connsiteX4" fmla="*/ 4410339 w 6547263"/>
              <a:gd name="connsiteY4" fmla="*/ 8684516 h 10130907"/>
              <a:gd name="connsiteX5" fmla="*/ 5497228 w 6547263"/>
              <a:gd name="connsiteY5" fmla="*/ 8547189 h 10130907"/>
              <a:gd name="connsiteX6" fmla="*/ 6547263 w 6547263"/>
              <a:gd name="connsiteY6" fmla="*/ 9602356 h 10130907"/>
              <a:gd name="connsiteX0" fmla="*/ 0 w 6547263"/>
              <a:gd name="connsiteY0" fmla="*/ 7433019 h 10130902"/>
              <a:gd name="connsiteX1" fmla="*/ 1160318 w 6547263"/>
              <a:gd name="connsiteY1" fmla="*/ 0 h 10130902"/>
              <a:gd name="connsiteX2" fmla="*/ 2156700 w 6547263"/>
              <a:gd name="connsiteY2" fmla="*/ 9428835 h 10130902"/>
              <a:gd name="connsiteX3" fmla="*/ 3277926 w 6547263"/>
              <a:gd name="connsiteY3" fmla="*/ 9434801 h 10130902"/>
              <a:gd name="connsiteX4" fmla="*/ 4410339 w 6547263"/>
              <a:gd name="connsiteY4" fmla="*/ 8684516 h 10130902"/>
              <a:gd name="connsiteX5" fmla="*/ 5497228 w 6547263"/>
              <a:gd name="connsiteY5" fmla="*/ 8547189 h 10130902"/>
              <a:gd name="connsiteX6" fmla="*/ 6547263 w 6547263"/>
              <a:gd name="connsiteY6" fmla="*/ 9602356 h 10130902"/>
              <a:gd name="connsiteX0" fmla="*/ 0 w 6547263"/>
              <a:gd name="connsiteY0" fmla="*/ 7433019 h 9604576"/>
              <a:gd name="connsiteX1" fmla="*/ 1160318 w 6547263"/>
              <a:gd name="connsiteY1" fmla="*/ 0 h 9604576"/>
              <a:gd name="connsiteX2" fmla="*/ 2259385 w 6547263"/>
              <a:gd name="connsiteY2" fmla="*/ 1964943 h 9604576"/>
              <a:gd name="connsiteX3" fmla="*/ 3277926 w 6547263"/>
              <a:gd name="connsiteY3" fmla="*/ 9434801 h 9604576"/>
              <a:gd name="connsiteX4" fmla="*/ 4410339 w 6547263"/>
              <a:gd name="connsiteY4" fmla="*/ 8684516 h 9604576"/>
              <a:gd name="connsiteX5" fmla="*/ 5497228 w 6547263"/>
              <a:gd name="connsiteY5" fmla="*/ 8547189 h 9604576"/>
              <a:gd name="connsiteX6" fmla="*/ 6547263 w 6547263"/>
              <a:gd name="connsiteY6" fmla="*/ 9602356 h 9604576"/>
              <a:gd name="connsiteX0" fmla="*/ 0 w 6547263"/>
              <a:gd name="connsiteY0" fmla="*/ 7433019 h 9604576"/>
              <a:gd name="connsiteX1" fmla="*/ 1160318 w 6547263"/>
              <a:gd name="connsiteY1" fmla="*/ 0 h 9604576"/>
              <a:gd name="connsiteX2" fmla="*/ 2259385 w 6547263"/>
              <a:gd name="connsiteY2" fmla="*/ 1964943 h 9604576"/>
              <a:gd name="connsiteX3" fmla="*/ 3277926 w 6547263"/>
              <a:gd name="connsiteY3" fmla="*/ 9434801 h 9604576"/>
              <a:gd name="connsiteX4" fmla="*/ 4410339 w 6547263"/>
              <a:gd name="connsiteY4" fmla="*/ 8684516 h 9604576"/>
              <a:gd name="connsiteX5" fmla="*/ 5497228 w 6547263"/>
              <a:gd name="connsiteY5" fmla="*/ 8547189 h 9604576"/>
              <a:gd name="connsiteX6" fmla="*/ 6547263 w 6547263"/>
              <a:gd name="connsiteY6" fmla="*/ 9602356 h 9604576"/>
              <a:gd name="connsiteX0" fmla="*/ 0 w 6547263"/>
              <a:gd name="connsiteY0" fmla="*/ 7433019 h 9604576"/>
              <a:gd name="connsiteX1" fmla="*/ 1160318 w 6547263"/>
              <a:gd name="connsiteY1" fmla="*/ 0 h 9604576"/>
              <a:gd name="connsiteX2" fmla="*/ 2259385 w 6547263"/>
              <a:gd name="connsiteY2" fmla="*/ 1964943 h 9604576"/>
              <a:gd name="connsiteX3" fmla="*/ 3360074 w 6547263"/>
              <a:gd name="connsiteY3" fmla="*/ 7169639 h 9604576"/>
              <a:gd name="connsiteX4" fmla="*/ 4410339 w 6547263"/>
              <a:gd name="connsiteY4" fmla="*/ 8684516 h 9604576"/>
              <a:gd name="connsiteX5" fmla="*/ 5497228 w 6547263"/>
              <a:gd name="connsiteY5" fmla="*/ 8547189 h 9604576"/>
              <a:gd name="connsiteX6" fmla="*/ 6547263 w 6547263"/>
              <a:gd name="connsiteY6" fmla="*/ 9602356 h 9604576"/>
              <a:gd name="connsiteX0" fmla="*/ 0 w 6547263"/>
              <a:gd name="connsiteY0" fmla="*/ 7433019 h 9604576"/>
              <a:gd name="connsiteX1" fmla="*/ 1160318 w 6547263"/>
              <a:gd name="connsiteY1" fmla="*/ 0 h 9604576"/>
              <a:gd name="connsiteX2" fmla="*/ 2259385 w 6547263"/>
              <a:gd name="connsiteY2" fmla="*/ 1964943 h 9604576"/>
              <a:gd name="connsiteX3" fmla="*/ 3360074 w 6547263"/>
              <a:gd name="connsiteY3" fmla="*/ 7169639 h 9604576"/>
              <a:gd name="connsiteX4" fmla="*/ 4410339 w 6547263"/>
              <a:gd name="connsiteY4" fmla="*/ 8684516 h 9604576"/>
              <a:gd name="connsiteX5" fmla="*/ 5497228 w 6547263"/>
              <a:gd name="connsiteY5" fmla="*/ 8547189 h 9604576"/>
              <a:gd name="connsiteX6" fmla="*/ 6547263 w 6547263"/>
              <a:gd name="connsiteY6" fmla="*/ 9602356 h 9604576"/>
              <a:gd name="connsiteX0" fmla="*/ 0 w 6547263"/>
              <a:gd name="connsiteY0" fmla="*/ 7433019 h 9604576"/>
              <a:gd name="connsiteX1" fmla="*/ 1160318 w 6547263"/>
              <a:gd name="connsiteY1" fmla="*/ 0 h 9604576"/>
              <a:gd name="connsiteX2" fmla="*/ 2259385 w 6547263"/>
              <a:gd name="connsiteY2" fmla="*/ 1964943 h 9604576"/>
              <a:gd name="connsiteX3" fmla="*/ 3360074 w 6547263"/>
              <a:gd name="connsiteY3" fmla="*/ 7169639 h 9604576"/>
              <a:gd name="connsiteX4" fmla="*/ 4410339 w 6547263"/>
              <a:gd name="connsiteY4" fmla="*/ 8684516 h 9604576"/>
              <a:gd name="connsiteX5" fmla="*/ 5497228 w 6547263"/>
              <a:gd name="connsiteY5" fmla="*/ 8547189 h 9604576"/>
              <a:gd name="connsiteX6" fmla="*/ 6547263 w 6547263"/>
              <a:gd name="connsiteY6" fmla="*/ 9602356 h 9604576"/>
              <a:gd name="connsiteX0" fmla="*/ 0 w 6547263"/>
              <a:gd name="connsiteY0" fmla="*/ 7433019 h 9604576"/>
              <a:gd name="connsiteX1" fmla="*/ 1160318 w 6547263"/>
              <a:gd name="connsiteY1" fmla="*/ 0 h 9604576"/>
              <a:gd name="connsiteX2" fmla="*/ 2259385 w 6547263"/>
              <a:gd name="connsiteY2" fmla="*/ 1964943 h 9604576"/>
              <a:gd name="connsiteX3" fmla="*/ 3354940 w 6547263"/>
              <a:gd name="connsiteY3" fmla="*/ 7392445 h 9604576"/>
              <a:gd name="connsiteX4" fmla="*/ 4410339 w 6547263"/>
              <a:gd name="connsiteY4" fmla="*/ 8684516 h 9604576"/>
              <a:gd name="connsiteX5" fmla="*/ 5497228 w 6547263"/>
              <a:gd name="connsiteY5" fmla="*/ 8547189 h 9604576"/>
              <a:gd name="connsiteX6" fmla="*/ 6547263 w 6547263"/>
              <a:gd name="connsiteY6" fmla="*/ 9602356 h 9604576"/>
              <a:gd name="connsiteX0" fmla="*/ 0 w 6547263"/>
              <a:gd name="connsiteY0" fmla="*/ 7433019 h 9604576"/>
              <a:gd name="connsiteX1" fmla="*/ 1160318 w 6547263"/>
              <a:gd name="connsiteY1" fmla="*/ 0 h 9604576"/>
              <a:gd name="connsiteX2" fmla="*/ 2259385 w 6547263"/>
              <a:gd name="connsiteY2" fmla="*/ 1964943 h 9604576"/>
              <a:gd name="connsiteX3" fmla="*/ 3360074 w 6547263"/>
              <a:gd name="connsiteY3" fmla="*/ 6129895 h 9604576"/>
              <a:gd name="connsiteX4" fmla="*/ 4410339 w 6547263"/>
              <a:gd name="connsiteY4" fmla="*/ 8684516 h 9604576"/>
              <a:gd name="connsiteX5" fmla="*/ 5497228 w 6547263"/>
              <a:gd name="connsiteY5" fmla="*/ 8547189 h 9604576"/>
              <a:gd name="connsiteX6" fmla="*/ 6547263 w 6547263"/>
              <a:gd name="connsiteY6" fmla="*/ 9602356 h 9604576"/>
              <a:gd name="connsiteX0" fmla="*/ 0 w 6547263"/>
              <a:gd name="connsiteY0" fmla="*/ 7433019 h 9604576"/>
              <a:gd name="connsiteX1" fmla="*/ 1160318 w 6547263"/>
              <a:gd name="connsiteY1" fmla="*/ 0 h 9604576"/>
              <a:gd name="connsiteX2" fmla="*/ 2259385 w 6547263"/>
              <a:gd name="connsiteY2" fmla="*/ 1964943 h 9604576"/>
              <a:gd name="connsiteX3" fmla="*/ 3360074 w 6547263"/>
              <a:gd name="connsiteY3" fmla="*/ 6129895 h 9604576"/>
              <a:gd name="connsiteX4" fmla="*/ 4410339 w 6547263"/>
              <a:gd name="connsiteY4" fmla="*/ 8684516 h 9604576"/>
              <a:gd name="connsiteX5" fmla="*/ 5497228 w 6547263"/>
              <a:gd name="connsiteY5" fmla="*/ 8547189 h 9604576"/>
              <a:gd name="connsiteX6" fmla="*/ 6547263 w 6547263"/>
              <a:gd name="connsiteY6" fmla="*/ 9602356 h 9604576"/>
              <a:gd name="connsiteX0" fmla="*/ 0 w 6547263"/>
              <a:gd name="connsiteY0" fmla="*/ 7433019 h 9604576"/>
              <a:gd name="connsiteX1" fmla="*/ 1160318 w 6547263"/>
              <a:gd name="connsiteY1" fmla="*/ 0 h 9604576"/>
              <a:gd name="connsiteX2" fmla="*/ 2259385 w 6547263"/>
              <a:gd name="connsiteY2" fmla="*/ 1964943 h 9604576"/>
              <a:gd name="connsiteX3" fmla="*/ 3360074 w 6547263"/>
              <a:gd name="connsiteY3" fmla="*/ 6129895 h 9604576"/>
              <a:gd name="connsiteX4" fmla="*/ 4410339 w 6547263"/>
              <a:gd name="connsiteY4" fmla="*/ 8684516 h 9604576"/>
              <a:gd name="connsiteX5" fmla="*/ 5497228 w 6547263"/>
              <a:gd name="connsiteY5" fmla="*/ 8547189 h 9604576"/>
              <a:gd name="connsiteX6" fmla="*/ 6547263 w 6547263"/>
              <a:gd name="connsiteY6" fmla="*/ 9602356 h 9604576"/>
              <a:gd name="connsiteX0" fmla="*/ 0 w 6547263"/>
              <a:gd name="connsiteY0" fmla="*/ 7433019 h 9604576"/>
              <a:gd name="connsiteX1" fmla="*/ 1160318 w 6547263"/>
              <a:gd name="connsiteY1" fmla="*/ 0 h 9604576"/>
              <a:gd name="connsiteX2" fmla="*/ 2259385 w 6547263"/>
              <a:gd name="connsiteY2" fmla="*/ 1964943 h 9604576"/>
              <a:gd name="connsiteX3" fmla="*/ 3360074 w 6547263"/>
              <a:gd name="connsiteY3" fmla="*/ 6129895 h 9604576"/>
              <a:gd name="connsiteX4" fmla="*/ 4507889 w 6547263"/>
              <a:gd name="connsiteY4" fmla="*/ 3745726 h 9604576"/>
              <a:gd name="connsiteX5" fmla="*/ 5497228 w 6547263"/>
              <a:gd name="connsiteY5" fmla="*/ 8547189 h 9604576"/>
              <a:gd name="connsiteX6" fmla="*/ 6547263 w 6547263"/>
              <a:gd name="connsiteY6" fmla="*/ 9602356 h 9604576"/>
              <a:gd name="connsiteX0" fmla="*/ 0 w 6547263"/>
              <a:gd name="connsiteY0" fmla="*/ 7433019 h 9604576"/>
              <a:gd name="connsiteX1" fmla="*/ 1160318 w 6547263"/>
              <a:gd name="connsiteY1" fmla="*/ 0 h 9604576"/>
              <a:gd name="connsiteX2" fmla="*/ 2259385 w 6547263"/>
              <a:gd name="connsiteY2" fmla="*/ 1964943 h 9604576"/>
              <a:gd name="connsiteX3" fmla="*/ 3360074 w 6547263"/>
              <a:gd name="connsiteY3" fmla="*/ 6129895 h 9604576"/>
              <a:gd name="connsiteX4" fmla="*/ 4507889 w 6547263"/>
              <a:gd name="connsiteY4" fmla="*/ 3745726 h 9604576"/>
              <a:gd name="connsiteX5" fmla="*/ 5497228 w 6547263"/>
              <a:gd name="connsiteY5" fmla="*/ 8547189 h 9604576"/>
              <a:gd name="connsiteX6" fmla="*/ 6547263 w 6547263"/>
              <a:gd name="connsiteY6" fmla="*/ 9602356 h 9604576"/>
              <a:gd name="connsiteX0" fmla="*/ 0 w 6547263"/>
              <a:gd name="connsiteY0" fmla="*/ 7433019 h 9604576"/>
              <a:gd name="connsiteX1" fmla="*/ 1160318 w 6547263"/>
              <a:gd name="connsiteY1" fmla="*/ 0 h 9604576"/>
              <a:gd name="connsiteX2" fmla="*/ 2259385 w 6547263"/>
              <a:gd name="connsiteY2" fmla="*/ 1964943 h 9604576"/>
              <a:gd name="connsiteX3" fmla="*/ 3360074 w 6547263"/>
              <a:gd name="connsiteY3" fmla="*/ 6129895 h 9604576"/>
              <a:gd name="connsiteX4" fmla="*/ 4507889 w 6547263"/>
              <a:gd name="connsiteY4" fmla="*/ 3745726 h 9604576"/>
              <a:gd name="connsiteX5" fmla="*/ 5497228 w 6547263"/>
              <a:gd name="connsiteY5" fmla="*/ 8547189 h 9604576"/>
              <a:gd name="connsiteX6" fmla="*/ 6547263 w 6547263"/>
              <a:gd name="connsiteY6" fmla="*/ 9602356 h 9604576"/>
              <a:gd name="connsiteX0" fmla="*/ 0 w 6547263"/>
              <a:gd name="connsiteY0" fmla="*/ 7433019 h 9602627"/>
              <a:gd name="connsiteX1" fmla="*/ 1160318 w 6547263"/>
              <a:gd name="connsiteY1" fmla="*/ 0 h 9602627"/>
              <a:gd name="connsiteX2" fmla="*/ 2259385 w 6547263"/>
              <a:gd name="connsiteY2" fmla="*/ 1964943 h 9602627"/>
              <a:gd name="connsiteX3" fmla="*/ 3360074 w 6547263"/>
              <a:gd name="connsiteY3" fmla="*/ 6129895 h 9602627"/>
              <a:gd name="connsiteX4" fmla="*/ 4507889 w 6547263"/>
              <a:gd name="connsiteY4" fmla="*/ 3745726 h 9602627"/>
              <a:gd name="connsiteX5" fmla="*/ 5594778 w 6547263"/>
              <a:gd name="connsiteY5" fmla="*/ 80686 h 9602627"/>
              <a:gd name="connsiteX6" fmla="*/ 6547263 w 6547263"/>
              <a:gd name="connsiteY6" fmla="*/ 9602356 h 9602627"/>
              <a:gd name="connsiteX0" fmla="*/ 0 w 6737230"/>
              <a:gd name="connsiteY0" fmla="*/ 7433019 h 7433019"/>
              <a:gd name="connsiteX1" fmla="*/ 1160318 w 6737230"/>
              <a:gd name="connsiteY1" fmla="*/ 0 h 7433019"/>
              <a:gd name="connsiteX2" fmla="*/ 2259385 w 6737230"/>
              <a:gd name="connsiteY2" fmla="*/ 1964943 h 7433019"/>
              <a:gd name="connsiteX3" fmla="*/ 3360074 w 6737230"/>
              <a:gd name="connsiteY3" fmla="*/ 6129895 h 7433019"/>
              <a:gd name="connsiteX4" fmla="*/ 4507889 w 6737230"/>
              <a:gd name="connsiteY4" fmla="*/ 3745726 h 7433019"/>
              <a:gd name="connsiteX5" fmla="*/ 5594778 w 6737230"/>
              <a:gd name="connsiteY5" fmla="*/ 80686 h 7433019"/>
              <a:gd name="connsiteX6" fmla="*/ 6737230 w 6737230"/>
              <a:gd name="connsiteY6" fmla="*/ 7300061 h 7433019"/>
              <a:gd name="connsiteX0" fmla="*/ 0 w 6737230"/>
              <a:gd name="connsiteY0" fmla="*/ 7433019 h 7433019"/>
              <a:gd name="connsiteX1" fmla="*/ 1160318 w 6737230"/>
              <a:gd name="connsiteY1" fmla="*/ 0 h 7433019"/>
              <a:gd name="connsiteX2" fmla="*/ 2259385 w 6737230"/>
              <a:gd name="connsiteY2" fmla="*/ 1964943 h 7433019"/>
              <a:gd name="connsiteX3" fmla="*/ 3360074 w 6737230"/>
              <a:gd name="connsiteY3" fmla="*/ 6129895 h 7433019"/>
              <a:gd name="connsiteX4" fmla="*/ 4507889 w 6737230"/>
              <a:gd name="connsiteY4" fmla="*/ 3745726 h 7433019"/>
              <a:gd name="connsiteX5" fmla="*/ 5594778 w 6737230"/>
              <a:gd name="connsiteY5" fmla="*/ 80686 h 7433019"/>
              <a:gd name="connsiteX6" fmla="*/ 6737230 w 6737230"/>
              <a:gd name="connsiteY6" fmla="*/ 7300061 h 743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230" h="7433019">
                <a:moveTo>
                  <a:pt x="0" y="7433019"/>
                </a:moveTo>
                <a:cubicBezTo>
                  <a:pt x="395330" y="7327955"/>
                  <a:pt x="990895" y="67930"/>
                  <a:pt x="1160318" y="0"/>
                </a:cubicBezTo>
                <a:cubicBezTo>
                  <a:pt x="1387415" y="366"/>
                  <a:pt x="1892759" y="943294"/>
                  <a:pt x="2259385" y="1964943"/>
                </a:cubicBezTo>
                <a:cubicBezTo>
                  <a:pt x="2626011" y="2986592"/>
                  <a:pt x="3125199" y="5208918"/>
                  <a:pt x="3360074" y="6129895"/>
                </a:cubicBezTo>
                <a:cubicBezTo>
                  <a:pt x="3554702" y="6431235"/>
                  <a:pt x="4258582" y="3712680"/>
                  <a:pt x="4507889" y="3745726"/>
                </a:cubicBezTo>
                <a:cubicBezTo>
                  <a:pt x="4737577" y="3751195"/>
                  <a:pt x="5329074" y="73191"/>
                  <a:pt x="5594778" y="80686"/>
                </a:cubicBezTo>
                <a:cubicBezTo>
                  <a:pt x="5907504" y="56122"/>
                  <a:pt x="6542708" y="6096577"/>
                  <a:pt x="6737230" y="7300061"/>
                </a:cubicBezTo>
              </a:path>
            </a:pathLst>
          </a:custGeom>
          <a:noFill/>
          <a:ln w="136525" cap="rnd" cmpd="sng" algn="ctr">
            <a:solidFill>
              <a:srgbClr val="43B02A">
                <a:alpha val="50000"/>
              </a:srgb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76" name="Freeform 42">
            <a:extLst>
              <a:ext uri="{FF2B5EF4-FFF2-40B4-BE49-F238E27FC236}">
                <a16:creationId xmlns:a16="http://schemas.microsoft.com/office/drawing/2014/main" id="{5B4C98B8-59E8-455B-8213-47C848B254A1}"/>
              </a:ext>
            </a:extLst>
          </p:cNvPr>
          <p:cNvSpPr/>
          <p:nvPr/>
        </p:nvSpPr>
        <p:spPr bwMode="auto">
          <a:xfrm flipV="1">
            <a:off x="1463574" y="3682159"/>
            <a:ext cx="9180972" cy="1367964"/>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869650 w 7136640"/>
              <a:gd name="connsiteY2" fmla="*/ 244077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211883 w 7136640"/>
              <a:gd name="connsiteY5" fmla="*/ 190348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6500954 w 7136640"/>
              <a:gd name="connsiteY8" fmla="*/ 80343 h 360799"/>
              <a:gd name="connsiteX9" fmla="*/ 7136640 w 7136640"/>
              <a:gd name="connsiteY9"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7136640 w 7136640"/>
              <a:gd name="connsiteY8" fmla="*/ 360799 h 360799"/>
              <a:gd name="connsiteX0" fmla="*/ 0 w 7074022"/>
              <a:gd name="connsiteY0" fmla="*/ 280402 h 360576"/>
              <a:gd name="connsiteX1" fmla="*/ 700803 w 7074022"/>
              <a:gd name="connsiteY1" fmla="*/ 203308 h 360576"/>
              <a:gd name="connsiteX2" fmla="*/ 1869650 w 7074022"/>
              <a:gd name="connsiteY2" fmla="*/ 333744 h 360576"/>
              <a:gd name="connsiteX3" fmla="*/ 2744581 w 7074022"/>
              <a:gd name="connsiteY3" fmla="*/ 309399 h 360576"/>
              <a:gd name="connsiteX4" fmla="*/ 3609121 w 7074022"/>
              <a:gd name="connsiteY4" fmla="*/ 9984 h 360576"/>
              <a:gd name="connsiteX5" fmla="*/ 4468614 w 7074022"/>
              <a:gd name="connsiteY5" fmla="*/ 356320 h 360576"/>
              <a:gd name="connsiteX6" fmla="*/ 5280714 w 7074022"/>
              <a:gd name="connsiteY6" fmla="*/ 214988 h 360576"/>
              <a:gd name="connsiteX7" fmla="*/ 6344970 w 7074022"/>
              <a:gd name="connsiteY7" fmla="*/ 208938 h 360576"/>
              <a:gd name="connsiteX8" fmla="*/ 7074022 w 7074022"/>
              <a:gd name="connsiteY8" fmla="*/ 3751 h 360576"/>
              <a:gd name="connsiteX0" fmla="*/ 0 w 7117854"/>
              <a:gd name="connsiteY0" fmla="*/ 287645 h 367819"/>
              <a:gd name="connsiteX1" fmla="*/ 700803 w 7117854"/>
              <a:gd name="connsiteY1" fmla="*/ 210551 h 367819"/>
              <a:gd name="connsiteX2" fmla="*/ 1869650 w 7117854"/>
              <a:gd name="connsiteY2" fmla="*/ 340987 h 367819"/>
              <a:gd name="connsiteX3" fmla="*/ 2744581 w 7117854"/>
              <a:gd name="connsiteY3" fmla="*/ 316642 h 367819"/>
              <a:gd name="connsiteX4" fmla="*/ 3609121 w 7117854"/>
              <a:gd name="connsiteY4" fmla="*/ 17227 h 367819"/>
              <a:gd name="connsiteX5" fmla="*/ 4468614 w 7117854"/>
              <a:gd name="connsiteY5" fmla="*/ 363563 h 367819"/>
              <a:gd name="connsiteX6" fmla="*/ 5280714 w 7117854"/>
              <a:gd name="connsiteY6" fmla="*/ 222231 h 367819"/>
              <a:gd name="connsiteX7" fmla="*/ 6344970 w 7117854"/>
              <a:gd name="connsiteY7" fmla="*/ 216181 h 367819"/>
              <a:gd name="connsiteX8" fmla="*/ 7117854 w 7117854"/>
              <a:gd name="connsiteY8" fmla="*/ 3653 h 367819"/>
              <a:gd name="connsiteX0" fmla="*/ 0 w 7117854"/>
              <a:gd name="connsiteY0" fmla="*/ 287645 h 435640"/>
              <a:gd name="connsiteX1" fmla="*/ 700803 w 7117854"/>
              <a:gd name="connsiteY1" fmla="*/ 210551 h 435640"/>
              <a:gd name="connsiteX2" fmla="*/ 1869650 w 7117854"/>
              <a:gd name="connsiteY2" fmla="*/ 340987 h 435640"/>
              <a:gd name="connsiteX3" fmla="*/ 2744581 w 7117854"/>
              <a:gd name="connsiteY3" fmla="*/ 316642 h 435640"/>
              <a:gd name="connsiteX4" fmla="*/ 3659215 w 7117854"/>
              <a:gd name="connsiteY4" fmla="*/ 433808 h 435640"/>
              <a:gd name="connsiteX5" fmla="*/ 4468614 w 7117854"/>
              <a:gd name="connsiteY5" fmla="*/ 363563 h 435640"/>
              <a:gd name="connsiteX6" fmla="*/ 5280714 w 7117854"/>
              <a:gd name="connsiteY6" fmla="*/ 222231 h 435640"/>
              <a:gd name="connsiteX7" fmla="*/ 6344970 w 7117854"/>
              <a:gd name="connsiteY7" fmla="*/ 216181 h 435640"/>
              <a:gd name="connsiteX8" fmla="*/ 7117854 w 7117854"/>
              <a:gd name="connsiteY8" fmla="*/ 3653 h 435640"/>
              <a:gd name="connsiteX0" fmla="*/ 0 w 6998881"/>
              <a:gd name="connsiteY0" fmla="*/ 537227 h 537227"/>
              <a:gd name="connsiteX1" fmla="*/ 581830 w 6998881"/>
              <a:gd name="connsiteY1" fmla="*/ 210551 h 537227"/>
              <a:gd name="connsiteX2" fmla="*/ 1750677 w 6998881"/>
              <a:gd name="connsiteY2" fmla="*/ 340987 h 537227"/>
              <a:gd name="connsiteX3" fmla="*/ 2625608 w 6998881"/>
              <a:gd name="connsiteY3" fmla="*/ 316642 h 537227"/>
              <a:gd name="connsiteX4" fmla="*/ 3540242 w 6998881"/>
              <a:gd name="connsiteY4" fmla="*/ 433808 h 537227"/>
              <a:gd name="connsiteX5" fmla="*/ 4349641 w 6998881"/>
              <a:gd name="connsiteY5" fmla="*/ 363563 h 537227"/>
              <a:gd name="connsiteX6" fmla="*/ 5161741 w 6998881"/>
              <a:gd name="connsiteY6" fmla="*/ 222231 h 537227"/>
              <a:gd name="connsiteX7" fmla="*/ 6225997 w 6998881"/>
              <a:gd name="connsiteY7" fmla="*/ 216181 h 537227"/>
              <a:gd name="connsiteX8" fmla="*/ 6998881 w 6998881"/>
              <a:gd name="connsiteY8" fmla="*/ 3653 h 537227"/>
              <a:gd name="connsiteX0" fmla="*/ 0 w 6998881"/>
              <a:gd name="connsiteY0" fmla="*/ 537227 h 537227"/>
              <a:gd name="connsiteX1" fmla="*/ 1750677 w 6998881"/>
              <a:gd name="connsiteY1" fmla="*/ 340987 h 537227"/>
              <a:gd name="connsiteX2" fmla="*/ 2625608 w 6998881"/>
              <a:gd name="connsiteY2" fmla="*/ 316642 h 537227"/>
              <a:gd name="connsiteX3" fmla="*/ 3540242 w 6998881"/>
              <a:gd name="connsiteY3" fmla="*/ 433808 h 537227"/>
              <a:gd name="connsiteX4" fmla="*/ 4349641 w 6998881"/>
              <a:gd name="connsiteY4" fmla="*/ 363563 h 537227"/>
              <a:gd name="connsiteX5" fmla="*/ 5161741 w 6998881"/>
              <a:gd name="connsiteY5" fmla="*/ 222231 h 537227"/>
              <a:gd name="connsiteX6" fmla="*/ 6225997 w 6998881"/>
              <a:gd name="connsiteY6" fmla="*/ 216181 h 537227"/>
              <a:gd name="connsiteX7" fmla="*/ 6998881 w 6998881"/>
              <a:gd name="connsiteY7" fmla="*/ 3653 h 537227"/>
              <a:gd name="connsiteX0" fmla="*/ 0 w 6998881"/>
              <a:gd name="connsiteY0" fmla="*/ 537227 h 537227"/>
              <a:gd name="connsiteX1" fmla="*/ 1199644 w 6998881"/>
              <a:gd name="connsiteY1" fmla="*/ 320800 h 537227"/>
              <a:gd name="connsiteX2" fmla="*/ 2625608 w 6998881"/>
              <a:gd name="connsiteY2" fmla="*/ 316642 h 537227"/>
              <a:gd name="connsiteX3" fmla="*/ 3540242 w 6998881"/>
              <a:gd name="connsiteY3" fmla="*/ 433808 h 537227"/>
              <a:gd name="connsiteX4" fmla="*/ 4349641 w 6998881"/>
              <a:gd name="connsiteY4" fmla="*/ 363563 h 537227"/>
              <a:gd name="connsiteX5" fmla="*/ 5161741 w 6998881"/>
              <a:gd name="connsiteY5" fmla="*/ 222231 h 537227"/>
              <a:gd name="connsiteX6" fmla="*/ 6225997 w 6998881"/>
              <a:gd name="connsiteY6" fmla="*/ 216181 h 537227"/>
              <a:gd name="connsiteX7" fmla="*/ 6998881 w 6998881"/>
              <a:gd name="connsiteY7" fmla="*/ 3653 h 537227"/>
              <a:gd name="connsiteX0" fmla="*/ 0 w 6998881"/>
              <a:gd name="connsiteY0" fmla="*/ 537227 h 537227"/>
              <a:gd name="connsiteX1" fmla="*/ 1199644 w 6998881"/>
              <a:gd name="connsiteY1" fmla="*/ 320800 h 537227"/>
              <a:gd name="connsiteX2" fmla="*/ 2625608 w 6998881"/>
              <a:gd name="connsiteY2" fmla="*/ 316642 h 537227"/>
              <a:gd name="connsiteX3" fmla="*/ 3540242 w 6998881"/>
              <a:gd name="connsiteY3" fmla="*/ 433808 h 537227"/>
              <a:gd name="connsiteX4" fmla="*/ 4349641 w 6998881"/>
              <a:gd name="connsiteY4" fmla="*/ 363563 h 537227"/>
              <a:gd name="connsiteX5" fmla="*/ 5161741 w 6998881"/>
              <a:gd name="connsiteY5" fmla="*/ 222231 h 537227"/>
              <a:gd name="connsiteX6" fmla="*/ 6225997 w 6998881"/>
              <a:gd name="connsiteY6" fmla="*/ 216181 h 537227"/>
              <a:gd name="connsiteX7" fmla="*/ 6998881 w 6998881"/>
              <a:gd name="connsiteY7" fmla="*/ 3653 h 537227"/>
              <a:gd name="connsiteX0" fmla="*/ 0 w 6998881"/>
              <a:gd name="connsiteY0" fmla="*/ 537227 h 537227"/>
              <a:gd name="connsiteX1" fmla="*/ 1199644 w 6998881"/>
              <a:gd name="connsiteY1" fmla="*/ 320800 h 537227"/>
              <a:gd name="connsiteX2" fmla="*/ 2625608 w 6998881"/>
              <a:gd name="connsiteY2" fmla="*/ 316642 h 537227"/>
              <a:gd name="connsiteX3" fmla="*/ 3540242 w 6998881"/>
              <a:gd name="connsiteY3" fmla="*/ 433808 h 537227"/>
              <a:gd name="connsiteX4" fmla="*/ 4556278 w 6998881"/>
              <a:gd name="connsiteY4" fmla="*/ 341541 h 537227"/>
              <a:gd name="connsiteX5" fmla="*/ 5161741 w 6998881"/>
              <a:gd name="connsiteY5" fmla="*/ 222231 h 537227"/>
              <a:gd name="connsiteX6" fmla="*/ 6225997 w 6998881"/>
              <a:gd name="connsiteY6" fmla="*/ 216181 h 537227"/>
              <a:gd name="connsiteX7" fmla="*/ 6998881 w 6998881"/>
              <a:gd name="connsiteY7" fmla="*/ 3653 h 537227"/>
              <a:gd name="connsiteX0" fmla="*/ 0 w 6998881"/>
              <a:gd name="connsiteY0" fmla="*/ 537605 h 537605"/>
              <a:gd name="connsiteX1" fmla="*/ 1199644 w 6998881"/>
              <a:gd name="connsiteY1" fmla="*/ 321178 h 537605"/>
              <a:gd name="connsiteX2" fmla="*/ 2625608 w 6998881"/>
              <a:gd name="connsiteY2" fmla="*/ 317020 h 537605"/>
              <a:gd name="connsiteX3" fmla="*/ 3540242 w 6998881"/>
              <a:gd name="connsiteY3" fmla="*/ 434186 h 537605"/>
              <a:gd name="connsiteX4" fmla="*/ 4556278 w 6998881"/>
              <a:gd name="connsiteY4" fmla="*/ 341919 h 537605"/>
              <a:gd name="connsiteX5" fmla="*/ 5831747 w 6998881"/>
              <a:gd name="connsiteY5" fmla="*/ 358411 h 537605"/>
              <a:gd name="connsiteX6" fmla="*/ 6225997 w 6998881"/>
              <a:gd name="connsiteY6" fmla="*/ 216559 h 537605"/>
              <a:gd name="connsiteX7" fmla="*/ 6998881 w 6998881"/>
              <a:gd name="connsiteY7" fmla="*/ 4031 h 537605"/>
              <a:gd name="connsiteX0" fmla="*/ 0 w 7029079"/>
              <a:gd name="connsiteY0" fmla="*/ 536246 h 536246"/>
              <a:gd name="connsiteX1" fmla="*/ 1199644 w 7029079"/>
              <a:gd name="connsiteY1" fmla="*/ 319819 h 536246"/>
              <a:gd name="connsiteX2" fmla="*/ 2625608 w 7029079"/>
              <a:gd name="connsiteY2" fmla="*/ 315661 h 536246"/>
              <a:gd name="connsiteX3" fmla="*/ 3540242 w 7029079"/>
              <a:gd name="connsiteY3" fmla="*/ 432827 h 536246"/>
              <a:gd name="connsiteX4" fmla="*/ 4556278 w 7029079"/>
              <a:gd name="connsiteY4" fmla="*/ 340560 h 536246"/>
              <a:gd name="connsiteX5" fmla="*/ 5831747 w 7029079"/>
              <a:gd name="connsiteY5" fmla="*/ 357052 h 536246"/>
              <a:gd name="connsiteX6" fmla="*/ 6964882 w 7029079"/>
              <a:gd name="connsiteY6" fmla="*/ 323474 h 536246"/>
              <a:gd name="connsiteX7" fmla="*/ 6998881 w 7029079"/>
              <a:gd name="connsiteY7" fmla="*/ 2672 h 536246"/>
              <a:gd name="connsiteX0" fmla="*/ 0 w 6964882"/>
              <a:gd name="connsiteY0" fmla="*/ 239508 h 239508"/>
              <a:gd name="connsiteX1" fmla="*/ 1199644 w 6964882"/>
              <a:gd name="connsiteY1" fmla="*/ 23081 h 239508"/>
              <a:gd name="connsiteX2" fmla="*/ 2625608 w 6964882"/>
              <a:gd name="connsiteY2" fmla="*/ 18923 h 239508"/>
              <a:gd name="connsiteX3" fmla="*/ 3540242 w 6964882"/>
              <a:gd name="connsiteY3" fmla="*/ 136089 h 239508"/>
              <a:gd name="connsiteX4" fmla="*/ 4556278 w 6964882"/>
              <a:gd name="connsiteY4" fmla="*/ 43822 h 239508"/>
              <a:gd name="connsiteX5" fmla="*/ 5831747 w 6964882"/>
              <a:gd name="connsiteY5" fmla="*/ 60314 h 239508"/>
              <a:gd name="connsiteX6" fmla="*/ 6964882 w 6964882"/>
              <a:gd name="connsiteY6" fmla="*/ 26736 h 239508"/>
              <a:gd name="connsiteX0" fmla="*/ 0 w 6964882"/>
              <a:gd name="connsiteY0" fmla="*/ 300953 h 300953"/>
              <a:gd name="connsiteX1" fmla="*/ 1199644 w 6964882"/>
              <a:gd name="connsiteY1" fmla="*/ 84526 h 300953"/>
              <a:gd name="connsiteX2" fmla="*/ 2625608 w 6964882"/>
              <a:gd name="connsiteY2" fmla="*/ 80368 h 300953"/>
              <a:gd name="connsiteX3" fmla="*/ 3533415 w 6964882"/>
              <a:gd name="connsiteY3" fmla="*/ 0 h 300953"/>
              <a:gd name="connsiteX4" fmla="*/ 4556278 w 6964882"/>
              <a:gd name="connsiteY4" fmla="*/ 105267 h 300953"/>
              <a:gd name="connsiteX5" fmla="*/ 5831747 w 6964882"/>
              <a:gd name="connsiteY5" fmla="*/ 121759 h 300953"/>
              <a:gd name="connsiteX6" fmla="*/ 6964882 w 6964882"/>
              <a:gd name="connsiteY6" fmla="*/ 88181 h 300953"/>
              <a:gd name="connsiteX0" fmla="*/ 0 w 6958055"/>
              <a:gd name="connsiteY0" fmla="*/ 202182 h 202182"/>
              <a:gd name="connsiteX1" fmla="*/ 1192817 w 6958055"/>
              <a:gd name="connsiteY1" fmla="*/ 84526 h 202182"/>
              <a:gd name="connsiteX2" fmla="*/ 2618781 w 6958055"/>
              <a:gd name="connsiteY2" fmla="*/ 80368 h 202182"/>
              <a:gd name="connsiteX3" fmla="*/ 3526588 w 6958055"/>
              <a:gd name="connsiteY3" fmla="*/ 0 h 202182"/>
              <a:gd name="connsiteX4" fmla="*/ 4549451 w 6958055"/>
              <a:gd name="connsiteY4" fmla="*/ 105267 h 202182"/>
              <a:gd name="connsiteX5" fmla="*/ 5824920 w 6958055"/>
              <a:gd name="connsiteY5" fmla="*/ 121759 h 202182"/>
              <a:gd name="connsiteX6" fmla="*/ 6958055 w 6958055"/>
              <a:gd name="connsiteY6" fmla="*/ 88181 h 202182"/>
              <a:gd name="connsiteX0" fmla="*/ 0 w 6958055"/>
              <a:gd name="connsiteY0" fmla="*/ 319476 h 319476"/>
              <a:gd name="connsiteX1" fmla="*/ 1185989 w 6958055"/>
              <a:gd name="connsiteY1" fmla="*/ 4285 h 319476"/>
              <a:gd name="connsiteX2" fmla="*/ 2618781 w 6958055"/>
              <a:gd name="connsiteY2" fmla="*/ 197662 h 319476"/>
              <a:gd name="connsiteX3" fmla="*/ 3526588 w 6958055"/>
              <a:gd name="connsiteY3" fmla="*/ 117294 h 319476"/>
              <a:gd name="connsiteX4" fmla="*/ 4549451 w 6958055"/>
              <a:gd name="connsiteY4" fmla="*/ 222561 h 319476"/>
              <a:gd name="connsiteX5" fmla="*/ 5824920 w 6958055"/>
              <a:gd name="connsiteY5" fmla="*/ 239053 h 319476"/>
              <a:gd name="connsiteX6" fmla="*/ 6958055 w 6958055"/>
              <a:gd name="connsiteY6" fmla="*/ 205475 h 319476"/>
              <a:gd name="connsiteX0" fmla="*/ 0 w 6958055"/>
              <a:gd name="connsiteY0" fmla="*/ 319476 h 319476"/>
              <a:gd name="connsiteX1" fmla="*/ 1185989 w 6958055"/>
              <a:gd name="connsiteY1" fmla="*/ 4285 h 319476"/>
              <a:gd name="connsiteX2" fmla="*/ 2618781 w 6958055"/>
              <a:gd name="connsiteY2" fmla="*/ 197662 h 319476"/>
              <a:gd name="connsiteX3" fmla="*/ 3526588 w 6958055"/>
              <a:gd name="connsiteY3" fmla="*/ 117294 h 319476"/>
              <a:gd name="connsiteX4" fmla="*/ 4556279 w 6958055"/>
              <a:gd name="connsiteY4" fmla="*/ 25025 h 319476"/>
              <a:gd name="connsiteX5" fmla="*/ 5824920 w 6958055"/>
              <a:gd name="connsiteY5" fmla="*/ 239053 h 319476"/>
              <a:gd name="connsiteX6" fmla="*/ 6958055 w 6958055"/>
              <a:gd name="connsiteY6" fmla="*/ 205475 h 319476"/>
              <a:gd name="connsiteX0" fmla="*/ 0 w 6958055"/>
              <a:gd name="connsiteY0" fmla="*/ 328979 h 328979"/>
              <a:gd name="connsiteX1" fmla="*/ 1185989 w 6958055"/>
              <a:gd name="connsiteY1" fmla="*/ 13788 h 328979"/>
              <a:gd name="connsiteX2" fmla="*/ 2618781 w 6958055"/>
              <a:gd name="connsiteY2" fmla="*/ 207165 h 328979"/>
              <a:gd name="connsiteX3" fmla="*/ 3526588 w 6958055"/>
              <a:gd name="connsiteY3" fmla="*/ 126797 h 328979"/>
              <a:gd name="connsiteX4" fmla="*/ 4556279 w 6958055"/>
              <a:gd name="connsiteY4" fmla="*/ 34528 h 328979"/>
              <a:gd name="connsiteX5" fmla="*/ 5824920 w 6958055"/>
              <a:gd name="connsiteY5" fmla="*/ 1634 h 328979"/>
              <a:gd name="connsiteX6" fmla="*/ 6958055 w 6958055"/>
              <a:gd name="connsiteY6" fmla="*/ 214978 h 328979"/>
              <a:gd name="connsiteX0" fmla="*/ 0 w 6958055"/>
              <a:gd name="connsiteY0" fmla="*/ 131444 h 222765"/>
              <a:gd name="connsiteX1" fmla="*/ 1185989 w 6958055"/>
              <a:gd name="connsiteY1" fmla="*/ 13788 h 222765"/>
              <a:gd name="connsiteX2" fmla="*/ 2618781 w 6958055"/>
              <a:gd name="connsiteY2" fmla="*/ 207165 h 222765"/>
              <a:gd name="connsiteX3" fmla="*/ 3526588 w 6958055"/>
              <a:gd name="connsiteY3" fmla="*/ 126797 h 222765"/>
              <a:gd name="connsiteX4" fmla="*/ 4556279 w 6958055"/>
              <a:gd name="connsiteY4" fmla="*/ 34528 h 222765"/>
              <a:gd name="connsiteX5" fmla="*/ 5824920 w 6958055"/>
              <a:gd name="connsiteY5" fmla="*/ 1634 h 222765"/>
              <a:gd name="connsiteX6" fmla="*/ 6958055 w 6958055"/>
              <a:gd name="connsiteY6" fmla="*/ 214978 h 222765"/>
              <a:gd name="connsiteX0" fmla="*/ 0 w 6958055"/>
              <a:gd name="connsiteY0" fmla="*/ 131444 h 222765"/>
              <a:gd name="connsiteX1" fmla="*/ 1185989 w 6958055"/>
              <a:gd name="connsiteY1" fmla="*/ 13788 h 222765"/>
              <a:gd name="connsiteX2" fmla="*/ 2618781 w 6958055"/>
              <a:gd name="connsiteY2" fmla="*/ 157779 h 222765"/>
              <a:gd name="connsiteX3" fmla="*/ 3526588 w 6958055"/>
              <a:gd name="connsiteY3" fmla="*/ 126797 h 222765"/>
              <a:gd name="connsiteX4" fmla="*/ 4556279 w 6958055"/>
              <a:gd name="connsiteY4" fmla="*/ 34528 h 222765"/>
              <a:gd name="connsiteX5" fmla="*/ 5824920 w 6958055"/>
              <a:gd name="connsiteY5" fmla="*/ 1634 h 222765"/>
              <a:gd name="connsiteX6" fmla="*/ 6958055 w 6958055"/>
              <a:gd name="connsiteY6" fmla="*/ 214978 h 222765"/>
              <a:gd name="connsiteX0" fmla="*/ 0 w 6958055"/>
              <a:gd name="connsiteY0" fmla="*/ 131444 h 222765"/>
              <a:gd name="connsiteX1" fmla="*/ 1185989 w 6958055"/>
              <a:gd name="connsiteY1" fmla="*/ 13788 h 222765"/>
              <a:gd name="connsiteX2" fmla="*/ 2618781 w 6958055"/>
              <a:gd name="connsiteY2" fmla="*/ 157779 h 222765"/>
              <a:gd name="connsiteX3" fmla="*/ 3526588 w 6958055"/>
              <a:gd name="connsiteY3" fmla="*/ 126797 h 222765"/>
              <a:gd name="connsiteX4" fmla="*/ 4556279 w 6958055"/>
              <a:gd name="connsiteY4" fmla="*/ 34528 h 222765"/>
              <a:gd name="connsiteX5" fmla="*/ 5824920 w 6958055"/>
              <a:gd name="connsiteY5" fmla="*/ 1634 h 222765"/>
              <a:gd name="connsiteX6" fmla="*/ 6958055 w 6958055"/>
              <a:gd name="connsiteY6" fmla="*/ 214978 h 222765"/>
              <a:gd name="connsiteX0" fmla="*/ 0 w 6958055"/>
              <a:gd name="connsiteY0" fmla="*/ 131255 h 222576"/>
              <a:gd name="connsiteX1" fmla="*/ 1185989 w 6958055"/>
              <a:gd name="connsiteY1" fmla="*/ 13599 h 222576"/>
              <a:gd name="connsiteX2" fmla="*/ 2618781 w 6958055"/>
              <a:gd name="connsiteY2" fmla="*/ 157590 h 222576"/>
              <a:gd name="connsiteX3" fmla="*/ 3533417 w 6958055"/>
              <a:gd name="connsiteY3" fmla="*/ 77223 h 222576"/>
              <a:gd name="connsiteX4" fmla="*/ 4556279 w 6958055"/>
              <a:gd name="connsiteY4" fmla="*/ 34339 h 222576"/>
              <a:gd name="connsiteX5" fmla="*/ 5824920 w 6958055"/>
              <a:gd name="connsiteY5" fmla="*/ 1445 h 222576"/>
              <a:gd name="connsiteX6" fmla="*/ 6958055 w 6958055"/>
              <a:gd name="connsiteY6" fmla="*/ 214789 h 222576"/>
              <a:gd name="connsiteX0" fmla="*/ 0 w 6978539"/>
              <a:gd name="connsiteY0" fmla="*/ 131527 h 174815"/>
              <a:gd name="connsiteX1" fmla="*/ 1185989 w 6978539"/>
              <a:gd name="connsiteY1" fmla="*/ 13871 h 174815"/>
              <a:gd name="connsiteX2" fmla="*/ 2618781 w 6978539"/>
              <a:gd name="connsiteY2" fmla="*/ 157862 h 174815"/>
              <a:gd name="connsiteX3" fmla="*/ 3533417 w 6978539"/>
              <a:gd name="connsiteY3" fmla="*/ 77495 h 174815"/>
              <a:gd name="connsiteX4" fmla="*/ 4556279 w 6978539"/>
              <a:gd name="connsiteY4" fmla="*/ 34611 h 174815"/>
              <a:gd name="connsiteX5" fmla="*/ 5824920 w 6978539"/>
              <a:gd name="connsiteY5" fmla="*/ 1717 h 174815"/>
              <a:gd name="connsiteX6" fmla="*/ 6978539 w 6978539"/>
              <a:gd name="connsiteY6" fmla="*/ 165678 h 174815"/>
              <a:gd name="connsiteX0" fmla="*/ 0 w 6870720"/>
              <a:gd name="connsiteY0" fmla="*/ 19849565 h 19849565"/>
              <a:gd name="connsiteX1" fmla="*/ 1078170 w 6870720"/>
              <a:gd name="connsiteY1" fmla="*/ 13876 h 19849565"/>
              <a:gd name="connsiteX2" fmla="*/ 2510962 w 6870720"/>
              <a:gd name="connsiteY2" fmla="*/ 157867 h 19849565"/>
              <a:gd name="connsiteX3" fmla="*/ 3425598 w 6870720"/>
              <a:gd name="connsiteY3" fmla="*/ 77500 h 19849565"/>
              <a:gd name="connsiteX4" fmla="*/ 4448460 w 6870720"/>
              <a:gd name="connsiteY4" fmla="*/ 34616 h 19849565"/>
              <a:gd name="connsiteX5" fmla="*/ 5717101 w 6870720"/>
              <a:gd name="connsiteY5" fmla="*/ 1722 h 19849565"/>
              <a:gd name="connsiteX6" fmla="*/ 6870720 w 6870720"/>
              <a:gd name="connsiteY6" fmla="*/ 165683 h 19849565"/>
              <a:gd name="connsiteX0" fmla="*/ 0 w 6870720"/>
              <a:gd name="connsiteY0" fmla="*/ 21134034 h 21134034"/>
              <a:gd name="connsiteX1" fmla="*/ 1139781 w 6870720"/>
              <a:gd name="connsiteY1" fmla="*/ 20570770 h 21134034"/>
              <a:gd name="connsiteX2" fmla="*/ 2510962 w 6870720"/>
              <a:gd name="connsiteY2" fmla="*/ 1442336 h 21134034"/>
              <a:gd name="connsiteX3" fmla="*/ 3425598 w 6870720"/>
              <a:gd name="connsiteY3" fmla="*/ 1361969 h 21134034"/>
              <a:gd name="connsiteX4" fmla="*/ 4448460 w 6870720"/>
              <a:gd name="connsiteY4" fmla="*/ 1319085 h 21134034"/>
              <a:gd name="connsiteX5" fmla="*/ 5717101 w 6870720"/>
              <a:gd name="connsiteY5" fmla="*/ 1286191 h 21134034"/>
              <a:gd name="connsiteX6" fmla="*/ 6870720 w 6870720"/>
              <a:gd name="connsiteY6" fmla="*/ 1450152 h 21134034"/>
              <a:gd name="connsiteX0" fmla="*/ 0 w 6870720"/>
              <a:gd name="connsiteY0" fmla="*/ 19849565 h 19849565"/>
              <a:gd name="connsiteX1" fmla="*/ 1139781 w 6870720"/>
              <a:gd name="connsiteY1" fmla="*/ 19286301 h 19849565"/>
              <a:gd name="connsiteX2" fmla="*/ 2310727 w 6870720"/>
              <a:gd name="connsiteY2" fmla="*/ 7844557 h 19849565"/>
              <a:gd name="connsiteX3" fmla="*/ 3425598 w 6870720"/>
              <a:gd name="connsiteY3" fmla="*/ 77500 h 19849565"/>
              <a:gd name="connsiteX4" fmla="*/ 4448460 w 6870720"/>
              <a:gd name="connsiteY4" fmla="*/ 34616 h 19849565"/>
              <a:gd name="connsiteX5" fmla="*/ 5717101 w 6870720"/>
              <a:gd name="connsiteY5" fmla="*/ 1722 h 19849565"/>
              <a:gd name="connsiteX6" fmla="*/ 6870720 w 6870720"/>
              <a:gd name="connsiteY6" fmla="*/ 165683 h 19849565"/>
              <a:gd name="connsiteX0" fmla="*/ 0 w 6870720"/>
              <a:gd name="connsiteY0" fmla="*/ 19849565 h 19849565"/>
              <a:gd name="connsiteX1" fmla="*/ 1139781 w 6870720"/>
              <a:gd name="connsiteY1" fmla="*/ 19286301 h 19849565"/>
              <a:gd name="connsiteX2" fmla="*/ 2310727 w 6870720"/>
              <a:gd name="connsiteY2" fmla="*/ 7844557 h 19849565"/>
              <a:gd name="connsiteX3" fmla="*/ 3425598 w 6870720"/>
              <a:gd name="connsiteY3" fmla="*/ 77500 h 19849565"/>
              <a:gd name="connsiteX4" fmla="*/ 4448460 w 6870720"/>
              <a:gd name="connsiteY4" fmla="*/ 34616 h 19849565"/>
              <a:gd name="connsiteX5" fmla="*/ 5717101 w 6870720"/>
              <a:gd name="connsiteY5" fmla="*/ 1722 h 19849565"/>
              <a:gd name="connsiteX6" fmla="*/ 6870720 w 6870720"/>
              <a:gd name="connsiteY6" fmla="*/ 165683 h 19849565"/>
              <a:gd name="connsiteX0" fmla="*/ 0 w 6870720"/>
              <a:gd name="connsiteY0" fmla="*/ 19849565 h 19849565"/>
              <a:gd name="connsiteX1" fmla="*/ 1139781 w 6870720"/>
              <a:gd name="connsiteY1" fmla="*/ 19286301 h 19849565"/>
              <a:gd name="connsiteX2" fmla="*/ 2310727 w 6870720"/>
              <a:gd name="connsiteY2" fmla="*/ 7844557 h 19849565"/>
              <a:gd name="connsiteX3" fmla="*/ 3425598 w 6870720"/>
              <a:gd name="connsiteY3" fmla="*/ 77500 h 19849565"/>
              <a:gd name="connsiteX4" fmla="*/ 4448460 w 6870720"/>
              <a:gd name="connsiteY4" fmla="*/ 34616 h 19849565"/>
              <a:gd name="connsiteX5" fmla="*/ 5717101 w 6870720"/>
              <a:gd name="connsiteY5" fmla="*/ 1722 h 19849565"/>
              <a:gd name="connsiteX6" fmla="*/ 6870720 w 6870720"/>
              <a:gd name="connsiteY6" fmla="*/ 165683 h 19849565"/>
              <a:gd name="connsiteX0" fmla="*/ 0 w 6870720"/>
              <a:gd name="connsiteY0" fmla="*/ 19849565 h 23145564"/>
              <a:gd name="connsiteX1" fmla="*/ 1139781 w 6870720"/>
              <a:gd name="connsiteY1" fmla="*/ 19286301 h 23145564"/>
              <a:gd name="connsiteX2" fmla="*/ 2310727 w 6870720"/>
              <a:gd name="connsiteY2" fmla="*/ 23050838 h 23145564"/>
              <a:gd name="connsiteX3" fmla="*/ 3425598 w 6870720"/>
              <a:gd name="connsiteY3" fmla="*/ 77500 h 23145564"/>
              <a:gd name="connsiteX4" fmla="*/ 4448460 w 6870720"/>
              <a:gd name="connsiteY4" fmla="*/ 34616 h 23145564"/>
              <a:gd name="connsiteX5" fmla="*/ 5717101 w 6870720"/>
              <a:gd name="connsiteY5" fmla="*/ 1722 h 23145564"/>
              <a:gd name="connsiteX6" fmla="*/ 6870720 w 6870720"/>
              <a:gd name="connsiteY6" fmla="*/ 165683 h 23145564"/>
              <a:gd name="connsiteX0" fmla="*/ 0 w 6870720"/>
              <a:gd name="connsiteY0" fmla="*/ 19849565 h 23214007"/>
              <a:gd name="connsiteX1" fmla="*/ 1139781 w 6870720"/>
              <a:gd name="connsiteY1" fmla="*/ 19286301 h 23214007"/>
              <a:gd name="connsiteX2" fmla="*/ 2310727 w 6870720"/>
              <a:gd name="connsiteY2" fmla="*/ 23050838 h 23214007"/>
              <a:gd name="connsiteX3" fmla="*/ 3464105 w 6870720"/>
              <a:gd name="connsiteY3" fmla="*/ 22580566 h 23214007"/>
              <a:gd name="connsiteX4" fmla="*/ 4448460 w 6870720"/>
              <a:gd name="connsiteY4" fmla="*/ 34616 h 23214007"/>
              <a:gd name="connsiteX5" fmla="*/ 5717101 w 6870720"/>
              <a:gd name="connsiteY5" fmla="*/ 1722 h 23214007"/>
              <a:gd name="connsiteX6" fmla="*/ 6870720 w 6870720"/>
              <a:gd name="connsiteY6" fmla="*/ 165683 h 23214007"/>
              <a:gd name="connsiteX0" fmla="*/ 0 w 6870720"/>
              <a:gd name="connsiteY0" fmla="*/ 19849565 h 23214007"/>
              <a:gd name="connsiteX1" fmla="*/ 1139781 w 6870720"/>
              <a:gd name="connsiteY1" fmla="*/ 19286301 h 23214007"/>
              <a:gd name="connsiteX2" fmla="*/ 2310727 w 6870720"/>
              <a:gd name="connsiteY2" fmla="*/ 23050838 h 23214007"/>
              <a:gd name="connsiteX3" fmla="*/ 3464105 w 6870720"/>
              <a:gd name="connsiteY3" fmla="*/ 22580566 h 23214007"/>
              <a:gd name="connsiteX4" fmla="*/ 4448460 w 6870720"/>
              <a:gd name="connsiteY4" fmla="*/ 34616 h 23214007"/>
              <a:gd name="connsiteX5" fmla="*/ 5717101 w 6870720"/>
              <a:gd name="connsiteY5" fmla="*/ 1722 h 23214007"/>
              <a:gd name="connsiteX6" fmla="*/ 6870720 w 6870720"/>
              <a:gd name="connsiteY6" fmla="*/ 165683 h 23214007"/>
              <a:gd name="connsiteX0" fmla="*/ 0 w 6870720"/>
              <a:gd name="connsiteY0" fmla="*/ 19849565 h 23494664"/>
              <a:gd name="connsiteX1" fmla="*/ 1139781 w 6870720"/>
              <a:gd name="connsiteY1" fmla="*/ 19286301 h 23494664"/>
              <a:gd name="connsiteX2" fmla="*/ 2310727 w 6870720"/>
              <a:gd name="connsiteY2" fmla="*/ 23050838 h 23494664"/>
              <a:gd name="connsiteX3" fmla="*/ 3456404 w 6870720"/>
              <a:gd name="connsiteY3" fmla="*/ 23416074 h 23494664"/>
              <a:gd name="connsiteX4" fmla="*/ 4448460 w 6870720"/>
              <a:gd name="connsiteY4" fmla="*/ 34616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448460 w 6870720"/>
              <a:gd name="connsiteY4" fmla="*/ 34616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563980 w 6870720"/>
              <a:gd name="connsiteY4" fmla="*/ 17413219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563980 w 6870720"/>
              <a:gd name="connsiteY4" fmla="*/ 17413219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563980 w 6870720"/>
              <a:gd name="connsiteY4" fmla="*/ 17413219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448460 w 6870720"/>
              <a:gd name="connsiteY4" fmla="*/ 19307041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448460 w 6870720"/>
              <a:gd name="connsiteY4" fmla="*/ 19307041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448460 w 6870720"/>
              <a:gd name="connsiteY4" fmla="*/ 20031148 h 23494664"/>
              <a:gd name="connsiteX5" fmla="*/ 5717101 w 6870720"/>
              <a:gd name="connsiteY5" fmla="*/ 1722 h 23494664"/>
              <a:gd name="connsiteX6" fmla="*/ 6870720 w 6870720"/>
              <a:gd name="connsiteY6" fmla="*/ 165683 h 23494664"/>
              <a:gd name="connsiteX0" fmla="*/ 0 w 6870720"/>
              <a:gd name="connsiteY0" fmla="*/ 19683881 h 23328980"/>
              <a:gd name="connsiteX1" fmla="*/ 1139781 w 6870720"/>
              <a:gd name="connsiteY1" fmla="*/ 19120617 h 23328980"/>
              <a:gd name="connsiteX2" fmla="*/ 2310727 w 6870720"/>
              <a:gd name="connsiteY2" fmla="*/ 22885154 h 23328980"/>
              <a:gd name="connsiteX3" fmla="*/ 3340884 w 6870720"/>
              <a:gd name="connsiteY3" fmla="*/ 23250389 h 23328980"/>
              <a:gd name="connsiteX4" fmla="*/ 4448460 w 6870720"/>
              <a:gd name="connsiteY4" fmla="*/ 19865464 h 23328980"/>
              <a:gd name="connsiteX5" fmla="*/ 5670893 w 6870720"/>
              <a:gd name="connsiteY5" fmla="*/ 19554071 h 23328980"/>
              <a:gd name="connsiteX6" fmla="*/ 6870720 w 6870720"/>
              <a:gd name="connsiteY6" fmla="*/ -1 h 23328980"/>
              <a:gd name="connsiteX0" fmla="*/ 0 w 6870720"/>
              <a:gd name="connsiteY0" fmla="*/ 19683881 h 23328980"/>
              <a:gd name="connsiteX1" fmla="*/ 1139781 w 6870720"/>
              <a:gd name="connsiteY1" fmla="*/ 19120617 h 23328980"/>
              <a:gd name="connsiteX2" fmla="*/ 2310727 w 6870720"/>
              <a:gd name="connsiteY2" fmla="*/ 22885154 h 23328980"/>
              <a:gd name="connsiteX3" fmla="*/ 3340884 w 6870720"/>
              <a:gd name="connsiteY3" fmla="*/ 23250389 h 23328980"/>
              <a:gd name="connsiteX4" fmla="*/ 4448460 w 6870720"/>
              <a:gd name="connsiteY4" fmla="*/ 19865464 h 23328980"/>
              <a:gd name="connsiteX5" fmla="*/ 5570775 w 6870720"/>
              <a:gd name="connsiteY5" fmla="*/ 20278178 h 23328980"/>
              <a:gd name="connsiteX6" fmla="*/ 6870720 w 6870720"/>
              <a:gd name="connsiteY6" fmla="*/ -1 h 23328980"/>
              <a:gd name="connsiteX0" fmla="*/ 0 w 6870720"/>
              <a:gd name="connsiteY0" fmla="*/ 19683881 h 23328980"/>
              <a:gd name="connsiteX1" fmla="*/ 1139781 w 6870720"/>
              <a:gd name="connsiteY1" fmla="*/ 19120617 h 23328980"/>
              <a:gd name="connsiteX2" fmla="*/ 2310727 w 6870720"/>
              <a:gd name="connsiteY2" fmla="*/ 22885154 h 23328980"/>
              <a:gd name="connsiteX3" fmla="*/ 3340884 w 6870720"/>
              <a:gd name="connsiteY3" fmla="*/ 23250389 h 23328980"/>
              <a:gd name="connsiteX4" fmla="*/ 4448460 w 6870720"/>
              <a:gd name="connsiteY4" fmla="*/ 19865464 h 23328980"/>
              <a:gd name="connsiteX5" fmla="*/ 5601581 w 6870720"/>
              <a:gd name="connsiteY5" fmla="*/ 21225092 h 23328980"/>
              <a:gd name="connsiteX6" fmla="*/ 6870720 w 6870720"/>
              <a:gd name="connsiteY6" fmla="*/ -1 h 23328980"/>
              <a:gd name="connsiteX0" fmla="*/ 0 w 6701290"/>
              <a:gd name="connsiteY0" fmla="*/ 563589 h 4208688"/>
              <a:gd name="connsiteX1" fmla="*/ 1139781 w 6701290"/>
              <a:gd name="connsiteY1" fmla="*/ 325 h 4208688"/>
              <a:gd name="connsiteX2" fmla="*/ 2310727 w 6701290"/>
              <a:gd name="connsiteY2" fmla="*/ 3764862 h 4208688"/>
              <a:gd name="connsiteX3" fmla="*/ 3340884 w 6701290"/>
              <a:gd name="connsiteY3" fmla="*/ 4130097 h 4208688"/>
              <a:gd name="connsiteX4" fmla="*/ 4448460 w 6701290"/>
              <a:gd name="connsiteY4" fmla="*/ 745172 h 4208688"/>
              <a:gd name="connsiteX5" fmla="*/ 5601581 w 6701290"/>
              <a:gd name="connsiteY5" fmla="*/ 2104800 h 4208688"/>
              <a:gd name="connsiteX6" fmla="*/ 6701290 w 6701290"/>
              <a:gd name="connsiteY6" fmla="*/ 764838 h 4208688"/>
              <a:gd name="connsiteX0" fmla="*/ 0 w 6701290"/>
              <a:gd name="connsiteY0" fmla="*/ 583224 h 4149748"/>
              <a:gd name="connsiteX1" fmla="*/ 1139781 w 6701290"/>
              <a:gd name="connsiteY1" fmla="*/ 19960 h 4149748"/>
              <a:gd name="connsiteX2" fmla="*/ 2310727 w 6701290"/>
              <a:gd name="connsiteY2" fmla="*/ 610952 h 4149748"/>
              <a:gd name="connsiteX3" fmla="*/ 3340884 w 6701290"/>
              <a:gd name="connsiteY3" fmla="*/ 4149732 h 4149748"/>
              <a:gd name="connsiteX4" fmla="*/ 4448460 w 6701290"/>
              <a:gd name="connsiteY4" fmla="*/ 764807 h 4149748"/>
              <a:gd name="connsiteX5" fmla="*/ 5601581 w 6701290"/>
              <a:gd name="connsiteY5" fmla="*/ 2124435 h 4149748"/>
              <a:gd name="connsiteX6" fmla="*/ 6701290 w 6701290"/>
              <a:gd name="connsiteY6" fmla="*/ 784473 h 4149748"/>
              <a:gd name="connsiteX0" fmla="*/ 0 w 6701290"/>
              <a:gd name="connsiteY0" fmla="*/ 565093 h 2106304"/>
              <a:gd name="connsiteX1" fmla="*/ 1139781 w 6701290"/>
              <a:gd name="connsiteY1" fmla="*/ 1829 h 2106304"/>
              <a:gd name="connsiteX2" fmla="*/ 2310727 w 6701290"/>
              <a:gd name="connsiteY2" fmla="*/ 592821 h 2106304"/>
              <a:gd name="connsiteX3" fmla="*/ 3431953 w 6701290"/>
              <a:gd name="connsiteY3" fmla="*/ 598787 h 2106304"/>
              <a:gd name="connsiteX4" fmla="*/ 4448460 w 6701290"/>
              <a:gd name="connsiteY4" fmla="*/ 746676 h 2106304"/>
              <a:gd name="connsiteX5" fmla="*/ 5601581 w 6701290"/>
              <a:gd name="connsiteY5" fmla="*/ 2106304 h 2106304"/>
              <a:gd name="connsiteX6" fmla="*/ 6701290 w 6701290"/>
              <a:gd name="connsiteY6" fmla="*/ 766342 h 2106304"/>
              <a:gd name="connsiteX0" fmla="*/ 0 w 6701290"/>
              <a:gd name="connsiteY0" fmla="*/ 1321596 h 2862807"/>
              <a:gd name="connsiteX1" fmla="*/ 1139781 w 6701290"/>
              <a:gd name="connsiteY1" fmla="*/ 758332 h 2862807"/>
              <a:gd name="connsiteX2" fmla="*/ 2310727 w 6701290"/>
              <a:gd name="connsiteY2" fmla="*/ 1349324 h 2862807"/>
              <a:gd name="connsiteX3" fmla="*/ 3431953 w 6701290"/>
              <a:gd name="connsiteY3" fmla="*/ 1355290 h 2862807"/>
              <a:gd name="connsiteX4" fmla="*/ 4564366 w 6701290"/>
              <a:gd name="connsiteY4" fmla="*/ 605005 h 2862807"/>
              <a:gd name="connsiteX5" fmla="*/ 5601581 w 6701290"/>
              <a:gd name="connsiteY5" fmla="*/ 2862807 h 2862807"/>
              <a:gd name="connsiteX6" fmla="*/ 6701290 w 6701290"/>
              <a:gd name="connsiteY6" fmla="*/ 1522845 h 2862807"/>
              <a:gd name="connsiteX0" fmla="*/ 0 w 6701290"/>
              <a:gd name="connsiteY0" fmla="*/ 1321596 h 2862807"/>
              <a:gd name="connsiteX1" fmla="*/ 1139781 w 6701290"/>
              <a:gd name="connsiteY1" fmla="*/ 758332 h 2862807"/>
              <a:gd name="connsiteX2" fmla="*/ 2310727 w 6701290"/>
              <a:gd name="connsiteY2" fmla="*/ 1349324 h 2862807"/>
              <a:gd name="connsiteX3" fmla="*/ 3431953 w 6701290"/>
              <a:gd name="connsiteY3" fmla="*/ 1355290 h 2862807"/>
              <a:gd name="connsiteX4" fmla="*/ 4564366 w 6701290"/>
              <a:gd name="connsiteY4" fmla="*/ 605005 h 2862807"/>
              <a:gd name="connsiteX5" fmla="*/ 5601581 w 6701290"/>
              <a:gd name="connsiteY5" fmla="*/ 2862807 h 2862807"/>
              <a:gd name="connsiteX6" fmla="*/ 6701290 w 6701290"/>
              <a:gd name="connsiteY6" fmla="*/ 1522845 h 2862807"/>
              <a:gd name="connsiteX0" fmla="*/ 0 w 6701290"/>
              <a:gd name="connsiteY0" fmla="*/ 745545 h 2286756"/>
              <a:gd name="connsiteX1" fmla="*/ 1139781 w 6701290"/>
              <a:gd name="connsiteY1" fmla="*/ 182281 h 2286756"/>
              <a:gd name="connsiteX2" fmla="*/ 2310727 w 6701290"/>
              <a:gd name="connsiteY2" fmla="*/ 773273 h 2286756"/>
              <a:gd name="connsiteX3" fmla="*/ 3431953 w 6701290"/>
              <a:gd name="connsiteY3" fmla="*/ 779239 h 2286756"/>
              <a:gd name="connsiteX4" fmla="*/ 4564366 w 6701290"/>
              <a:gd name="connsiteY4" fmla="*/ 28954 h 2286756"/>
              <a:gd name="connsiteX5" fmla="*/ 5601581 w 6701290"/>
              <a:gd name="connsiteY5" fmla="*/ 2286756 h 2286756"/>
              <a:gd name="connsiteX6" fmla="*/ 6701290 w 6701290"/>
              <a:gd name="connsiteY6" fmla="*/ 946794 h 2286756"/>
              <a:gd name="connsiteX0" fmla="*/ 0 w 6701290"/>
              <a:gd name="connsiteY0" fmla="*/ 911921 h 1115390"/>
              <a:gd name="connsiteX1" fmla="*/ 1139781 w 6701290"/>
              <a:gd name="connsiteY1" fmla="*/ 348657 h 1115390"/>
              <a:gd name="connsiteX2" fmla="*/ 2310727 w 6701290"/>
              <a:gd name="connsiteY2" fmla="*/ 939649 h 1115390"/>
              <a:gd name="connsiteX3" fmla="*/ 3431953 w 6701290"/>
              <a:gd name="connsiteY3" fmla="*/ 945615 h 1115390"/>
              <a:gd name="connsiteX4" fmla="*/ 4564366 w 6701290"/>
              <a:gd name="connsiteY4" fmla="*/ 195330 h 1115390"/>
              <a:gd name="connsiteX5" fmla="*/ 5651255 w 6701290"/>
              <a:gd name="connsiteY5" fmla="*/ 58003 h 1115390"/>
              <a:gd name="connsiteX6" fmla="*/ 6701290 w 6701290"/>
              <a:gd name="connsiteY6" fmla="*/ 1113170 h 1115390"/>
              <a:gd name="connsiteX0" fmla="*/ 0 w 6660216"/>
              <a:gd name="connsiteY0" fmla="*/ 11643576 h 11643576"/>
              <a:gd name="connsiteX1" fmla="*/ 1098707 w 6660216"/>
              <a:gd name="connsiteY1" fmla="*/ 348657 h 11643576"/>
              <a:gd name="connsiteX2" fmla="*/ 2269653 w 6660216"/>
              <a:gd name="connsiteY2" fmla="*/ 939649 h 11643576"/>
              <a:gd name="connsiteX3" fmla="*/ 3390879 w 6660216"/>
              <a:gd name="connsiteY3" fmla="*/ 945615 h 11643576"/>
              <a:gd name="connsiteX4" fmla="*/ 4523292 w 6660216"/>
              <a:gd name="connsiteY4" fmla="*/ 195330 h 11643576"/>
              <a:gd name="connsiteX5" fmla="*/ 5610181 w 6660216"/>
              <a:gd name="connsiteY5" fmla="*/ 58003 h 11643576"/>
              <a:gd name="connsiteX6" fmla="*/ 6660216 w 6660216"/>
              <a:gd name="connsiteY6" fmla="*/ 1113170 h 11643576"/>
              <a:gd name="connsiteX0" fmla="*/ 0 w 6670485"/>
              <a:gd name="connsiteY0" fmla="*/ 12349117 h 12349117"/>
              <a:gd name="connsiteX1" fmla="*/ 1108976 w 6670485"/>
              <a:gd name="connsiteY1" fmla="*/ 348657 h 12349117"/>
              <a:gd name="connsiteX2" fmla="*/ 2279922 w 6670485"/>
              <a:gd name="connsiteY2" fmla="*/ 939649 h 12349117"/>
              <a:gd name="connsiteX3" fmla="*/ 3401148 w 6670485"/>
              <a:gd name="connsiteY3" fmla="*/ 945615 h 12349117"/>
              <a:gd name="connsiteX4" fmla="*/ 4533561 w 6670485"/>
              <a:gd name="connsiteY4" fmla="*/ 195330 h 12349117"/>
              <a:gd name="connsiteX5" fmla="*/ 5620450 w 6670485"/>
              <a:gd name="connsiteY5" fmla="*/ 58003 h 12349117"/>
              <a:gd name="connsiteX6" fmla="*/ 6670485 w 6670485"/>
              <a:gd name="connsiteY6" fmla="*/ 1113170 h 12349117"/>
              <a:gd name="connsiteX0" fmla="*/ 0 w 6670485"/>
              <a:gd name="connsiteY0" fmla="*/ 12349117 h 12349117"/>
              <a:gd name="connsiteX1" fmla="*/ 1078171 w 6670485"/>
              <a:gd name="connsiteY1" fmla="*/ 11377382 h 12349117"/>
              <a:gd name="connsiteX2" fmla="*/ 2279922 w 6670485"/>
              <a:gd name="connsiteY2" fmla="*/ 939649 h 12349117"/>
              <a:gd name="connsiteX3" fmla="*/ 3401148 w 6670485"/>
              <a:gd name="connsiteY3" fmla="*/ 945615 h 12349117"/>
              <a:gd name="connsiteX4" fmla="*/ 4533561 w 6670485"/>
              <a:gd name="connsiteY4" fmla="*/ 195330 h 12349117"/>
              <a:gd name="connsiteX5" fmla="*/ 5620450 w 6670485"/>
              <a:gd name="connsiteY5" fmla="*/ 58003 h 12349117"/>
              <a:gd name="connsiteX6" fmla="*/ 6670485 w 6670485"/>
              <a:gd name="connsiteY6" fmla="*/ 1113170 h 12349117"/>
              <a:gd name="connsiteX0" fmla="*/ 0 w 6670485"/>
              <a:gd name="connsiteY0" fmla="*/ 12349117 h 12349117"/>
              <a:gd name="connsiteX1" fmla="*/ 1078171 w 6670485"/>
              <a:gd name="connsiteY1" fmla="*/ 11377382 h 12349117"/>
              <a:gd name="connsiteX2" fmla="*/ 2202908 w 6670485"/>
              <a:gd name="connsiteY2" fmla="*/ 11411371 h 12349117"/>
              <a:gd name="connsiteX3" fmla="*/ 3401148 w 6670485"/>
              <a:gd name="connsiteY3" fmla="*/ 945615 h 12349117"/>
              <a:gd name="connsiteX4" fmla="*/ 4533561 w 6670485"/>
              <a:gd name="connsiteY4" fmla="*/ 195330 h 12349117"/>
              <a:gd name="connsiteX5" fmla="*/ 5620450 w 6670485"/>
              <a:gd name="connsiteY5" fmla="*/ 58003 h 12349117"/>
              <a:gd name="connsiteX6" fmla="*/ 6670485 w 6670485"/>
              <a:gd name="connsiteY6" fmla="*/ 1113170 h 12349117"/>
              <a:gd name="connsiteX0" fmla="*/ 0 w 6670485"/>
              <a:gd name="connsiteY0" fmla="*/ 12349117 h 12349117"/>
              <a:gd name="connsiteX1" fmla="*/ 1078171 w 6670485"/>
              <a:gd name="connsiteY1" fmla="*/ 11377382 h 12349117"/>
              <a:gd name="connsiteX2" fmla="*/ 2202908 w 6670485"/>
              <a:gd name="connsiteY2" fmla="*/ 11411371 h 12349117"/>
              <a:gd name="connsiteX3" fmla="*/ 3401148 w 6670485"/>
              <a:gd name="connsiteY3" fmla="*/ 945615 h 12349117"/>
              <a:gd name="connsiteX4" fmla="*/ 4533561 w 6670485"/>
              <a:gd name="connsiteY4" fmla="*/ 195330 h 12349117"/>
              <a:gd name="connsiteX5" fmla="*/ 5620450 w 6670485"/>
              <a:gd name="connsiteY5" fmla="*/ 58003 h 12349117"/>
              <a:gd name="connsiteX6" fmla="*/ 6670485 w 6670485"/>
              <a:gd name="connsiteY6" fmla="*/ 1113170 h 12349117"/>
              <a:gd name="connsiteX0" fmla="*/ 0 w 6670485"/>
              <a:gd name="connsiteY0" fmla="*/ 12349117 h 12349117"/>
              <a:gd name="connsiteX1" fmla="*/ 1078171 w 6670485"/>
              <a:gd name="connsiteY1" fmla="*/ 11377382 h 12349117"/>
              <a:gd name="connsiteX2" fmla="*/ 2202908 w 6670485"/>
              <a:gd name="connsiteY2" fmla="*/ 11411371 h 12349117"/>
              <a:gd name="connsiteX3" fmla="*/ 3293329 w 6670485"/>
              <a:gd name="connsiteY3" fmla="*/ 11677271 h 12349117"/>
              <a:gd name="connsiteX4" fmla="*/ 4533561 w 6670485"/>
              <a:gd name="connsiteY4" fmla="*/ 195330 h 12349117"/>
              <a:gd name="connsiteX5" fmla="*/ 5620450 w 6670485"/>
              <a:gd name="connsiteY5" fmla="*/ 58003 h 12349117"/>
              <a:gd name="connsiteX6" fmla="*/ 6670485 w 6670485"/>
              <a:gd name="connsiteY6" fmla="*/ 1113170 h 12349117"/>
              <a:gd name="connsiteX0" fmla="*/ 0 w 6670485"/>
              <a:gd name="connsiteY0" fmla="*/ 12349117 h 12349117"/>
              <a:gd name="connsiteX1" fmla="*/ 1078171 w 6670485"/>
              <a:gd name="connsiteY1" fmla="*/ 11377382 h 12349117"/>
              <a:gd name="connsiteX2" fmla="*/ 2202908 w 6670485"/>
              <a:gd name="connsiteY2" fmla="*/ 11411371 h 12349117"/>
              <a:gd name="connsiteX3" fmla="*/ 3293329 w 6670485"/>
              <a:gd name="connsiteY3" fmla="*/ 11528733 h 12349117"/>
              <a:gd name="connsiteX4" fmla="*/ 4533561 w 6670485"/>
              <a:gd name="connsiteY4" fmla="*/ 195330 h 12349117"/>
              <a:gd name="connsiteX5" fmla="*/ 5620450 w 6670485"/>
              <a:gd name="connsiteY5" fmla="*/ 58003 h 12349117"/>
              <a:gd name="connsiteX6" fmla="*/ 6670485 w 6670485"/>
              <a:gd name="connsiteY6" fmla="*/ 1113170 h 12349117"/>
              <a:gd name="connsiteX0" fmla="*/ 0 w 6670485"/>
              <a:gd name="connsiteY0" fmla="*/ 12291507 h 12291507"/>
              <a:gd name="connsiteX1" fmla="*/ 1078171 w 6670485"/>
              <a:gd name="connsiteY1" fmla="*/ 11319772 h 12291507"/>
              <a:gd name="connsiteX2" fmla="*/ 2202908 w 6670485"/>
              <a:gd name="connsiteY2" fmla="*/ 11353761 h 12291507"/>
              <a:gd name="connsiteX3" fmla="*/ 3293329 w 6670485"/>
              <a:gd name="connsiteY3" fmla="*/ 11471123 h 12291507"/>
              <a:gd name="connsiteX4" fmla="*/ 4461682 w 6670485"/>
              <a:gd name="connsiteY4" fmla="*/ 11203583 h 12291507"/>
              <a:gd name="connsiteX5" fmla="*/ 5620450 w 6670485"/>
              <a:gd name="connsiteY5" fmla="*/ 393 h 12291507"/>
              <a:gd name="connsiteX6" fmla="*/ 6670485 w 6670485"/>
              <a:gd name="connsiteY6" fmla="*/ 1055560 h 12291507"/>
              <a:gd name="connsiteX0" fmla="*/ 0 w 6670485"/>
              <a:gd name="connsiteY0" fmla="*/ 12291507 h 12291507"/>
              <a:gd name="connsiteX1" fmla="*/ 1078171 w 6670485"/>
              <a:gd name="connsiteY1" fmla="*/ 11319772 h 12291507"/>
              <a:gd name="connsiteX2" fmla="*/ 2202908 w 6670485"/>
              <a:gd name="connsiteY2" fmla="*/ 11353761 h 12291507"/>
              <a:gd name="connsiteX3" fmla="*/ 3293329 w 6670485"/>
              <a:gd name="connsiteY3" fmla="*/ 11471123 h 12291507"/>
              <a:gd name="connsiteX4" fmla="*/ 4461682 w 6670485"/>
              <a:gd name="connsiteY4" fmla="*/ 11352121 h 12291507"/>
              <a:gd name="connsiteX5" fmla="*/ 5620450 w 6670485"/>
              <a:gd name="connsiteY5" fmla="*/ 393 h 12291507"/>
              <a:gd name="connsiteX6" fmla="*/ 6670485 w 6670485"/>
              <a:gd name="connsiteY6" fmla="*/ 1055560 h 12291507"/>
              <a:gd name="connsiteX0" fmla="*/ 0 w 6670485"/>
              <a:gd name="connsiteY0" fmla="*/ 12291507 h 12291507"/>
              <a:gd name="connsiteX1" fmla="*/ 1078171 w 6670485"/>
              <a:gd name="connsiteY1" fmla="*/ 11319772 h 12291507"/>
              <a:gd name="connsiteX2" fmla="*/ 2202908 w 6670485"/>
              <a:gd name="connsiteY2" fmla="*/ 11353761 h 12291507"/>
              <a:gd name="connsiteX3" fmla="*/ 3293329 w 6670485"/>
              <a:gd name="connsiteY3" fmla="*/ 11471123 h 12291507"/>
              <a:gd name="connsiteX4" fmla="*/ 4461682 w 6670485"/>
              <a:gd name="connsiteY4" fmla="*/ 11352121 h 12291507"/>
              <a:gd name="connsiteX5" fmla="*/ 5620450 w 6670485"/>
              <a:gd name="connsiteY5" fmla="*/ 393 h 12291507"/>
              <a:gd name="connsiteX6" fmla="*/ 6670485 w 6670485"/>
              <a:gd name="connsiteY6" fmla="*/ 1055560 h 12291507"/>
              <a:gd name="connsiteX0" fmla="*/ 0 w 6670485"/>
              <a:gd name="connsiteY0" fmla="*/ 12291507 h 12291507"/>
              <a:gd name="connsiteX1" fmla="*/ 1078171 w 6670485"/>
              <a:gd name="connsiteY1" fmla="*/ 11319772 h 12291507"/>
              <a:gd name="connsiteX2" fmla="*/ 2202908 w 6670485"/>
              <a:gd name="connsiteY2" fmla="*/ 11353761 h 12291507"/>
              <a:gd name="connsiteX3" fmla="*/ 3293329 w 6670485"/>
              <a:gd name="connsiteY3" fmla="*/ 11471123 h 12291507"/>
              <a:gd name="connsiteX4" fmla="*/ 4430877 w 6670485"/>
              <a:gd name="connsiteY4" fmla="*/ 6821804 h 12291507"/>
              <a:gd name="connsiteX5" fmla="*/ 5620450 w 6670485"/>
              <a:gd name="connsiteY5" fmla="*/ 393 h 12291507"/>
              <a:gd name="connsiteX6" fmla="*/ 6670485 w 6670485"/>
              <a:gd name="connsiteY6" fmla="*/ 1055560 h 12291507"/>
              <a:gd name="connsiteX0" fmla="*/ 0 w 6670485"/>
              <a:gd name="connsiteY0" fmla="*/ 12291507 h 12291507"/>
              <a:gd name="connsiteX1" fmla="*/ 1078171 w 6670485"/>
              <a:gd name="connsiteY1" fmla="*/ 11319772 h 12291507"/>
              <a:gd name="connsiteX2" fmla="*/ 2202908 w 6670485"/>
              <a:gd name="connsiteY2" fmla="*/ 11353761 h 12291507"/>
              <a:gd name="connsiteX3" fmla="*/ 3293329 w 6670485"/>
              <a:gd name="connsiteY3" fmla="*/ 11471123 h 12291507"/>
              <a:gd name="connsiteX4" fmla="*/ 4430877 w 6670485"/>
              <a:gd name="connsiteY4" fmla="*/ 6821804 h 12291507"/>
              <a:gd name="connsiteX5" fmla="*/ 5620450 w 6670485"/>
              <a:gd name="connsiteY5" fmla="*/ 393 h 12291507"/>
              <a:gd name="connsiteX6" fmla="*/ 6670485 w 6670485"/>
              <a:gd name="connsiteY6" fmla="*/ 1055560 h 12291507"/>
              <a:gd name="connsiteX0" fmla="*/ 0 w 6670485"/>
              <a:gd name="connsiteY0" fmla="*/ 11235948 h 11235948"/>
              <a:gd name="connsiteX1" fmla="*/ 1078171 w 6670485"/>
              <a:gd name="connsiteY1" fmla="*/ 10264213 h 11235948"/>
              <a:gd name="connsiteX2" fmla="*/ 2202908 w 6670485"/>
              <a:gd name="connsiteY2" fmla="*/ 10298202 h 11235948"/>
              <a:gd name="connsiteX3" fmla="*/ 3293329 w 6670485"/>
              <a:gd name="connsiteY3" fmla="*/ 10415564 h 11235948"/>
              <a:gd name="connsiteX4" fmla="*/ 4430877 w 6670485"/>
              <a:gd name="connsiteY4" fmla="*/ 5766245 h 11235948"/>
              <a:gd name="connsiteX5" fmla="*/ 5569107 w 6670485"/>
              <a:gd name="connsiteY5" fmla="*/ 5628912 h 11235948"/>
              <a:gd name="connsiteX6" fmla="*/ 6670485 w 6670485"/>
              <a:gd name="connsiteY6" fmla="*/ 1 h 11235948"/>
              <a:gd name="connsiteX0" fmla="*/ 0 w 6670485"/>
              <a:gd name="connsiteY0" fmla="*/ 11235948 h 11235948"/>
              <a:gd name="connsiteX1" fmla="*/ 1078171 w 6670485"/>
              <a:gd name="connsiteY1" fmla="*/ 10264213 h 11235948"/>
              <a:gd name="connsiteX2" fmla="*/ 2202908 w 6670485"/>
              <a:gd name="connsiteY2" fmla="*/ 10298202 h 11235948"/>
              <a:gd name="connsiteX3" fmla="*/ 3293329 w 6670485"/>
              <a:gd name="connsiteY3" fmla="*/ 10415564 h 11235948"/>
              <a:gd name="connsiteX4" fmla="*/ 4430877 w 6670485"/>
              <a:gd name="connsiteY4" fmla="*/ 5766245 h 11235948"/>
              <a:gd name="connsiteX5" fmla="*/ 5569107 w 6670485"/>
              <a:gd name="connsiteY5" fmla="*/ 5666044 h 11235948"/>
              <a:gd name="connsiteX6" fmla="*/ 6670485 w 6670485"/>
              <a:gd name="connsiteY6" fmla="*/ 1 h 11235948"/>
              <a:gd name="connsiteX0" fmla="*/ 0 w 6670485"/>
              <a:gd name="connsiteY0" fmla="*/ 11235948 h 11235948"/>
              <a:gd name="connsiteX1" fmla="*/ 1078171 w 6670485"/>
              <a:gd name="connsiteY1" fmla="*/ 10264213 h 11235948"/>
              <a:gd name="connsiteX2" fmla="*/ 2202908 w 6670485"/>
              <a:gd name="connsiteY2" fmla="*/ 10298202 h 11235948"/>
              <a:gd name="connsiteX3" fmla="*/ 3293329 w 6670485"/>
              <a:gd name="connsiteY3" fmla="*/ 10415564 h 11235948"/>
              <a:gd name="connsiteX4" fmla="*/ 4430877 w 6670485"/>
              <a:gd name="connsiteY4" fmla="*/ 5766245 h 11235948"/>
              <a:gd name="connsiteX5" fmla="*/ 5569107 w 6670485"/>
              <a:gd name="connsiteY5" fmla="*/ 5666044 h 11235948"/>
              <a:gd name="connsiteX6" fmla="*/ 6670485 w 6670485"/>
              <a:gd name="connsiteY6" fmla="*/ 1 h 11235948"/>
              <a:gd name="connsiteX0" fmla="*/ 0 w 6670485"/>
              <a:gd name="connsiteY0" fmla="*/ 11235948 h 11235948"/>
              <a:gd name="connsiteX1" fmla="*/ 1078171 w 6670485"/>
              <a:gd name="connsiteY1" fmla="*/ 10264213 h 11235948"/>
              <a:gd name="connsiteX2" fmla="*/ 2202908 w 6670485"/>
              <a:gd name="connsiteY2" fmla="*/ 10298202 h 11235948"/>
              <a:gd name="connsiteX3" fmla="*/ 3293329 w 6670485"/>
              <a:gd name="connsiteY3" fmla="*/ 10415564 h 11235948"/>
              <a:gd name="connsiteX4" fmla="*/ 4430877 w 6670485"/>
              <a:gd name="connsiteY4" fmla="*/ 5766245 h 11235948"/>
              <a:gd name="connsiteX5" fmla="*/ 5569107 w 6670485"/>
              <a:gd name="connsiteY5" fmla="*/ 5666044 h 11235948"/>
              <a:gd name="connsiteX6" fmla="*/ 6670485 w 6670485"/>
              <a:gd name="connsiteY6" fmla="*/ 1 h 11235948"/>
              <a:gd name="connsiteX0" fmla="*/ 0 w 6649948"/>
              <a:gd name="connsiteY0" fmla="*/ 5628268 h 7166698"/>
              <a:gd name="connsiteX1" fmla="*/ 1078171 w 6649948"/>
              <a:gd name="connsiteY1" fmla="*/ 4656533 h 7166698"/>
              <a:gd name="connsiteX2" fmla="*/ 2202908 w 6649948"/>
              <a:gd name="connsiteY2" fmla="*/ 4690522 h 7166698"/>
              <a:gd name="connsiteX3" fmla="*/ 3293329 w 6649948"/>
              <a:gd name="connsiteY3" fmla="*/ 4807884 h 7166698"/>
              <a:gd name="connsiteX4" fmla="*/ 4430877 w 6649948"/>
              <a:gd name="connsiteY4" fmla="*/ 158565 h 7166698"/>
              <a:gd name="connsiteX5" fmla="*/ 5569107 w 6649948"/>
              <a:gd name="connsiteY5" fmla="*/ 58364 h 7166698"/>
              <a:gd name="connsiteX6" fmla="*/ 6649948 w 6649948"/>
              <a:gd name="connsiteY6" fmla="*/ 7166336 h 7166698"/>
              <a:gd name="connsiteX0" fmla="*/ 0 w 6649948"/>
              <a:gd name="connsiteY0" fmla="*/ 5628268 h 7166337"/>
              <a:gd name="connsiteX1" fmla="*/ 1078171 w 6649948"/>
              <a:gd name="connsiteY1" fmla="*/ 4656533 h 7166337"/>
              <a:gd name="connsiteX2" fmla="*/ 2202908 w 6649948"/>
              <a:gd name="connsiteY2" fmla="*/ 4690522 h 7166337"/>
              <a:gd name="connsiteX3" fmla="*/ 3293329 w 6649948"/>
              <a:gd name="connsiteY3" fmla="*/ 4807884 h 7166337"/>
              <a:gd name="connsiteX4" fmla="*/ 4430877 w 6649948"/>
              <a:gd name="connsiteY4" fmla="*/ 158565 h 7166337"/>
              <a:gd name="connsiteX5" fmla="*/ 5569107 w 6649948"/>
              <a:gd name="connsiteY5" fmla="*/ 58364 h 7166337"/>
              <a:gd name="connsiteX6" fmla="*/ 6649948 w 6649948"/>
              <a:gd name="connsiteY6" fmla="*/ 7166336 h 716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9948" h="7166337">
                <a:moveTo>
                  <a:pt x="0" y="5628268"/>
                </a:moveTo>
                <a:cubicBezTo>
                  <a:pt x="395330" y="5523204"/>
                  <a:pt x="682841" y="4761597"/>
                  <a:pt x="1078171" y="4656533"/>
                </a:cubicBezTo>
                <a:cubicBezTo>
                  <a:pt x="1515772" y="4619769"/>
                  <a:pt x="1833715" y="4665297"/>
                  <a:pt x="2202908" y="4690522"/>
                </a:cubicBezTo>
                <a:cubicBezTo>
                  <a:pt x="2572101" y="4715747"/>
                  <a:pt x="3099529" y="4815248"/>
                  <a:pt x="3293329" y="4807884"/>
                </a:cubicBezTo>
                <a:cubicBezTo>
                  <a:pt x="3559836" y="4700753"/>
                  <a:pt x="4140497" y="1128136"/>
                  <a:pt x="4430877" y="158565"/>
                </a:cubicBezTo>
                <a:cubicBezTo>
                  <a:pt x="4773518" y="-170167"/>
                  <a:pt x="5390685" y="125131"/>
                  <a:pt x="5569107" y="58364"/>
                </a:cubicBezTo>
                <a:cubicBezTo>
                  <a:pt x="5881833" y="33800"/>
                  <a:pt x="6470828" y="5962853"/>
                  <a:pt x="6649948" y="7166336"/>
                </a:cubicBezTo>
              </a:path>
            </a:pathLst>
          </a:custGeom>
          <a:noFill/>
          <a:ln w="136525" cap="rnd" cmpd="sng" algn="ctr">
            <a:solidFill>
              <a:srgbClr val="FFCD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120" name="Freeform 42">
            <a:extLst>
              <a:ext uri="{FF2B5EF4-FFF2-40B4-BE49-F238E27FC236}">
                <a16:creationId xmlns:a16="http://schemas.microsoft.com/office/drawing/2014/main" id="{59ED943C-72DA-41A4-B3DD-F79FC4AF6D58}"/>
              </a:ext>
            </a:extLst>
          </p:cNvPr>
          <p:cNvSpPr/>
          <p:nvPr/>
        </p:nvSpPr>
        <p:spPr bwMode="auto">
          <a:xfrm flipV="1">
            <a:off x="1448943" y="3666931"/>
            <a:ext cx="9209327" cy="796867"/>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190259 h 479713"/>
              <a:gd name="connsiteX1" fmla="*/ 700803 w 7136640"/>
              <a:gd name="connsiteY1" fmla="*/ 113165 h 479713"/>
              <a:gd name="connsiteX2" fmla="*/ 1317807 w 7136640"/>
              <a:gd name="connsiteY2" fmla="*/ 193971 h 479713"/>
              <a:gd name="connsiteX3" fmla="*/ 1992056 w 7136640"/>
              <a:gd name="connsiteY3" fmla="*/ 447185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642777 w 7136640"/>
              <a:gd name="connsiteY4" fmla="*/ 264010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79713"/>
              <a:gd name="connsiteX1" fmla="*/ 700803 w 7136640"/>
              <a:gd name="connsiteY1" fmla="*/ 113165 h 479713"/>
              <a:gd name="connsiteX2" fmla="*/ 1317807 w 7136640"/>
              <a:gd name="connsiteY2" fmla="*/ 193971 h 479713"/>
              <a:gd name="connsiteX3" fmla="*/ 2057502 w 7136640"/>
              <a:gd name="connsiteY3" fmla="*/ 223414 h 479713"/>
              <a:gd name="connsiteX4" fmla="*/ 2744581 w 7136640"/>
              <a:gd name="connsiteY4" fmla="*/ 219256 h 479713"/>
              <a:gd name="connsiteX5" fmla="*/ 3302093 w 7136640"/>
              <a:gd name="connsiteY5" fmla="*/ 329319 h 479713"/>
              <a:gd name="connsiteX6" fmla="*/ 3877384 w 7136640"/>
              <a:gd name="connsiteY6" fmla="*/ 478878 h 479713"/>
              <a:gd name="connsiteX7" fmla="*/ 4578995 w 7136640"/>
              <a:gd name="connsiteY7" fmla="*/ 395502 h 479713"/>
              <a:gd name="connsiteX8" fmla="*/ 5236906 w 7136640"/>
              <a:gd name="connsiteY8" fmla="*/ 267728 h 479713"/>
              <a:gd name="connsiteX9" fmla="*/ 5843222 w 7136640"/>
              <a:gd name="connsiteY9" fmla="*/ 410762 h 479713"/>
              <a:gd name="connsiteX10" fmla="*/ 6500954 w 7136640"/>
              <a:gd name="connsiteY10" fmla="*/ 184 h 479713"/>
              <a:gd name="connsiteX11" fmla="*/ 7136640 w 7136640"/>
              <a:gd name="connsiteY11" fmla="*/ 280640 h 479713"/>
              <a:gd name="connsiteX0" fmla="*/ 0 w 7136640"/>
              <a:gd name="connsiteY0" fmla="*/ 190259 h 485192"/>
              <a:gd name="connsiteX1" fmla="*/ 700803 w 7136640"/>
              <a:gd name="connsiteY1" fmla="*/ 113165 h 485192"/>
              <a:gd name="connsiteX2" fmla="*/ 1317807 w 7136640"/>
              <a:gd name="connsiteY2" fmla="*/ 193971 h 485192"/>
              <a:gd name="connsiteX3" fmla="*/ 2057502 w 7136640"/>
              <a:gd name="connsiteY3" fmla="*/ 223414 h 485192"/>
              <a:gd name="connsiteX4" fmla="*/ 2744581 w 7136640"/>
              <a:gd name="connsiteY4" fmla="*/ 219256 h 485192"/>
              <a:gd name="connsiteX5" fmla="*/ 3483886 w 7136640"/>
              <a:gd name="connsiteY5" fmla="*/ 182269 h 485192"/>
              <a:gd name="connsiteX6" fmla="*/ 3877384 w 7136640"/>
              <a:gd name="connsiteY6" fmla="*/ 478878 h 485192"/>
              <a:gd name="connsiteX7" fmla="*/ 4578995 w 7136640"/>
              <a:gd name="connsiteY7" fmla="*/ 395502 h 485192"/>
              <a:gd name="connsiteX8" fmla="*/ 5236906 w 7136640"/>
              <a:gd name="connsiteY8" fmla="*/ 267728 h 485192"/>
              <a:gd name="connsiteX9" fmla="*/ 5843222 w 7136640"/>
              <a:gd name="connsiteY9" fmla="*/ 410762 h 485192"/>
              <a:gd name="connsiteX10" fmla="*/ 6500954 w 7136640"/>
              <a:gd name="connsiteY10" fmla="*/ 184 h 485192"/>
              <a:gd name="connsiteX11" fmla="*/ 7136640 w 7136640"/>
              <a:gd name="connsiteY11" fmla="*/ 280640 h 485192"/>
              <a:gd name="connsiteX0" fmla="*/ 0 w 7136640"/>
              <a:gd name="connsiteY0" fmla="*/ 190259 h 479080"/>
              <a:gd name="connsiteX1" fmla="*/ 700803 w 7136640"/>
              <a:gd name="connsiteY1" fmla="*/ 113165 h 479080"/>
              <a:gd name="connsiteX2" fmla="*/ 1317807 w 7136640"/>
              <a:gd name="connsiteY2" fmla="*/ 193971 h 479080"/>
              <a:gd name="connsiteX3" fmla="*/ 2057502 w 7136640"/>
              <a:gd name="connsiteY3" fmla="*/ 223414 h 479080"/>
              <a:gd name="connsiteX4" fmla="*/ 2744581 w 7136640"/>
              <a:gd name="connsiteY4" fmla="*/ 219256 h 479080"/>
              <a:gd name="connsiteX5" fmla="*/ 3483886 w 7136640"/>
              <a:gd name="connsiteY5" fmla="*/ 182269 h 479080"/>
              <a:gd name="connsiteX6" fmla="*/ 4219154 w 7136640"/>
              <a:gd name="connsiteY6" fmla="*/ 472485 h 479080"/>
              <a:gd name="connsiteX7" fmla="*/ 4578995 w 7136640"/>
              <a:gd name="connsiteY7" fmla="*/ 395502 h 479080"/>
              <a:gd name="connsiteX8" fmla="*/ 5236906 w 7136640"/>
              <a:gd name="connsiteY8" fmla="*/ 267728 h 479080"/>
              <a:gd name="connsiteX9" fmla="*/ 5843222 w 7136640"/>
              <a:gd name="connsiteY9" fmla="*/ 410762 h 479080"/>
              <a:gd name="connsiteX10" fmla="*/ 6500954 w 7136640"/>
              <a:gd name="connsiteY10" fmla="*/ 184 h 479080"/>
              <a:gd name="connsiteX11" fmla="*/ 7136640 w 7136640"/>
              <a:gd name="connsiteY11" fmla="*/ 280640 h 479080"/>
              <a:gd name="connsiteX0" fmla="*/ 0 w 7136640"/>
              <a:gd name="connsiteY0" fmla="*/ 190259 h 472676"/>
              <a:gd name="connsiteX1" fmla="*/ 700803 w 7136640"/>
              <a:gd name="connsiteY1" fmla="*/ 113165 h 472676"/>
              <a:gd name="connsiteX2" fmla="*/ 1317807 w 7136640"/>
              <a:gd name="connsiteY2" fmla="*/ 193971 h 472676"/>
              <a:gd name="connsiteX3" fmla="*/ 2057502 w 7136640"/>
              <a:gd name="connsiteY3" fmla="*/ 223414 h 472676"/>
              <a:gd name="connsiteX4" fmla="*/ 2744581 w 7136640"/>
              <a:gd name="connsiteY4" fmla="*/ 219256 h 472676"/>
              <a:gd name="connsiteX5" fmla="*/ 3483886 w 7136640"/>
              <a:gd name="connsiteY5" fmla="*/ 182269 h 472676"/>
              <a:gd name="connsiteX6" fmla="*/ 4219154 w 7136640"/>
              <a:gd name="connsiteY6" fmla="*/ 472485 h 472676"/>
              <a:gd name="connsiteX7" fmla="*/ 4477191 w 7136640"/>
              <a:gd name="connsiteY7" fmla="*/ 231403 h 472676"/>
              <a:gd name="connsiteX8" fmla="*/ 5236906 w 7136640"/>
              <a:gd name="connsiteY8" fmla="*/ 267728 h 472676"/>
              <a:gd name="connsiteX9" fmla="*/ 5843222 w 7136640"/>
              <a:gd name="connsiteY9" fmla="*/ 410762 h 472676"/>
              <a:gd name="connsiteX10" fmla="*/ 6500954 w 7136640"/>
              <a:gd name="connsiteY10" fmla="*/ 184 h 472676"/>
              <a:gd name="connsiteX11" fmla="*/ 7136640 w 7136640"/>
              <a:gd name="connsiteY11" fmla="*/ 280640 h 472676"/>
              <a:gd name="connsiteX0" fmla="*/ 0 w 7136640"/>
              <a:gd name="connsiteY0" fmla="*/ 190259 h 472659"/>
              <a:gd name="connsiteX1" fmla="*/ 700803 w 7136640"/>
              <a:gd name="connsiteY1" fmla="*/ 113165 h 472659"/>
              <a:gd name="connsiteX2" fmla="*/ 1317807 w 7136640"/>
              <a:gd name="connsiteY2" fmla="*/ 193971 h 472659"/>
              <a:gd name="connsiteX3" fmla="*/ 2057502 w 7136640"/>
              <a:gd name="connsiteY3" fmla="*/ 223414 h 472659"/>
              <a:gd name="connsiteX4" fmla="*/ 2744581 w 7136640"/>
              <a:gd name="connsiteY4" fmla="*/ 219256 h 472659"/>
              <a:gd name="connsiteX5" fmla="*/ 3483886 w 7136640"/>
              <a:gd name="connsiteY5" fmla="*/ 182269 h 472659"/>
              <a:gd name="connsiteX6" fmla="*/ 4219154 w 7136640"/>
              <a:gd name="connsiteY6" fmla="*/ 472485 h 472659"/>
              <a:gd name="connsiteX7" fmla="*/ 4957124 w 7136640"/>
              <a:gd name="connsiteY7" fmla="*/ 229272 h 472659"/>
              <a:gd name="connsiteX8" fmla="*/ 5236906 w 7136640"/>
              <a:gd name="connsiteY8" fmla="*/ 267728 h 472659"/>
              <a:gd name="connsiteX9" fmla="*/ 5843222 w 7136640"/>
              <a:gd name="connsiteY9" fmla="*/ 410762 h 472659"/>
              <a:gd name="connsiteX10" fmla="*/ 6500954 w 7136640"/>
              <a:gd name="connsiteY10" fmla="*/ 184 h 472659"/>
              <a:gd name="connsiteX11" fmla="*/ 7136640 w 7136640"/>
              <a:gd name="connsiteY11" fmla="*/ 280640 h 472659"/>
              <a:gd name="connsiteX0" fmla="*/ 0 w 7136640"/>
              <a:gd name="connsiteY0" fmla="*/ 190270 h 472670"/>
              <a:gd name="connsiteX1" fmla="*/ 700803 w 7136640"/>
              <a:gd name="connsiteY1" fmla="*/ 113176 h 472670"/>
              <a:gd name="connsiteX2" fmla="*/ 1317807 w 7136640"/>
              <a:gd name="connsiteY2" fmla="*/ 193982 h 472670"/>
              <a:gd name="connsiteX3" fmla="*/ 2057502 w 7136640"/>
              <a:gd name="connsiteY3" fmla="*/ 223425 h 472670"/>
              <a:gd name="connsiteX4" fmla="*/ 2744581 w 7136640"/>
              <a:gd name="connsiteY4" fmla="*/ 219267 h 472670"/>
              <a:gd name="connsiteX5" fmla="*/ 3483886 w 7136640"/>
              <a:gd name="connsiteY5" fmla="*/ 182280 h 472670"/>
              <a:gd name="connsiteX6" fmla="*/ 4219154 w 7136640"/>
              <a:gd name="connsiteY6" fmla="*/ 472496 h 472670"/>
              <a:gd name="connsiteX7" fmla="*/ 4957124 w 7136640"/>
              <a:gd name="connsiteY7" fmla="*/ 229283 h 472670"/>
              <a:gd name="connsiteX8" fmla="*/ 5680479 w 7136640"/>
              <a:gd name="connsiteY8" fmla="*/ 406264 h 472670"/>
              <a:gd name="connsiteX9" fmla="*/ 5843222 w 7136640"/>
              <a:gd name="connsiteY9" fmla="*/ 410773 h 472670"/>
              <a:gd name="connsiteX10" fmla="*/ 6500954 w 7136640"/>
              <a:gd name="connsiteY10" fmla="*/ 195 h 472670"/>
              <a:gd name="connsiteX11" fmla="*/ 7136640 w 7136640"/>
              <a:gd name="connsiteY11" fmla="*/ 280651 h 472670"/>
              <a:gd name="connsiteX0" fmla="*/ 0 w 7136640"/>
              <a:gd name="connsiteY0" fmla="*/ 191097 h 473497"/>
              <a:gd name="connsiteX1" fmla="*/ 700803 w 7136640"/>
              <a:gd name="connsiteY1" fmla="*/ 114003 h 473497"/>
              <a:gd name="connsiteX2" fmla="*/ 1317807 w 7136640"/>
              <a:gd name="connsiteY2" fmla="*/ 194809 h 473497"/>
              <a:gd name="connsiteX3" fmla="*/ 2057502 w 7136640"/>
              <a:gd name="connsiteY3" fmla="*/ 224252 h 473497"/>
              <a:gd name="connsiteX4" fmla="*/ 2744581 w 7136640"/>
              <a:gd name="connsiteY4" fmla="*/ 220094 h 473497"/>
              <a:gd name="connsiteX5" fmla="*/ 3483886 w 7136640"/>
              <a:gd name="connsiteY5" fmla="*/ 183107 h 473497"/>
              <a:gd name="connsiteX6" fmla="*/ 4219154 w 7136640"/>
              <a:gd name="connsiteY6" fmla="*/ 473323 h 473497"/>
              <a:gd name="connsiteX7" fmla="*/ 4957124 w 7136640"/>
              <a:gd name="connsiteY7" fmla="*/ 230110 h 473497"/>
              <a:gd name="connsiteX8" fmla="*/ 5680479 w 7136640"/>
              <a:gd name="connsiteY8" fmla="*/ 407091 h 473497"/>
              <a:gd name="connsiteX9" fmla="*/ 6344970 w 7136640"/>
              <a:gd name="connsiteY9" fmla="*/ 119633 h 473497"/>
              <a:gd name="connsiteX10" fmla="*/ 6500954 w 7136640"/>
              <a:gd name="connsiteY10" fmla="*/ 1022 h 473497"/>
              <a:gd name="connsiteX11" fmla="*/ 7136640 w 7136640"/>
              <a:gd name="connsiteY11" fmla="*/ 281478 h 473497"/>
              <a:gd name="connsiteX0" fmla="*/ 0 w 7136640"/>
              <a:gd name="connsiteY0" fmla="*/ 191097 h 408315"/>
              <a:gd name="connsiteX1" fmla="*/ 700803 w 7136640"/>
              <a:gd name="connsiteY1" fmla="*/ 114003 h 408315"/>
              <a:gd name="connsiteX2" fmla="*/ 1317807 w 7136640"/>
              <a:gd name="connsiteY2" fmla="*/ 194809 h 408315"/>
              <a:gd name="connsiteX3" fmla="*/ 2057502 w 7136640"/>
              <a:gd name="connsiteY3" fmla="*/ 224252 h 408315"/>
              <a:gd name="connsiteX4" fmla="*/ 2744581 w 7136640"/>
              <a:gd name="connsiteY4" fmla="*/ 220094 h 408315"/>
              <a:gd name="connsiteX5" fmla="*/ 3483886 w 7136640"/>
              <a:gd name="connsiteY5" fmla="*/ 183107 h 408315"/>
              <a:gd name="connsiteX6" fmla="*/ 4211883 w 7136640"/>
              <a:gd name="connsiteY6" fmla="*/ 111027 h 408315"/>
              <a:gd name="connsiteX7" fmla="*/ 4957124 w 7136640"/>
              <a:gd name="connsiteY7" fmla="*/ 230110 h 408315"/>
              <a:gd name="connsiteX8" fmla="*/ 5680479 w 7136640"/>
              <a:gd name="connsiteY8" fmla="*/ 407091 h 408315"/>
              <a:gd name="connsiteX9" fmla="*/ 6344970 w 7136640"/>
              <a:gd name="connsiteY9" fmla="*/ 119633 h 408315"/>
              <a:gd name="connsiteX10" fmla="*/ 6500954 w 7136640"/>
              <a:gd name="connsiteY10" fmla="*/ 1022 h 408315"/>
              <a:gd name="connsiteX11" fmla="*/ 7136640 w 7136640"/>
              <a:gd name="connsiteY11" fmla="*/ 281478 h 408315"/>
              <a:gd name="connsiteX0" fmla="*/ 0 w 7136640"/>
              <a:gd name="connsiteY0" fmla="*/ 191097 h 407093"/>
              <a:gd name="connsiteX1" fmla="*/ 700803 w 7136640"/>
              <a:gd name="connsiteY1" fmla="*/ 114003 h 407093"/>
              <a:gd name="connsiteX2" fmla="*/ 1317807 w 7136640"/>
              <a:gd name="connsiteY2" fmla="*/ 194809 h 407093"/>
              <a:gd name="connsiteX3" fmla="*/ 2057502 w 7136640"/>
              <a:gd name="connsiteY3" fmla="*/ 224252 h 407093"/>
              <a:gd name="connsiteX4" fmla="*/ 2744581 w 7136640"/>
              <a:gd name="connsiteY4" fmla="*/ 220094 h 407093"/>
              <a:gd name="connsiteX5" fmla="*/ 3483886 w 7136640"/>
              <a:gd name="connsiteY5" fmla="*/ 183107 h 407093"/>
              <a:gd name="connsiteX6" fmla="*/ 4211883 w 7136640"/>
              <a:gd name="connsiteY6" fmla="*/ 111027 h 407093"/>
              <a:gd name="connsiteX7" fmla="*/ 4942580 w 7136640"/>
              <a:gd name="connsiteY7" fmla="*/ 125683 h 407093"/>
              <a:gd name="connsiteX8" fmla="*/ 5680479 w 7136640"/>
              <a:gd name="connsiteY8" fmla="*/ 407091 h 407093"/>
              <a:gd name="connsiteX9" fmla="*/ 6344970 w 7136640"/>
              <a:gd name="connsiteY9" fmla="*/ 119633 h 407093"/>
              <a:gd name="connsiteX10" fmla="*/ 6500954 w 7136640"/>
              <a:gd name="connsiteY10" fmla="*/ 1022 h 407093"/>
              <a:gd name="connsiteX11" fmla="*/ 7136640 w 7136640"/>
              <a:gd name="connsiteY11" fmla="*/ 281478 h 407093"/>
              <a:gd name="connsiteX0" fmla="*/ 0 w 7136640"/>
              <a:gd name="connsiteY0" fmla="*/ 190735 h 281116"/>
              <a:gd name="connsiteX1" fmla="*/ 700803 w 7136640"/>
              <a:gd name="connsiteY1" fmla="*/ 113641 h 281116"/>
              <a:gd name="connsiteX2" fmla="*/ 1317807 w 7136640"/>
              <a:gd name="connsiteY2" fmla="*/ 194447 h 281116"/>
              <a:gd name="connsiteX3" fmla="*/ 2057502 w 7136640"/>
              <a:gd name="connsiteY3" fmla="*/ 223890 h 281116"/>
              <a:gd name="connsiteX4" fmla="*/ 2744581 w 7136640"/>
              <a:gd name="connsiteY4" fmla="*/ 219732 h 281116"/>
              <a:gd name="connsiteX5" fmla="*/ 3483886 w 7136640"/>
              <a:gd name="connsiteY5" fmla="*/ 182745 h 281116"/>
              <a:gd name="connsiteX6" fmla="*/ 4211883 w 7136640"/>
              <a:gd name="connsiteY6" fmla="*/ 110665 h 281116"/>
              <a:gd name="connsiteX7" fmla="*/ 4942580 w 7136640"/>
              <a:gd name="connsiteY7" fmla="*/ 125321 h 281116"/>
              <a:gd name="connsiteX8" fmla="*/ 5636849 w 7136640"/>
              <a:gd name="connsiteY8" fmla="*/ 172302 h 281116"/>
              <a:gd name="connsiteX9" fmla="*/ 6344970 w 7136640"/>
              <a:gd name="connsiteY9" fmla="*/ 119271 h 281116"/>
              <a:gd name="connsiteX10" fmla="*/ 6500954 w 7136640"/>
              <a:gd name="connsiteY10" fmla="*/ 660 h 281116"/>
              <a:gd name="connsiteX11" fmla="*/ 7136640 w 7136640"/>
              <a:gd name="connsiteY11" fmla="*/ 281116 h 281116"/>
              <a:gd name="connsiteX0" fmla="*/ 0 w 7136640"/>
              <a:gd name="connsiteY0" fmla="*/ 190735 h 281116"/>
              <a:gd name="connsiteX1" fmla="*/ 700803 w 7136640"/>
              <a:gd name="connsiteY1" fmla="*/ 113641 h 281116"/>
              <a:gd name="connsiteX2" fmla="*/ 2057502 w 7136640"/>
              <a:gd name="connsiteY2" fmla="*/ 223890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190735 h 281116"/>
              <a:gd name="connsiteX1" fmla="*/ 700803 w 7136640"/>
              <a:gd name="connsiteY1" fmla="*/ 113641 h 281116"/>
              <a:gd name="connsiteX2" fmla="*/ 1869650 w 7136640"/>
              <a:gd name="connsiteY2" fmla="*/ 244077 h 281116"/>
              <a:gd name="connsiteX3" fmla="*/ 2744581 w 7136640"/>
              <a:gd name="connsiteY3" fmla="*/ 219732 h 281116"/>
              <a:gd name="connsiteX4" fmla="*/ 3483886 w 7136640"/>
              <a:gd name="connsiteY4" fmla="*/ 182745 h 281116"/>
              <a:gd name="connsiteX5" fmla="*/ 4211883 w 7136640"/>
              <a:gd name="connsiteY5" fmla="*/ 110665 h 281116"/>
              <a:gd name="connsiteX6" fmla="*/ 4942580 w 7136640"/>
              <a:gd name="connsiteY6" fmla="*/ 125321 h 281116"/>
              <a:gd name="connsiteX7" fmla="*/ 5636849 w 7136640"/>
              <a:gd name="connsiteY7" fmla="*/ 172302 h 281116"/>
              <a:gd name="connsiteX8" fmla="*/ 6344970 w 7136640"/>
              <a:gd name="connsiteY8" fmla="*/ 119271 h 281116"/>
              <a:gd name="connsiteX9" fmla="*/ 6500954 w 7136640"/>
              <a:gd name="connsiteY9" fmla="*/ 660 h 281116"/>
              <a:gd name="connsiteX10" fmla="*/ 7136640 w 7136640"/>
              <a:gd name="connsiteY10" fmla="*/ 281116 h 281116"/>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211883 w 7136640"/>
              <a:gd name="connsiteY5" fmla="*/ 190348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4942580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5636849 w 7136640"/>
              <a:gd name="connsiteY7" fmla="*/ 251985 h 360799"/>
              <a:gd name="connsiteX8" fmla="*/ 6344970 w 7136640"/>
              <a:gd name="connsiteY8" fmla="*/ 198954 h 360799"/>
              <a:gd name="connsiteX9" fmla="*/ 6500954 w 7136640"/>
              <a:gd name="connsiteY9" fmla="*/ 80343 h 360799"/>
              <a:gd name="connsiteX10" fmla="*/ 7136640 w 7136640"/>
              <a:gd name="connsiteY10"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6500954 w 7136640"/>
              <a:gd name="connsiteY8" fmla="*/ 80343 h 360799"/>
              <a:gd name="connsiteX9" fmla="*/ 7136640 w 7136640"/>
              <a:gd name="connsiteY9" fmla="*/ 360799 h 360799"/>
              <a:gd name="connsiteX0" fmla="*/ 0 w 7136640"/>
              <a:gd name="connsiteY0" fmla="*/ 270418 h 360799"/>
              <a:gd name="connsiteX1" fmla="*/ 700803 w 7136640"/>
              <a:gd name="connsiteY1" fmla="*/ 193324 h 360799"/>
              <a:gd name="connsiteX2" fmla="*/ 1869650 w 7136640"/>
              <a:gd name="connsiteY2" fmla="*/ 323760 h 360799"/>
              <a:gd name="connsiteX3" fmla="*/ 2744581 w 7136640"/>
              <a:gd name="connsiteY3" fmla="*/ 299415 h 360799"/>
              <a:gd name="connsiteX4" fmla="*/ 3609121 w 7136640"/>
              <a:gd name="connsiteY4" fmla="*/ 0 h 360799"/>
              <a:gd name="connsiteX5" fmla="*/ 4468614 w 7136640"/>
              <a:gd name="connsiteY5" fmla="*/ 346336 h 360799"/>
              <a:gd name="connsiteX6" fmla="*/ 5280714 w 7136640"/>
              <a:gd name="connsiteY6" fmla="*/ 205004 h 360799"/>
              <a:gd name="connsiteX7" fmla="*/ 6344970 w 7136640"/>
              <a:gd name="connsiteY7" fmla="*/ 198954 h 360799"/>
              <a:gd name="connsiteX8" fmla="*/ 7136640 w 7136640"/>
              <a:gd name="connsiteY8" fmla="*/ 360799 h 360799"/>
              <a:gd name="connsiteX0" fmla="*/ 0 w 7074022"/>
              <a:gd name="connsiteY0" fmla="*/ 280402 h 360576"/>
              <a:gd name="connsiteX1" fmla="*/ 700803 w 7074022"/>
              <a:gd name="connsiteY1" fmla="*/ 203308 h 360576"/>
              <a:gd name="connsiteX2" fmla="*/ 1869650 w 7074022"/>
              <a:gd name="connsiteY2" fmla="*/ 333744 h 360576"/>
              <a:gd name="connsiteX3" fmla="*/ 2744581 w 7074022"/>
              <a:gd name="connsiteY3" fmla="*/ 309399 h 360576"/>
              <a:gd name="connsiteX4" fmla="*/ 3609121 w 7074022"/>
              <a:gd name="connsiteY4" fmla="*/ 9984 h 360576"/>
              <a:gd name="connsiteX5" fmla="*/ 4468614 w 7074022"/>
              <a:gd name="connsiteY5" fmla="*/ 356320 h 360576"/>
              <a:gd name="connsiteX6" fmla="*/ 5280714 w 7074022"/>
              <a:gd name="connsiteY6" fmla="*/ 214988 h 360576"/>
              <a:gd name="connsiteX7" fmla="*/ 6344970 w 7074022"/>
              <a:gd name="connsiteY7" fmla="*/ 208938 h 360576"/>
              <a:gd name="connsiteX8" fmla="*/ 7074022 w 7074022"/>
              <a:gd name="connsiteY8" fmla="*/ 3751 h 360576"/>
              <a:gd name="connsiteX0" fmla="*/ 0 w 7117854"/>
              <a:gd name="connsiteY0" fmla="*/ 287645 h 367819"/>
              <a:gd name="connsiteX1" fmla="*/ 700803 w 7117854"/>
              <a:gd name="connsiteY1" fmla="*/ 210551 h 367819"/>
              <a:gd name="connsiteX2" fmla="*/ 1869650 w 7117854"/>
              <a:gd name="connsiteY2" fmla="*/ 340987 h 367819"/>
              <a:gd name="connsiteX3" fmla="*/ 2744581 w 7117854"/>
              <a:gd name="connsiteY3" fmla="*/ 316642 h 367819"/>
              <a:gd name="connsiteX4" fmla="*/ 3609121 w 7117854"/>
              <a:gd name="connsiteY4" fmla="*/ 17227 h 367819"/>
              <a:gd name="connsiteX5" fmla="*/ 4468614 w 7117854"/>
              <a:gd name="connsiteY5" fmla="*/ 363563 h 367819"/>
              <a:gd name="connsiteX6" fmla="*/ 5280714 w 7117854"/>
              <a:gd name="connsiteY6" fmla="*/ 222231 h 367819"/>
              <a:gd name="connsiteX7" fmla="*/ 6344970 w 7117854"/>
              <a:gd name="connsiteY7" fmla="*/ 216181 h 367819"/>
              <a:gd name="connsiteX8" fmla="*/ 7117854 w 7117854"/>
              <a:gd name="connsiteY8" fmla="*/ 3653 h 367819"/>
              <a:gd name="connsiteX0" fmla="*/ 0 w 7117854"/>
              <a:gd name="connsiteY0" fmla="*/ 287645 h 435640"/>
              <a:gd name="connsiteX1" fmla="*/ 700803 w 7117854"/>
              <a:gd name="connsiteY1" fmla="*/ 210551 h 435640"/>
              <a:gd name="connsiteX2" fmla="*/ 1869650 w 7117854"/>
              <a:gd name="connsiteY2" fmla="*/ 340987 h 435640"/>
              <a:gd name="connsiteX3" fmla="*/ 2744581 w 7117854"/>
              <a:gd name="connsiteY3" fmla="*/ 316642 h 435640"/>
              <a:gd name="connsiteX4" fmla="*/ 3659215 w 7117854"/>
              <a:gd name="connsiteY4" fmla="*/ 433808 h 435640"/>
              <a:gd name="connsiteX5" fmla="*/ 4468614 w 7117854"/>
              <a:gd name="connsiteY5" fmla="*/ 363563 h 435640"/>
              <a:gd name="connsiteX6" fmla="*/ 5280714 w 7117854"/>
              <a:gd name="connsiteY6" fmla="*/ 222231 h 435640"/>
              <a:gd name="connsiteX7" fmla="*/ 6344970 w 7117854"/>
              <a:gd name="connsiteY7" fmla="*/ 216181 h 435640"/>
              <a:gd name="connsiteX8" fmla="*/ 7117854 w 7117854"/>
              <a:gd name="connsiteY8" fmla="*/ 3653 h 435640"/>
              <a:gd name="connsiteX0" fmla="*/ 0 w 6998881"/>
              <a:gd name="connsiteY0" fmla="*/ 537227 h 537227"/>
              <a:gd name="connsiteX1" fmla="*/ 581830 w 6998881"/>
              <a:gd name="connsiteY1" fmla="*/ 210551 h 537227"/>
              <a:gd name="connsiteX2" fmla="*/ 1750677 w 6998881"/>
              <a:gd name="connsiteY2" fmla="*/ 340987 h 537227"/>
              <a:gd name="connsiteX3" fmla="*/ 2625608 w 6998881"/>
              <a:gd name="connsiteY3" fmla="*/ 316642 h 537227"/>
              <a:gd name="connsiteX4" fmla="*/ 3540242 w 6998881"/>
              <a:gd name="connsiteY4" fmla="*/ 433808 h 537227"/>
              <a:gd name="connsiteX5" fmla="*/ 4349641 w 6998881"/>
              <a:gd name="connsiteY5" fmla="*/ 363563 h 537227"/>
              <a:gd name="connsiteX6" fmla="*/ 5161741 w 6998881"/>
              <a:gd name="connsiteY6" fmla="*/ 222231 h 537227"/>
              <a:gd name="connsiteX7" fmla="*/ 6225997 w 6998881"/>
              <a:gd name="connsiteY7" fmla="*/ 216181 h 537227"/>
              <a:gd name="connsiteX8" fmla="*/ 6998881 w 6998881"/>
              <a:gd name="connsiteY8" fmla="*/ 3653 h 537227"/>
              <a:gd name="connsiteX0" fmla="*/ 0 w 6998881"/>
              <a:gd name="connsiteY0" fmla="*/ 537227 h 537227"/>
              <a:gd name="connsiteX1" fmla="*/ 1750677 w 6998881"/>
              <a:gd name="connsiteY1" fmla="*/ 340987 h 537227"/>
              <a:gd name="connsiteX2" fmla="*/ 2625608 w 6998881"/>
              <a:gd name="connsiteY2" fmla="*/ 316642 h 537227"/>
              <a:gd name="connsiteX3" fmla="*/ 3540242 w 6998881"/>
              <a:gd name="connsiteY3" fmla="*/ 433808 h 537227"/>
              <a:gd name="connsiteX4" fmla="*/ 4349641 w 6998881"/>
              <a:gd name="connsiteY4" fmla="*/ 363563 h 537227"/>
              <a:gd name="connsiteX5" fmla="*/ 5161741 w 6998881"/>
              <a:gd name="connsiteY5" fmla="*/ 222231 h 537227"/>
              <a:gd name="connsiteX6" fmla="*/ 6225997 w 6998881"/>
              <a:gd name="connsiteY6" fmla="*/ 216181 h 537227"/>
              <a:gd name="connsiteX7" fmla="*/ 6998881 w 6998881"/>
              <a:gd name="connsiteY7" fmla="*/ 3653 h 537227"/>
              <a:gd name="connsiteX0" fmla="*/ 0 w 6998881"/>
              <a:gd name="connsiteY0" fmla="*/ 537227 h 537227"/>
              <a:gd name="connsiteX1" fmla="*/ 1199644 w 6998881"/>
              <a:gd name="connsiteY1" fmla="*/ 320800 h 537227"/>
              <a:gd name="connsiteX2" fmla="*/ 2625608 w 6998881"/>
              <a:gd name="connsiteY2" fmla="*/ 316642 h 537227"/>
              <a:gd name="connsiteX3" fmla="*/ 3540242 w 6998881"/>
              <a:gd name="connsiteY3" fmla="*/ 433808 h 537227"/>
              <a:gd name="connsiteX4" fmla="*/ 4349641 w 6998881"/>
              <a:gd name="connsiteY4" fmla="*/ 363563 h 537227"/>
              <a:gd name="connsiteX5" fmla="*/ 5161741 w 6998881"/>
              <a:gd name="connsiteY5" fmla="*/ 222231 h 537227"/>
              <a:gd name="connsiteX6" fmla="*/ 6225997 w 6998881"/>
              <a:gd name="connsiteY6" fmla="*/ 216181 h 537227"/>
              <a:gd name="connsiteX7" fmla="*/ 6998881 w 6998881"/>
              <a:gd name="connsiteY7" fmla="*/ 3653 h 537227"/>
              <a:gd name="connsiteX0" fmla="*/ 0 w 6998881"/>
              <a:gd name="connsiteY0" fmla="*/ 537227 h 537227"/>
              <a:gd name="connsiteX1" fmla="*/ 1199644 w 6998881"/>
              <a:gd name="connsiteY1" fmla="*/ 320800 h 537227"/>
              <a:gd name="connsiteX2" fmla="*/ 2625608 w 6998881"/>
              <a:gd name="connsiteY2" fmla="*/ 316642 h 537227"/>
              <a:gd name="connsiteX3" fmla="*/ 3540242 w 6998881"/>
              <a:gd name="connsiteY3" fmla="*/ 433808 h 537227"/>
              <a:gd name="connsiteX4" fmla="*/ 4349641 w 6998881"/>
              <a:gd name="connsiteY4" fmla="*/ 363563 h 537227"/>
              <a:gd name="connsiteX5" fmla="*/ 5161741 w 6998881"/>
              <a:gd name="connsiteY5" fmla="*/ 222231 h 537227"/>
              <a:gd name="connsiteX6" fmla="*/ 6225997 w 6998881"/>
              <a:gd name="connsiteY6" fmla="*/ 216181 h 537227"/>
              <a:gd name="connsiteX7" fmla="*/ 6998881 w 6998881"/>
              <a:gd name="connsiteY7" fmla="*/ 3653 h 537227"/>
              <a:gd name="connsiteX0" fmla="*/ 0 w 6998881"/>
              <a:gd name="connsiteY0" fmla="*/ 537227 h 537227"/>
              <a:gd name="connsiteX1" fmla="*/ 1199644 w 6998881"/>
              <a:gd name="connsiteY1" fmla="*/ 320800 h 537227"/>
              <a:gd name="connsiteX2" fmla="*/ 2625608 w 6998881"/>
              <a:gd name="connsiteY2" fmla="*/ 316642 h 537227"/>
              <a:gd name="connsiteX3" fmla="*/ 3540242 w 6998881"/>
              <a:gd name="connsiteY3" fmla="*/ 433808 h 537227"/>
              <a:gd name="connsiteX4" fmla="*/ 4556278 w 6998881"/>
              <a:gd name="connsiteY4" fmla="*/ 341541 h 537227"/>
              <a:gd name="connsiteX5" fmla="*/ 5161741 w 6998881"/>
              <a:gd name="connsiteY5" fmla="*/ 222231 h 537227"/>
              <a:gd name="connsiteX6" fmla="*/ 6225997 w 6998881"/>
              <a:gd name="connsiteY6" fmla="*/ 216181 h 537227"/>
              <a:gd name="connsiteX7" fmla="*/ 6998881 w 6998881"/>
              <a:gd name="connsiteY7" fmla="*/ 3653 h 537227"/>
              <a:gd name="connsiteX0" fmla="*/ 0 w 6998881"/>
              <a:gd name="connsiteY0" fmla="*/ 537605 h 537605"/>
              <a:gd name="connsiteX1" fmla="*/ 1199644 w 6998881"/>
              <a:gd name="connsiteY1" fmla="*/ 321178 h 537605"/>
              <a:gd name="connsiteX2" fmla="*/ 2625608 w 6998881"/>
              <a:gd name="connsiteY2" fmla="*/ 317020 h 537605"/>
              <a:gd name="connsiteX3" fmla="*/ 3540242 w 6998881"/>
              <a:gd name="connsiteY3" fmla="*/ 434186 h 537605"/>
              <a:gd name="connsiteX4" fmla="*/ 4556278 w 6998881"/>
              <a:gd name="connsiteY4" fmla="*/ 341919 h 537605"/>
              <a:gd name="connsiteX5" fmla="*/ 5831747 w 6998881"/>
              <a:gd name="connsiteY5" fmla="*/ 358411 h 537605"/>
              <a:gd name="connsiteX6" fmla="*/ 6225997 w 6998881"/>
              <a:gd name="connsiteY6" fmla="*/ 216559 h 537605"/>
              <a:gd name="connsiteX7" fmla="*/ 6998881 w 6998881"/>
              <a:gd name="connsiteY7" fmla="*/ 4031 h 537605"/>
              <a:gd name="connsiteX0" fmla="*/ 0 w 7029079"/>
              <a:gd name="connsiteY0" fmla="*/ 536246 h 536246"/>
              <a:gd name="connsiteX1" fmla="*/ 1199644 w 7029079"/>
              <a:gd name="connsiteY1" fmla="*/ 319819 h 536246"/>
              <a:gd name="connsiteX2" fmla="*/ 2625608 w 7029079"/>
              <a:gd name="connsiteY2" fmla="*/ 315661 h 536246"/>
              <a:gd name="connsiteX3" fmla="*/ 3540242 w 7029079"/>
              <a:gd name="connsiteY3" fmla="*/ 432827 h 536246"/>
              <a:gd name="connsiteX4" fmla="*/ 4556278 w 7029079"/>
              <a:gd name="connsiteY4" fmla="*/ 340560 h 536246"/>
              <a:gd name="connsiteX5" fmla="*/ 5831747 w 7029079"/>
              <a:gd name="connsiteY5" fmla="*/ 357052 h 536246"/>
              <a:gd name="connsiteX6" fmla="*/ 6964882 w 7029079"/>
              <a:gd name="connsiteY6" fmla="*/ 323474 h 536246"/>
              <a:gd name="connsiteX7" fmla="*/ 6998881 w 7029079"/>
              <a:gd name="connsiteY7" fmla="*/ 2672 h 536246"/>
              <a:gd name="connsiteX0" fmla="*/ 0 w 6964882"/>
              <a:gd name="connsiteY0" fmla="*/ 239508 h 239508"/>
              <a:gd name="connsiteX1" fmla="*/ 1199644 w 6964882"/>
              <a:gd name="connsiteY1" fmla="*/ 23081 h 239508"/>
              <a:gd name="connsiteX2" fmla="*/ 2625608 w 6964882"/>
              <a:gd name="connsiteY2" fmla="*/ 18923 h 239508"/>
              <a:gd name="connsiteX3" fmla="*/ 3540242 w 6964882"/>
              <a:gd name="connsiteY3" fmla="*/ 136089 h 239508"/>
              <a:gd name="connsiteX4" fmla="*/ 4556278 w 6964882"/>
              <a:gd name="connsiteY4" fmla="*/ 43822 h 239508"/>
              <a:gd name="connsiteX5" fmla="*/ 5831747 w 6964882"/>
              <a:gd name="connsiteY5" fmla="*/ 60314 h 239508"/>
              <a:gd name="connsiteX6" fmla="*/ 6964882 w 6964882"/>
              <a:gd name="connsiteY6" fmla="*/ 26736 h 239508"/>
              <a:gd name="connsiteX0" fmla="*/ 0 w 6964882"/>
              <a:gd name="connsiteY0" fmla="*/ 300953 h 300953"/>
              <a:gd name="connsiteX1" fmla="*/ 1199644 w 6964882"/>
              <a:gd name="connsiteY1" fmla="*/ 84526 h 300953"/>
              <a:gd name="connsiteX2" fmla="*/ 2625608 w 6964882"/>
              <a:gd name="connsiteY2" fmla="*/ 80368 h 300953"/>
              <a:gd name="connsiteX3" fmla="*/ 3533415 w 6964882"/>
              <a:gd name="connsiteY3" fmla="*/ 0 h 300953"/>
              <a:gd name="connsiteX4" fmla="*/ 4556278 w 6964882"/>
              <a:gd name="connsiteY4" fmla="*/ 105267 h 300953"/>
              <a:gd name="connsiteX5" fmla="*/ 5831747 w 6964882"/>
              <a:gd name="connsiteY5" fmla="*/ 121759 h 300953"/>
              <a:gd name="connsiteX6" fmla="*/ 6964882 w 6964882"/>
              <a:gd name="connsiteY6" fmla="*/ 88181 h 300953"/>
              <a:gd name="connsiteX0" fmla="*/ 0 w 6958055"/>
              <a:gd name="connsiteY0" fmla="*/ 202182 h 202182"/>
              <a:gd name="connsiteX1" fmla="*/ 1192817 w 6958055"/>
              <a:gd name="connsiteY1" fmla="*/ 84526 h 202182"/>
              <a:gd name="connsiteX2" fmla="*/ 2618781 w 6958055"/>
              <a:gd name="connsiteY2" fmla="*/ 80368 h 202182"/>
              <a:gd name="connsiteX3" fmla="*/ 3526588 w 6958055"/>
              <a:gd name="connsiteY3" fmla="*/ 0 h 202182"/>
              <a:gd name="connsiteX4" fmla="*/ 4549451 w 6958055"/>
              <a:gd name="connsiteY4" fmla="*/ 105267 h 202182"/>
              <a:gd name="connsiteX5" fmla="*/ 5824920 w 6958055"/>
              <a:gd name="connsiteY5" fmla="*/ 121759 h 202182"/>
              <a:gd name="connsiteX6" fmla="*/ 6958055 w 6958055"/>
              <a:gd name="connsiteY6" fmla="*/ 88181 h 202182"/>
              <a:gd name="connsiteX0" fmla="*/ 0 w 6958055"/>
              <a:gd name="connsiteY0" fmla="*/ 319476 h 319476"/>
              <a:gd name="connsiteX1" fmla="*/ 1185989 w 6958055"/>
              <a:gd name="connsiteY1" fmla="*/ 4285 h 319476"/>
              <a:gd name="connsiteX2" fmla="*/ 2618781 w 6958055"/>
              <a:gd name="connsiteY2" fmla="*/ 197662 h 319476"/>
              <a:gd name="connsiteX3" fmla="*/ 3526588 w 6958055"/>
              <a:gd name="connsiteY3" fmla="*/ 117294 h 319476"/>
              <a:gd name="connsiteX4" fmla="*/ 4549451 w 6958055"/>
              <a:gd name="connsiteY4" fmla="*/ 222561 h 319476"/>
              <a:gd name="connsiteX5" fmla="*/ 5824920 w 6958055"/>
              <a:gd name="connsiteY5" fmla="*/ 239053 h 319476"/>
              <a:gd name="connsiteX6" fmla="*/ 6958055 w 6958055"/>
              <a:gd name="connsiteY6" fmla="*/ 205475 h 319476"/>
              <a:gd name="connsiteX0" fmla="*/ 0 w 6958055"/>
              <a:gd name="connsiteY0" fmla="*/ 319476 h 319476"/>
              <a:gd name="connsiteX1" fmla="*/ 1185989 w 6958055"/>
              <a:gd name="connsiteY1" fmla="*/ 4285 h 319476"/>
              <a:gd name="connsiteX2" fmla="*/ 2618781 w 6958055"/>
              <a:gd name="connsiteY2" fmla="*/ 197662 h 319476"/>
              <a:gd name="connsiteX3" fmla="*/ 3526588 w 6958055"/>
              <a:gd name="connsiteY3" fmla="*/ 117294 h 319476"/>
              <a:gd name="connsiteX4" fmla="*/ 4556279 w 6958055"/>
              <a:gd name="connsiteY4" fmla="*/ 25025 h 319476"/>
              <a:gd name="connsiteX5" fmla="*/ 5824920 w 6958055"/>
              <a:gd name="connsiteY5" fmla="*/ 239053 h 319476"/>
              <a:gd name="connsiteX6" fmla="*/ 6958055 w 6958055"/>
              <a:gd name="connsiteY6" fmla="*/ 205475 h 319476"/>
              <a:gd name="connsiteX0" fmla="*/ 0 w 6958055"/>
              <a:gd name="connsiteY0" fmla="*/ 328979 h 328979"/>
              <a:gd name="connsiteX1" fmla="*/ 1185989 w 6958055"/>
              <a:gd name="connsiteY1" fmla="*/ 13788 h 328979"/>
              <a:gd name="connsiteX2" fmla="*/ 2618781 w 6958055"/>
              <a:gd name="connsiteY2" fmla="*/ 207165 h 328979"/>
              <a:gd name="connsiteX3" fmla="*/ 3526588 w 6958055"/>
              <a:gd name="connsiteY3" fmla="*/ 126797 h 328979"/>
              <a:gd name="connsiteX4" fmla="*/ 4556279 w 6958055"/>
              <a:gd name="connsiteY4" fmla="*/ 34528 h 328979"/>
              <a:gd name="connsiteX5" fmla="*/ 5824920 w 6958055"/>
              <a:gd name="connsiteY5" fmla="*/ 1634 h 328979"/>
              <a:gd name="connsiteX6" fmla="*/ 6958055 w 6958055"/>
              <a:gd name="connsiteY6" fmla="*/ 214978 h 328979"/>
              <a:gd name="connsiteX0" fmla="*/ 0 w 6958055"/>
              <a:gd name="connsiteY0" fmla="*/ 131444 h 222765"/>
              <a:gd name="connsiteX1" fmla="*/ 1185989 w 6958055"/>
              <a:gd name="connsiteY1" fmla="*/ 13788 h 222765"/>
              <a:gd name="connsiteX2" fmla="*/ 2618781 w 6958055"/>
              <a:gd name="connsiteY2" fmla="*/ 207165 h 222765"/>
              <a:gd name="connsiteX3" fmla="*/ 3526588 w 6958055"/>
              <a:gd name="connsiteY3" fmla="*/ 126797 h 222765"/>
              <a:gd name="connsiteX4" fmla="*/ 4556279 w 6958055"/>
              <a:gd name="connsiteY4" fmla="*/ 34528 h 222765"/>
              <a:gd name="connsiteX5" fmla="*/ 5824920 w 6958055"/>
              <a:gd name="connsiteY5" fmla="*/ 1634 h 222765"/>
              <a:gd name="connsiteX6" fmla="*/ 6958055 w 6958055"/>
              <a:gd name="connsiteY6" fmla="*/ 214978 h 222765"/>
              <a:gd name="connsiteX0" fmla="*/ 0 w 6958055"/>
              <a:gd name="connsiteY0" fmla="*/ 131444 h 222765"/>
              <a:gd name="connsiteX1" fmla="*/ 1185989 w 6958055"/>
              <a:gd name="connsiteY1" fmla="*/ 13788 h 222765"/>
              <a:gd name="connsiteX2" fmla="*/ 2618781 w 6958055"/>
              <a:gd name="connsiteY2" fmla="*/ 157779 h 222765"/>
              <a:gd name="connsiteX3" fmla="*/ 3526588 w 6958055"/>
              <a:gd name="connsiteY3" fmla="*/ 126797 h 222765"/>
              <a:gd name="connsiteX4" fmla="*/ 4556279 w 6958055"/>
              <a:gd name="connsiteY4" fmla="*/ 34528 h 222765"/>
              <a:gd name="connsiteX5" fmla="*/ 5824920 w 6958055"/>
              <a:gd name="connsiteY5" fmla="*/ 1634 h 222765"/>
              <a:gd name="connsiteX6" fmla="*/ 6958055 w 6958055"/>
              <a:gd name="connsiteY6" fmla="*/ 214978 h 222765"/>
              <a:gd name="connsiteX0" fmla="*/ 0 w 6958055"/>
              <a:gd name="connsiteY0" fmla="*/ 131444 h 222765"/>
              <a:gd name="connsiteX1" fmla="*/ 1185989 w 6958055"/>
              <a:gd name="connsiteY1" fmla="*/ 13788 h 222765"/>
              <a:gd name="connsiteX2" fmla="*/ 2618781 w 6958055"/>
              <a:gd name="connsiteY2" fmla="*/ 157779 h 222765"/>
              <a:gd name="connsiteX3" fmla="*/ 3526588 w 6958055"/>
              <a:gd name="connsiteY3" fmla="*/ 126797 h 222765"/>
              <a:gd name="connsiteX4" fmla="*/ 4556279 w 6958055"/>
              <a:gd name="connsiteY4" fmla="*/ 34528 h 222765"/>
              <a:gd name="connsiteX5" fmla="*/ 5824920 w 6958055"/>
              <a:gd name="connsiteY5" fmla="*/ 1634 h 222765"/>
              <a:gd name="connsiteX6" fmla="*/ 6958055 w 6958055"/>
              <a:gd name="connsiteY6" fmla="*/ 214978 h 222765"/>
              <a:gd name="connsiteX0" fmla="*/ 0 w 6958055"/>
              <a:gd name="connsiteY0" fmla="*/ 131255 h 222576"/>
              <a:gd name="connsiteX1" fmla="*/ 1185989 w 6958055"/>
              <a:gd name="connsiteY1" fmla="*/ 13599 h 222576"/>
              <a:gd name="connsiteX2" fmla="*/ 2618781 w 6958055"/>
              <a:gd name="connsiteY2" fmla="*/ 157590 h 222576"/>
              <a:gd name="connsiteX3" fmla="*/ 3533417 w 6958055"/>
              <a:gd name="connsiteY3" fmla="*/ 77223 h 222576"/>
              <a:gd name="connsiteX4" fmla="*/ 4556279 w 6958055"/>
              <a:gd name="connsiteY4" fmla="*/ 34339 h 222576"/>
              <a:gd name="connsiteX5" fmla="*/ 5824920 w 6958055"/>
              <a:gd name="connsiteY5" fmla="*/ 1445 h 222576"/>
              <a:gd name="connsiteX6" fmla="*/ 6958055 w 6958055"/>
              <a:gd name="connsiteY6" fmla="*/ 214789 h 222576"/>
              <a:gd name="connsiteX0" fmla="*/ 0 w 6978539"/>
              <a:gd name="connsiteY0" fmla="*/ 131527 h 174815"/>
              <a:gd name="connsiteX1" fmla="*/ 1185989 w 6978539"/>
              <a:gd name="connsiteY1" fmla="*/ 13871 h 174815"/>
              <a:gd name="connsiteX2" fmla="*/ 2618781 w 6978539"/>
              <a:gd name="connsiteY2" fmla="*/ 157862 h 174815"/>
              <a:gd name="connsiteX3" fmla="*/ 3533417 w 6978539"/>
              <a:gd name="connsiteY3" fmla="*/ 77495 h 174815"/>
              <a:gd name="connsiteX4" fmla="*/ 4556279 w 6978539"/>
              <a:gd name="connsiteY4" fmla="*/ 34611 h 174815"/>
              <a:gd name="connsiteX5" fmla="*/ 5824920 w 6978539"/>
              <a:gd name="connsiteY5" fmla="*/ 1717 h 174815"/>
              <a:gd name="connsiteX6" fmla="*/ 6978539 w 6978539"/>
              <a:gd name="connsiteY6" fmla="*/ 165678 h 174815"/>
              <a:gd name="connsiteX0" fmla="*/ 0 w 6870720"/>
              <a:gd name="connsiteY0" fmla="*/ 19849565 h 19849565"/>
              <a:gd name="connsiteX1" fmla="*/ 1078170 w 6870720"/>
              <a:gd name="connsiteY1" fmla="*/ 13876 h 19849565"/>
              <a:gd name="connsiteX2" fmla="*/ 2510962 w 6870720"/>
              <a:gd name="connsiteY2" fmla="*/ 157867 h 19849565"/>
              <a:gd name="connsiteX3" fmla="*/ 3425598 w 6870720"/>
              <a:gd name="connsiteY3" fmla="*/ 77500 h 19849565"/>
              <a:gd name="connsiteX4" fmla="*/ 4448460 w 6870720"/>
              <a:gd name="connsiteY4" fmla="*/ 34616 h 19849565"/>
              <a:gd name="connsiteX5" fmla="*/ 5717101 w 6870720"/>
              <a:gd name="connsiteY5" fmla="*/ 1722 h 19849565"/>
              <a:gd name="connsiteX6" fmla="*/ 6870720 w 6870720"/>
              <a:gd name="connsiteY6" fmla="*/ 165683 h 19849565"/>
              <a:gd name="connsiteX0" fmla="*/ 0 w 6870720"/>
              <a:gd name="connsiteY0" fmla="*/ 21134034 h 21134034"/>
              <a:gd name="connsiteX1" fmla="*/ 1139781 w 6870720"/>
              <a:gd name="connsiteY1" fmla="*/ 20570770 h 21134034"/>
              <a:gd name="connsiteX2" fmla="*/ 2510962 w 6870720"/>
              <a:gd name="connsiteY2" fmla="*/ 1442336 h 21134034"/>
              <a:gd name="connsiteX3" fmla="*/ 3425598 w 6870720"/>
              <a:gd name="connsiteY3" fmla="*/ 1361969 h 21134034"/>
              <a:gd name="connsiteX4" fmla="*/ 4448460 w 6870720"/>
              <a:gd name="connsiteY4" fmla="*/ 1319085 h 21134034"/>
              <a:gd name="connsiteX5" fmla="*/ 5717101 w 6870720"/>
              <a:gd name="connsiteY5" fmla="*/ 1286191 h 21134034"/>
              <a:gd name="connsiteX6" fmla="*/ 6870720 w 6870720"/>
              <a:gd name="connsiteY6" fmla="*/ 1450152 h 21134034"/>
              <a:gd name="connsiteX0" fmla="*/ 0 w 6870720"/>
              <a:gd name="connsiteY0" fmla="*/ 19849565 h 19849565"/>
              <a:gd name="connsiteX1" fmla="*/ 1139781 w 6870720"/>
              <a:gd name="connsiteY1" fmla="*/ 19286301 h 19849565"/>
              <a:gd name="connsiteX2" fmla="*/ 2310727 w 6870720"/>
              <a:gd name="connsiteY2" fmla="*/ 7844557 h 19849565"/>
              <a:gd name="connsiteX3" fmla="*/ 3425598 w 6870720"/>
              <a:gd name="connsiteY3" fmla="*/ 77500 h 19849565"/>
              <a:gd name="connsiteX4" fmla="*/ 4448460 w 6870720"/>
              <a:gd name="connsiteY4" fmla="*/ 34616 h 19849565"/>
              <a:gd name="connsiteX5" fmla="*/ 5717101 w 6870720"/>
              <a:gd name="connsiteY5" fmla="*/ 1722 h 19849565"/>
              <a:gd name="connsiteX6" fmla="*/ 6870720 w 6870720"/>
              <a:gd name="connsiteY6" fmla="*/ 165683 h 19849565"/>
              <a:gd name="connsiteX0" fmla="*/ 0 w 6870720"/>
              <a:gd name="connsiteY0" fmla="*/ 19849565 h 19849565"/>
              <a:gd name="connsiteX1" fmla="*/ 1139781 w 6870720"/>
              <a:gd name="connsiteY1" fmla="*/ 19286301 h 19849565"/>
              <a:gd name="connsiteX2" fmla="*/ 2310727 w 6870720"/>
              <a:gd name="connsiteY2" fmla="*/ 7844557 h 19849565"/>
              <a:gd name="connsiteX3" fmla="*/ 3425598 w 6870720"/>
              <a:gd name="connsiteY3" fmla="*/ 77500 h 19849565"/>
              <a:gd name="connsiteX4" fmla="*/ 4448460 w 6870720"/>
              <a:gd name="connsiteY4" fmla="*/ 34616 h 19849565"/>
              <a:gd name="connsiteX5" fmla="*/ 5717101 w 6870720"/>
              <a:gd name="connsiteY5" fmla="*/ 1722 h 19849565"/>
              <a:gd name="connsiteX6" fmla="*/ 6870720 w 6870720"/>
              <a:gd name="connsiteY6" fmla="*/ 165683 h 19849565"/>
              <a:gd name="connsiteX0" fmla="*/ 0 w 6870720"/>
              <a:gd name="connsiteY0" fmla="*/ 19849565 h 19849565"/>
              <a:gd name="connsiteX1" fmla="*/ 1139781 w 6870720"/>
              <a:gd name="connsiteY1" fmla="*/ 19286301 h 19849565"/>
              <a:gd name="connsiteX2" fmla="*/ 2310727 w 6870720"/>
              <a:gd name="connsiteY2" fmla="*/ 7844557 h 19849565"/>
              <a:gd name="connsiteX3" fmla="*/ 3425598 w 6870720"/>
              <a:gd name="connsiteY3" fmla="*/ 77500 h 19849565"/>
              <a:gd name="connsiteX4" fmla="*/ 4448460 w 6870720"/>
              <a:gd name="connsiteY4" fmla="*/ 34616 h 19849565"/>
              <a:gd name="connsiteX5" fmla="*/ 5717101 w 6870720"/>
              <a:gd name="connsiteY5" fmla="*/ 1722 h 19849565"/>
              <a:gd name="connsiteX6" fmla="*/ 6870720 w 6870720"/>
              <a:gd name="connsiteY6" fmla="*/ 165683 h 19849565"/>
              <a:gd name="connsiteX0" fmla="*/ 0 w 6870720"/>
              <a:gd name="connsiteY0" fmla="*/ 19849565 h 23145564"/>
              <a:gd name="connsiteX1" fmla="*/ 1139781 w 6870720"/>
              <a:gd name="connsiteY1" fmla="*/ 19286301 h 23145564"/>
              <a:gd name="connsiteX2" fmla="*/ 2310727 w 6870720"/>
              <a:gd name="connsiteY2" fmla="*/ 23050838 h 23145564"/>
              <a:gd name="connsiteX3" fmla="*/ 3425598 w 6870720"/>
              <a:gd name="connsiteY3" fmla="*/ 77500 h 23145564"/>
              <a:gd name="connsiteX4" fmla="*/ 4448460 w 6870720"/>
              <a:gd name="connsiteY4" fmla="*/ 34616 h 23145564"/>
              <a:gd name="connsiteX5" fmla="*/ 5717101 w 6870720"/>
              <a:gd name="connsiteY5" fmla="*/ 1722 h 23145564"/>
              <a:gd name="connsiteX6" fmla="*/ 6870720 w 6870720"/>
              <a:gd name="connsiteY6" fmla="*/ 165683 h 23145564"/>
              <a:gd name="connsiteX0" fmla="*/ 0 w 6870720"/>
              <a:gd name="connsiteY0" fmla="*/ 19849565 h 23214007"/>
              <a:gd name="connsiteX1" fmla="*/ 1139781 w 6870720"/>
              <a:gd name="connsiteY1" fmla="*/ 19286301 h 23214007"/>
              <a:gd name="connsiteX2" fmla="*/ 2310727 w 6870720"/>
              <a:gd name="connsiteY2" fmla="*/ 23050838 h 23214007"/>
              <a:gd name="connsiteX3" fmla="*/ 3464105 w 6870720"/>
              <a:gd name="connsiteY3" fmla="*/ 22580566 h 23214007"/>
              <a:gd name="connsiteX4" fmla="*/ 4448460 w 6870720"/>
              <a:gd name="connsiteY4" fmla="*/ 34616 h 23214007"/>
              <a:gd name="connsiteX5" fmla="*/ 5717101 w 6870720"/>
              <a:gd name="connsiteY5" fmla="*/ 1722 h 23214007"/>
              <a:gd name="connsiteX6" fmla="*/ 6870720 w 6870720"/>
              <a:gd name="connsiteY6" fmla="*/ 165683 h 23214007"/>
              <a:gd name="connsiteX0" fmla="*/ 0 w 6870720"/>
              <a:gd name="connsiteY0" fmla="*/ 19849565 h 23214007"/>
              <a:gd name="connsiteX1" fmla="*/ 1139781 w 6870720"/>
              <a:gd name="connsiteY1" fmla="*/ 19286301 h 23214007"/>
              <a:gd name="connsiteX2" fmla="*/ 2310727 w 6870720"/>
              <a:gd name="connsiteY2" fmla="*/ 23050838 h 23214007"/>
              <a:gd name="connsiteX3" fmla="*/ 3464105 w 6870720"/>
              <a:gd name="connsiteY3" fmla="*/ 22580566 h 23214007"/>
              <a:gd name="connsiteX4" fmla="*/ 4448460 w 6870720"/>
              <a:gd name="connsiteY4" fmla="*/ 34616 h 23214007"/>
              <a:gd name="connsiteX5" fmla="*/ 5717101 w 6870720"/>
              <a:gd name="connsiteY5" fmla="*/ 1722 h 23214007"/>
              <a:gd name="connsiteX6" fmla="*/ 6870720 w 6870720"/>
              <a:gd name="connsiteY6" fmla="*/ 165683 h 23214007"/>
              <a:gd name="connsiteX0" fmla="*/ 0 w 6870720"/>
              <a:gd name="connsiteY0" fmla="*/ 19849565 h 23494664"/>
              <a:gd name="connsiteX1" fmla="*/ 1139781 w 6870720"/>
              <a:gd name="connsiteY1" fmla="*/ 19286301 h 23494664"/>
              <a:gd name="connsiteX2" fmla="*/ 2310727 w 6870720"/>
              <a:gd name="connsiteY2" fmla="*/ 23050838 h 23494664"/>
              <a:gd name="connsiteX3" fmla="*/ 3456404 w 6870720"/>
              <a:gd name="connsiteY3" fmla="*/ 23416074 h 23494664"/>
              <a:gd name="connsiteX4" fmla="*/ 4448460 w 6870720"/>
              <a:gd name="connsiteY4" fmla="*/ 34616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448460 w 6870720"/>
              <a:gd name="connsiteY4" fmla="*/ 34616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563980 w 6870720"/>
              <a:gd name="connsiteY4" fmla="*/ 17413219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563980 w 6870720"/>
              <a:gd name="connsiteY4" fmla="*/ 17413219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563980 w 6870720"/>
              <a:gd name="connsiteY4" fmla="*/ 17413219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448460 w 6870720"/>
              <a:gd name="connsiteY4" fmla="*/ 19307041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448460 w 6870720"/>
              <a:gd name="connsiteY4" fmla="*/ 19307041 h 23494664"/>
              <a:gd name="connsiteX5" fmla="*/ 5717101 w 6870720"/>
              <a:gd name="connsiteY5" fmla="*/ 1722 h 23494664"/>
              <a:gd name="connsiteX6" fmla="*/ 6870720 w 6870720"/>
              <a:gd name="connsiteY6" fmla="*/ 165683 h 23494664"/>
              <a:gd name="connsiteX0" fmla="*/ 0 w 6870720"/>
              <a:gd name="connsiteY0" fmla="*/ 19849565 h 23494664"/>
              <a:gd name="connsiteX1" fmla="*/ 1139781 w 6870720"/>
              <a:gd name="connsiteY1" fmla="*/ 19286301 h 23494664"/>
              <a:gd name="connsiteX2" fmla="*/ 2310727 w 6870720"/>
              <a:gd name="connsiteY2" fmla="*/ 23050838 h 23494664"/>
              <a:gd name="connsiteX3" fmla="*/ 3340884 w 6870720"/>
              <a:gd name="connsiteY3" fmla="*/ 23416073 h 23494664"/>
              <a:gd name="connsiteX4" fmla="*/ 4448460 w 6870720"/>
              <a:gd name="connsiteY4" fmla="*/ 20031148 h 23494664"/>
              <a:gd name="connsiteX5" fmla="*/ 5717101 w 6870720"/>
              <a:gd name="connsiteY5" fmla="*/ 1722 h 23494664"/>
              <a:gd name="connsiteX6" fmla="*/ 6870720 w 6870720"/>
              <a:gd name="connsiteY6" fmla="*/ 165683 h 23494664"/>
              <a:gd name="connsiteX0" fmla="*/ 0 w 6870720"/>
              <a:gd name="connsiteY0" fmla="*/ 19683881 h 23328980"/>
              <a:gd name="connsiteX1" fmla="*/ 1139781 w 6870720"/>
              <a:gd name="connsiteY1" fmla="*/ 19120617 h 23328980"/>
              <a:gd name="connsiteX2" fmla="*/ 2310727 w 6870720"/>
              <a:gd name="connsiteY2" fmla="*/ 22885154 h 23328980"/>
              <a:gd name="connsiteX3" fmla="*/ 3340884 w 6870720"/>
              <a:gd name="connsiteY3" fmla="*/ 23250389 h 23328980"/>
              <a:gd name="connsiteX4" fmla="*/ 4448460 w 6870720"/>
              <a:gd name="connsiteY4" fmla="*/ 19865464 h 23328980"/>
              <a:gd name="connsiteX5" fmla="*/ 5670893 w 6870720"/>
              <a:gd name="connsiteY5" fmla="*/ 19554071 h 23328980"/>
              <a:gd name="connsiteX6" fmla="*/ 6870720 w 6870720"/>
              <a:gd name="connsiteY6" fmla="*/ -1 h 23328980"/>
              <a:gd name="connsiteX0" fmla="*/ 0 w 6870720"/>
              <a:gd name="connsiteY0" fmla="*/ 19683881 h 23328980"/>
              <a:gd name="connsiteX1" fmla="*/ 1139781 w 6870720"/>
              <a:gd name="connsiteY1" fmla="*/ 19120617 h 23328980"/>
              <a:gd name="connsiteX2" fmla="*/ 2310727 w 6870720"/>
              <a:gd name="connsiteY2" fmla="*/ 22885154 h 23328980"/>
              <a:gd name="connsiteX3" fmla="*/ 3340884 w 6870720"/>
              <a:gd name="connsiteY3" fmla="*/ 23250389 h 23328980"/>
              <a:gd name="connsiteX4" fmla="*/ 4448460 w 6870720"/>
              <a:gd name="connsiteY4" fmla="*/ 19865464 h 23328980"/>
              <a:gd name="connsiteX5" fmla="*/ 5570775 w 6870720"/>
              <a:gd name="connsiteY5" fmla="*/ 20278178 h 23328980"/>
              <a:gd name="connsiteX6" fmla="*/ 6870720 w 6870720"/>
              <a:gd name="connsiteY6" fmla="*/ -1 h 23328980"/>
              <a:gd name="connsiteX0" fmla="*/ 0 w 6870720"/>
              <a:gd name="connsiteY0" fmla="*/ 19683881 h 23328980"/>
              <a:gd name="connsiteX1" fmla="*/ 1139781 w 6870720"/>
              <a:gd name="connsiteY1" fmla="*/ 19120617 h 23328980"/>
              <a:gd name="connsiteX2" fmla="*/ 2310727 w 6870720"/>
              <a:gd name="connsiteY2" fmla="*/ 22885154 h 23328980"/>
              <a:gd name="connsiteX3" fmla="*/ 3340884 w 6870720"/>
              <a:gd name="connsiteY3" fmla="*/ 23250389 h 23328980"/>
              <a:gd name="connsiteX4" fmla="*/ 4448460 w 6870720"/>
              <a:gd name="connsiteY4" fmla="*/ 19865464 h 23328980"/>
              <a:gd name="connsiteX5" fmla="*/ 5601581 w 6870720"/>
              <a:gd name="connsiteY5" fmla="*/ 21225092 h 23328980"/>
              <a:gd name="connsiteX6" fmla="*/ 6870720 w 6870720"/>
              <a:gd name="connsiteY6" fmla="*/ -1 h 23328980"/>
              <a:gd name="connsiteX0" fmla="*/ 0 w 6701290"/>
              <a:gd name="connsiteY0" fmla="*/ 563589 h 4208688"/>
              <a:gd name="connsiteX1" fmla="*/ 1139781 w 6701290"/>
              <a:gd name="connsiteY1" fmla="*/ 325 h 4208688"/>
              <a:gd name="connsiteX2" fmla="*/ 2310727 w 6701290"/>
              <a:gd name="connsiteY2" fmla="*/ 3764862 h 4208688"/>
              <a:gd name="connsiteX3" fmla="*/ 3340884 w 6701290"/>
              <a:gd name="connsiteY3" fmla="*/ 4130097 h 4208688"/>
              <a:gd name="connsiteX4" fmla="*/ 4448460 w 6701290"/>
              <a:gd name="connsiteY4" fmla="*/ 745172 h 4208688"/>
              <a:gd name="connsiteX5" fmla="*/ 5601581 w 6701290"/>
              <a:gd name="connsiteY5" fmla="*/ 2104800 h 4208688"/>
              <a:gd name="connsiteX6" fmla="*/ 6701290 w 6701290"/>
              <a:gd name="connsiteY6" fmla="*/ 764838 h 4208688"/>
              <a:gd name="connsiteX0" fmla="*/ 0 w 6701290"/>
              <a:gd name="connsiteY0" fmla="*/ 583224 h 4149748"/>
              <a:gd name="connsiteX1" fmla="*/ 1139781 w 6701290"/>
              <a:gd name="connsiteY1" fmla="*/ 19960 h 4149748"/>
              <a:gd name="connsiteX2" fmla="*/ 2310727 w 6701290"/>
              <a:gd name="connsiteY2" fmla="*/ 610952 h 4149748"/>
              <a:gd name="connsiteX3" fmla="*/ 3340884 w 6701290"/>
              <a:gd name="connsiteY3" fmla="*/ 4149732 h 4149748"/>
              <a:gd name="connsiteX4" fmla="*/ 4448460 w 6701290"/>
              <a:gd name="connsiteY4" fmla="*/ 764807 h 4149748"/>
              <a:gd name="connsiteX5" fmla="*/ 5601581 w 6701290"/>
              <a:gd name="connsiteY5" fmla="*/ 2124435 h 4149748"/>
              <a:gd name="connsiteX6" fmla="*/ 6701290 w 6701290"/>
              <a:gd name="connsiteY6" fmla="*/ 784473 h 4149748"/>
              <a:gd name="connsiteX0" fmla="*/ 0 w 6701290"/>
              <a:gd name="connsiteY0" fmla="*/ 565093 h 2106304"/>
              <a:gd name="connsiteX1" fmla="*/ 1139781 w 6701290"/>
              <a:gd name="connsiteY1" fmla="*/ 1829 h 2106304"/>
              <a:gd name="connsiteX2" fmla="*/ 2310727 w 6701290"/>
              <a:gd name="connsiteY2" fmla="*/ 592821 h 2106304"/>
              <a:gd name="connsiteX3" fmla="*/ 3431953 w 6701290"/>
              <a:gd name="connsiteY3" fmla="*/ 598787 h 2106304"/>
              <a:gd name="connsiteX4" fmla="*/ 4448460 w 6701290"/>
              <a:gd name="connsiteY4" fmla="*/ 746676 h 2106304"/>
              <a:gd name="connsiteX5" fmla="*/ 5601581 w 6701290"/>
              <a:gd name="connsiteY5" fmla="*/ 2106304 h 2106304"/>
              <a:gd name="connsiteX6" fmla="*/ 6701290 w 6701290"/>
              <a:gd name="connsiteY6" fmla="*/ 766342 h 2106304"/>
              <a:gd name="connsiteX0" fmla="*/ 0 w 6701290"/>
              <a:gd name="connsiteY0" fmla="*/ 1321596 h 2862807"/>
              <a:gd name="connsiteX1" fmla="*/ 1139781 w 6701290"/>
              <a:gd name="connsiteY1" fmla="*/ 758332 h 2862807"/>
              <a:gd name="connsiteX2" fmla="*/ 2310727 w 6701290"/>
              <a:gd name="connsiteY2" fmla="*/ 1349324 h 2862807"/>
              <a:gd name="connsiteX3" fmla="*/ 3431953 w 6701290"/>
              <a:gd name="connsiteY3" fmla="*/ 1355290 h 2862807"/>
              <a:gd name="connsiteX4" fmla="*/ 4564366 w 6701290"/>
              <a:gd name="connsiteY4" fmla="*/ 605005 h 2862807"/>
              <a:gd name="connsiteX5" fmla="*/ 5601581 w 6701290"/>
              <a:gd name="connsiteY5" fmla="*/ 2862807 h 2862807"/>
              <a:gd name="connsiteX6" fmla="*/ 6701290 w 6701290"/>
              <a:gd name="connsiteY6" fmla="*/ 1522845 h 2862807"/>
              <a:gd name="connsiteX0" fmla="*/ 0 w 6701290"/>
              <a:gd name="connsiteY0" fmla="*/ 1321596 h 2862807"/>
              <a:gd name="connsiteX1" fmla="*/ 1139781 w 6701290"/>
              <a:gd name="connsiteY1" fmla="*/ 758332 h 2862807"/>
              <a:gd name="connsiteX2" fmla="*/ 2310727 w 6701290"/>
              <a:gd name="connsiteY2" fmla="*/ 1349324 h 2862807"/>
              <a:gd name="connsiteX3" fmla="*/ 3431953 w 6701290"/>
              <a:gd name="connsiteY3" fmla="*/ 1355290 h 2862807"/>
              <a:gd name="connsiteX4" fmla="*/ 4564366 w 6701290"/>
              <a:gd name="connsiteY4" fmla="*/ 605005 h 2862807"/>
              <a:gd name="connsiteX5" fmla="*/ 5601581 w 6701290"/>
              <a:gd name="connsiteY5" fmla="*/ 2862807 h 2862807"/>
              <a:gd name="connsiteX6" fmla="*/ 6701290 w 6701290"/>
              <a:gd name="connsiteY6" fmla="*/ 1522845 h 2862807"/>
              <a:gd name="connsiteX0" fmla="*/ 0 w 6701290"/>
              <a:gd name="connsiteY0" fmla="*/ 745545 h 2286756"/>
              <a:gd name="connsiteX1" fmla="*/ 1139781 w 6701290"/>
              <a:gd name="connsiteY1" fmla="*/ 182281 h 2286756"/>
              <a:gd name="connsiteX2" fmla="*/ 2310727 w 6701290"/>
              <a:gd name="connsiteY2" fmla="*/ 773273 h 2286756"/>
              <a:gd name="connsiteX3" fmla="*/ 3431953 w 6701290"/>
              <a:gd name="connsiteY3" fmla="*/ 779239 h 2286756"/>
              <a:gd name="connsiteX4" fmla="*/ 4564366 w 6701290"/>
              <a:gd name="connsiteY4" fmla="*/ 28954 h 2286756"/>
              <a:gd name="connsiteX5" fmla="*/ 5601581 w 6701290"/>
              <a:gd name="connsiteY5" fmla="*/ 2286756 h 2286756"/>
              <a:gd name="connsiteX6" fmla="*/ 6701290 w 6701290"/>
              <a:gd name="connsiteY6" fmla="*/ 946794 h 2286756"/>
              <a:gd name="connsiteX0" fmla="*/ 0 w 6701290"/>
              <a:gd name="connsiteY0" fmla="*/ 911921 h 1115390"/>
              <a:gd name="connsiteX1" fmla="*/ 1139781 w 6701290"/>
              <a:gd name="connsiteY1" fmla="*/ 348657 h 1115390"/>
              <a:gd name="connsiteX2" fmla="*/ 2310727 w 6701290"/>
              <a:gd name="connsiteY2" fmla="*/ 939649 h 1115390"/>
              <a:gd name="connsiteX3" fmla="*/ 3431953 w 6701290"/>
              <a:gd name="connsiteY3" fmla="*/ 945615 h 1115390"/>
              <a:gd name="connsiteX4" fmla="*/ 4564366 w 6701290"/>
              <a:gd name="connsiteY4" fmla="*/ 195330 h 1115390"/>
              <a:gd name="connsiteX5" fmla="*/ 5651255 w 6701290"/>
              <a:gd name="connsiteY5" fmla="*/ 58003 h 1115390"/>
              <a:gd name="connsiteX6" fmla="*/ 6701290 w 6701290"/>
              <a:gd name="connsiteY6" fmla="*/ 1113170 h 1115390"/>
              <a:gd name="connsiteX0" fmla="*/ 0 w 6619142"/>
              <a:gd name="connsiteY0" fmla="*/ 13388866 h 13388866"/>
              <a:gd name="connsiteX1" fmla="*/ 1057633 w 6619142"/>
              <a:gd name="connsiteY1" fmla="*/ 348657 h 13388866"/>
              <a:gd name="connsiteX2" fmla="*/ 2228579 w 6619142"/>
              <a:gd name="connsiteY2" fmla="*/ 939649 h 13388866"/>
              <a:gd name="connsiteX3" fmla="*/ 3349805 w 6619142"/>
              <a:gd name="connsiteY3" fmla="*/ 945615 h 13388866"/>
              <a:gd name="connsiteX4" fmla="*/ 4482218 w 6619142"/>
              <a:gd name="connsiteY4" fmla="*/ 195330 h 13388866"/>
              <a:gd name="connsiteX5" fmla="*/ 5569107 w 6619142"/>
              <a:gd name="connsiteY5" fmla="*/ 58003 h 13388866"/>
              <a:gd name="connsiteX6" fmla="*/ 6619142 w 6619142"/>
              <a:gd name="connsiteY6" fmla="*/ 1113170 h 13388866"/>
              <a:gd name="connsiteX0" fmla="*/ 0 w 6619142"/>
              <a:gd name="connsiteY0" fmla="*/ 13388866 h 13388866"/>
              <a:gd name="connsiteX1" fmla="*/ 1088438 w 6619142"/>
              <a:gd name="connsiteY1" fmla="*/ 12528532 h 13388866"/>
              <a:gd name="connsiteX2" fmla="*/ 2228579 w 6619142"/>
              <a:gd name="connsiteY2" fmla="*/ 939649 h 13388866"/>
              <a:gd name="connsiteX3" fmla="*/ 3349805 w 6619142"/>
              <a:gd name="connsiteY3" fmla="*/ 945615 h 13388866"/>
              <a:gd name="connsiteX4" fmla="*/ 4482218 w 6619142"/>
              <a:gd name="connsiteY4" fmla="*/ 195330 h 13388866"/>
              <a:gd name="connsiteX5" fmla="*/ 5569107 w 6619142"/>
              <a:gd name="connsiteY5" fmla="*/ 58003 h 13388866"/>
              <a:gd name="connsiteX6" fmla="*/ 6619142 w 6619142"/>
              <a:gd name="connsiteY6" fmla="*/ 1113170 h 13388866"/>
              <a:gd name="connsiteX0" fmla="*/ 0 w 6619142"/>
              <a:gd name="connsiteY0" fmla="*/ 13388866 h 15093823"/>
              <a:gd name="connsiteX1" fmla="*/ 1088438 w 6619142"/>
              <a:gd name="connsiteY1" fmla="*/ 12528532 h 15093823"/>
              <a:gd name="connsiteX2" fmla="*/ 2187505 w 6619142"/>
              <a:gd name="connsiteY2" fmla="*/ 14567738 h 15093823"/>
              <a:gd name="connsiteX3" fmla="*/ 3349805 w 6619142"/>
              <a:gd name="connsiteY3" fmla="*/ 945615 h 15093823"/>
              <a:gd name="connsiteX4" fmla="*/ 4482218 w 6619142"/>
              <a:gd name="connsiteY4" fmla="*/ 195330 h 15093823"/>
              <a:gd name="connsiteX5" fmla="*/ 5569107 w 6619142"/>
              <a:gd name="connsiteY5" fmla="*/ 58003 h 15093823"/>
              <a:gd name="connsiteX6" fmla="*/ 6619142 w 6619142"/>
              <a:gd name="connsiteY6" fmla="*/ 1113170 h 15093823"/>
              <a:gd name="connsiteX0" fmla="*/ 0 w 6619142"/>
              <a:gd name="connsiteY0" fmla="*/ 13388866 h 14568210"/>
              <a:gd name="connsiteX1" fmla="*/ 1088438 w 6619142"/>
              <a:gd name="connsiteY1" fmla="*/ 12528532 h 14568210"/>
              <a:gd name="connsiteX2" fmla="*/ 2187505 w 6619142"/>
              <a:gd name="connsiteY2" fmla="*/ 14567738 h 14568210"/>
              <a:gd name="connsiteX3" fmla="*/ 3349805 w 6619142"/>
              <a:gd name="connsiteY3" fmla="*/ 945615 h 14568210"/>
              <a:gd name="connsiteX4" fmla="*/ 4482218 w 6619142"/>
              <a:gd name="connsiteY4" fmla="*/ 195330 h 14568210"/>
              <a:gd name="connsiteX5" fmla="*/ 5569107 w 6619142"/>
              <a:gd name="connsiteY5" fmla="*/ 58003 h 14568210"/>
              <a:gd name="connsiteX6" fmla="*/ 6619142 w 6619142"/>
              <a:gd name="connsiteY6" fmla="*/ 1113170 h 14568210"/>
              <a:gd name="connsiteX0" fmla="*/ 0 w 6619142"/>
              <a:gd name="connsiteY0" fmla="*/ 13388866 h 14568519"/>
              <a:gd name="connsiteX1" fmla="*/ 1088438 w 6619142"/>
              <a:gd name="connsiteY1" fmla="*/ 12528532 h 14568519"/>
              <a:gd name="connsiteX2" fmla="*/ 2187505 w 6619142"/>
              <a:gd name="connsiteY2" fmla="*/ 14567738 h 14568519"/>
              <a:gd name="connsiteX3" fmla="*/ 3303597 w 6619142"/>
              <a:gd name="connsiteY3" fmla="*/ 12791284 h 14568519"/>
              <a:gd name="connsiteX4" fmla="*/ 4482218 w 6619142"/>
              <a:gd name="connsiteY4" fmla="*/ 195330 h 14568519"/>
              <a:gd name="connsiteX5" fmla="*/ 5569107 w 6619142"/>
              <a:gd name="connsiteY5" fmla="*/ 58003 h 14568519"/>
              <a:gd name="connsiteX6" fmla="*/ 6619142 w 6619142"/>
              <a:gd name="connsiteY6" fmla="*/ 1113170 h 14568519"/>
              <a:gd name="connsiteX0" fmla="*/ 0 w 6619142"/>
              <a:gd name="connsiteY0" fmla="*/ 13388866 h 14567801"/>
              <a:gd name="connsiteX1" fmla="*/ 1088438 w 6619142"/>
              <a:gd name="connsiteY1" fmla="*/ 12528532 h 14567801"/>
              <a:gd name="connsiteX2" fmla="*/ 2187505 w 6619142"/>
              <a:gd name="connsiteY2" fmla="*/ 14567738 h 14567801"/>
              <a:gd name="connsiteX3" fmla="*/ 3303597 w 6619142"/>
              <a:gd name="connsiteY3" fmla="*/ 12605614 h 14567801"/>
              <a:gd name="connsiteX4" fmla="*/ 4482218 w 6619142"/>
              <a:gd name="connsiteY4" fmla="*/ 195330 h 14567801"/>
              <a:gd name="connsiteX5" fmla="*/ 5569107 w 6619142"/>
              <a:gd name="connsiteY5" fmla="*/ 58003 h 14567801"/>
              <a:gd name="connsiteX6" fmla="*/ 6619142 w 6619142"/>
              <a:gd name="connsiteY6" fmla="*/ 1113170 h 14567801"/>
              <a:gd name="connsiteX0" fmla="*/ 0 w 6619142"/>
              <a:gd name="connsiteY0" fmla="*/ 13388866 h 14567801"/>
              <a:gd name="connsiteX1" fmla="*/ 1088438 w 6619142"/>
              <a:gd name="connsiteY1" fmla="*/ 12528532 h 14567801"/>
              <a:gd name="connsiteX2" fmla="*/ 2187505 w 6619142"/>
              <a:gd name="connsiteY2" fmla="*/ 14567738 h 14567801"/>
              <a:gd name="connsiteX3" fmla="*/ 3303597 w 6619142"/>
              <a:gd name="connsiteY3" fmla="*/ 12605614 h 14567801"/>
              <a:gd name="connsiteX4" fmla="*/ 4482218 w 6619142"/>
              <a:gd name="connsiteY4" fmla="*/ 195330 h 14567801"/>
              <a:gd name="connsiteX5" fmla="*/ 5569107 w 6619142"/>
              <a:gd name="connsiteY5" fmla="*/ 58003 h 14567801"/>
              <a:gd name="connsiteX6" fmla="*/ 6619142 w 6619142"/>
              <a:gd name="connsiteY6" fmla="*/ 1113170 h 14567801"/>
              <a:gd name="connsiteX0" fmla="*/ 0 w 6619142"/>
              <a:gd name="connsiteY0" fmla="*/ 13388866 h 14567811"/>
              <a:gd name="connsiteX1" fmla="*/ 1088438 w 6619142"/>
              <a:gd name="connsiteY1" fmla="*/ 12528532 h 14567811"/>
              <a:gd name="connsiteX2" fmla="*/ 2187505 w 6619142"/>
              <a:gd name="connsiteY2" fmla="*/ 14567738 h 14567811"/>
              <a:gd name="connsiteX3" fmla="*/ 3303597 w 6619142"/>
              <a:gd name="connsiteY3" fmla="*/ 12605614 h 14567811"/>
              <a:gd name="connsiteX4" fmla="*/ 4482218 w 6619142"/>
              <a:gd name="connsiteY4" fmla="*/ 195330 h 14567811"/>
              <a:gd name="connsiteX5" fmla="*/ 5569107 w 6619142"/>
              <a:gd name="connsiteY5" fmla="*/ 58003 h 14567811"/>
              <a:gd name="connsiteX6" fmla="*/ 6619142 w 6619142"/>
              <a:gd name="connsiteY6" fmla="*/ 1113170 h 14567811"/>
              <a:gd name="connsiteX0" fmla="*/ 0 w 6619142"/>
              <a:gd name="connsiteY0" fmla="*/ 13331256 h 14510201"/>
              <a:gd name="connsiteX1" fmla="*/ 1088438 w 6619142"/>
              <a:gd name="connsiteY1" fmla="*/ 12470922 h 14510201"/>
              <a:gd name="connsiteX2" fmla="*/ 2187505 w 6619142"/>
              <a:gd name="connsiteY2" fmla="*/ 14510128 h 14510201"/>
              <a:gd name="connsiteX3" fmla="*/ 3303597 w 6619142"/>
              <a:gd name="connsiteY3" fmla="*/ 12548004 h 14510201"/>
              <a:gd name="connsiteX4" fmla="*/ 4441145 w 6619142"/>
              <a:gd name="connsiteY4" fmla="*/ 12354727 h 14510201"/>
              <a:gd name="connsiteX5" fmla="*/ 5569107 w 6619142"/>
              <a:gd name="connsiteY5" fmla="*/ 393 h 14510201"/>
              <a:gd name="connsiteX6" fmla="*/ 6619142 w 6619142"/>
              <a:gd name="connsiteY6" fmla="*/ 1055560 h 14510201"/>
              <a:gd name="connsiteX0" fmla="*/ 0 w 6619142"/>
              <a:gd name="connsiteY0" fmla="*/ 13331256 h 14510201"/>
              <a:gd name="connsiteX1" fmla="*/ 1088438 w 6619142"/>
              <a:gd name="connsiteY1" fmla="*/ 12470922 h 14510201"/>
              <a:gd name="connsiteX2" fmla="*/ 2187505 w 6619142"/>
              <a:gd name="connsiteY2" fmla="*/ 14510128 h 14510201"/>
              <a:gd name="connsiteX3" fmla="*/ 3303597 w 6619142"/>
              <a:gd name="connsiteY3" fmla="*/ 12548004 h 14510201"/>
              <a:gd name="connsiteX4" fmla="*/ 4441145 w 6619142"/>
              <a:gd name="connsiteY4" fmla="*/ 12354727 h 14510201"/>
              <a:gd name="connsiteX5" fmla="*/ 5569107 w 6619142"/>
              <a:gd name="connsiteY5" fmla="*/ 393 h 14510201"/>
              <a:gd name="connsiteX6" fmla="*/ 6619142 w 6619142"/>
              <a:gd name="connsiteY6" fmla="*/ 1055560 h 14510201"/>
              <a:gd name="connsiteX0" fmla="*/ 0 w 6619142"/>
              <a:gd name="connsiteY0" fmla="*/ 12275697 h 13454642"/>
              <a:gd name="connsiteX1" fmla="*/ 1088438 w 6619142"/>
              <a:gd name="connsiteY1" fmla="*/ 11415363 h 13454642"/>
              <a:gd name="connsiteX2" fmla="*/ 2187505 w 6619142"/>
              <a:gd name="connsiteY2" fmla="*/ 13454569 h 13454642"/>
              <a:gd name="connsiteX3" fmla="*/ 3303597 w 6619142"/>
              <a:gd name="connsiteY3" fmla="*/ 11492445 h 13454642"/>
              <a:gd name="connsiteX4" fmla="*/ 4441145 w 6619142"/>
              <a:gd name="connsiteY4" fmla="*/ 11299168 h 13454642"/>
              <a:gd name="connsiteX5" fmla="*/ 5574241 w 6619142"/>
              <a:gd name="connsiteY5" fmla="*/ 8673878 h 13454642"/>
              <a:gd name="connsiteX6" fmla="*/ 6619142 w 6619142"/>
              <a:gd name="connsiteY6" fmla="*/ 1 h 13454642"/>
              <a:gd name="connsiteX0" fmla="*/ 0 w 6619142"/>
              <a:gd name="connsiteY0" fmla="*/ 12275697 h 13454642"/>
              <a:gd name="connsiteX1" fmla="*/ 1088438 w 6619142"/>
              <a:gd name="connsiteY1" fmla="*/ 11415363 h 13454642"/>
              <a:gd name="connsiteX2" fmla="*/ 2187505 w 6619142"/>
              <a:gd name="connsiteY2" fmla="*/ 13454569 h 13454642"/>
              <a:gd name="connsiteX3" fmla="*/ 3303597 w 6619142"/>
              <a:gd name="connsiteY3" fmla="*/ 11492445 h 13454642"/>
              <a:gd name="connsiteX4" fmla="*/ 4441145 w 6619142"/>
              <a:gd name="connsiteY4" fmla="*/ 11299168 h 13454642"/>
              <a:gd name="connsiteX5" fmla="*/ 5574241 w 6619142"/>
              <a:gd name="connsiteY5" fmla="*/ 9787891 h 13454642"/>
              <a:gd name="connsiteX6" fmla="*/ 6619142 w 6619142"/>
              <a:gd name="connsiteY6" fmla="*/ 1 h 13454642"/>
              <a:gd name="connsiteX0" fmla="*/ 0 w 6619142"/>
              <a:gd name="connsiteY0" fmla="*/ 12275697 h 13454642"/>
              <a:gd name="connsiteX1" fmla="*/ 1088438 w 6619142"/>
              <a:gd name="connsiteY1" fmla="*/ 11415363 h 13454642"/>
              <a:gd name="connsiteX2" fmla="*/ 2187505 w 6619142"/>
              <a:gd name="connsiteY2" fmla="*/ 13454569 h 13454642"/>
              <a:gd name="connsiteX3" fmla="*/ 3303597 w 6619142"/>
              <a:gd name="connsiteY3" fmla="*/ 11492445 h 13454642"/>
              <a:gd name="connsiteX4" fmla="*/ 4441145 w 6619142"/>
              <a:gd name="connsiteY4" fmla="*/ 11299168 h 13454642"/>
              <a:gd name="connsiteX5" fmla="*/ 5574241 w 6619142"/>
              <a:gd name="connsiteY5" fmla="*/ 9787891 h 13454642"/>
              <a:gd name="connsiteX6" fmla="*/ 6619142 w 6619142"/>
              <a:gd name="connsiteY6" fmla="*/ 1 h 13454642"/>
              <a:gd name="connsiteX0" fmla="*/ 0 w 6670485"/>
              <a:gd name="connsiteY0" fmla="*/ 2487911 h 4175119"/>
              <a:gd name="connsiteX1" fmla="*/ 1088438 w 6670485"/>
              <a:gd name="connsiteY1" fmla="*/ 1627577 h 4175119"/>
              <a:gd name="connsiteX2" fmla="*/ 2187505 w 6670485"/>
              <a:gd name="connsiteY2" fmla="*/ 3666783 h 4175119"/>
              <a:gd name="connsiteX3" fmla="*/ 3303597 w 6670485"/>
              <a:gd name="connsiteY3" fmla="*/ 1704659 h 4175119"/>
              <a:gd name="connsiteX4" fmla="*/ 4441145 w 6670485"/>
              <a:gd name="connsiteY4" fmla="*/ 1511382 h 4175119"/>
              <a:gd name="connsiteX5" fmla="*/ 5574241 w 6670485"/>
              <a:gd name="connsiteY5" fmla="*/ 105 h 4175119"/>
              <a:gd name="connsiteX6" fmla="*/ 6670485 w 6670485"/>
              <a:gd name="connsiteY6" fmla="*/ 4174511 h 4175119"/>
              <a:gd name="connsiteX0" fmla="*/ 0 w 6670485"/>
              <a:gd name="connsiteY0" fmla="*/ 2487937 h 4174538"/>
              <a:gd name="connsiteX1" fmla="*/ 1088438 w 6670485"/>
              <a:gd name="connsiteY1" fmla="*/ 1627603 h 4174538"/>
              <a:gd name="connsiteX2" fmla="*/ 2187505 w 6670485"/>
              <a:gd name="connsiteY2" fmla="*/ 3666809 h 4174538"/>
              <a:gd name="connsiteX3" fmla="*/ 3303597 w 6670485"/>
              <a:gd name="connsiteY3" fmla="*/ 1704685 h 4174538"/>
              <a:gd name="connsiteX4" fmla="*/ 4441145 w 6670485"/>
              <a:gd name="connsiteY4" fmla="*/ 1511408 h 4174538"/>
              <a:gd name="connsiteX5" fmla="*/ 5574241 w 6670485"/>
              <a:gd name="connsiteY5" fmla="*/ 131 h 4174538"/>
              <a:gd name="connsiteX6" fmla="*/ 6670485 w 6670485"/>
              <a:gd name="connsiteY6" fmla="*/ 4174537 h 417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70485" h="4174538">
                <a:moveTo>
                  <a:pt x="0" y="2487937"/>
                </a:moveTo>
                <a:cubicBezTo>
                  <a:pt x="395330" y="2382873"/>
                  <a:pt x="693108" y="1732667"/>
                  <a:pt x="1088438" y="1627603"/>
                </a:cubicBezTo>
                <a:cubicBezTo>
                  <a:pt x="1526039" y="1590839"/>
                  <a:pt x="1818312" y="3653962"/>
                  <a:pt x="2187505" y="3666809"/>
                </a:cubicBezTo>
                <a:cubicBezTo>
                  <a:pt x="2556698" y="3679656"/>
                  <a:pt x="3094394" y="1971984"/>
                  <a:pt x="3303597" y="1704685"/>
                </a:cubicBezTo>
                <a:cubicBezTo>
                  <a:pt x="3554701" y="966281"/>
                  <a:pt x="4232911" y="1515494"/>
                  <a:pt x="4441145" y="1511408"/>
                </a:cubicBezTo>
                <a:cubicBezTo>
                  <a:pt x="4783786" y="1182676"/>
                  <a:pt x="5308537" y="252573"/>
                  <a:pt x="5574241" y="131"/>
                </a:cubicBezTo>
                <a:cubicBezTo>
                  <a:pt x="5886967" y="-24433"/>
                  <a:pt x="6455425" y="3416656"/>
                  <a:pt x="6670485" y="4174537"/>
                </a:cubicBezTo>
              </a:path>
            </a:pathLst>
          </a:custGeom>
          <a:noFill/>
          <a:ln w="136525" cap="rnd" cmpd="sng" algn="ctr">
            <a:solidFill>
              <a:srgbClr val="32E9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2698357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Group 29"/>
          <p:cNvGraphicFramePr>
            <a:graphicFrameLocks noGrp="1"/>
          </p:cNvGraphicFramePr>
          <p:nvPr>
            <p:extLst>
              <p:ext uri="{D42A27DB-BD31-4B8C-83A1-F6EECF244321}">
                <p14:modId xmlns:p14="http://schemas.microsoft.com/office/powerpoint/2010/main" val="94503422"/>
              </p:ext>
            </p:extLst>
          </p:nvPr>
        </p:nvGraphicFramePr>
        <p:xfrm>
          <a:off x="373085" y="1129608"/>
          <a:ext cx="11445832" cy="5623452"/>
        </p:xfrm>
        <a:graphic>
          <a:graphicData uri="http://schemas.openxmlformats.org/drawingml/2006/table">
            <a:tbl>
              <a:tblPr/>
              <a:tblGrid>
                <a:gridCol w="1923228">
                  <a:extLst>
                    <a:ext uri="{9D8B030D-6E8A-4147-A177-3AD203B41FA5}">
                      <a16:colId xmlns:a16="http://schemas.microsoft.com/office/drawing/2014/main" val="20000"/>
                    </a:ext>
                  </a:extLst>
                </a:gridCol>
                <a:gridCol w="4761302">
                  <a:extLst>
                    <a:ext uri="{9D8B030D-6E8A-4147-A177-3AD203B41FA5}">
                      <a16:colId xmlns:a16="http://schemas.microsoft.com/office/drawing/2014/main" val="20001"/>
                    </a:ext>
                  </a:extLst>
                </a:gridCol>
                <a:gridCol w="4761302">
                  <a:extLst>
                    <a:ext uri="{9D8B030D-6E8A-4147-A177-3AD203B41FA5}">
                      <a16:colId xmlns:a16="http://schemas.microsoft.com/office/drawing/2014/main" val="20002"/>
                    </a:ext>
                  </a:extLst>
                </a:gridCol>
              </a:tblGrid>
              <a:tr h="43200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50" b="1" i="0" u="none" strike="noStrike" cap="none" normalizeH="0" baseline="0" dirty="0">
                        <a:ln>
                          <a:noFill/>
                        </a:ln>
                        <a:solidFill>
                          <a:srgbClr val="002776"/>
                        </a:solidFill>
                        <a:effectLst/>
                        <a:latin typeface="+mj-lt"/>
                        <a:cs typeface="Arial" pitchFamily="34" charset="0"/>
                      </a:endParaRPr>
                    </a:p>
                  </a:txBody>
                  <a:tcPr marL="54864" marR="54864" marT="36576" marB="3657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Key</a:t>
                      </a:r>
                      <a:r>
                        <a:rPr lang="en-US" altLang="en-US" sz="1050" b="1" kern="1200" baseline="0" dirty="0">
                          <a:solidFill>
                            <a:schemeClr val="bg1"/>
                          </a:solidFill>
                          <a:latin typeface="+mn-lt"/>
                          <a:ea typeface="+mn-ea"/>
                          <a:cs typeface="+mn-cs"/>
                        </a:rPr>
                        <a:t> Observations</a:t>
                      </a:r>
                      <a:endParaRPr lang="en-US" altLang="en-US" sz="1050" b="1" kern="1200" dirty="0">
                        <a:solidFill>
                          <a:schemeClr val="bg1"/>
                        </a:solidFill>
                        <a:latin typeface="+mn-lt"/>
                        <a:ea typeface="+mn-ea"/>
                        <a:cs typeface="+mn-cs"/>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Business Implica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432000">
                <a:tc>
                  <a:txBody>
                    <a:bodyPr/>
                    <a:lstStyle/>
                    <a:p>
                      <a:pPr algn="l"/>
                      <a:r>
                        <a:rPr kumimoji="0" lang="en-US" sz="1050" b="1" i="0" u="none" strike="noStrike" kern="1200" cap="none" spc="0" normalizeH="0" baseline="0" noProof="0" dirty="0">
                          <a:ln>
                            <a:noFill/>
                          </a:ln>
                          <a:solidFill>
                            <a:prstClr val="white"/>
                          </a:solidFill>
                          <a:effectLst/>
                          <a:uLnTx/>
                          <a:uFillTx/>
                          <a:latin typeface="+mn-lt"/>
                          <a:ea typeface="+mn-ea"/>
                          <a:cs typeface="Arial" pitchFamily="34" charset="0"/>
                        </a:rPr>
                        <a:t>Cross-Functional Collabor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1050" dirty="0">
                          <a:solidFill>
                            <a:schemeClr val="tx1"/>
                          </a:solidFill>
                        </a:rPr>
                        <a:t>R&amp;D doesn’t estimate the cost, but grasps the cost at the review timing by the collaboration of the person in charge. (PSBU)</a:t>
                      </a:r>
                    </a:p>
                    <a:p>
                      <a:pPr marL="171450" indent="-171450">
                        <a:lnSpc>
                          <a:spcPct val="100000"/>
                        </a:lnSpc>
                        <a:spcBef>
                          <a:spcPts val="0"/>
                        </a:spcBef>
                        <a:buFont typeface="Arial" panose="020B0604020202020204" pitchFamily="34" charset="0"/>
                        <a:buChar char="•"/>
                      </a:pPr>
                      <a:r>
                        <a:rPr lang="en-US" altLang="ja-JP" sz="1050" dirty="0">
                          <a:solidFill>
                            <a:schemeClr val="tx1"/>
                          </a:solidFill>
                        </a:rPr>
                        <a:t>Estimating costs is manual and time consuming. (MSBU)</a:t>
                      </a:r>
                      <a:endParaRPr lang="en-US"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Real-time collaboration between R&amp;D and cost estimation is required. It is necessary to reconstruct the process. Cost information is essential to control R&amp;D output. Need to have a cost strategy before making a quote to your customers.</a:t>
                      </a:r>
                      <a:endParaRPr lang="ja-JP" altLang="en-US"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432000">
                <a:tc>
                  <a:txBody>
                    <a:bodyPr/>
                    <a:lstStyle/>
                    <a:p>
                      <a:pPr algn="l"/>
                      <a:r>
                        <a:rPr lang="en-US" sz="1050" b="1" dirty="0">
                          <a:solidFill>
                            <a:schemeClr val="bg1"/>
                          </a:solidFill>
                        </a:rPr>
                        <a:t>Cost Metrics Visibility</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1050" b="0" baseline="0" dirty="0">
                          <a:solidFill>
                            <a:schemeClr val="tx1"/>
                          </a:solidFill>
                        </a:rPr>
                        <a:t>Cost indicators are defined but less accurate. Members that can be accessed are limited and sometimes not be shared. Feedback is only one-way. (MSBU)</a:t>
                      </a:r>
                    </a:p>
                    <a:p>
                      <a:pPr marL="171450" indent="-171450">
                        <a:lnSpc>
                          <a:spcPct val="100000"/>
                        </a:lnSpc>
                        <a:spcBef>
                          <a:spcPts val="0"/>
                        </a:spcBef>
                        <a:buFont typeface="Arial" panose="020B0604020202020204" pitchFamily="34" charset="0"/>
                        <a:buChar char="•"/>
                      </a:pPr>
                      <a:r>
                        <a:rPr lang="en-US" sz="1050" b="0" baseline="0" dirty="0">
                          <a:solidFill>
                            <a:schemeClr val="tx1"/>
                          </a:solidFill>
                        </a:rPr>
                        <a:t>Same as MSBU, but the cost of competition is not visible and it is difficult to set the target cost. (P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dirty="0">
                          <a:solidFill>
                            <a:schemeClr val="tx1"/>
                          </a:solidFill>
                        </a:rPr>
                        <a:t>Important but not high priority</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mn-lt"/>
                          <a:ea typeface="+mn-ea"/>
                          <a:cs typeface="Arial" pitchFamily="34" charset="0"/>
                        </a:rPr>
                        <a:t>Cost Evalu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R</a:t>
                      </a:r>
                      <a:r>
                        <a:rPr lang="en-US" sz="1050" b="0" baseline="0" dirty="0">
                          <a:solidFill>
                            <a:schemeClr val="tx1"/>
                          </a:solidFill>
                        </a:rPr>
                        <a:t>egularly review costs based on target costs. We have set a benchmark based on past information. (M</a:t>
                      </a:r>
                      <a:r>
                        <a:rPr lang="en-US" altLang="ja-JP" sz="1050" b="0" baseline="0" dirty="0">
                          <a:solidFill>
                            <a:schemeClr val="tx1"/>
                          </a:solidFill>
                        </a:rPr>
                        <a:t>SBU)</a:t>
                      </a:r>
                    </a:p>
                    <a:p>
                      <a:pPr marL="171450" indent="-171450">
                        <a:lnSpc>
                          <a:spcPct val="100000"/>
                        </a:lnSpc>
                        <a:spcBef>
                          <a:spcPts val="0"/>
                        </a:spcBef>
                        <a:buFont typeface="Arial" panose="020B0604020202020204" pitchFamily="34" charset="0"/>
                        <a:buChar char="•"/>
                      </a:pPr>
                      <a:r>
                        <a:rPr lang="en-US" sz="1050" b="0" baseline="0" dirty="0">
                          <a:solidFill>
                            <a:schemeClr val="tx1"/>
                          </a:solidFill>
                        </a:rPr>
                        <a:t>Set benchmarks based on past information. Negotiate with customers without establishing a verification period for accuracy. (P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baseline="0" dirty="0">
                          <a:solidFill>
                            <a:schemeClr val="tx1"/>
                          </a:solidFill>
                        </a:rPr>
                        <a:t>This will be show stopper.</a:t>
                      </a:r>
                    </a:p>
                    <a:p>
                      <a:pPr marL="171450" indent="-171450">
                        <a:lnSpc>
                          <a:spcPct val="100000"/>
                        </a:lnSpc>
                        <a:spcBef>
                          <a:spcPts val="0"/>
                        </a:spcBef>
                        <a:buFont typeface="Arial" panose="020B0604020202020204" pitchFamily="34" charset="0"/>
                        <a:buChar char="•"/>
                      </a:pP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3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20" normalizeH="0" baseline="0" noProof="0" dirty="0">
                          <a:ln>
                            <a:noFill/>
                          </a:ln>
                          <a:solidFill>
                            <a:prstClr val="white"/>
                          </a:solidFill>
                          <a:effectLst/>
                          <a:uLnTx/>
                          <a:uFillTx/>
                          <a:latin typeface="+mn-lt"/>
                          <a:ea typeface="+mn-ea"/>
                          <a:cs typeface="+mn-cs"/>
                        </a:rPr>
                        <a:t>Total Cost of Ownership</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1050" dirty="0"/>
                        <a:t>COGS and engineer costs are included in the total cost, but may include different factors. We set a review timing and give feedback, but the response may be delayed. (PSBU)</a:t>
                      </a:r>
                    </a:p>
                    <a:p>
                      <a:pPr marL="171450" indent="-171450">
                        <a:lnSpc>
                          <a:spcPct val="100000"/>
                        </a:lnSpc>
                        <a:spcBef>
                          <a:spcPts val="0"/>
                        </a:spcBef>
                        <a:buFont typeface="Arial" panose="020B0604020202020204" pitchFamily="34" charset="0"/>
                        <a:buChar char="•"/>
                      </a:pPr>
                      <a:r>
                        <a:rPr lang="en-US" sz="1050" dirty="0"/>
                        <a:t>The sales etc. may not be able to involve and the cost intention may not be communicated.</a:t>
                      </a:r>
                      <a:r>
                        <a:rPr lang="ja-JP" altLang="en-US" sz="1050" baseline="0" dirty="0"/>
                        <a:t> </a:t>
                      </a:r>
                      <a:r>
                        <a:rPr lang="en-US" altLang="ja-JP" sz="1050" baseline="0" dirty="0"/>
                        <a:t>(MSBU)</a:t>
                      </a:r>
                      <a:endParaRPr lang="en-US" sz="1050" dirty="0"/>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baseline="0" dirty="0">
                          <a:solidFill>
                            <a:schemeClr val="tx1"/>
                          </a:solidFill>
                        </a:rPr>
                        <a:t>Due to the poor accuracy of some cost estimates, large losses may have occurred. It is necessary to prevent this.</a:t>
                      </a:r>
                    </a:p>
                    <a:p>
                      <a:pPr marL="171450" indent="-171450">
                        <a:lnSpc>
                          <a:spcPct val="100000"/>
                        </a:lnSpc>
                        <a:spcBef>
                          <a:spcPts val="0"/>
                        </a:spcBef>
                        <a:buFont typeface="Arial" panose="020B0604020202020204" pitchFamily="34" charset="0"/>
                        <a:buChar char="•"/>
                      </a:pP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96658287"/>
                  </a:ext>
                </a:extLst>
              </a:tr>
              <a:tr h="432000">
                <a:tc>
                  <a:txBody>
                    <a:bodyPr/>
                    <a:lstStyle/>
                    <a:p>
                      <a:pPr algn="l"/>
                      <a:r>
                        <a:rPr lang="en-US" sz="1050" b="1" dirty="0">
                          <a:solidFill>
                            <a:schemeClr val="bg1"/>
                          </a:solidFill>
                        </a:rPr>
                        <a:t>Design for Cos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1050" b="0" baseline="0" dirty="0">
                          <a:solidFill>
                            <a:schemeClr val="tx1"/>
                          </a:solidFill>
                        </a:rPr>
                        <a:t>The design phase does not consider costs. Therefore, there may be less profit. (MSBU)</a:t>
                      </a:r>
                    </a:p>
                    <a:p>
                      <a:pPr marL="171450" indent="-171450">
                        <a:lnSpc>
                          <a:spcPct val="100000"/>
                        </a:lnSpc>
                        <a:spcBef>
                          <a:spcPts val="0"/>
                        </a:spcBef>
                        <a:buFont typeface="Arial" panose="020B0604020202020204" pitchFamily="34" charset="0"/>
                        <a:buChar char="•"/>
                      </a:pPr>
                      <a:r>
                        <a:rPr lang="en-US" sz="1050" b="0" baseline="0" dirty="0">
                          <a:solidFill>
                            <a:schemeClr val="tx1"/>
                          </a:solidFill>
                        </a:rPr>
                        <a:t>Design accuracy is high because past cost knowledge is reflected. Need flexibility in profit buffer. (P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1050" b="0" baseline="0" dirty="0">
                          <a:solidFill>
                            <a:schemeClr val="tx1"/>
                          </a:solidFill>
                        </a:rPr>
                        <a:t>Less pressure from customers, but should be fed back early in the design phase to account for cost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3551714"/>
                  </a:ext>
                </a:extLst>
              </a:tr>
              <a:tr h="432000">
                <a:tc>
                  <a:txBody>
                    <a:bodyPr/>
                    <a:lstStyle/>
                    <a:p>
                      <a:pPr algn="l"/>
                      <a:r>
                        <a:rPr lang="en-US" sz="1050" b="1" dirty="0">
                          <a:solidFill>
                            <a:schemeClr val="bg1"/>
                          </a:solidFill>
                        </a:rPr>
                        <a:t>RFQ Managemen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1050" b="0" baseline="0" dirty="0">
                          <a:solidFill>
                            <a:schemeClr val="tx1"/>
                          </a:solidFill>
                        </a:rPr>
                        <a:t>Price negotiations with customers, but not with supplier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1050" b="0" baseline="0" dirty="0">
                          <a:solidFill>
                            <a:schemeClr val="tx1"/>
                          </a:solidFill>
                        </a:rPr>
                        <a:t>Not a high priority for gaining market dominance.</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86354471"/>
                  </a:ext>
                </a:extLst>
              </a:tr>
              <a:tr h="432000">
                <a:tc>
                  <a:txBody>
                    <a:bodyPr/>
                    <a:lstStyle/>
                    <a:p>
                      <a:pPr algn="l"/>
                      <a:r>
                        <a:rPr lang="en-US" sz="1050" b="1" dirty="0">
                          <a:solidFill>
                            <a:schemeClr val="bg1"/>
                          </a:solidFill>
                        </a:rPr>
                        <a:t>Management Tool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1050" b="0" baseline="0" dirty="0">
                          <a:solidFill>
                            <a:schemeClr val="tx1"/>
                          </a:solidFill>
                        </a:rPr>
                        <a:t>Tools for cost management are standardized and there is a department that manages the underlying data. (MSBU)</a:t>
                      </a:r>
                    </a:p>
                    <a:p>
                      <a:pPr marL="171450" indent="-171450">
                        <a:lnSpc>
                          <a:spcPct val="100000"/>
                        </a:lnSpc>
                        <a:spcBef>
                          <a:spcPts val="0"/>
                        </a:spcBef>
                        <a:buFont typeface="Arial" panose="020B0604020202020204" pitchFamily="34" charset="0"/>
                        <a:buChar char="•"/>
                      </a:pPr>
                      <a:r>
                        <a:rPr lang="en-US" sz="1050" b="0" baseline="0" dirty="0">
                          <a:solidFill>
                            <a:schemeClr val="tx1"/>
                          </a:solidFill>
                        </a:rPr>
                        <a:t>There are various data in the department, but it is standardized and managed by the system. (P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1050" baseline="0" dirty="0">
                          <a:solidFill>
                            <a:schemeClr val="tx1"/>
                          </a:solidFill>
                        </a:rPr>
                        <a:t>Very important in the market. High effect can be expected.</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46147242"/>
                  </a:ext>
                </a:extLst>
              </a:tr>
            </a:tbl>
          </a:graphicData>
        </a:graphic>
      </p:graphicFrame>
      <p:sp>
        <p:nvSpPr>
          <p:cNvPr id="4" name="Title 3">
            <a:extLst>
              <a:ext uri="{FF2B5EF4-FFF2-40B4-BE49-F238E27FC236}">
                <a16:creationId xmlns:a16="http://schemas.microsoft.com/office/drawing/2014/main" id="{026705D2-9A1E-4A1F-80F4-6BC1AE8E4025}"/>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dirty="0"/>
              <a:t>Product Cost Management</a:t>
            </a:r>
          </a:p>
        </p:txBody>
      </p:sp>
    </p:spTree>
    <p:extLst>
      <p:ext uri="{BB962C8B-B14F-4D97-AF65-F5344CB8AC3E}">
        <p14:creationId xmlns:p14="http://schemas.microsoft.com/office/powerpoint/2010/main" val="26614309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EB41562-1EC8-4C34-977A-A1ADF53BCBD8}"/>
              </a:ext>
            </a:extLst>
          </p:cNvPr>
          <p:cNvSpPr/>
          <p:nvPr/>
        </p:nvSpPr>
        <p:spPr bwMode="auto">
          <a:xfrm>
            <a:off x="1086976" y="648798"/>
            <a:ext cx="10327257" cy="603577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defPPr>
              <a:defRPr lang="en-US"/>
            </a:defPPr>
            <a:lvl1pPr algn="ctr" rtl="0" fontAlgn="base">
              <a:spcBef>
                <a:spcPct val="20000"/>
              </a:spcBef>
              <a:spcAft>
                <a:spcPct val="0"/>
              </a:spcAft>
              <a:defRPr sz="1100" b="1" kern="1200">
                <a:solidFill>
                  <a:schemeClr val="lt1"/>
                </a:solidFill>
                <a:latin typeface="+mn-lt"/>
                <a:ea typeface="+mn-ea"/>
                <a:cs typeface="+mn-cs"/>
              </a:defRPr>
            </a:lvl1pPr>
            <a:lvl2pPr marL="457200" algn="ctr" rtl="0" fontAlgn="base">
              <a:spcBef>
                <a:spcPct val="20000"/>
              </a:spcBef>
              <a:spcAft>
                <a:spcPct val="0"/>
              </a:spcAft>
              <a:defRPr sz="1100" b="1" kern="1200">
                <a:solidFill>
                  <a:schemeClr val="lt1"/>
                </a:solidFill>
                <a:latin typeface="+mn-lt"/>
                <a:ea typeface="+mn-ea"/>
                <a:cs typeface="+mn-cs"/>
              </a:defRPr>
            </a:lvl2pPr>
            <a:lvl3pPr marL="914400" algn="ctr" rtl="0" fontAlgn="base">
              <a:spcBef>
                <a:spcPct val="20000"/>
              </a:spcBef>
              <a:spcAft>
                <a:spcPct val="0"/>
              </a:spcAft>
              <a:defRPr sz="1100" b="1" kern="1200">
                <a:solidFill>
                  <a:schemeClr val="lt1"/>
                </a:solidFill>
                <a:latin typeface="+mn-lt"/>
                <a:ea typeface="+mn-ea"/>
                <a:cs typeface="+mn-cs"/>
              </a:defRPr>
            </a:lvl3pPr>
            <a:lvl4pPr marL="1371600" algn="ctr" rtl="0" fontAlgn="base">
              <a:spcBef>
                <a:spcPct val="20000"/>
              </a:spcBef>
              <a:spcAft>
                <a:spcPct val="0"/>
              </a:spcAft>
              <a:defRPr sz="1100" b="1" kern="1200">
                <a:solidFill>
                  <a:schemeClr val="lt1"/>
                </a:solidFill>
                <a:latin typeface="+mn-lt"/>
                <a:ea typeface="+mn-ea"/>
                <a:cs typeface="+mn-cs"/>
              </a:defRPr>
            </a:lvl4pPr>
            <a:lvl5pPr marL="1828800" algn="ctr" rtl="0" fontAlgn="base">
              <a:spcBef>
                <a:spcPct val="20000"/>
              </a:spcBef>
              <a:spcAft>
                <a:spcPct val="0"/>
              </a:spcAft>
              <a:defRPr sz="1100" b="1" kern="1200">
                <a:solidFill>
                  <a:schemeClr val="lt1"/>
                </a:solidFill>
                <a:latin typeface="+mn-lt"/>
                <a:ea typeface="+mn-ea"/>
                <a:cs typeface="+mn-cs"/>
              </a:defRPr>
            </a:lvl5pPr>
            <a:lvl6pPr marL="2286000" algn="l" defTabSz="914400" rtl="0" eaLnBrk="1" latinLnBrk="0" hangingPunct="1">
              <a:defRPr sz="1100" b="1" kern="1200">
                <a:solidFill>
                  <a:schemeClr val="lt1"/>
                </a:solidFill>
                <a:latin typeface="+mn-lt"/>
                <a:ea typeface="+mn-ea"/>
                <a:cs typeface="+mn-cs"/>
              </a:defRPr>
            </a:lvl6pPr>
            <a:lvl7pPr marL="2743200" algn="l" defTabSz="914400" rtl="0" eaLnBrk="1" latinLnBrk="0" hangingPunct="1">
              <a:defRPr sz="1100" b="1" kern="1200">
                <a:solidFill>
                  <a:schemeClr val="lt1"/>
                </a:solidFill>
                <a:latin typeface="+mn-lt"/>
                <a:ea typeface="+mn-ea"/>
                <a:cs typeface="+mn-cs"/>
              </a:defRPr>
            </a:lvl7pPr>
            <a:lvl8pPr marL="3200400" algn="l" defTabSz="914400" rtl="0" eaLnBrk="1" latinLnBrk="0" hangingPunct="1">
              <a:defRPr sz="1100" b="1" kern="1200">
                <a:solidFill>
                  <a:schemeClr val="lt1"/>
                </a:solidFill>
                <a:latin typeface="+mn-lt"/>
                <a:ea typeface="+mn-ea"/>
                <a:cs typeface="+mn-cs"/>
              </a:defRPr>
            </a:lvl8pPr>
            <a:lvl9pPr marL="3657600" algn="l" defTabSz="914400" rtl="0" eaLnBrk="1" latinLnBrk="0" hangingPunct="1">
              <a:defRPr sz="1100" b="1" kern="1200">
                <a:solidFill>
                  <a:schemeClr val="lt1"/>
                </a:solidFill>
                <a:latin typeface="+mn-lt"/>
                <a:ea typeface="+mn-ea"/>
                <a:cs typeface="+mn-cs"/>
              </a:defRPr>
            </a:lvl9pPr>
          </a:lstStyle>
          <a:p>
            <a:pPr defTabSz="913961" fontAlgn="auto">
              <a:spcBef>
                <a:spcPts val="0"/>
              </a:spcBef>
              <a:spcAft>
                <a:spcPts val="0"/>
              </a:spcAft>
              <a:defRPr/>
            </a:pPr>
            <a:endParaRPr lang="en-US" sz="1050" dirty="0">
              <a:solidFill>
                <a:prstClr val="white"/>
              </a:solidFill>
              <a:latin typeface="+mj-lt"/>
            </a:endParaRPr>
          </a:p>
        </p:txBody>
      </p:sp>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a:xfrm>
            <a:off x="469900" y="229161"/>
            <a:ext cx="6228388" cy="334102"/>
          </a:xfrm>
        </p:spPr>
        <p:txBody>
          <a:bodyPr/>
          <a:lstStyle/>
          <a:p>
            <a:r>
              <a:rPr lang="en-US" dirty="0"/>
              <a:t>Current-State Capability of Design for X</a:t>
            </a:r>
          </a:p>
        </p:txBody>
      </p:sp>
      <p:sp>
        <p:nvSpPr>
          <p:cNvPr id="7" name="Rectangle 6">
            <a:extLst>
              <a:ext uri="{FF2B5EF4-FFF2-40B4-BE49-F238E27FC236}">
                <a16:creationId xmlns:a16="http://schemas.microsoft.com/office/drawing/2014/main" id="{1617907B-D8E2-4123-ACEC-F245D7D4077D}"/>
              </a:ext>
            </a:extLst>
          </p:cNvPr>
          <p:cNvSpPr>
            <a:spLocks noChangeArrowheads="1"/>
          </p:cNvSpPr>
          <p:nvPr/>
        </p:nvSpPr>
        <p:spPr bwMode="gray">
          <a:xfrm>
            <a:off x="1165662" y="742112"/>
            <a:ext cx="3085363" cy="215444"/>
          </a:xfrm>
          <a:prstGeom prst="rect">
            <a:avLst/>
          </a:prstGeom>
          <a:solidFill>
            <a:schemeClr val="bg1"/>
          </a:solidFill>
          <a:ln w="12700" cap="rnd" algn="ctr">
            <a:noFill/>
            <a:miter lim="800000"/>
            <a:headEnd/>
            <a:tailEnd/>
          </a:ln>
        </p:spPr>
        <p:txBody>
          <a:bodyPr wrap="square" lIns="71966" tIns="0" rIns="71966" bIns="0" anchor="ctr" anchorCtr="1">
            <a:spAutoFit/>
          </a:bodyPr>
          <a:lstStyle/>
          <a:p>
            <a:pPr defTabSz="913961" fontAlgn="base">
              <a:spcBef>
                <a:spcPct val="20000"/>
              </a:spcBef>
              <a:spcAft>
                <a:spcPct val="0"/>
              </a:spcAft>
            </a:pPr>
            <a:r>
              <a:rPr lang="en-US" sz="1400" b="1" dirty="0">
                <a:solidFill>
                  <a:srgbClr val="92D400"/>
                </a:solidFill>
                <a:latin typeface="+mj-lt"/>
                <a:cs typeface="Arial" pitchFamily="34" charset="0"/>
              </a:rPr>
              <a:t>Current State Journey</a:t>
            </a:r>
          </a:p>
        </p:txBody>
      </p:sp>
      <p:pic>
        <p:nvPicPr>
          <p:cNvPr id="8" name="Picture 7">
            <a:extLst>
              <a:ext uri="{FF2B5EF4-FFF2-40B4-BE49-F238E27FC236}">
                <a16:creationId xmlns:a16="http://schemas.microsoft.com/office/drawing/2014/main" id="{F58A16F7-C5FE-4FA0-95B9-317D632AC5C9}"/>
              </a:ext>
            </a:extLst>
          </p:cNvPr>
          <p:cNvPicPr>
            <a:picLocks noChangeAspect="1" noChangeArrowheads="1"/>
          </p:cNvPicPr>
          <p:nvPr/>
        </p:nvPicPr>
        <p:blipFill>
          <a:blip r:embed="rId2">
            <a:lum contrast="22000"/>
            <a:extLst>
              <a:ext uri="{28A0092B-C50C-407E-A947-70E740481C1C}">
                <a14:useLocalDpi xmlns:a14="http://schemas.microsoft.com/office/drawing/2010/main" val="0"/>
              </a:ext>
            </a:extLst>
          </a:blip>
          <a:srcRect/>
          <a:stretch>
            <a:fillRect/>
          </a:stretch>
        </p:blipFill>
        <p:spPr bwMode="auto">
          <a:xfrm>
            <a:off x="1099366" y="1169256"/>
            <a:ext cx="10314868" cy="4348008"/>
          </a:xfrm>
          <a:prstGeom prst="rect">
            <a:avLst/>
          </a:prstGeom>
          <a:solidFill>
            <a:schemeClr val="accent1">
              <a:lumMod val="20000"/>
              <a:lumOff val="80000"/>
            </a:schemeClr>
          </a:solidFill>
          <a:ln>
            <a:noFill/>
          </a:ln>
          <a:effectLst/>
        </p:spPr>
      </p:pic>
      <p:sp>
        <p:nvSpPr>
          <p:cNvPr id="9" name="Rectangle 8">
            <a:extLst>
              <a:ext uri="{FF2B5EF4-FFF2-40B4-BE49-F238E27FC236}">
                <a16:creationId xmlns:a16="http://schemas.microsoft.com/office/drawing/2014/main" id="{7B1A2920-D963-46D7-9BBE-A417E9448C54}"/>
              </a:ext>
            </a:extLst>
          </p:cNvPr>
          <p:cNvSpPr/>
          <p:nvPr/>
        </p:nvSpPr>
        <p:spPr bwMode="invGray">
          <a:xfrm>
            <a:off x="7690393" y="3992530"/>
            <a:ext cx="1354655" cy="230832"/>
          </a:xfrm>
          <a:prstGeom prst="rect">
            <a:avLst/>
          </a:prstGeom>
          <a:scene3d>
            <a:camera prst="orthographicFront">
              <a:rot lat="0" lon="0" rev="0"/>
            </a:camera>
            <a:lightRig rig="threePt" dir="t"/>
          </a:scene3d>
        </p:spPr>
        <p:txBody>
          <a:bodyPr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900" dirty="0">
              <a:solidFill>
                <a:prstClr val="white"/>
              </a:solidFill>
              <a:latin typeface="+mj-lt"/>
            </a:endParaRPr>
          </a:p>
        </p:txBody>
      </p:sp>
      <p:sp>
        <p:nvSpPr>
          <p:cNvPr id="12" name="Text Box 9">
            <a:extLst>
              <a:ext uri="{FF2B5EF4-FFF2-40B4-BE49-F238E27FC236}">
                <a16:creationId xmlns:a16="http://schemas.microsoft.com/office/drawing/2014/main" id="{C8A41943-F33A-4533-A39B-9CD8C84306AD}"/>
              </a:ext>
            </a:extLst>
          </p:cNvPr>
          <p:cNvSpPr txBox="1">
            <a:spLocks noChangeArrowheads="1"/>
          </p:cNvSpPr>
          <p:nvPr/>
        </p:nvSpPr>
        <p:spPr bwMode="gray">
          <a:xfrm>
            <a:off x="1513674" y="1122735"/>
            <a:ext cx="855935" cy="176095"/>
          </a:xfrm>
          <a:prstGeom prst="rect">
            <a:avLst/>
          </a:prstGeom>
          <a:noFill/>
          <a:ln w="12700" algn="ctr">
            <a:noFill/>
            <a:miter lim="800000"/>
            <a:headEnd/>
            <a:tailEnd/>
          </a:ln>
          <a:effectLst/>
        </p:spPr>
        <p:txBody>
          <a:bodyPr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1</a:t>
            </a:r>
          </a:p>
        </p:txBody>
      </p:sp>
      <p:sp>
        <p:nvSpPr>
          <p:cNvPr id="13" name="Oval 12">
            <a:extLst>
              <a:ext uri="{FF2B5EF4-FFF2-40B4-BE49-F238E27FC236}">
                <a16:creationId xmlns:a16="http://schemas.microsoft.com/office/drawing/2014/main" id="{032AF74C-4888-4BB8-A919-D966CF10B213}"/>
              </a:ext>
            </a:extLst>
          </p:cNvPr>
          <p:cNvSpPr>
            <a:spLocks noChangeArrowheads="1"/>
          </p:cNvSpPr>
          <p:nvPr/>
        </p:nvSpPr>
        <p:spPr bwMode="gray">
          <a:xfrm>
            <a:off x="1124347" y="1075453"/>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1</a:t>
            </a:r>
          </a:p>
        </p:txBody>
      </p:sp>
      <p:sp>
        <p:nvSpPr>
          <p:cNvPr id="16" name="Text Box 11">
            <a:extLst>
              <a:ext uri="{FF2B5EF4-FFF2-40B4-BE49-F238E27FC236}">
                <a16:creationId xmlns:a16="http://schemas.microsoft.com/office/drawing/2014/main" id="{46B996A9-99E3-4826-B6E1-B3F9341EA480}"/>
              </a:ext>
            </a:extLst>
          </p:cNvPr>
          <p:cNvSpPr txBox="1">
            <a:spLocks noChangeArrowheads="1"/>
          </p:cNvSpPr>
          <p:nvPr/>
        </p:nvSpPr>
        <p:spPr bwMode="gray">
          <a:xfrm>
            <a:off x="2905522" y="4354284"/>
            <a:ext cx="1477186" cy="177539"/>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a:t>
            </a:r>
            <a:r>
              <a:rPr lang="en-US" altLang="ja-JP" sz="1200" kern="0" dirty="0">
                <a:solidFill>
                  <a:srgbClr val="00A1DE"/>
                </a:solidFill>
                <a:latin typeface="+mj-lt"/>
              </a:rPr>
              <a:t>2</a:t>
            </a:r>
            <a:endParaRPr lang="en-US" sz="1200" kern="0" dirty="0">
              <a:solidFill>
                <a:srgbClr val="00A1DE"/>
              </a:solidFill>
              <a:latin typeface="+mj-lt"/>
            </a:endParaRPr>
          </a:p>
        </p:txBody>
      </p:sp>
      <p:sp>
        <p:nvSpPr>
          <p:cNvPr id="18" name="Text Box 24">
            <a:extLst>
              <a:ext uri="{FF2B5EF4-FFF2-40B4-BE49-F238E27FC236}">
                <a16:creationId xmlns:a16="http://schemas.microsoft.com/office/drawing/2014/main" id="{FFC98F6A-C43A-4D2B-AF2D-DF855F9BFC67}"/>
              </a:ext>
            </a:extLst>
          </p:cNvPr>
          <p:cNvSpPr txBox="1">
            <a:spLocks noChangeArrowheads="1"/>
          </p:cNvSpPr>
          <p:nvPr/>
        </p:nvSpPr>
        <p:spPr bwMode="auto">
          <a:xfrm>
            <a:off x="1396731" y="1328877"/>
            <a:ext cx="3086251" cy="1477995"/>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r>
              <a:rPr lang="en-US" altLang="ja-JP" sz="1400" dirty="0">
                <a:solidFill>
                  <a:srgbClr val="FF0000"/>
                </a:solidFill>
                <a:latin typeface="Calibri" panose="020F0502020204030204" pitchFamily="34" charset="0"/>
              </a:rPr>
              <a:t>Understanding customer requirements</a:t>
            </a:r>
          </a:p>
          <a:p>
            <a:pPr algn="l"/>
            <a:r>
              <a:rPr lang="en-US" altLang="ja-JP" sz="1400" dirty="0">
                <a:solidFill>
                  <a:srgbClr val="FF0000"/>
                </a:solidFill>
                <a:latin typeface="Calibri" panose="020F0502020204030204" pitchFamily="34" charset="0"/>
              </a:rPr>
              <a:t>Product specification decision</a:t>
            </a:r>
          </a:p>
          <a:p>
            <a:pPr algn="l" defTabSz="913961" fontAlgn="auto">
              <a:spcBef>
                <a:spcPts val="0"/>
              </a:spcBef>
              <a:spcAft>
                <a:spcPts val="0"/>
              </a:spcAft>
              <a:defRPr/>
            </a:pPr>
            <a:r>
              <a:rPr lang="ja-JP" altLang="en-US" sz="1200" kern="0" dirty="0">
                <a:solidFill>
                  <a:srgbClr val="002776"/>
                </a:solidFill>
                <a:latin typeface="Calibri" panose="020F0502020204030204" pitchFamily="34" charset="0"/>
              </a:rPr>
              <a:t>・</a:t>
            </a:r>
            <a:r>
              <a:rPr lang="en-US" altLang="ja-JP" sz="1200" kern="0" dirty="0">
                <a:solidFill>
                  <a:srgbClr val="002776"/>
                </a:solidFill>
                <a:latin typeface="Calibri" panose="020F0502020204030204" pitchFamily="34" charset="0"/>
              </a:rPr>
              <a:t>Scope</a:t>
            </a:r>
            <a:r>
              <a:rPr lang="ja-JP" altLang="en-US" sz="1200" kern="0" dirty="0">
                <a:solidFill>
                  <a:srgbClr val="002776"/>
                </a:solidFill>
                <a:latin typeface="Calibri" panose="020F0502020204030204" pitchFamily="34" charset="0"/>
              </a:rPr>
              <a:t> </a:t>
            </a:r>
            <a:r>
              <a:rPr lang="en-US" altLang="ja-JP" sz="1200" kern="0" dirty="0">
                <a:solidFill>
                  <a:srgbClr val="002776"/>
                </a:solidFill>
                <a:latin typeface="Calibri" panose="020F0502020204030204" pitchFamily="34" charset="0"/>
              </a:rPr>
              <a:t>meeting (SE,PM,PD)</a:t>
            </a:r>
          </a:p>
          <a:p>
            <a:pPr algn="l" defTabSz="913961" fontAlgn="auto">
              <a:spcBef>
                <a:spcPts val="0"/>
              </a:spcBef>
              <a:spcAft>
                <a:spcPts val="0"/>
              </a:spcAft>
              <a:defRPr/>
            </a:pPr>
            <a:r>
              <a:rPr lang="ja-JP" altLang="en-US" sz="1200" kern="0" dirty="0">
                <a:solidFill>
                  <a:srgbClr val="002776"/>
                </a:solidFill>
                <a:latin typeface="Calibri" panose="020F0502020204030204" pitchFamily="34" charset="0"/>
              </a:rPr>
              <a:t>　・</a:t>
            </a:r>
            <a:r>
              <a:rPr lang="en-US" altLang="ja-JP" sz="1200" dirty="0">
                <a:latin typeface="Calibri" panose="020F0502020204030204" pitchFamily="34" charset="0"/>
              </a:rPr>
              <a:t>Requirements specification check list</a:t>
            </a:r>
          </a:p>
          <a:p>
            <a:pPr algn="l" defTabSz="913961" fontAlgn="auto">
              <a:spcBef>
                <a:spcPts val="0"/>
              </a:spcBef>
              <a:spcAft>
                <a:spcPts val="0"/>
              </a:spcAft>
              <a:defRPr/>
            </a:pPr>
            <a:r>
              <a:rPr lang="ja-JP" altLang="en-US" sz="1200" kern="0" dirty="0">
                <a:solidFill>
                  <a:srgbClr val="002776"/>
                </a:solidFill>
                <a:latin typeface="Calibri" panose="020F0502020204030204" pitchFamily="34" charset="0"/>
              </a:rPr>
              <a:t>　・</a:t>
            </a:r>
            <a:r>
              <a:rPr lang="en-US" altLang="ja-JP" sz="1200" dirty="0">
                <a:latin typeface="Calibri" panose="020F0502020204030204" pitchFamily="34" charset="0"/>
              </a:rPr>
              <a:t>Performance comparison study </a:t>
            </a:r>
          </a:p>
          <a:p>
            <a:pPr algn="l" defTabSz="913961" fontAlgn="auto">
              <a:spcBef>
                <a:spcPts val="0"/>
              </a:spcBef>
              <a:spcAft>
                <a:spcPts val="0"/>
              </a:spcAft>
              <a:defRPr/>
            </a:pPr>
            <a:r>
              <a:rPr lang="ja-JP" altLang="en-US" sz="1200" dirty="0">
                <a:latin typeface="Calibri" panose="020F0502020204030204" pitchFamily="34" charset="0"/>
              </a:rPr>
              <a:t>　　</a:t>
            </a:r>
            <a:r>
              <a:rPr lang="en-US" altLang="ja-JP" sz="1200" dirty="0">
                <a:latin typeface="Calibri" panose="020F0502020204030204" pitchFamily="34" charset="0"/>
              </a:rPr>
              <a:t>of competing products</a:t>
            </a:r>
          </a:p>
          <a:p>
            <a:pPr algn="l"/>
            <a:r>
              <a:rPr lang="ja-JP" altLang="en-US" sz="1200" dirty="0">
                <a:latin typeface="Calibri" panose="020F0502020204030204" pitchFamily="34" charset="0"/>
              </a:rPr>
              <a:t>　・ </a:t>
            </a:r>
            <a:r>
              <a:rPr lang="en-US" altLang="ja-JP" sz="1200" dirty="0">
                <a:latin typeface="Calibri" panose="020F0502020204030204" pitchFamily="34" charset="0"/>
              </a:rPr>
              <a:t>Priority function, determination of </a:t>
            </a:r>
          </a:p>
          <a:p>
            <a:pPr algn="l"/>
            <a:r>
              <a:rPr lang="ja-JP" altLang="en-US" sz="1200" dirty="0">
                <a:latin typeface="Calibri" panose="020F0502020204030204" pitchFamily="34" charset="0"/>
              </a:rPr>
              <a:t>　　</a:t>
            </a:r>
            <a:r>
              <a:rPr lang="en-US" altLang="ja-JP" sz="1200" dirty="0">
                <a:latin typeface="Calibri" panose="020F0502020204030204" pitchFamily="34" charset="0"/>
              </a:rPr>
              <a:t>specifications</a:t>
            </a:r>
          </a:p>
          <a:p>
            <a:pPr algn="l" defTabSz="913961" fontAlgn="auto">
              <a:spcBef>
                <a:spcPts val="0"/>
              </a:spcBef>
              <a:spcAft>
                <a:spcPts val="0"/>
              </a:spcAft>
              <a:defRPr/>
            </a:pPr>
            <a:endParaRPr lang="en-US" sz="1400" kern="0" dirty="0">
              <a:solidFill>
                <a:srgbClr val="002776"/>
              </a:solidFill>
              <a:latin typeface="Calibri" panose="020F0502020204030204" pitchFamily="34" charset="0"/>
            </a:endParaRPr>
          </a:p>
        </p:txBody>
      </p:sp>
      <p:sp>
        <p:nvSpPr>
          <p:cNvPr id="19" name="Text Box 24">
            <a:extLst>
              <a:ext uri="{FF2B5EF4-FFF2-40B4-BE49-F238E27FC236}">
                <a16:creationId xmlns:a16="http://schemas.microsoft.com/office/drawing/2014/main" id="{FE7CF495-07E0-40DF-B5B1-35D4E6592281}"/>
              </a:ext>
            </a:extLst>
          </p:cNvPr>
          <p:cNvSpPr txBox="1">
            <a:spLocks noChangeArrowheads="1"/>
          </p:cNvSpPr>
          <p:nvPr/>
        </p:nvSpPr>
        <p:spPr bwMode="auto">
          <a:xfrm>
            <a:off x="5558321" y="4008043"/>
            <a:ext cx="2317216" cy="47897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r>
              <a:rPr lang="en-US" altLang="ja-JP" sz="1400" dirty="0">
                <a:solidFill>
                  <a:srgbClr val="FF0000"/>
                </a:solidFill>
                <a:latin typeface="Calibri" panose="020F0502020204030204" pitchFamily="34" charset="0"/>
              </a:rPr>
              <a:t>Customer or PM approval</a:t>
            </a:r>
            <a:endParaRPr lang="en-US" altLang="ja-JP" sz="1200" dirty="0">
              <a:latin typeface="Calibri" panose="020F0502020204030204" pitchFamily="34" charset="0"/>
            </a:endParaRPr>
          </a:p>
          <a:p>
            <a:pPr algn="l"/>
            <a:r>
              <a:rPr lang="ja-JP" altLang="en-US" sz="1200" dirty="0">
                <a:latin typeface="Calibri" panose="020F0502020204030204" pitchFamily="34" charset="0"/>
              </a:rPr>
              <a:t>・</a:t>
            </a:r>
            <a:r>
              <a:rPr lang="en-US" altLang="ja-JP" sz="1200" dirty="0">
                <a:latin typeface="Calibri" panose="020F0502020204030204" pitchFamily="34" charset="0"/>
              </a:rPr>
              <a:t>Create a document for Customer</a:t>
            </a:r>
          </a:p>
          <a:p>
            <a:pPr algn="l"/>
            <a:endParaRPr lang="en-US" altLang="ja-JP" sz="1200" dirty="0">
              <a:latin typeface="Calibri" panose="020F0502020204030204" pitchFamily="34" charset="0"/>
            </a:endParaRPr>
          </a:p>
        </p:txBody>
      </p:sp>
      <p:sp>
        <p:nvSpPr>
          <p:cNvPr id="20" name="Text Box 11">
            <a:extLst>
              <a:ext uri="{FF2B5EF4-FFF2-40B4-BE49-F238E27FC236}">
                <a16:creationId xmlns:a16="http://schemas.microsoft.com/office/drawing/2014/main" id="{D580D44A-823E-476D-8183-36AB135B8253}"/>
              </a:ext>
            </a:extLst>
          </p:cNvPr>
          <p:cNvSpPr txBox="1">
            <a:spLocks noChangeArrowheads="1"/>
          </p:cNvSpPr>
          <p:nvPr/>
        </p:nvSpPr>
        <p:spPr bwMode="gray">
          <a:xfrm>
            <a:off x="5641324" y="3790463"/>
            <a:ext cx="1341777"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a:t>
            </a:r>
            <a:r>
              <a:rPr lang="en-US" altLang="ja-JP" sz="1200" kern="0" dirty="0">
                <a:solidFill>
                  <a:srgbClr val="00A1DE"/>
                </a:solidFill>
                <a:latin typeface="+mj-lt"/>
              </a:rPr>
              <a:t>4</a:t>
            </a:r>
            <a:endParaRPr lang="en-US" sz="1200" kern="0" dirty="0">
              <a:solidFill>
                <a:srgbClr val="00A1DE"/>
              </a:solidFill>
              <a:latin typeface="+mj-lt"/>
            </a:endParaRPr>
          </a:p>
        </p:txBody>
      </p:sp>
      <p:sp>
        <p:nvSpPr>
          <p:cNvPr id="21" name="Text Box 24">
            <a:extLst>
              <a:ext uri="{FF2B5EF4-FFF2-40B4-BE49-F238E27FC236}">
                <a16:creationId xmlns:a16="http://schemas.microsoft.com/office/drawing/2014/main" id="{97A0FE0F-77A4-4B69-ABDE-A9988C3C23AA}"/>
              </a:ext>
            </a:extLst>
          </p:cNvPr>
          <p:cNvSpPr txBox="1">
            <a:spLocks noChangeArrowheads="1"/>
          </p:cNvSpPr>
          <p:nvPr/>
        </p:nvSpPr>
        <p:spPr bwMode="auto">
          <a:xfrm>
            <a:off x="4855792" y="1667276"/>
            <a:ext cx="2335848" cy="1004747"/>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sz="1400" kern="0" dirty="0">
                <a:solidFill>
                  <a:srgbClr val="FF0000"/>
                </a:solidFill>
                <a:latin typeface="Calibri" panose="020F0502020204030204" pitchFamily="34" charset="0"/>
              </a:rPr>
              <a:t>Quotation</a:t>
            </a:r>
          </a:p>
          <a:p>
            <a:pPr algn="l"/>
            <a:r>
              <a:rPr lang="ja-JP" altLang="en-US" sz="1200" dirty="0">
                <a:latin typeface="Calibri" panose="020F0502020204030204" pitchFamily="34" charset="0"/>
              </a:rPr>
              <a:t>・</a:t>
            </a:r>
            <a:r>
              <a:rPr lang="en-US" altLang="ja-JP" sz="1200" dirty="0">
                <a:latin typeface="Calibri" panose="020F0502020204030204" pitchFamily="34" charset="0"/>
              </a:rPr>
              <a:t>3D and 2D update for quotation</a:t>
            </a:r>
          </a:p>
          <a:p>
            <a:pPr algn="l"/>
            <a:r>
              <a:rPr lang="ja-JP" altLang="en-US" sz="1200" kern="0" dirty="0">
                <a:solidFill>
                  <a:srgbClr val="002776"/>
                </a:solidFill>
                <a:latin typeface="Calibri" panose="020F0502020204030204" pitchFamily="34" charset="0"/>
              </a:rPr>
              <a:t>・</a:t>
            </a:r>
            <a:r>
              <a:rPr lang="en-US" altLang="ja-JP" sz="1200" dirty="0">
                <a:latin typeface="Calibri" panose="020F0502020204030204" pitchFamily="34" charset="0"/>
              </a:rPr>
              <a:t>Request for a quote</a:t>
            </a:r>
          </a:p>
          <a:p>
            <a:pPr algn="l" defTabSz="913961" fontAlgn="auto">
              <a:spcBef>
                <a:spcPts val="0"/>
              </a:spcBef>
              <a:spcAft>
                <a:spcPts val="0"/>
              </a:spcAft>
              <a:defRPr/>
            </a:pPr>
            <a:r>
              <a:rPr lang="ja-JP" altLang="en-US" sz="1200" dirty="0">
                <a:latin typeface="Calibri" panose="020F0502020204030204" pitchFamily="34" charset="0"/>
              </a:rPr>
              <a:t>・</a:t>
            </a:r>
            <a:r>
              <a:rPr lang="en-US" altLang="ja-JP" sz="1200" dirty="0">
                <a:latin typeface="Calibri" panose="020F0502020204030204" pitchFamily="34" charset="0"/>
              </a:rPr>
              <a:t>DFM</a:t>
            </a:r>
          </a:p>
          <a:p>
            <a:pPr algn="l"/>
            <a:r>
              <a:rPr lang="ja-JP" altLang="en-US" sz="1200" kern="0" dirty="0">
                <a:solidFill>
                  <a:srgbClr val="002776"/>
                </a:solidFill>
                <a:latin typeface="Calibri" panose="020F0502020204030204" pitchFamily="34" charset="0"/>
              </a:rPr>
              <a:t>・</a:t>
            </a:r>
            <a:r>
              <a:rPr lang="en-US" altLang="ja-JP" sz="1200" dirty="0">
                <a:latin typeface="Calibri" panose="020F0502020204030204" pitchFamily="34" charset="0"/>
              </a:rPr>
              <a:t>Cost reduction study</a:t>
            </a:r>
          </a:p>
        </p:txBody>
      </p:sp>
      <p:sp>
        <p:nvSpPr>
          <p:cNvPr id="22" name="Text Box 14">
            <a:extLst>
              <a:ext uri="{FF2B5EF4-FFF2-40B4-BE49-F238E27FC236}">
                <a16:creationId xmlns:a16="http://schemas.microsoft.com/office/drawing/2014/main" id="{957A023C-F13B-4843-A681-19BADC0F0BE1}"/>
              </a:ext>
            </a:extLst>
          </p:cNvPr>
          <p:cNvSpPr txBox="1">
            <a:spLocks noChangeArrowheads="1"/>
          </p:cNvSpPr>
          <p:nvPr/>
        </p:nvSpPr>
        <p:spPr bwMode="gray">
          <a:xfrm>
            <a:off x="4906573" y="1482742"/>
            <a:ext cx="1151165" cy="176095"/>
          </a:xfrm>
          <a:prstGeom prst="rect">
            <a:avLst/>
          </a:prstGeom>
          <a:noFill/>
          <a:ln w="12700" algn="ctr">
            <a:noFill/>
            <a:miter lim="800000"/>
            <a:headEnd/>
            <a:tailEnd/>
          </a:ln>
          <a:effectLst/>
        </p:spPr>
        <p:txBody>
          <a:bodyPr wrap="non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a:t>
            </a:r>
            <a:r>
              <a:rPr lang="en-US" altLang="ja-JP" sz="1200" kern="0" dirty="0">
                <a:solidFill>
                  <a:srgbClr val="00A1DE"/>
                </a:solidFill>
                <a:latin typeface="+mj-lt"/>
              </a:rPr>
              <a:t>3</a:t>
            </a:r>
            <a:endParaRPr lang="en-US" sz="1200" kern="0" dirty="0">
              <a:solidFill>
                <a:srgbClr val="00A1DE"/>
              </a:solidFill>
              <a:latin typeface="+mj-lt"/>
            </a:endParaRPr>
          </a:p>
        </p:txBody>
      </p:sp>
      <p:sp>
        <p:nvSpPr>
          <p:cNvPr id="23" name="Text Box 24">
            <a:extLst>
              <a:ext uri="{FF2B5EF4-FFF2-40B4-BE49-F238E27FC236}">
                <a16:creationId xmlns:a16="http://schemas.microsoft.com/office/drawing/2014/main" id="{FF7A872D-426A-4D46-A4A4-DABD2E0C69F0}"/>
              </a:ext>
            </a:extLst>
          </p:cNvPr>
          <p:cNvSpPr txBox="1">
            <a:spLocks noChangeArrowheads="1"/>
          </p:cNvSpPr>
          <p:nvPr/>
        </p:nvSpPr>
        <p:spPr bwMode="auto">
          <a:xfrm>
            <a:off x="8164616" y="3600181"/>
            <a:ext cx="2960538" cy="996296"/>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sz="1400" kern="0" dirty="0">
                <a:solidFill>
                  <a:srgbClr val="FF0000"/>
                </a:solidFill>
                <a:latin typeface="Calibri" panose="020F0502020204030204" pitchFamily="34" charset="0"/>
              </a:rPr>
              <a:t>NPD</a:t>
            </a:r>
            <a:r>
              <a:rPr lang="ja-JP" altLang="en-US" sz="1400" kern="0" dirty="0">
                <a:solidFill>
                  <a:srgbClr val="FF0000"/>
                </a:solidFill>
                <a:latin typeface="Calibri" panose="020F0502020204030204" pitchFamily="34" charset="0"/>
              </a:rPr>
              <a:t>（</a:t>
            </a:r>
            <a:r>
              <a:rPr lang="en-US" altLang="ja-JP" sz="1400" kern="0" dirty="0">
                <a:solidFill>
                  <a:srgbClr val="FF0000"/>
                </a:solidFill>
                <a:latin typeface="Calibri" panose="020F0502020204030204" pitchFamily="34" charset="0"/>
              </a:rPr>
              <a:t>New</a:t>
            </a:r>
            <a:r>
              <a:rPr lang="ja-JP" altLang="en-US" sz="1400" kern="0" dirty="0">
                <a:solidFill>
                  <a:srgbClr val="FF0000"/>
                </a:solidFill>
                <a:latin typeface="Calibri" panose="020F0502020204030204" pitchFamily="34" charset="0"/>
              </a:rPr>
              <a:t> </a:t>
            </a:r>
            <a:r>
              <a:rPr lang="en-US" altLang="ja-JP" sz="1400" kern="0" dirty="0">
                <a:solidFill>
                  <a:srgbClr val="FF0000"/>
                </a:solidFill>
                <a:latin typeface="Calibri" panose="020F0502020204030204" pitchFamily="34" charset="0"/>
              </a:rPr>
              <a:t>Product</a:t>
            </a:r>
            <a:r>
              <a:rPr lang="ja-JP" altLang="en-US" sz="1400" kern="0" dirty="0">
                <a:solidFill>
                  <a:srgbClr val="FF0000"/>
                </a:solidFill>
                <a:latin typeface="Calibri" panose="020F0502020204030204" pitchFamily="34" charset="0"/>
              </a:rPr>
              <a:t> </a:t>
            </a:r>
            <a:r>
              <a:rPr lang="en-US" altLang="ja-JP" sz="1400" kern="0" dirty="0">
                <a:solidFill>
                  <a:srgbClr val="FF0000"/>
                </a:solidFill>
                <a:latin typeface="Calibri" panose="020F0502020204030204" pitchFamily="34" charset="0"/>
              </a:rPr>
              <a:t>Diagnosis</a:t>
            </a:r>
            <a:r>
              <a:rPr lang="ja-JP" altLang="en-US" sz="1400" kern="0" dirty="0">
                <a:solidFill>
                  <a:srgbClr val="FF0000"/>
                </a:solidFill>
                <a:latin typeface="Calibri" panose="020F0502020204030204" pitchFamily="34" charset="0"/>
              </a:rPr>
              <a:t>）</a:t>
            </a:r>
            <a:endParaRPr lang="en-US" altLang="ja-JP" sz="1400" kern="0" dirty="0">
              <a:solidFill>
                <a:srgbClr val="FF0000"/>
              </a:solidFill>
              <a:latin typeface="Calibri" panose="020F0502020204030204" pitchFamily="34" charset="0"/>
            </a:endParaRPr>
          </a:p>
          <a:p>
            <a:pPr algn="l"/>
            <a:r>
              <a:rPr lang="ja-JP" altLang="en-US" sz="1200" dirty="0">
                <a:latin typeface="Calibri" panose="020F0502020204030204" pitchFamily="34" charset="0"/>
              </a:rPr>
              <a:t>・</a:t>
            </a:r>
            <a:r>
              <a:rPr lang="en-US" altLang="ja-JP" sz="1200" dirty="0">
                <a:latin typeface="Calibri" panose="020F0502020204030204" pitchFamily="34" charset="0"/>
              </a:rPr>
              <a:t>Register 3D and 2D for mass production</a:t>
            </a:r>
          </a:p>
          <a:p>
            <a:pPr algn="l"/>
            <a:r>
              <a:rPr lang="ja-JP" altLang="en-US" sz="1200" kern="0" dirty="0">
                <a:solidFill>
                  <a:srgbClr val="002776"/>
                </a:solidFill>
                <a:latin typeface="Calibri" panose="020F0502020204030204" pitchFamily="34" charset="0"/>
              </a:rPr>
              <a:t>・</a:t>
            </a:r>
            <a:r>
              <a:rPr lang="en-US" altLang="ja-JP" sz="1200" dirty="0">
                <a:latin typeface="Calibri" panose="020F0502020204030204" pitchFamily="34" charset="0"/>
              </a:rPr>
              <a:t>Temporary issuance of specifications and SD</a:t>
            </a:r>
          </a:p>
          <a:p>
            <a:pPr algn="l" defTabSz="913961" fontAlgn="auto">
              <a:spcBef>
                <a:spcPts val="0"/>
              </a:spcBef>
              <a:spcAft>
                <a:spcPts val="0"/>
              </a:spcAft>
              <a:defRPr/>
            </a:pPr>
            <a:r>
              <a:rPr lang="ja-JP" altLang="en-US" sz="1200" dirty="0">
                <a:latin typeface="Calibri" panose="020F0502020204030204" pitchFamily="34" charset="0"/>
              </a:rPr>
              <a:t>・</a:t>
            </a:r>
            <a:r>
              <a:rPr lang="en-US" altLang="ja-JP" sz="1200" dirty="0">
                <a:latin typeface="Calibri" panose="020F0502020204030204" pitchFamily="34" charset="0"/>
              </a:rPr>
              <a:t>D-FMEA</a:t>
            </a:r>
            <a:r>
              <a:rPr lang="ja-JP" altLang="en-US" sz="1200" dirty="0">
                <a:latin typeface="Calibri" panose="020F0502020204030204" pitchFamily="34" charset="0"/>
              </a:rPr>
              <a:t>（</a:t>
            </a:r>
            <a:r>
              <a:rPr lang="en-US" altLang="ja-JP" sz="1200" dirty="0">
                <a:latin typeface="Calibri" panose="020F0502020204030204" pitchFamily="34" charset="0"/>
              </a:rPr>
              <a:t> Include evaluation plan</a:t>
            </a:r>
            <a:r>
              <a:rPr lang="ja-JP" altLang="en-US" sz="1200" dirty="0">
                <a:latin typeface="Calibri" panose="020F0502020204030204" pitchFamily="34" charset="0"/>
              </a:rPr>
              <a:t>）</a:t>
            </a:r>
            <a:endParaRPr lang="en-US" altLang="ja-JP" sz="1200" dirty="0">
              <a:latin typeface="Calibri" panose="020F0502020204030204" pitchFamily="34" charset="0"/>
            </a:endParaRPr>
          </a:p>
          <a:p>
            <a:pPr algn="l"/>
            <a:r>
              <a:rPr lang="ja-JP" altLang="en-US" sz="1200" dirty="0">
                <a:latin typeface="Calibri" panose="020F0502020204030204" pitchFamily="34" charset="0"/>
              </a:rPr>
              <a:t>・</a:t>
            </a:r>
            <a:r>
              <a:rPr lang="en-US" altLang="ja-JP" sz="1200" dirty="0">
                <a:latin typeface="Calibri" panose="020F0502020204030204" pitchFamily="34" charset="0"/>
              </a:rPr>
              <a:t>Create a document for NPD</a:t>
            </a:r>
          </a:p>
        </p:txBody>
      </p:sp>
      <p:sp>
        <p:nvSpPr>
          <p:cNvPr id="24" name="Text Box 10">
            <a:extLst>
              <a:ext uri="{FF2B5EF4-FFF2-40B4-BE49-F238E27FC236}">
                <a16:creationId xmlns:a16="http://schemas.microsoft.com/office/drawing/2014/main" id="{9CFBC63D-CE03-4161-9C29-FAB75D09F3AC}"/>
              </a:ext>
            </a:extLst>
          </p:cNvPr>
          <p:cNvSpPr txBox="1">
            <a:spLocks noChangeArrowheads="1"/>
          </p:cNvSpPr>
          <p:nvPr/>
        </p:nvSpPr>
        <p:spPr bwMode="gray">
          <a:xfrm>
            <a:off x="8164616" y="3378938"/>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a:t>
            </a:r>
            <a:r>
              <a:rPr lang="en-US" altLang="ja-JP" sz="1200" kern="0" dirty="0">
                <a:solidFill>
                  <a:srgbClr val="00A1DE"/>
                </a:solidFill>
                <a:latin typeface="+mj-lt"/>
              </a:rPr>
              <a:t>5</a:t>
            </a:r>
            <a:endParaRPr lang="en-US" sz="1200" kern="0" dirty="0">
              <a:solidFill>
                <a:srgbClr val="00A1DE"/>
              </a:solidFill>
              <a:latin typeface="+mj-lt"/>
            </a:endParaRPr>
          </a:p>
        </p:txBody>
      </p:sp>
      <p:sp>
        <p:nvSpPr>
          <p:cNvPr id="25" name="Oval 24">
            <a:extLst>
              <a:ext uri="{FF2B5EF4-FFF2-40B4-BE49-F238E27FC236}">
                <a16:creationId xmlns:a16="http://schemas.microsoft.com/office/drawing/2014/main" id="{562825D5-3D20-41DE-A3D7-832BE944793B}"/>
              </a:ext>
            </a:extLst>
          </p:cNvPr>
          <p:cNvSpPr>
            <a:spLocks noChangeArrowheads="1"/>
          </p:cNvSpPr>
          <p:nvPr/>
        </p:nvSpPr>
        <p:spPr bwMode="gray">
          <a:xfrm>
            <a:off x="2546067" y="4280900"/>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2</a:t>
            </a:r>
          </a:p>
        </p:txBody>
      </p:sp>
      <p:sp>
        <p:nvSpPr>
          <p:cNvPr id="26" name="Oval 25">
            <a:extLst>
              <a:ext uri="{FF2B5EF4-FFF2-40B4-BE49-F238E27FC236}">
                <a16:creationId xmlns:a16="http://schemas.microsoft.com/office/drawing/2014/main" id="{2955288C-C806-4891-9240-DFB031C3690C}"/>
              </a:ext>
            </a:extLst>
          </p:cNvPr>
          <p:cNvSpPr>
            <a:spLocks noChangeArrowheads="1"/>
          </p:cNvSpPr>
          <p:nvPr/>
        </p:nvSpPr>
        <p:spPr bwMode="gray">
          <a:xfrm>
            <a:off x="4557077" y="1449160"/>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3</a:t>
            </a:r>
          </a:p>
        </p:txBody>
      </p:sp>
      <p:sp>
        <p:nvSpPr>
          <p:cNvPr id="27" name="Oval 26">
            <a:extLst>
              <a:ext uri="{FF2B5EF4-FFF2-40B4-BE49-F238E27FC236}">
                <a16:creationId xmlns:a16="http://schemas.microsoft.com/office/drawing/2014/main" id="{6EABAB19-C5C1-49C9-8BC5-5F7CA5E9D95E}"/>
              </a:ext>
            </a:extLst>
          </p:cNvPr>
          <p:cNvSpPr>
            <a:spLocks noChangeArrowheads="1"/>
          </p:cNvSpPr>
          <p:nvPr/>
        </p:nvSpPr>
        <p:spPr bwMode="gray">
          <a:xfrm>
            <a:off x="5242387" y="3745558"/>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4</a:t>
            </a:r>
          </a:p>
        </p:txBody>
      </p:sp>
      <p:sp>
        <p:nvSpPr>
          <p:cNvPr id="28" name="Oval 27">
            <a:extLst>
              <a:ext uri="{FF2B5EF4-FFF2-40B4-BE49-F238E27FC236}">
                <a16:creationId xmlns:a16="http://schemas.microsoft.com/office/drawing/2014/main" id="{2E12D42A-ECC4-48E8-9A65-F5076BFE4749}"/>
              </a:ext>
            </a:extLst>
          </p:cNvPr>
          <p:cNvSpPr>
            <a:spLocks noChangeArrowheads="1"/>
          </p:cNvSpPr>
          <p:nvPr/>
        </p:nvSpPr>
        <p:spPr bwMode="gray">
          <a:xfrm>
            <a:off x="7790641" y="3343882"/>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5</a:t>
            </a:r>
          </a:p>
        </p:txBody>
      </p:sp>
      <p:sp>
        <p:nvSpPr>
          <p:cNvPr id="33" name="Line 28">
            <a:extLst>
              <a:ext uri="{FF2B5EF4-FFF2-40B4-BE49-F238E27FC236}">
                <a16:creationId xmlns:a16="http://schemas.microsoft.com/office/drawing/2014/main" id="{312CD55C-5FB0-4E6D-A463-1F16AF8532D2}"/>
              </a:ext>
            </a:extLst>
          </p:cNvPr>
          <p:cNvSpPr>
            <a:spLocks noChangeShapeType="1"/>
          </p:cNvSpPr>
          <p:nvPr/>
        </p:nvSpPr>
        <p:spPr bwMode="auto">
          <a:xfrm flipH="1" flipV="1">
            <a:off x="2704034" y="3809402"/>
            <a:ext cx="0" cy="430505"/>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4" name="Line 28">
            <a:extLst>
              <a:ext uri="{FF2B5EF4-FFF2-40B4-BE49-F238E27FC236}">
                <a16:creationId xmlns:a16="http://schemas.microsoft.com/office/drawing/2014/main" id="{3751E61F-80AC-4F1D-A479-3A6E82BAF3B1}"/>
              </a:ext>
            </a:extLst>
          </p:cNvPr>
          <p:cNvSpPr>
            <a:spLocks noChangeShapeType="1"/>
          </p:cNvSpPr>
          <p:nvPr/>
        </p:nvSpPr>
        <p:spPr bwMode="auto">
          <a:xfrm flipH="1">
            <a:off x="1282310" y="1403126"/>
            <a:ext cx="0" cy="2278912"/>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5" name="Line 28">
            <a:extLst>
              <a:ext uri="{FF2B5EF4-FFF2-40B4-BE49-F238E27FC236}">
                <a16:creationId xmlns:a16="http://schemas.microsoft.com/office/drawing/2014/main" id="{68083D47-6964-4128-A1EE-ED0743EC6C88}"/>
              </a:ext>
            </a:extLst>
          </p:cNvPr>
          <p:cNvSpPr>
            <a:spLocks noChangeShapeType="1"/>
          </p:cNvSpPr>
          <p:nvPr/>
        </p:nvSpPr>
        <p:spPr bwMode="auto">
          <a:xfrm flipH="1" flipV="1">
            <a:off x="5390557" y="3305722"/>
            <a:ext cx="0" cy="438112"/>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6" name="Line 28">
            <a:extLst>
              <a:ext uri="{FF2B5EF4-FFF2-40B4-BE49-F238E27FC236}">
                <a16:creationId xmlns:a16="http://schemas.microsoft.com/office/drawing/2014/main" id="{46D2E657-231D-4CAB-8C61-68DEC1453E60}"/>
              </a:ext>
            </a:extLst>
          </p:cNvPr>
          <p:cNvSpPr>
            <a:spLocks noChangeShapeType="1"/>
          </p:cNvSpPr>
          <p:nvPr/>
        </p:nvSpPr>
        <p:spPr bwMode="auto">
          <a:xfrm flipV="1">
            <a:off x="7952016" y="2959433"/>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7" name="Text Box 24">
            <a:extLst>
              <a:ext uri="{FF2B5EF4-FFF2-40B4-BE49-F238E27FC236}">
                <a16:creationId xmlns:a16="http://schemas.microsoft.com/office/drawing/2014/main" id="{EE00105A-566B-47B3-A87C-CAE93F806529}"/>
              </a:ext>
            </a:extLst>
          </p:cNvPr>
          <p:cNvSpPr txBox="1">
            <a:spLocks noChangeArrowheads="1"/>
          </p:cNvSpPr>
          <p:nvPr/>
        </p:nvSpPr>
        <p:spPr bwMode="auto">
          <a:xfrm>
            <a:off x="2905491" y="4540261"/>
            <a:ext cx="6516198" cy="2144311"/>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r>
              <a:rPr lang="en-US" altLang="ja-JP" sz="1400" dirty="0">
                <a:solidFill>
                  <a:srgbClr val="FF0000"/>
                </a:solidFill>
                <a:latin typeface="Calibri" panose="020F0502020204030204" pitchFamily="34" charset="0"/>
              </a:rPr>
              <a:t>Concept creation and review</a:t>
            </a:r>
          </a:p>
          <a:p>
            <a:pPr algn="l"/>
            <a:r>
              <a:rPr lang="ja-JP" altLang="en-US" sz="1200" kern="0" dirty="0">
                <a:solidFill>
                  <a:srgbClr val="002776"/>
                </a:solidFill>
                <a:latin typeface="Calibri" panose="020F0502020204030204" pitchFamily="34" charset="0"/>
              </a:rPr>
              <a:t>・</a:t>
            </a:r>
            <a:r>
              <a:rPr lang="en-US" altLang="ja-JP" sz="1200" dirty="0">
                <a:latin typeface="Calibri" panose="020F0502020204030204" pitchFamily="34" charset="0"/>
              </a:rPr>
              <a:t>Material selection (including EHS &amp; MAS)</a:t>
            </a:r>
          </a:p>
          <a:p>
            <a:pPr algn="l"/>
            <a:r>
              <a:rPr lang="ja-JP" altLang="en-US" sz="1200" kern="0" dirty="0">
                <a:solidFill>
                  <a:srgbClr val="002776"/>
                </a:solidFill>
                <a:latin typeface="Calibri" panose="020F0502020204030204" pitchFamily="34" charset="0"/>
              </a:rPr>
              <a:t>・</a:t>
            </a:r>
            <a:r>
              <a:rPr lang="en-US" altLang="ja-JP" sz="1200" dirty="0">
                <a:latin typeface="Calibri" panose="020F0502020204030204" pitchFamily="34" charset="0"/>
              </a:rPr>
              <a:t>Structure / flow / thermal analysis</a:t>
            </a:r>
          </a:p>
          <a:p>
            <a:pPr algn="l"/>
            <a:r>
              <a:rPr lang="ja-JP" altLang="en-US" sz="1200" dirty="0">
                <a:latin typeface="Calibri" panose="020F0502020204030204" pitchFamily="34" charset="0"/>
              </a:rPr>
              <a:t>・</a:t>
            </a:r>
            <a:r>
              <a:rPr lang="en-US" altLang="ja-JP" sz="1200" dirty="0">
                <a:latin typeface="Calibri" panose="020F0502020204030204" pitchFamily="34" charset="0"/>
              </a:rPr>
              <a:t>Confirmation and examination of manufacturing method and process with ME (for low cost design)</a:t>
            </a:r>
          </a:p>
          <a:p>
            <a:pPr algn="l" defTabSz="913961" fontAlgn="auto">
              <a:spcBef>
                <a:spcPts val="0"/>
              </a:spcBef>
              <a:spcAft>
                <a:spcPts val="0"/>
              </a:spcAft>
              <a:defRPr/>
            </a:pPr>
            <a:r>
              <a:rPr lang="ja-JP" altLang="en-US" sz="1200" dirty="0">
                <a:latin typeface="Calibri" panose="020F0502020204030204" pitchFamily="34" charset="0"/>
              </a:rPr>
              <a:t>・</a:t>
            </a:r>
            <a:r>
              <a:rPr lang="en-US" altLang="ja-JP" sz="1200" dirty="0">
                <a:latin typeface="Calibri" panose="020F0502020204030204" pitchFamily="34" charset="0"/>
              </a:rPr>
              <a:t>3D and 2D creation for quotation</a:t>
            </a:r>
          </a:p>
          <a:p>
            <a:pPr algn="l"/>
            <a:r>
              <a:rPr lang="ja-JP" altLang="en-US" sz="1200" dirty="0">
                <a:latin typeface="Calibri" panose="020F0502020204030204" pitchFamily="34" charset="0"/>
              </a:rPr>
              <a:t>・</a:t>
            </a:r>
            <a:r>
              <a:rPr lang="en-US" altLang="ja-JP" sz="1200" dirty="0">
                <a:latin typeface="Calibri" panose="020F0502020204030204" pitchFamily="34" charset="0"/>
              </a:rPr>
              <a:t>Detailed setting of packing specification and product specification</a:t>
            </a:r>
          </a:p>
          <a:p>
            <a:pPr algn="l"/>
            <a:r>
              <a:rPr lang="ja-JP" altLang="en-US" sz="1200" kern="0" dirty="0">
                <a:solidFill>
                  <a:srgbClr val="002776"/>
                </a:solidFill>
                <a:latin typeface="Calibri" panose="020F0502020204030204" pitchFamily="34" charset="0"/>
              </a:rPr>
              <a:t>・</a:t>
            </a:r>
            <a:r>
              <a:rPr lang="en-US" altLang="ja-JP" sz="1200" dirty="0">
                <a:latin typeface="Calibri" panose="020F0502020204030204" pitchFamily="34" charset="0"/>
              </a:rPr>
              <a:t>Patent search and measures and submission</a:t>
            </a:r>
          </a:p>
          <a:p>
            <a:pPr algn="l"/>
            <a:r>
              <a:rPr lang="ja-JP" altLang="en-US" sz="1200" dirty="0">
                <a:latin typeface="Calibri" panose="020F0502020204030204" pitchFamily="34" charset="0"/>
              </a:rPr>
              <a:t>・</a:t>
            </a:r>
            <a:r>
              <a:rPr lang="en-US" altLang="ja-JP" sz="1200" dirty="0">
                <a:latin typeface="Calibri" panose="020F0502020204030204" pitchFamily="34" charset="0"/>
              </a:rPr>
              <a:t>Verification trial production (optical modeling etc.)</a:t>
            </a:r>
          </a:p>
          <a:p>
            <a:pPr algn="l"/>
            <a:r>
              <a:rPr lang="ja-JP" altLang="en-US" sz="1200" dirty="0">
                <a:latin typeface="Calibri" panose="020F0502020204030204" pitchFamily="34" charset="0"/>
              </a:rPr>
              <a:t>・ </a:t>
            </a:r>
            <a:r>
              <a:rPr lang="en-US" altLang="ja-JP" sz="1200" dirty="0">
                <a:latin typeface="Calibri" panose="020F0502020204030204" pitchFamily="34" charset="0"/>
              </a:rPr>
              <a:t>Past trouble search and verification of similar products</a:t>
            </a:r>
          </a:p>
          <a:p>
            <a:pPr algn="l"/>
            <a:r>
              <a:rPr lang="ja-JP" altLang="en-US" sz="1200" dirty="0">
                <a:latin typeface="Calibri" panose="020F0502020204030204" pitchFamily="34" charset="0"/>
              </a:rPr>
              <a:t>・ </a:t>
            </a:r>
            <a:r>
              <a:rPr lang="en-US" altLang="ja-JP" sz="1200" dirty="0">
                <a:latin typeface="Calibri" panose="020F0502020204030204" pitchFamily="34" charset="0"/>
              </a:rPr>
              <a:t>Create a document for Concept</a:t>
            </a:r>
            <a:r>
              <a:rPr lang="ja-JP" altLang="en-US" sz="1200" dirty="0">
                <a:latin typeface="Calibri" panose="020F0502020204030204" pitchFamily="34" charset="0"/>
              </a:rPr>
              <a:t> </a:t>
            </a:r>
            <a:r>
              <a:rPr lang="en-US" altLang="ja-JP" sz="1200" dirty="0">
                <a:latin typeface="Calibri" panose="020F0502020204030204" pitchFamily="34" charset="0"/>
              </a:rPr>
              <a:t>Review</a:t>
            </a:r>
          </a:p>
        </p:txBody>
      </p:sp>
      <p:sp>
        <p:nvSpPr>
          <p:cNvPr id="39" name="Line 28">
            <a:extLst>
              <a:ext uri="{FF2B5EF4-FFF2-40B4-BE49-F238E27FC236}">
                <a16:creationId xmlns:a16="http://schemas.microsoft.com/office/drawing/2014/main" id="{E47B6F27-9413-4D13-9C97-7C4233E36561}"/>
              </a:ext>
            </a:extLst>
          </p:cNvPr>
          <p:cNvSpPr>
            <a:spLocks noChangeShapeType="1"/>
          </p:cNvSpPr>
          <p:nvPr/>
        </p:nvSpPr>
        <p:spPr bwMode="auto">
          <a:xfrm flipH="1">
            <a:off x="4724795" y="1781499"/>
            <a:ext cx="0" cy="1228350"/>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40" name="Line 28">
            <a:extLst>
              <a:ext uri="{FF2B5EF4-FFF2-40B4-BE49-F238E27FC236}">
                <a16:creationId xmlns:a16="http://schemas.microsoft.com/office/drawing/2014/main" id="{E47B6F27-9413-4D13-9C97-7C4233E36561}"/>
              </a:ext>
            </a:extLst>
          </p:cNvPr>
          <p:cNvSpPr>
            <a:spLocks noChangeShapeType="1"/>
          </p:cNvSpPr>
          <p:nvPr/>
        </p:nvSpPr>
        <p:spPr bwMode="auto">
          <a:xfrm>
            <a:off x="8514872" y="1072381"/>
            <a:ext cx="0" cy="152252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41" name="Text Box 10">
            <a:extLst>
              <a:ext uri="{FF2B5EF4-FFF2-40B4-BE49-F238E27FC236}">
                <a16:creationId xmlns:a16="http://schemas.microsoft.com/office/drawing/2014/main" id="{9CFBC63D-CE03-4161-9C29-FAB75D09F3AC}"/>
              </a:ext>
            </a:extLst>
          </p:cNvPr>
          <p:cNvSpPr txBox="1">
            <a:spLocks noChangeArrowheads="1"/>
          </p:cNvSpPr>
          <p:nvPr/>
        </p:nvSpPr>
        <p:spPr bwMode="gray">
          <a:xfrm>
            <a:off x="8724910" y="756659"/>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a:t>
            </a:r>
            <a:r>
              <a:rPr lang="en-US" altLang="ja-JP" sz="1200" kern="0" dirty="0">
                <a:solidFill>
                  <a:srgbClr val="00A1DE"/>
                </a:solidFill>
                <a:latin typeface="+mj-lt"/>
              </a:rPr>
              <a:t>6</a:t>
            </a:r>
            <a:endParaRPr lang="en-US" sz="1200" kern="0" dirty="0">
              <a:solidFill>
                <a:srgbClr val="00A1DE"/>
              </a:solidFill>
              <a:latin typeface="+mj-lt"/>
            </a:endParaRPr>
          </a:p>
        </p:txBody>
      </p:sp>
      <p:sp>
        <p:nvSpPr>
          <p:cNvPr id="42" name="Oval 27">
            <a:extLst>
              <a:ext uri="{FF2B5EF4-FFF2-40B4-BE49-F238E27FC236}">
                <a16:creationId xmlns:a16="http://schemas.microsoft.com/office/drawing/2014/main" id="{2E12D42A-ECC4-48E8-9A65-F5076BFE4749}"/>
              </a:ext>
            </a:extLst>
          </p:cNvPr>
          <p:cNvSpPr>
            <a:spLocks noChangeArrowheads="1"/>
          </p:cNvSpPr>
          <p:nvPr/>
        </p:nvSpPr>
        <p:spPr bwMode="gray">
          <a:xfrm>
            <a:off x="8350935" y="721603"/>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altLang="ja-JP" kern="0" dirty="0">
                <a:solidFill>
                  <a:srgbClr val="FFFFFF"/>
                </a:solidFill>
                <a:latin typeface="+mj-lt"/>
              </a:rPr>
              <a:t>6</a:t>
            </a:r>
            <a:endParaRPr lang="en-US" kern="0" dirty="0">
              <a:solidFill>
                <a:srgbClr val="FFFFFF"/>
              </a:solidFill>
              <a:latin typeface="+mj-lt"/>
            </a:endParaRPr>
          </a:p>
        </p:txBody>
      </p:sp>
      <p:sp>
        <p:nvSpPr>
          <p:cNvPr id="43" name="Text Box 24">
            <a:extLst>
              <a:ext uri="{FF2B5EF4-FFF2-40B4-BE49-F238E27FC236}">
                <a16:creationId xmlns:a16="http://schemas.microsoft.com/office/drawing/2014/main" id="{FF7A872D-426A-4D46-A4A4-DABD2E0C69F0}"/>
              </a:ext>
            </a:extLst>
          </p:cNvPr>
          <p:cNvSpPr txBox="1">
            <a:spLocks noChangeArrowheads="1"/>
          </p:cNvSpPr>
          <p:nvPr/>
        </p:nvSpPr>
        <p:spPr bwMode="auto">
          <a:xfrm>
            <a:off x="8714202" y="965090"/>
            <a:ext cx="2700032" cy="408331"/>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altLang="ja-JP" sz="1400" dirty="0">
                <a:solidFill>
                  <a:srgbClr val="FF0000"/>
                </a:solidFill>
                <a:latin typeface="Calibri" panose="020F0502020204030204" pitchFamily="34" charset="0"/>
              </a:rPr>
              <a:t>Detailed equipment estimate</a:t>
            </a:r>
          </a:p>
          <a:p>
            <a:pPr algn="l" defTabSz="913961" fontAlgn="auto">
              <a:spcBef>
                <a:spcPts val="0"/>
              </a:spcBef>
              <a:spcAft>
                <a:spcPts val="0"/>
              </a:spcAft>
              <a:defRPr/>
            </a:pPr>
            <a:r>
              <a:rPr lang="ja-JP" altLang="en-US" sz="1200" kern="0" dirty="0">
                <a:solidFill>
                  <a:srgbClr val="002776"/>
                </a:solidFill>
                <a:latin typeface="Calibri" panose="020F0502020204030204" pitchFamily="34" charset="0"/>
              </a:rPr>
              <a:t>・</a:t>
            </a:r>
            <a:r>
              <a:rPr lang="en-US" altLang="ja-JP" sz="1200" dirty="0">
                <a:latin typeface="Calibri" panose="020F0502020204030204" pitchFamily="34" charset="0"/>
              </a:rPr>
              <a:t>3D and 2D updates for mass production</a:t>
            </a:r>
          </a:p>
          <a:p>
            <a:pPr algn="l" defTabSz="913961" fontAlgn="auto">
              <a:spcBef>
                <a:spcPts val="0"/>
              </a:spcBef>
              <a:spcAft>
                <a:spcPts val="0"/>
              </a:spcAft>
              <a:defRPr/>
            </a:pPr>
            <a:endParaRPr lang="en-US" altLang="ja-JP" kern="0" dirty="0">
              <a:solidFill>
                <a:srgbClr val="002776"/>
              </a:solidFill>
              <a:latin typeface="Calibri" panose="020F0502020204030204" pitchFamily="34" charset="0"/>
            </a:endParaRPr>
          </a:p>
        </p:txBody>
      </p:sp>
    </p:spTree>
    <p:extLst>
      <p:ext uri="{BB962C8B-B14F-4D97-AF65-F5344CB8AC3E}">
        <p14:creationId xmlns:p14="http://schemas.microsoft.com/office/powerpoint/2010/main" val="29254740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a:extLst>
              <a:ext uri="{FF2B5EF4-FFF2-40B4-BE49-F238E27FC236}">
                <a16:creationId xmlns:a16="http://schemas.microsoft.com/office/drawing/2014/main" id="{723847A3-2ACB-416A-B481-DBEB3F76DF1A}"/>
              </a:ext>
            </a:extLst>
          </p:cNvPr>
          <p:cNvSpPr>
            <a:spLocks noChangeArrowheads="1"/>
          </p:cNvSpPr>
          <p:nvPr/>
        </p:nvSpPr>
        <p:spPr bwMode="auto">
          <a:xfrm>
            <a:off x="5160210" y="5423476"/>
            <a:ext cx="775649" cy="511403"/>
          </a:xfrm>
          <a:prstGeom prst="roundRect">
            <a:avLst/>
          </a:prstGeom>
          <a:solidFill>
            <a:srgbClr val="0000FF"/>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20" normalizeH="0" noProof="0" dirty="0">
                <a:ln>
                  <a:noFill/>
                </a:ln>
                <a:solidFill>
                  <a:schemeClr val="bg1"/>
                </a:solidFill>
                <a:effectLst/>
                <a:uLnTx/>
                <a:uFillTx/>
                <a:latin typeface="Verdana"/>
                <a:ea typeface="+mn-ea"/>
                <a:cs typeface="Arial" pitchFamily="34" charset="0"/>
              </a:rPr>
              <a:t>Quality</a:t>
            </a:r>
          </a:p>
        </p:txBody>
      </p:sp>
      <p:sp>
        <p:nvSpPr>
          <p:cNvPr id="7" name="Rectangle 4">
            <a:extLst>
              <a:ext uri="{FF2B5EF4-FFF2-40B4-BE49-F238E27FC236}">
                <a16:creationId xmlns:a16="http://schemas.microsoft.com/office/drawing/2014/main" id="{D6AE5ECA-EFFC-40AA-9CE3-C56FC6FB90C2}"/>
              </a:ext>
            </a:extLst>
          </p:cNvPr>
          <p:cNvSpPr>
            <a:spLocks noChangeArrowheads="1"/>
          </p:cNvSpPr>
          <p:nvPr/>
        </p:nvSpPr>
        <p:spPr bwMode="auto">
          <a:xfrm>
            <a:off x="4295439" y="5423476"/>
            <a:ext cx="768096" cy="511403"/>
          </a:xfrm>
          <a:prstGeom prst="roundRect">
            <a:avLst/>
          </a:prstGeom>
          <a:solidFill>
            <a:srgbClr val="0000FF"/>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Verdana"/>
                <a:ea typeface="+mn-ea"/>
                <a:cs typeface="Arial" pitchFamily="34" charset="0"/>
              </a:rPr>
              <a:t>Compliance</a:t>
            </a:r>
          </a:p>
        </p:txBody>
      </p:sp>
      <p:sp>
        <p:nvSpPr>
          <p:cNvPr id="8" name="Rectangle 5">
            <a:extLst>
              <a:ext uri="{FF2B5EF4-FFF2-40B4-BE49-F238E27FC236}">
                <a16:creationId xmlns:a16="http://schemas.microsoft.com/office/drawing/2014/main" id="{DD200E6B-F527-481F-B335-82E6DB2B80DC}"/>
              </a:ext>
            </a:extLst>
          </p:cNvPr>
          <p:cNvSpPr>
            <a:spLocks noChangeArrowheads="1"/>
          </p:cNvSpPr>
          <p:nvPr/>
        </p:nvSpPr>
        <p:spPr bwMode="auto">
          <a:xfrm>
            <a:off x="8631230" y="5423476"/>
            <a:ext cx="843263" cy="511403"/>
          </a:xfrm>
          <a:prstGeom prst="roundRect">
            <a:avLst/>
          </a:prstGeom>
          <a:solidFill>
            <a:srgbClr val="0000FF"/>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20" normalizeH="0" noProof="0" dirty="0">
                <a:ln>
                  <a:noFill/>
                </a:ln>
                <a:solidFill>
                  <a:schemeClr val="bg1"/>
                </a:solidFill>
                <a:effectLst/>
                <a:uLnTx/>
                <a:uFillTx/>
                <a:latin typeface="Verdana"/>
                <a:ea typeface="+mn-ea"/>
                <a:cs typeface="Arial" pitchFamily="34" charset="0"/>
              </a:rPr>
              <a:t>Connectivity</a:t>
            </a:r>
          </a:p>
        </p:txBody>
      </p:sp>
      <p:sp>
        <p:nvSpPr>
          <p:cNvPr id="9" name="Rectangle 6">
            <a:extLst>
              <a:ext uri="{FF2B5EF4-FFF2-40B4-BE49-F238E27FC236}">
                <a16:creationId xmlns:a16="http://schemas.microsoft.com/office/drawing/2014/main" id="{C976A444-B809-4A06-A35E-F529344B9F95}"/>
              </a:ext>
            </a:extLst>
          </p:cNvPr>
          <p:cNvSpPr>
            <a:spLocks noChangeArrowheads="1"/>
          </p:cNvSpPr>
          <p:nvPr/>
        </p:nvSpPr>
        <p:spPr bwMode="auto">
          <a:xfrm>
            <a:off x="3390176" y="5423476"/>
            <a:ext cx="808588" cy="511403"/>
          </a:xfrm>
          <a:prstGeom prst="roundRect">
            <a:avLst/>
          </a:prstGeom>
          <a:solidFill>
            <a:srgbClr val="0000FF"/>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700" b="1" i="0" u="none" strike="noStrike" kern="1200" cap="none" spc="-20" normalizeH="0" noProof="0" dirty="0">
                <a:ln>
                  <a:noFill/>
                </a:ln>
                <a:solidFill>
                  <a:schemeClr val="bg1"/>
                </a:solidFill>
                <a:effectLst/>
                <a:uLnTx/>
                <a:uFillTx/>
                <a:latin typeface="Verdana"/>
                <a:ea typeface="+mn-ea"/>
                <a:cs typeface="Arial" pitchFamily="34" charset="0"/>
              </a:rPr>
              <a:t>Serviceability /Reparability</a:t>
            </a:r>
          </a:p>
        </p:txBody>
      </p:sp>
      <p:sp>
        <p:nvSpPr>
          <p:cNvPr id="10" name="Rectangle 7">
            <a:extLst>
              <a:ext uri="{FF2B5EF4-FFF2-40B4-BE49-F238E27FC236}">
                <a16:creationId xmlns:a16="http://schemas.microsoft.com/office/drawing/2014/main" id="{1FF9141A-2DC0-45C2-9715-4CA292E8BCD3}"/>
              </a:ext>
            </a:extLst>
          </p:cNvPr>
          <p:cNvSpPr>
            <a:spLocks noChangeArrowheads="1"/>
          </p:cNvSpPr>
          <p:nvPr/>
        </p:nvSpPr>
        <p:spPr bwMode="auto">
          <a:xfrm>
            <a:off x="2532958" y="5423476"/>
            <a:ext cx="760543" cy="511403"/>
          </a:xfrm>
          <a:prstGeom prst="roundRect">
            <a:avLst/>
          </a:prstGeom>
          <a:solidFill>
            <a:srgbClr val="0000FF"/>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lang="en-US" sz="800" b="1" dirty="0">
                <a:solidFill>
                  <a:schemeClr val="bg1"/>
                </a:solidFill>
                <a:latin typeface="Verdana"/>
                <a:cs typeface="Arial" pitchFamily="34" charset="0"/>
              </a:rPr>
              <a:t>Sourcing &amp; Logistics</a:t>
            </a:r>
            <a:endParaRPr kumimoji="0" lang="en-US" sz="800" b="1" i="0" u="none" strike="noStrike" kern="1200" cap="none" spc="0" normalizeH="0" baseline="0" noProof="0" dirty="0">
              <a:ln>
                <a:noFill/>
              </a:ln>
              <a:solidFill>
                <a:schemeClr val="bg1"/>
              </a:solidFill>
              <a:effectLst/>
              <a:uLnTx/>
              <a:uFillTx/>
              <a:latin typeface="Verdana"/>
              <a:ea typeface="+mn-ea"/>
              <a:cs typeface="Arial" pitchFamily="34" charset="0"/>
            </a:endParaRPr>
          </a:p>
        </p:txBody>
      </p:sp>
      <p:sp>
        <p:nvSpPr>
          <p:cNvPr id="11" name="Rectangle 8">
            <a:extLst>
              <a:ext uri="{FF2B5EF4-FFF2-40B4-BE49-F238E27FC236}">
                <a16:creationId xmlns:a16="http://schemas.microsoft.com/office/drawing/2014/main" id="{35A73BC0-7DA3-45A2-87FA-B10871B03872}"/>
              </a:ext>
            </a:extLst>
          </p:cNvPr>
          <p:cNvSpPr>
            <a:spLocks noChangeArrowheads="1"/>
          </p:cNvSpPr>
          <p:nvPr/>
        </p:nvSpPr>
        <p:spPr bwMode="auto">
          <a:xfrm>
            <a:off x="1669327" y="5423476"/>
            <a:ext cx="766956" cy="511403"/>
          </a:xfrm>
          <a:prstGeom prst="roundRect">
            <a:avLst/>
          </a:prstGeom>
          <a:solidFill>
            <a:srgbClr val="0000FF"/>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latin typeface="Verdana"/>
                <a:ea typeface="+mn-ea"/>
                <a:cs typeface="Arial" pitchFamily="34" charset="0"/>
              </a:rPr>
              <a:t>Mfg.</a:t>
            </a:r>
          </a:p>
        </p:txBody>
      </p:sp>
      <p:sp>
        <p:nvSpPr>
          <p:cNvPr id="12" name="Rectangle 10">
            <a:extLst>
              <a:ext uri="{FF2B5EF4-FFF2-40B4-BE49-F238E27FC236}">
                <a16:creationId xmlns:a16="http://schemas.microsoft.com/office/drawing/2014/main" id="{AE544C25-49A7-48F3-9143-BCB3CFC2C85C}"/>
              </a:ext>
            </a:extLst>
          </p:cNvPr>
          <p:cNvSpPr>
            <a:spLocks noChangeArrowheads="1"/>
          </p:cNvSpPr>
          <p:nvPr/>
        </p:nvSpPr>
        <p:spPr bwMode="auto">
          <a:xfrm>
            <a:off x="804556" y="5423476"/>
            <a:ext cx="768096" cy="511403"/>
          </a:xfrm>
          <a:prstGeom prst="roundRect">
            <a:avLst/>
          </a:prstGeom>
          <a:solidFill>
            <a:srgbClr val="0000FF"/>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sv-SE" sz="700" b="1" i="0" u="none" strike="noStrike" kern="1200" cap="none" spc="-20" normalizeH="0" noProof="0" dirty="0">
                <a:ln>
                  <a:noFill/>
                </a:ln>
                <a:solidFill>
                  <a:schemeClr val="bg1"/>
                </a:solidFill>
                <a:effectLst/>
                <a:uLnTx/>
                <a:uFillTx/>
                <a:latin typeface="Verdana"/>
                <a:ea typeface="+mn-ea"/>
                <a:cs typeface="+mn-cs"/>
              </a:rPr>
              <a:t>Marketplace</a:t>
            </a:r>
            <a:endParaRPr kumimoji="0" lang="en-US" sz="700" b="1" i="0" u="none" strike="noStrike" kern="1200" cap="none" spc="-20" normalizeH="0" noProof="0" dirty="0">
              <a:ln>
                <a:noFill/>
              </a:ln>
              <a:solidFill>
                <a:schemeClr val="bg1"/>
              </a:solidFill>
              <a:effectLst/>
              <a:uLnTx/>
              <a:uFillTx/>
              <a:latin typeface="Verdana"/>
              <a:ea typeface="+mn-ea"/>
              <a:cs typeface="+mn-cs"/>
            </a:endParaRPr>
          </a:p>
        </p:txBody>
      </p:sp>
      <p:sp>
        <p:nvSpPr>
          <p:cNvPr id="18" name="Rectangle: Rounded Corners 17">
            <a:extLst>
              <a:ext uri="{FF2B5EF4-FFF2-40B4-BE49-F238E27FC236}">
                <a16:creationId xmlns:a16="http://schemas.microsoft.com/office/drawing/2014/main" id="{BC3595D9-1925-45EA-8272-E4C6340BD144}"/>
              </a:ext>
            </a:extLst>
          </p:cNvPr>
          <p:cNvSpPr>
            <a:spLocks noChangeArrowheads="1"/>
          </p:cNvSpPr>
          <p:nvPr/>
        </p:nvSpPr>
        <p:spPr bwMode="auto">
          <a:xfrm>
            <a:off x="5182461" y="417257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800" dirty="0">
                <a:ea typeface="Tahoma" pitchFamily="34" charset="0"/>
                <a:cs typeface="Tahoma" pitchFamily="34" charset="0"/>
              </a:rPr>
              <a:t>Quality management is reactionary. Issue resolution is ad-hoc</a:t>
            </a:r>
          </a:p>
          <a:p>
            <a:pPr marL="0" marR="0" lvl="0" indent="0" algn="ctr" defTabSz="548640" rtl="0" eaLnBrk="0" fontAlgn="auto" latinLnBrk="0" hangingPunct="0">
              <a:lnSpc>
                <a:spcPct val="80000"/>
              </a:lnSpc>
              <a:spcBef>
                <a:spcPct val="50000"/>
              </a:spcBef>
              <a:spcAft>
                <a:spcPts val="0"/>
              </a:spcAft>
              <a:buClr>
                <a:srgbClr val="8099CC"/>
              </a:buClr>
              <a:buSzPct val="100000"/>
              <a:buFontTx/>
              <a:buNone/>
              <a:tabLst/>
              <a:defRPr/>
            </a:pPr>
            <a:endParaRPr kumimoji="0" lang="en-US" sz="800" b="0" i="0" u="none" strike="noStrike" kern="1200" cap="none" spc="0" normalizeH="0" baseline="0" noProof="0" dirty="0">
              <a:ln>
                <a:noFill/>
              </a:ln>
              <a:solidFill>
                <a:prstClr val="black"/>
              </a:solidFill>
              <a:effectLst/>
              <a:uLnTx/>
              <a:uFillTx/>
              <a:latin typeface="Verdana"/>
              <a:ea typeface="Tahoma" pitchFamily="34" charset="0"/>
              <a:cs typeface="Tahoma" pitchFamily="34" charset="0"/>
            </a:endParaRPr>
          </a:p>
        </p:txBody>
      </p:sp>
      <p:sp>
        <p:nvSpPr>
          <p:cNvPr id="19" name="Rectangle: Rounded Corners 18">
            <a:extLst>
              <a:ext uri="{FF2B5EF4-FFF2-40B4-BE49-F238E27FC236}">
                <a16:creationId xmlns:a16="http://schemas.microsoft.com/office/drawing/2014/main" id="{AEA34675-022A-430A-9E05-B678FA46001A}"/>
              </a:ext>
            </a:extLst>
          </p:cNvPr>
          <p:cNvSpPr>
            <a:spLocks noChangeArrowheads="1"/>
          </p:cNvSpPr>
          <p:nvPr/>
        </p:nvSpPr>
        <p:spPr bwMode="auto">
          <a:xfrm>
            <a:off x="4306880" y="417257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800" dirty="0">
                <a:ea typeface="Tahoma" pitchFamily="34" charset="0"/>
                <a:cs typeface="Tahoma" pitchFamily="34" charset="0"/>
              </a:rPr>
              <a:t>Regulatory compliance requirements are captured and serve as secondary  design input </a:t>
            </a:r>
          </a:p>
        </p:txBody>
      </p:sp>
      <p:sp>
        <p:nvSpPr>
          <p:cNvPr id="20" name="Rectangle: Rounded Corners 19">
            <a:extLst>
              <a:ext uri="{FF2B5EF4-FFF2-40B4-BE49-F238E27FC236}">
                <a16:creationId xmlns:a16="http://schemas.microsoft.com/office/drawing/2014/main" id="{3FF1326B-2ABA-4A46-A803-07AD0240E4AC}"/>
              </a:ext>
            </a:extLst>
          </p:cNvPr>
          <p:cNvSpPr>
            <a:spLocks noChangeArrowheads="1"/>
          </p:cNvSpPr>
          <p:nvPr/>
        </p:nvSpPr>
        <p:spPr bwMode="auto">
          <a:xfrm>
            <a:off x="8684785" y="417257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800" dirty="0">
                <a:ea typeface="Tahoma" pitchFamily="34" charset="0"/>
                <a:cs typeface="Tahoma" pitchFamily="34" charset="0"/>
              </a:rPr>
              <a:t>No capability to connect products to products or to other systems or services across the value chain  </a:t>
            </a:r>
          </a:p>
        </p:txBody>
      </p:sp>
      <p:sp>
        <p:nvSpPr>
          <p:cNvPr id="21" name="Rectangle: Rounded Corners 20">
            <a:extLst>
              <a:ext uri="{FF2B5EF4-FFF2-40B4-BE49-F238E27FC236}">
                <a16:creationId xmlns:a16="http://schemas.microsoft.com/office/drawing/2014/main" id="{4B43A490-519C-4608-9381-97E24EC84B13}"/>
              </a:ext>
            </a:extLst>
          </p:cNvPr>
          <p:cNvSpPr>
            <a:spLocks noChangeArrowheads="1"/>
          </p:cNvSpPr>
          <p:nvPr/>
        </p:nvSpPr>
        <p:spPr bwMode="auto">
          <a:xfrm>
            <a:off x="3431299" y="417257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800" dirty="0">
                <a:ea typeface="Tahoma" pitchFamily="34" charset="0"/>
                <a:cs typeface="Tahoma" pitchFamily="34" charset="0"/>
              </a:rPr>
              <a:t>Voice of the service organization and customer are captured during requirements</a:t>
            </a:r>
          </a:p>
        </p:txBody>
      </p:sp>
      <p:sp>
        <p:nvSpPr>
          <p:cNvPr id="22" name="Rectangle: Rounded Corners 21">
            <a:extLst>
              <a:ext uri="{FF2B5EF4-FFF2-40B4-BE49-F238E27FC236}">
                <a16:creationId xmlns:a16="http://schemas.microsoft.com/office/drawing/2014/main" id="{90223F7C-7935-4BFE-AFA0-57B4C5E78393}"/>
              </a:ext>
            </a:extLst>
          </p:cNvPr>
          <p:cNvSpPr>
            <a:spLocks noChangeArrowheads="1"/>
          </p:cNvSpPr>
          <p:nvPr/>
        </p:nvSpPr>
        <p:spPr bwMode="auto">
          <a:xfrm>
            <a:off x="2555718" y="417257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800" dirty="0">
                <a:ea typeface="Tahoma" pitchFamily="34" charset="0"/>
                <a:cs typeface="Tahoma" pitchFamily="34" charset="0"/>
              </a:rPr>
              <a:t>Suppliers assist with specific needs identified by engineering</a:t>
            </a:r>
          </a:p>
        </p:txBody>
      </p:sp>
      <p:sp>
        <p:nvSpPr>
          <p:cNvPr id="23" name="Rectangle: Rounded Corners 22">
            <a:extLst>
              <a:ext uri="{FF2B5EF4-FFF2-40B4-BE49-F238E27FC236}">
                <a16:creationId xmlns:a16="http://schemas.microsoft.com/office/drawing/2014/main" id="{3140A25E-9CBB-443C-BBA6-35E9C7AA98D3}"/>
              </a:ext>
            </a:extLst>
          </p:cNvPr>
          <p:cNvSpPr>
            <a:spLocks noChangeArrowheads="1"/>
          </p:cNvSpPr>
          <p:nvPr/>
        </p:nvSpPr>
        <p:spPr bwMode="auto">
          <a:xfrm>
            <a:off x="1680137" y="417257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700" dirty="0">
                <a:ea typeface="Tahoma" pitchFamily="34" charset="0"/>
                <a:cs typeface="Tahoma" pitchFamily="34" charset="0"/>
              </a:rPr>
              <a:t>Manufacturing provides input to improve producibility after preliminary design completion</a:t>
            </a:r>
          </a:p>
        </p:txBody>
      </p:sp>
      <p:sp>
        <p:nvSpPr>
          <p:cNvPr id="24" name="Rectangle 24">
            <a:extLst>
              <a:ext uri="{FF2B5EF4-FFF2-40B4-BE49-F238E27FC236}">
                <a16:creationId xmlns:a16="http://schemas.microsoft.com/office/drawing/2014/main" id="{61826C1C-8092-4C10-91B7-D66CC453F9CD}"/>
              </a:ext>
            </a:extLst>
          </p:cNvPr>
          <p:cNvSpPr>
            <a:spLocks noChangeArrowheads="1"/>
          </p:cNvSpPr>
          <p:nvPr/>
        </p:nvSpPr>
        <p:spPr bwMode="auto">
          <a:xfrm>
            <a:off x="804556" y="417257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800" dirty="0">
                <a:ea typeface="Tahoma" pitchFamily="34" charset="0"/>
                <a:cs typeface="Tahoma" pitchFamily="34" charset="0"/>
              </a:rPr>
              <a:t>Voice of customer(VOC) loosely captured, maintained &amp; used</a:t>
            </a:r>
          </a:p>
        </p:txBody>
      </p:sp>
      <p:sp>
        <p:nvSpPr>
          <p:cNvPr id="25" name="Rectangle 25">
            <a:extLst>
              <a:ext uri="{FF2B5EF4-FFF2-40B4-BE49-F238E27FC236}">
                <a16:creationId xmlns:a16="http://schemas.microsoft.com/office/drawing/2014/main" id="{7EFE2ACD-56E4-4CBD-AE8B-FF0CC6F95A34}"/>
              </a:ext>
            </a:extLst>
          </p:cNvPr>
          <p:cNvSpPr>
            <a:spLocks noChangeArrowheads="1"/>
          </p:cNvSpPr>
          <p:nvPr/>
        </p:nvSpPr>
        <p:spPr bwMode="auto">
          <a:xfrm>
            <a:off x="5144056" y="1225905"/>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54864" tIns="54864" rIns="54864" bIns="54864" anchor="ctr"/>
          <a:lstStyle/>
          <a:p>
            <a:pPr algn="ctr" defTabSz="548640" eaLnBrk="0" hangingPunct="0">
              <a:lnSpc>
                <a:spcPct val="80000"/>
              </a:lnSpc>
              <a:spcBef>
                <a:spcPct val="50000"/>
              </a:spcBef>
              <a:buClr>
                <a:srgbClr val="8099CC"/>
              </a:buClr>
              <a:buSzPct val="100000"/>
              <a:defRPr/>
            </a:pPr>
            <a:r>
              <a:rPr lang="en-US" sz="700" dirty="0">
                <a:ea typeface="Tahoma" pitchFamily="34" charset="0"/>
                <a:cs typeface="Tahoma" pitchFamily="34" charset="0"/>
              </a:rPr>
              <a:t>Customers proactively engaged to gain first-hand knowledge of quality issues. Formal, closed-loop quality processes and metrics in place across value-chain functions</a:t>
            </a:r>
          </a:p>
        </p:txBody>
      </p:sp>
      <p:sp>
        <p:nvSpPr>
          <p:cNvPr id="26" name="Rectangle 26">
            <a:extLst>
              <a:ext uri="{FF2B5EF4-FFF2-40B4-BE49-F238E27FC236}">
                <a16:creationId xmlns:a16="http://schemas.microsoft.com/office/drawing/2014/main" id="{D5ECF3B6-DEA6-4C82-B0FA-E6B36F485A66}"/>
              </a:ext>
            </a:extLst>
          </p:cNvPr>
          <p:cNvSpPr>
            <a:spLocks noChangeArrowheads="1"/>
          </p:cNvSpPr>
          <p:nvPr/>
        </p:nvSpPr>
        <p:spPr bwMode="auto">
          <a:xfrm>
            <a:off x="4268475" y="1225905"/>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800" dirty="0">
                <a:ea typeface="Tahoma" pitchFamily="34" charset="0"/>
                <a:cs typeface="Tahoma" pitchFamily="34" charset="0"/>
              </a:rPr>
              <a:t>Regulatory requirements are treated as product performance requirements; Minimal rework is done exclusively for regulatory purposes</a:t>
            </a:r>
          </a:p>
        </p:txBody>
      </p:sp>
      <p:sp>
        <p:nvSpPr>
          <p:cNvPr id="27" name="Rectangle 27">
            <a:extLst>
              <a:ext uri="{FF2B5EF4-FFF2-40B4-BE49-F238E27FC236}">
                <a16:creationId xmlns:a16="http://schemas.microsoft.com/office/drawing/2014/main" id="{044F8674-6E7C-47C1-BF1C-4363EF04EC61}"/>
              </a:ext>
            </a:extLst>
          </p:cNvPr>
          <p:cNvSpPr>
            <a:spLocks noChangeArrowheads="1"/>
          </p:cNvSpPr>
          <p:nvPr/>
        </p:nvSpPr>
        <p:spPr bwMode="auto">
          <a:xfrm>
            <a:off x="8646380" y="1225905"/>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750" dirty="0">
                <a:ea typeface="Tahoma" pitchFamily="34" charset="0"/>
                <a:cs typeface="Tahoma" pitchFamily="34" charset="0"/>
              </a:rPr>
              <a:t>Closed-loop connectivity between OEM, servicer, and end unit to communicate predictive maintenance, fault detection, product recall, improvements, etc. Able to incorporate into engineering</a:t>
            </a:r>
          </a:p>
        </p:txBody>
      </p:sp>
      <p:sp>
        <p:nvSpPr>
          <p:cNvPr id="28" name="Rectangle 28">
            <a:extLst>
              <a:ext uri="{FF2B5EF4-FFF2-40B4-BE49-F238E27FC236}">
                <a16:creationId xmlns:a16="http://schemas.microsoft.com/office/drawing/2014/main" id="{E39B9845-1A5D-4189-9BCC-1D2CB1DC2182}"/>
              </a:ext>
            </a:extLst>
          </p:cNvPr>
          <p:cNvSpPr>
            <a:spLocks noChangeArrowheads="1"/>
          </p:cNvSpPr>
          <p:nvPr/>
        </p:nvSpPr>
        <p:spPr bwMode="auto">
          <a:xfrm>
            <a:off x="3392894" y="1225905"/>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800" dirty="0">
                <a:ea typeface="Tahoma" pitchFamily="34" charset="0"/>
                <a:cs typeface="Tahoma" pitchFamily="34" charset="0"/>
              </a:rPr>
              <a:t>Product lifecycle performance and cost is predictable. Product design achieves serviceability and cost expectations.  Long term performance is factored into new designs</a:t>
            </a:r>
          </a:p>
        </p:txBody>
      </p:sp>
      <p:sp>
        <p:nvSpPr>
          <p:cNvPr id="29" name="Rectangle 29">
            <a:extLst>
              <a:ext uri="{FF2B5EF4-FFF2-40B4-BE49-F238E27FC236}">
                <a16:creationId xmlns:a16="http://schemas.microsoft.com/office/drawing/2014/main" id="{9614C284-FD9C-45E5-87E3-95C7AAC33869}"/>
              </a:ext>
            </a:extLst>
          </p:cNvPr>
          <p:cNvSpPr>
            <a:spLocks noChangeArrowheads="1"/>
          </p:cNvSpPr>
          <p:nvPr/>
        </p:nvSpPr>
        <p:spPr bwMode="auto">
          <a:xfrm>
            <a:off x="2517313" y="1225905"/>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altLang="en-US" sz="800" dirty="0">
                <a:ea typeface="Tahoma" pitchFamily="34" charset="0"/>
                <a:cs typeface="Tahoma" pitchFamily="34" charset="0"/>
              </a:rPr>
              <a:t>Suppliers are a core extension of enterprise and augment it by virtually providing engineering and production capacity and overall cost management</a:t>
            </a:r>
          </a:p>
        </p:txBody>
      </p:sp>
      <p:sp>
        <p:nvSpPr>
          <p:cNvPr id="30" name="Rectangle 30">
            <a:extLst>
              <a:ext uri="{FF2B5EF4-FFF2-40B4-BE49-F238E27FC236}">
                <a16:creationId xmlns:a16="http://schemas.microsoft.com/office/drawing/2014/main" id="{3C27A4BA-F244-40C1-80DF-0ABE334CB9CF}"/>
              </a:ext>
            </a:extLst>
          </p:cNvPr>
          <p:cNvSpPr>
            <a:spLocks noChangeArrowheads="1"/>
          </p:cNvSpPr>
          <p:nvPr/>
        </p:nvSpPr>
        <p:spPr bwMode="auto">
          <a:xfrm>
            <a:off x="1641732" y="1225905"/>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800" dirty="0">
                <a:ea typeface="Tahoma" pitchFamily="34" charset="0"/>
                <a:cs typeface="Tahoma" pitchFamily="34" charset="0"/>
              </a:rPr>
              <a:t>Products are designed to exceed standards. Manufacturing is an equal member to the integrated product team. Producibility validated by virtual means (i.e. digital twin) </a:t>
            </a:r>
          </a:p>
        </p:txBody>
      </p:sp>
      <p:sp>
        <p:nvSpPr>
          <p:cNvPr id="31" name="Rectangle 32">
            <a:extLst>
              <a:ext uri="{FF2B5EF4-FFF2-40B4-BE49-F238E27FC236}">
                <a16:creationId xmlns:a16="http://schemas.microsoft.com/office/drawing/2014/main" id="{620A31BF-E0BC-4B57-8F99-18389A1F9C6B}"/>
              </a:ext>
            </a:extLst>
          </p:cNvPr>
          <p:cNvSpPr>
            <a:spLocks noChangeArrowheads="1"/>
          </p:cNvSpPr>
          <p:nvPr/>
        </p:nvSpPr>
        <p:spPr bwMode="auto">
          <a:xfrm>
            <a:off x="766151" y="1225905"/>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800" dirty="0">
                <a:ea typeface="Tahoma" pitchFamily="34" charset="0"/>
                <a:cs typeface="Tahoma" pitchFamily="34" charset="0"/>
              </a:rPr>
              <a:t>Design supports primary customer and needs of potential additional customers. Designs validated with customers early</a:t>
            </a:r>
          </a:p>
        </p:txBody>
      </p:sp>
      <p:sp>
        <p:nvSpPr>
          <p:cNvPr id="32" name="Rectangle 33">
            <a:extLst>
              <a:ext uri="{FF2B5EF4-FFF2-40B4-BE49-F238E27FC236}">
                <a16:creationId xmlns:a16="http://schemas.microsoft.com/office/drawing/2014/main" id="{91D0BF44-7227-4EE2-8E26-24C52F430722}"/>
              </a:ext>
            </a:extLst>
          </p:cNvPr>
          <p:cNvSpPr>
            <a:spLocks noChangeArrowheads="1"/>
          </p:cNvSpPr>
          <p:nvPr/>
        </p:nvSpPr>
        <p:spPr bwMode="auto">
          <a:xfrm>
            <a:off x="5182461" y="2876434"/>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700" dirty="0">
                <a:ea typeface="Tahoma" pitchFamily="34" charset="0"/>
                <a:cs typeface="Tahoma" pitchFamily="34" charset="0"/>
              </a:rPr>
              <a:t>Quality management is proactive and designed into manufacturing. Quality issues documented and factored into future designs </a:t>
            </a:r>
          </a:p>
        </p:txBody>
      </p:sp>
      <p:sp>
        <p:nvSpPr>
          <p:cNvPr id="33" name="Rectangle 34">
            <a:extLst>
              <a:ext uri="{FF2B5EF4-FFF2-40B4-BE49-F238E27FC236}">
                <a16:creationId xmlns:a16="http://schemas.microsoft.com/office/drawing/2014/main" id="{38D9C83C-D5CF-403F-9887-C5494098DCBA}"/>
              </a:ext>
            </a:extLst>
          </p:cNvPr>
          <p:cNvSpPr>
            <a:spLocks noChangeArrowheads="1"/>
          </p:cNvSpPr>
          <p:nvPr/>
        </p:nvSpPr>
        <p:spPr bwMode="auto">
          <a:xfrm>
            <a:off x="4306880" y="2876434"/>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700" dirty="0">
                <a:ea typeface="Tahoma" pitchFamily="34" charset="0"/>
                <a:cs typeface="Tahoma" pitchFamily="34" charset="0"/>
              </a:rPr>
              <a:t>Regulatory compliance is proactively audited and monitored. Design features are mapped to regulatory requirements</a:t>
            </a:r>
          </a:p>
        </p:txBody>
      </p:sp>
      <p:sp>
        <p:nvSpPr>
          <p:cNvPr id="34" name="Rectangle 35">
            <a:extLst>
              <a:ext uri="{FF2B5EF4-FFF2-40B4-BE49-F238E27FC236}">
                <a16:creationId xmlns:a16="http://schemas.microsoft.com/office/drawing/2014/main" id="{870A03B1-DEEF-449D-9834-278312FA8456}"/>
              </a:ext>
            </a:extLst>
          </p:cNvPr>
          <p:cNvSpPr>
            <a:spLocks noChangeArrowheads="1"/>
          </p:cNvSpPr>
          <p:nvPr/>
        </p:nvSpPr>
        <p:spPr bwMode="auto">
          <a:xfrm>
            <a:off x="8684785" y="2876434"/>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650" dirty="0">
                <a:ea typeface="Tahoma" pitchFamily="34" charset="0"/>
                <a:cs typeface="Tahoma" pitchFamily="34" charset="0"/>
              </a:rPr>
              <a:t>Product able to communicate with self, recommended maintenance notifies end unit and servicer. OEM and servicer able to track key end unit needs (i.e. safety)</a:t>
            </a:r>
          </a:p>
        </p:txBody>
      </p:sp>
      <p:sp>
        <p:nvSpPr>
          <p:cNvPr id="35" name="Rectangle 36">
            <a:extLst>
              <a:ext uri="{FF2B5EF4-FFF2-40B4-BE49-F238E27FC236}">
                <a16:creationId xmlns:a16="http://schemas.microsoft.com/office/drawing/2014/main" id="{3AC7974E-1E12-4A9D-8F0F-D426F73A37D7}"/>
              </a:ext>
            </a:extLst>
          </p:cNvPr>
          <p:cNvSpPr>
            <a:spLocks noChangeArrowheads="1"/>
          </p:cNvSpPr>
          <p:nvPr/>
        </p:nvSpPr>
        <p:spPr bwMode="auto">
          <a:xfrm>
            <a:off x="3431299" y="2876434"/>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650" dirty="0">
                <a:ea typeface="Tahoma" pitchFamily="34" charset="0"/>
                <a:cs typeface="Tahoma" pitchFamily="34" charset="0"/>
              </a:rPr>
              <a:t>Product design considers lifecycle costs. Warranty performance is proactively incorporated into designs. Design is flexible to allow for end-of-life serviceability</a:t>
            </a:r>
          </a:p>
        </p:txBody>
      </p:sp>
      <p:sp>
        <p:nvSpPr>
          <p:cNvPr id="36" name="Rectangle 37">
            <a:extLst>
              <a:ext uri="{FF2B5EF4-FFF2-40B4-BE49-F238E27FC236}">
                <a16:creationId xmlns:a16="http://schemas.microsoft.com/office/drawing/2014/main" id="{8932D4B6-7828-4161-A89F-C75C7509CA33}"/>
              </a:ext>
            </a:extLst>
          </p:cNvPr>
          <p:cNvSpPr>
            <a:spLocks noChangeArrowheads="1"/>
          </p:cNvSpPr>
          <p:nvPr/>
        </p:nvSpPr>
        <p:spPr bwMode="auto">
          <a:xfrm>
            <a:off x="2555718" y="2876434"/>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650" dirty="0">
                <a:ea typeface="Tahoma" pitchFamily="34" charset="0"/>
                <a:cs typeface="Tahoma" pitchFamily="34" charset="0"/>
              </a:rPr>
              <a:t>Suppliers are systematically  integrated into the design process based upon cost of part/process, technology maturity, and design complexity</a:t>
            </a:r>
          </a:p>
        </p:txBody>
      </p:sp>
      <p:sp>
        <p:nvSpPr>
          <p:cNvPr id="37" name="Rectangle 38">
            <a:extLst>
              <a:ext uri="{FF2B5EF4-FFF2-40B4-BE49-F238E27FC236}">
                <a16:creationId xmlns:a16="http://schemas.microsoft.com/office/drawing/2014/main" id="{156DEDBB-6B9D-4D3C-B13F-5DE9B5F0AEAF}"/>
              </a:ext>
            </a:extLst>
          </p:cNvPr>
          <p:cNvSpPr>
            <a:spLocks noChangeArrowheads="1"/>
          </p:cNvSpPr>
          <p:nvPr/>
        </p:nvSpPr>
        <p:spPr bwMode="auto">
          <a:xfrm>
            <a:off x="1680137" y="2876434"/>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600" dirty="0">
                <a:ea typeface="Tahoma" pitchFamily="34" charset="0"/>
                <a:cs typeface="Tahoma" pitchFamily="34" charset="0"/>
              </a:rPr>
              <a:t>Producibility assessment conducted during design and Mfg. plays a key role in product design. Additive manufacturing considered for reduced waste/product cost </a:t>
            </a:r>
          </a:p>
        </p:txBody>
      </p:sp>
      <p:sp>
        <p:nvSpPr>
          <p:cNvPr id="38" name="Rectangle 40">
            <a:extLst>
              <a:ext uri="{FF2B5EF4-FFF2-40B4-BE49-F238E27FC236}">
                <a16:creationId xmlns:a16="http://schemas.microsoft.com/office/drawing/2014/main" id="{B3DE75B5-9529-4E87-8389-A0B11D94E21F}"/>
              </a:ext>
            </a:extLst>
          </p:cNvPr>
          <p:cNvSpPr>
            <a:spLocks noChangeArrowheads="1"/>
          </p:cNvSpPr>
          <p:nvPr/>
        </p:nvSpPr>
        <p:spPr bwMode="auto">
          <a:xfrm>
            <a:off x="804556" y="2876434"/>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650" dirty="0">
                <a:ea typeface="Tahoma" pitchFamily="34" charset="0"/>
                <a:cs typeface="Tahoma" pitchFamily="34" charset="0"/>
              </a:rPr>
              <a:t>Design features understood and used to manage margin. Design features mapped to VOC. Well-defined process for capturing and prioritizing VOC continuously</a:t>
            </a:r>
          </a:p>
        </p:txBody>
      </p:sp>
      <p:sp>
        <p:nvSpPr>
          <p:cNvPr id="39" name="Rectangle 41">
            <a:extLst>
              <a:ext uri="{FF2B5EF4-FFF2-40B4-BE49-F238E27FC236}">
                <a16:creationId xmlns:a16="http://schemas.microsoft.com/office/drawing/2014/main" id="{6C6D18D1-C745-4A0E-A8DC-BBB80083E350}"/>
              </a:ext>
            </a:extLst>
          </p:cNvPr>
          <p:cNvSpPr>
            <a:spLocks noChangeArrowheads="1"/>
          </p:cNvSpPr>
          <p:nvPr/>
        </p:nvSpPr>
        <p:spPr bwMode="auto">
          <a:xfrm>
            <a:off x="7771174" y="5423476"/>
            <a:ext cx="763381" cy="511403"/>
          </a:xfrm>
          <a:prstGeom prst="roundRect">
            <a:avLst/>
          </a:prstGeom>
          <a:solidFill>
            <a:srgbClr val="0000FF"/>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latin typeface="Verdana"/>
                <a:ea typeface="+mn-ea"/>
                <a:cs typeface="Arial" pitchFamily="34" charset="0"/>
              </a:rPr>
              <a:t>Cost / Weight</a:t>
            </a:r>
          </a:p>
        </p:txBody>
      </p:sp>
      <p:sp>
        <p:nvSpPr>
          <p:cNvPr id="40" name="Rectangle 42">
            <a:extLst>
              <a:ext uri="{FF2B5EF4-FFF2-40B4-BE49-F238E27FC236}">
                <a16:creationId xmlns:a16="http://schemas.microsoft.com/office/drawing/2014/main" id="{897FDC7B-2F89-423D-A57D-BC8CB7C203DD}"/>
              </a:ext>
            </a:extLst>
          </p:cNvPr>
          <p:cNvSpPr>
            <a:spLocks noChangeArrowheads="1"/>
          </p:cNvSpPr>
          <p:nvPr/>
        </p:nvSpPr>
        <p:spPr bwMode="auto">
          <a:xfrm>
            <a:off x="6906403" y="5423476"/>
            <a:ext cx="768096" cy="511403"/>
          </a:xfrm>
          <a:prstGeom prst="roundRect">
            <a:avLst/>
          </a:prstGeom>
          <a:solidFill>
            <a:srgbClr val="0000FF"/>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680" b="1" i="0" u="none" strike="noStrike" kern="1200" cap="none" spc="0" normalizeH="0" baseline="0" noProof="0" dirty="0">
                <a:ln>
                  <a:noFill/>
                </a:ln>
                <a:solidFill>
                  <a:schemeClr val="bg1"/>
                </a:solidFill>
                <a:effectLst/>
                <a:uLnTx/>
                <a:uFillTx/>
                <a:latin typeface="Verdana"/>
                <a:ea typeface="+mn-ea"/>
                <a:cs typeface="Arial" pitchFamily="34" charset="0"/>
              </a:rPr>
              <a:t>Environment, Health, Safety</a:t>
            </a:r>
          </a:p>
        </p:txBody>
      </p:sp>
      <p:sp>
        <p:nvSpPr>
          <p:cNvPr id="41" name="Rectangle 43">
            <a:extLst>
              <a:ext uri="{FF2B5EF4-FFF2-40B4-BE49-F238E27FC236}">
                <a16:creationId xmlns:a16="http://schemas.microsoft.com/office/drawing/2014/main" id="{B0F635FD-41F9-40A6-9F60-EEB8E8A18425}"/>
              </a:ext>
            </a:extLst>
          </p:cNvPr>
          <p:cNvSpPr>
            <a:spLocks noChangeArrowheads="1"/>
          </p:cNvSpPr>
          <p:nvPr/>
        </p:nvSpPr>
        <p:spPr bwMode="auto">
          <a:xfrm>
            <a:off x="6032534" y="5423476"/>
            <a:ext cx="777194" cy="511403"/>
          </a:xfrm>
          <a:prstGeom prst="roundRect">
            <a:avLst/>
          </a:prstGeom>
          <a:solidFill>
            <a:srgbClr val="0000FF"/>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bg1"/>
                </a:solidFill>
                <a:effectLst/>
                <a:uLnTx/>
                <a:uFillTx/>
                <a:latin typeface="Verdana"/>
                <a:ea typeface="+mn-ea"/>
                <a:cs typeface="Arial" pitchFamily="34" charset="0"/>
              </a:rPr>
              <a:t>Test</a:t>
            </a:r>
          </a:p>
        </p:txBody>
      </p:sp>
      <p:sp>
        <p:nvSpPr>
          <p:cNvPr id="42" name="Rectangle 44">
            <a:extLst>
              <a:ext uri="{FF2B5EF4-FFF2-40B4-BE49-F238E27FC236}">
                <a16:creationId xmlns:a16="http://schemas.microsoft.com/office/drawing/2014/main" id="{9113C316-23D9-4A42-8D89-2D33D2FB34DE}"/>
              </a:ext>
            </a:extLst>
          </p:cNvPr>
          <p:cNvSpPr>
            <a:spLocks noChangeArrowheads="1"/>
          </p:cNvSpPr>
          <p:nvPr/>
        </p:nvSpPr>
        <p:spPr bwMode="auto">
          <a:xfrm>
            <a:off x="7809204" y="417257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700" dirty="0">
                <a:ea typeface="Tahoma" pitchFamily="34" charset="0"/>
                <a:cs typeface="Tahoma" pitchFamily="34" charset="0"/>
              </a:rPr>
              <a:t>Minimal  understanding of impact of design  on product cost. Target costs established  without detailed cost breakdown</a:t>
            </a:r>
          </a:p>
        </p:txBody>
      </p:sp>
      <p:sp>
        <p:nvSpPr>
          <p:cNvPr id="43" name="Rectangle 45">
            <a:extLst>
              <a:ext uri="{FF2B5EF4-FFF2-40B4-BE49-F238E27FC236}">
                <a16:creationId xmlns:a16="http://schemas.microsoft.com/office/drawing/2014/main" id="{3BDC6B03-2CB6-421E-91E1-AF2634B4B79D}"/>
              </a:ext>
            </a:extLst>
          </p:cNvPr>
          <p:cNvSpPr>
            <a:spLocks noChangeArrowheads="1"/>
          </p:cNvSpPr>
          <p:nvPr/>
        </p:nvSpPr>
        <p:spPr bwMode="auto">
          <a:xfrm>
            <a:off x="6933623" y="417257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720" dirty="0">
                <a:ea typeface="Tahoma" pitchFamily="34" charset="0"/>
                <a:cs typeface="Tahoma" pitchFamily="34" charset="0"/>
              </a:rPr>
              <a:t>No adherence to Environment, Health &amp; Safety standards (EHS). No reporting or tracking process in place</a:t>
            </a:r>
          </a:p>
        </p:txBody>
      </p:sp>
      <p:sp>
        <p:nvSpPr>
          <p:cNvPr id="44" name="Rectangle 46">
            <a:extLst>
              <a:ext uri="{FF2B5EF4-FFF2-40B4-BE49-F238E27FC236}">
                <a16:creationId xmlns:a16="http://schemas.microsoft.com/office/drawing/2014/main" id="{EFC93DB5-CB2D-4877-8976-DA552387A03D}"/>
              </a:ext>
            </a:extLst>
          </p:cNvPr>
          <p:cNvSpPr>
            <a:spLocks noChangeArrowheads="1"/>
          </p:cNvSpPr>
          <p:nvPr/>
        </p:nvSpPr>
        <p:spPr bwMode="auto">
          <a:xfrm>
            <a:off x="6058042" y="417257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700" dirty="0">
                <a:ea typeface="Tahoma" pitchFamily="34" charset="0"/>
                <a:cs typeface="Tahoma" pitchFamily="34" charset="0"/>
              </a:rPr>
              <a:t>No test plans in place. Fault detection happens very late in the product lifecycle. Issue resolution is done on ad-hoc basis</a:t>
            </a:r>
          </a:p>
        </p:txBody>
      </p:sp>
      <p:sp>
        <p:nvSpPr>
          <p:cNvPr id="45" name="Rectangle 48">
            <a:extLst>
              <a:ext uri="{FF2B5EF4-FFF2-40B4-BE49-F238E27FC236}">
                <a16:creationId xmlns:a16="http://schemas.microsoft.com/office/drawing/2014/main" id="{C3C7234A-5065-438A-9D41-FBF20234D4CD}"/>
              </a:ext>
            </a:extLst>
          </p:cNvPr>
          <p:cNvSpPr>
            <a:spLocks noChangeArrowheads="1"/>
          </p:cNvSpPr>
          <p:nvPr/>
        </p:nvSpPr>
        <p:spPr bwMode="auto">
          <a:xfrm>
            <a:off x="6895218" y="1225905"/>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750" dirty="0">
                <a:ea typeface="Tahoma" pitchFamily="34" charset="0"/>
                <a:cs typeface="Tahoma" pitchFamily="34" charset="0"/>
              </a:rPr>
              <a:t>EHS compliance validation and integration against multiple regulatory, internal or customer standards. Ability to determine EHS compliance status at any point</a:t>
            </a:r>
          </a:p>
        </p:txBody>
      </p:sp>
      <p:sp>
        <p:nvSpPr>
          <p:cNvPr id="46" name="Rectangle 49">
            <a:extLst>
              <a:ext uri="{FF2B5EF4-FFF2-40B4-BE49-F238E27FC236}">
                <a16:creationId xmlns:a16="http://schemas.microsoft.com/office/drawing/2014/main" id="{42C2AF30-FE28-4D05-AC9B-A6EE29E6F9DC}"/>
              </a:ext>
            </a:extLst>
          </p:cNvPr>
          <p:cNvSpPr>
            <a:spLocks noChangeArrowheads="1"/>
          </p:cNvSpPr>
          <p:nvPr/>
        </p:nvSpPr>
        <p:spPr bwMode="auto">
          <a:xfrm>
            <a:off x="6019637" y="1225905"/>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700" dirty="0">
                <a:ea typeface="Tahoma" pitchFamily="34" charset="0"/>
                <a:cs typeface="Tahoma" pitchFamily="34" charset="0"/>
              </a:rPr>
              <a:t>Well developed &amp; integrated issue resolution procedures ensuring that the testability of the end product is competently and sufficiently developed early in the product lifecycle</a:t>
            </a:r>
          </a:p>
        </p:txBody>
      </p:sp>
      <p:sp>
        <p:nvSpPr>
          <p:cNvPr id="47" name="Rectangle 50">
            <a:extLst>
              <a:ext uri="{FF2B5EF4-FFF2-40B4-BE49-F238E27FC236}">
                <a16:creationId xmlns:a16="http://schemas.microsoft.com/office/drawing/2014/main" id="{755616A4-8D07-4265-AAA0-1352E5C1D69D}"/>
              </a:ext>
            </a:extLst>
          </p:cNvPr>
          <p:cNvSpPr>
            <a:spLocks noChangeArrowheads="1"/>
          </p:cNvSpPr>
          <p:nvPr/>
        </p:nvSpPr>
        <p:spPr bwMode="auto">
          <a:xfrm>
            <a:off x="7809204" y="2876434"/>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eaLnBrk="0" hangingPunct="0">
              <a:lnSpc>
                <a:spcPct val="80000"/>
              </a:lnSpc>
              <a:spcBef>
                <a:spcPct val="50000"/>
              </a:spcBef>
              <a:buClr>
                <a:srgbClr val="8099CC"/>
              </a:buClr>
              <a:buSzPct val="100000"/>
              <a:buFont typeface="Monotype Sorts" pitchFamily="2" charset="2"/>
              <a:buNone/>
            </a:pPr>
            <a:r>
              <a:rPr lang="en-US" sz="650" dirty="0">
                <a:ea typeface="Tahoma" pitchFamily="34" charset="0"/>
                <a:cs typeface="Tahoma" pitchFamily="34" charset="0"/>
              </a:rPr>
              <a:t>Cost impact of design choices  are understood</a:t>
            </a:r>
          </a:p>
          <a:p>
            <a:pPr algn="ctr" eaLnBrk="0" hangingPunct="0">
              <a:lnSpc>
                <a:spcPct val="80000"/>
              </a:lnSpc>
              <a:spcBef>
                <a:spcPct val="50000"/>
              </a:spcBef>
              <a:buClr>
                <a:srgbClr val="8099CC"/>
              </a:buClr>
              <a:buSzPct val="100000"/>
              <a:buFont typeface="Monotype Sorts" pitchFamily="2" charset="2"/>
              <a:buNone/>
            </a:pPr>
            <a:r>
              <a:rPr lang="en-US" sz="650" dirty="0">
                <a:ea typeface="Tahoma" pitchFamily="34" charset="0"/>
                <a:cs typeface="Tahoma" pitchFamily="34" charset="0"/>
              </a:rPr>
              <a:t>Target costs are established based upon margin goals and are supported by detailed cost breakdown</a:t>
            </a:r>
          </a:p>
        </p:txBody>
      </p:sp>
      <p:sp>
        <p:nvSpPr>
          <p:cNvPr id="48" name="Rectangle 51">
            <a:extLst>
              <a:ext uri="{FF2B5EF4-FFF2-40B4-BE49-F238E27FC236}">
                <a16:creationId xmlns:a16="http://schemas.microsoft.com/office/drawing/2014/main" id="{D129B4E1-C317-4733-A1D3-D559E92F402C}"/>
              </a:ext>
            </a:extLst>
          </p:cNvPr>
          <p:cNvSpPr>
            <a:spLocks noChangeArrowheads="1"/>
          </p:cNvSpPr>
          <p:nvPr/>
        </p:nvSpPr>
        <p:spPr bwMode="auto">
          <a:xfrm>
            <a:off x="6933623" y="2876434"/>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650" dirty="0">
                <a:ea typeface="Tahoma" pitchFamily="34" charset="0"/>
                <a:cs typeface="Tahoma" pitchFamily="34" charset="0"/>
              </a:rPr>
              <a:t>Compliance to EHS standards take place in silos across different functional groups. Process to capture adherence to EHS standards is not integrated</a:t>
            </a:r>
          </a:p>
        </p:txBody>
      </p:sp>
      <p:sp>
        <p:nvSpPr>
          <p:cNvPr id="49" name="Rectangle 52">
            <a:extLst>
              <a:ext uri="{FF2B5EF4-FFF2-40B4-BE49-F238E27FC236}">
                <a16:creationId xmlns:a16="http://schemas.microsoft.com/office/drawing/2014/main" id="{EEB08932-A793-45DB-95FB-6DCC979BCAA6}"/>
              </a:ext>
            </a:extLst>
          </p:cNvPr>
          <p:cNvSpPr>
            <a:spLocks noChangeArrowheads="1"/>
          </p:cNvSpPr>
          <p:nvPr/>
        </p:nvSpPr>
        <p:spPr bwMode="auto">
          <a:xfrm>
            <a:off x="6058042" y="2876434"/>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54864" tIns="54864" rIns="54864" bIns="54864" anchor="ctr"/>
          <a:lstStyle/>
          <a:p>
            <a:pPr algn="ctr" defTabSz="548640" eaLnBrk="0" hangingPunct="0">
              <a:lnSpc>
                <a:spcPct val="80000"/>
              </a:lnSpc>
              <a:spcBef>
                <a:spcPct val="50000"/>
              </a:spcBef>
              <a:buClr>
                <a:srgbClr val="8099CC"/>
              </a:buClr>
              <a:buSzPct val="100000"/>
              <a:defRPr/>
            </a:pPr>
            <a:r>
              <a:rPr lang="en-US" sz="700" dirty="0">
                <a:ea typeface="Tahoma" pitchFamily="34" charset="0"/>
                <a:cs typeface="Tahoma" pitchFamily="34" charset="0"/>
              </a:rPr>
              <a:t>Unstructured test plans exist. Issue resolution processes defined but not integrated with test plans</a:t>
            </a:r>
          </a:p>
        </p:txBody>
      </p:sp>
      <p:sp>
        <p:nvSpPr>
          <p:cNvPr id="60" name="Rectangle 47">
            <a:extLst>
              <a:ext uri="{FF2B5EF4-FFF2-40B4-BE49-F238E27FC236}">
                <a16:creationId xmlns:a16="http://schemas.microsoft.com/office/drawing/2014/main" id="{EAB04A7A-047A-42C9-A74B-4C86F773D72F}"/>
              </a:ext>
            </a:extLst>
          </p:cNvPr>
          <p:cNvSpPr>
            <a:spLocks noChangeArrowheads="1"/>
          </p:cNvSpPr>
          <p:nvPr/>
        </p:nvSpPr>
        <p:spPr bwMode="auto">
          <a:xfrm>
            <a:off x="7770799" y="1225905"/>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eaLnBrk="0" hangingPunct="0">
              <a:lnSpc>
                <a:spcPct val="80000"/>
              </a:lnSpc>
              <a:spcBef>
                <a:spcPct val="50000"/>
              </a:spcBef>
              <a:buClr>
                <a:srgbClr val="8099CC"/>
              </a:buClr>
              <a:buSzPct val="100000"/>
              <a:buFont typeface="Monotype Sorts" pitchFamily="2" charset="2"/>
              <a:buNone/>
            </a:pPr>
            <a:r>
              <a:rPr lang="en-US" sz="800" dirty="0">
                <a:ea typeface="Tahoma" pitchFamily="34" charset="0"/>
                <a:cs typeface="Tahoma" pitchFamily="34" charset="0"/>
              </a:rPr>
              <a:t>Target costs are understood and cross functionally managed and monitored. Ability to perform product cost analytics to support strategic sourcing  </a:t>
            </a:r>
          </a:p>
        </p:txBody>
      </p:sp>
      <p:sp>
        <p:nvSpPr>
          <p:cNvPr id="61" name="Rectangle 19">
            <a:extLst>
              <a:ext uri="{FF2B5EF4-FFF2-40B4-BE49-F238E27FC236}">
                <a16:creationId xmlns:a16="http://schemas.microsoft.com/office/drawing/2014/main" id="{E4F28C3C-44A4-41D6-827D-1B6E0DEE49EC}"/>
              </a:ext>
            </a:extLst>
          </p:cNvPr>
          <p:cNvSpPr>
            <a:spLocks noChangeArrowheads="1"/>
          </p:cNvSpPr>
          <p:nvPr/>
        </p:nvSpPr>
        <p:spPr bwMode="auto">
          <a:xfrm>
            <a:off x="9560366" y="417257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600" dirty="0">
                <a:solidFill>
                  <a:prstClr val="black"/>
                </a:solidFill>
                <a:cs typeface="Arial" panose="020B0604020202020204" pitchFamily="34" charset="0"/>
              </a:rPr>
              <a:t>Customer experience is defined &amp; captured during ideation, used as inspiration for design, and not verified till physical prototypes or pilot products are built.</a:t>
            </a:r>
          </a:p>
        </p:txBody>
      </p:sp>
      <p:sp>
        <p:nvSpPr>
          <p:cNvPr id="62" name="Rectangle 19">
            <a:extLst>
              <a:ext uri="{FF2B5EF4-FFF2-40B4-BE49-F238E27FC236}">
                <a16:creationId xmlns:a16="http://schemas.microsoft.com/office/drawing/2014/main" id="{81986537-B813-4384-BED3-5E5BB1839124}"/>
              </a:ext>
            </a:extLst>
          </p:cNvPr>
          <p:cNvSpPr>
            <a:spLocks noChangeArrowheads="1"/>
          </p:cNvSpPr>
          <p:nvPr/>
        </p:nvSpPr>
        <p:spPr bwMode="auto">
          <a:xfrm>
            <a:off x="10435942" y="4172578"/>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600" dirty="0">
                <a:solidFill>
                  <a:prstClr val="black"/>
                </a:solidFill>
              </a:rPr>
              <a:t>Manufacturing function involved during design reviews to provide manufacturability assessments of new or unique parts which may require new manufacturing techniques.</a:t>
            </a:r>
          </a:p>
        </p:txBody>
      </p:sp>
      <p:sp>
        <p:nvSpPr>
          <p:cNvPr id="63" name="Rectangle 35">
            <a:extLst>
              <a:ext uri="{FF2B5EF4-FFF2-40B4-BE49-F238E27FC236}">
                <a16:creationId xmlns:a16="http://schemas.microsoft.com/office/drawing/2014/main" id="{FD0D3650-0E1A-48C3-86CB-07DDF0A5E582}"/>
              </a:ext>
            </a:extLst>
          </p:cNvPr>
          <p:cNvSpPr>
            <a:spLocks noChangeArrowheads="1"/>
          </p:cNvSpPr>
          <p:nvPr/>
        </p:nvSpPr>
        <p:spPr bwMode="auto">
          <a:xfrm>
            <a:off x="10435942" y="2876434"/>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600" dirty="0">
                <a:solidFill>
                  <a:prstClr val="black"/>
                </a:solidFill>
              </a:rPr>
              <a:t>Manufacturing function solves cost and performance issues in the design process and is enabled with new manufacturing techniques such as additive manufacturing.</a:t>
            </a:r>
          </a:p>
        </p:txBody>
      </p:sp>
      <p:sp>
        <p:nvSpPr>
          <p:cNvPr id="64" name="Rectangle 35">
            <a:extLst>
              <a:ext uri="{FF2B5EF4-FFF2-40B4-BE49-F238E27FC236}">
                <a16:creationId xmlns:a16="http://schemas.microsoft.com/office/drawing/2014/main" id="{C18311E8-C2CD-4E4B-A892-0CE0C5C508D2}"/>
              </a:ext>
            </a:extLst>
          </p:cNvPr>
          <p:cNvSpPr>
            <a:spLocks noChangeArrowheads="1"/>
          </p:cNvSpPr>
          <p:nvPr/>
        </p:nvSpPr>
        <p:spPr bwMode="auto">
          <a:xfrm>
            <a:off x="9560366" y="2876434"/>
            <a:ext cx="768096" cy="987552"/>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610" dirty="0">
                <a:solidFill>
                  <a:prstClr val="black"/>
                </a:solidFill>
              </a:rPr>
              <a:t>Customer experience is modeled and evaluated with form, fit, and some functional models which are made available for evaluation through virtual / augmented reality.</a:t>
            </a:r>
          </a:p>
        </p:txBody>
      </p:sp>
      <p:sp>
        <p:nvSpPr>
          <p:cNvPr id="65" name="Rectangle 27">
            <a:extLst>
              <a:ext uri="{FF2B5EF4-FFF2-40B4-BE49-F238E27FC236}">
                <a16:creationId xmlns:a16="http://schemas.microsoft.com/office/drawing/2014/main" id="{2AF7E388-2B72-4BB7-A303-A1E5978BE6C0}"/>
              </a:ext>
            </a:extLst>
          </p:cNvPr>
          <p:cNvSpPr>
            <a:spLocks noChangeArrowheads="1"/>
          </p:cNvSpPr>
          <p:nvPr/>
        </p:nvSpPr>
        <p:spPr bwMode="auto">
          <a:xfrm>
            <a:off x="9521961" y="1225905"/>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680" dirty="0">
                <a:solidFill>
                  <a:prstClr val="black"/>
                </a:solidFill>
              </a:rPr>
              <a:t>Customer experience is completely modeled and evaluated with form, fit, and functional models of product use cases within virtual environments built from sensor data within prototypes or products in-the-field</a:t>
            </a:r>
          </a:p>
        </p:txBody>
      </p:sp>
      <p:sp>
        <p:nvSpPr>
          <p:cNvPr id="66" name="Rectangle 27">
            <a:extLst>
              <a:ext uri="{FF2B5EF4-FFF2-40B4-BE49-F238E27FC236}">
                <a16:creationId xmlns:a16="http://schemas.microsoft.com/office/drawing/2014/main" id="{24BCF8B0-7FD8-44F8-8D26-8D9F4C8DC4B5}"/>
              </a:ext>
            </a:extLst>
          </p:cNvPr>
          <p:cNvSpPr>
            <a:spLocks noChangeArrowheads="1"/>
          </p:cNvSpPr>
          <p:nvPr/>
        </p:nvSpPr>
        <p:spPr bwMode="auto">
          <a:xfrm>
            <a:off x="10397537" y="1225905"/>
            <a:ext cx="844906" cy="1445875"/>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algn="ctr" defTabSz="548640" eaLnBrk="0" hangingPunct="0">
              <a:lnSpc>
                <a:spcPct val="80000"/>
              </a:lnSpc>
              <a:spcBef>
                <a:spcPct val="50000"/>
              </a:spcBef>
              <a:buClr>
                <a:srgbClr val="8099CC"/>
              </a:buClr>
              <a:buSzPct val="100000"/>
              <a:defRPr/>
            </a:pPr>
            <a:r>
              <a:rPr lang="en-US" sz="700" dirty="0">
                <a:solidFill>
                  <a:prstClr val="black"/>
                </a:solidFill>
              </a:rPr>
              <a:t>Manufacturing is enabled to “lead the way” for design leveraging optimization software to solve for the most efficient form that fits and functions as specified in requirements and can be produced using new methods.</a:t>
            </a:r>
          </a:p>
        </p:txBody>
      </p:sp>
      <p:sp>
        <p:nvSpPr>
          <p:cNvPr id="81" name="Rectangle 5">
            <a:extLst>
              <a:ext uri="{FF2B5EF4-FFF2-40B4-BE49-F238E27FC236}">
                <a16:creationId xmlns:a16="http://schemas.microsoft.com/office/drawing/2014/main" id="{EB26ACE3-05F2-4709-8F41-CF1EB0C0D19D}"/>
              </a:ext>
            </a:extLst>
          </p:cNvPr>
          <p:cNvSpPr>
            <a:spLocks noChangeArrowheads="1"/>
          </p:cNvSpPr>
          <p:nvPr/>
        </p:nvSpPr>
        <p:spPr bwMode="auto">
          <a:xfrm>
            <a:off x="9571168" y="5423476"/>
            <a:ext cx="768096" cy="511403"/>
          </a:xfrm>
          <a:prstGeom prst="roundRect">
            <a:avLst/>
          </a:prstGeom>
          <a:solidFill>
            <a:srgbClr val="0000FF"/>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Verdana"/>
                <a:ea typeface="+mn-ea"/>
                <a:cs typeface="Arial" pitchFamily="34" charset="0"/>
              </a:rPr>
              <a:t>Customer Experience</a:t>
            </a:r>
          </a:p>
        </p:txBody>
      </p:sp>
      <p:sp>
        <p:nvSpPr>
          <p:cNvPr id="82" name="Rectangle 5">
            <a:extLst>
              <a:ext uri="{FF2B5EF4-FFF2-40B4-BE49-F238E27FC236}">
                <a16:creationId xmlns:a16="http://schemas.microsoft.com/office/drawing/2014/main" id="{8C749EE1-DF17-469F-8007-268F20F81160}"/>
              </a:ext>
            </a:extLst>
          </p:cNvPr>
          <p:cNvSpPr>
            <a:spLocks noChangeArrowheads="1"/>
          </p:cNvSpPr>
          <p:nvPr/>
        </p:nvSpPr>
        <p:spPr bwMode="auto">
          <a:xfrm>
            <a:off x="10435942" y="5423476"/>
            <a:ext cx="768096" cy="511403"/>
          </a:xfrm>
          <a:prstGeom prst="roundRect">
            <a:avLst/>
          </a:prstGeom>
          <a:solidFill>
            <a:srgbClr val="0000FF"/>
          </a:solidFill>
          <a:ln>
            <a:headEnd/>
            <a:tailEnd/>
          </a:ln>
        </p:spPr>
        <p:style>
          <a:lnRef idx="2">
            <a:schemeClr val="dk1"/>
          </a:lnRef>
          <a:fillRef idx="1">
            <a:schemeClr val="lt1"/>
          </a:fillRef>
          <a:effectRef idx="0">
            <a:schemeClr val="dk1"/>
          </a:effectRef>
          <a:fontRef idx="minor">
            <a:schemeClr val="dk1"/>
          </a:fontRef>
        </p:style>
        <p:txBody>
          <a:bodyPr lIns="43200" tIns="0" rIns="43200" bIns="0" anchor="ctr"/>
          <a:lstStyle/>
          <a:p>
            <a:pPr marL="0" marR="0" lvl="0" indent="0" algn="ctr" defTabSz="548640" rtl="0" eaLnBrk="0" fontAlgn="auto" latinLnBrk="0" hangingPunct="0">
              <a:lnSpc>
                <a:spcPct val="90000"/>
              </a:lnSpc>
              <a:spcBef>
                <a:spcPts val="0"/>
              </a:spcBef>
              <a:spcAft>
                <a:spcPts val="0"/>
              </a:spcAft>
              <a:buClrTx/>
              <a:buSzTx/>
              <a:buFontTx/>
              <a:buNone/>
              <a:tabLst/>
              <a:defRPr/>
            </a:pPr>
            <a:r>
              <a:rPr lang="en-US" sz="800" b="1" dirty="0">
                <a:solidFill>
                  <a:schemeClr val="bg1"/>
                </a:solidFill>
                <a:latin typeface="Verdana"/>
                <a:cs typeface="Arial" pitchFamily="34" charset="0"/>
              </a:rPr>
              <a:t>Mfg. Innovation</a:t>
            </a:r>
            <a:endParaRPr kumimoji="0" lang="en-US" sz="800" b="1" i="0" u="none" strike="noStrike" kern="1200" cap="none" spc="0" normalizeH="0" baseline="0" noProof="0" dirty="0">
              <a:ln>
                <a:noFill/>
              </a:ln>
              <a:solidFill>
                <a:schemeClr val="bg1"/>
              </a:solidFill>
              <a:effectLst/>
              <a:uLnTx/>
              <a:uFillTx/>
              <a:latin typeface="Verdana"/>
              <a:ea typeface="+mn-ea"/>
              <a:cs typeface="Arial" pitchFamily="34" charset="0"/>
            </a:endParaRPr>
          </a:p>
        </p:txBody>
      </p:sp>
      <p:sp>
        <p:nvSpPr>
          <p:cNvPr id="84" name="Text Box 11">
            <a:extLst>
              <a:ext uri="{FF2B5EF4-FFF2-40B4-BE49-F238E27FC236}">
                <a16:creationId xmlns:a16="http://schemas.microsoft.com/office/drawing/2014/main" id="{8867A06A-AA20-4300-A465-21C1F8B92BA2}"/>
              </a:ext>
            </a:extLst>
          </p:cNvPr>
          <p:cNvSpPr txBox="1">
            <a:spLocks noChangeArrowheads="1"/>
          </p:cNvSpPr>
          <p:nvPr/>
        </p:nvSpPr>
        <p:spPr bwMode="auto">
          <a:xfrm rot="-5400000">
            <a:off x="151253" y="4424165"/>
            <a:ext cx="574558" cy="312420"/>
          </a:xfrm>
          <a:prstGeom prst="rect">
            <a:avLst/>
          </a:prstGeom>
          <a:noFill/>
          <a:ln w="12700" algn="ctr">
            <a:noFill/>
            <a:miter lim="800000"/>
            <a:headEnd/>
            <a:tailEnd/>
          </a:ln>
        </p:spPr>
        <p:txBody>
          <a:bodyPr lIns="0" tIns="0" rIns="0" bIns="0" anchor="b"/>
          <a:lstStyle/>
          <a:p>
            <a:pPr marL="0" marR="0" lvl="0" indent="0" algn="ctr" defTabSz="1082040" rtl="0" eaLnBrk="0" fontAlgn="base" latinLnBrk="0" hangingPunct="0">
              <a:lnSpc>
                <a:spcPct val="90000"/>
              </a:lnSpc>
              <a:spcBef>
                <a:spcPct val="50000"/>
              </a:spcBef>
              <a:spcAft>
                <a:spcPct val="0"/>
              </a:spcAft>
              <a:buClr>
                <a:srgbClr val="8099CC"/>
              </a:buClr>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Low</a:t>
            </a:r>
          </a:p>
        </p:txBody>
      </p:sp>
      <p:sp>
        <p:nvSpPr>
          <p:cNvPr id="85" name="Text Box 12">
            <a:extLst>
              <a:ext uri="{FF2B5EF4-FFF2-40B4-BE49-F238E27FC236}">
                <a16:creationId xmlns:a16="http://schemas.microsoft.com/office/drawing/2014/main" id="{B64D4C05-4111-4516-BB22-6AB052511164}"/>
              </a:ext>
            </a:extLst>
          </p:cNvPr>
          <p:cNvSpPr txBox="1">
            <a:spLocks noChangeArrowheads="1"/>
          </p:cNvSpPr>
          <p:nvPr/>
        </p:nvSpPr>
        <p:spPr bwMode="auto">
          <a:xfrm rot="-5400000">
            <a:off x="163806" y="1619415"/>
            <a:ext cx="730951" cy="263598"/>
          </a:xfrm>
          <a:prstGeom prst="rect">
            <a:avLst/>
          </a:prstGeom>
          <a:noFill/>
          <a:ln w="12700" algn="ctr">
            <a:noFill/>
            <a:miter lim="800000"/>
            <a:headEnd/>
            <a:tailEnd/>
          </a:ln>
        </p:spPr>
        <p:txBody>
          <a:bodyPr wrap="square" lIns="0" rIns="0" anchor="b">
            <a:spAutoFit/>
          </a:bodyPr>
          <a:lstStyle/>
          <a:p>
            <a:pPr marL="0" marR="0" lvl="0" indent="0" algn="ctr" defTabSz="1097280" rtl="0" eaLnBrk="0" fontAlgn="base" latinLnBrk="0" hangingPunct="0">
              <a:lnSpc>
                <a:spcPct val="106000"/>
              </a:lnSpc>
              <a:spcBef>
                <a:spcPct val="50000"/>
              </a:spcBef>
              <a:spcAft>
                <a:spcPct val="0"/>
              </a:spcAft>
              <a:buClrTx/>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Advanced</a:t>
            </a:r>
          </a:p>
        </p:txBody>
      </p:sp>
      <p:sp>
        <p:nvSpPr>
          <p:cNvPr id="86" name="Text Box 13">
            <a:extLst>
              <a:ext uri="{FF2B5EF4-FFF2-40B4-BE49-F238E27FC236}">
                <a16:creationId xmlns:a16="http://schemas.microsoft.com/office/drawing/2014/main" id="{34A5B774-FD2F-42EF-9430-571375CDE687}"/>
              </a:ext>
            </a:extLst>
          </p:cNvPr>
          <p:cNvSpPr txBox="1">
            <a:spLocks noChangeArrowheads="1"/>
          </p:cNvSpPr>
          <p:nvPr/>
        </p:nvSpPr>
        <p:spPr bwMode="auto">
          <a:xfrm rot="-5400000">
            <a:off x="261004" y="3141312"/>
            <a:ext cx="544176" cy="255455"/>
          </a:xfrm>
          <a:prstGeom prst="rect">
            <a:avLst/>
          </a:prstGeom>
          <a:noFill/>
          <a:ln w="12700" algn="ctr">
            <a:noFill/>
            <a:miter lim="800000"/>
            <a:headEnd/>
            <a:tailEnd/>
          </a:ln>
        </p:spPr>
        <p:txBody>
          <a:bodyPr wrap="square" lIns="0" rIns="0" anchor="b">
            <a:spAutoFit/>
          </a:bodyPr>
          <a:lstStyle/>
          <a:p>
            <a:pPr marL="0" marR="0" lvl="0" indent="0" algn="ctr" defTabSz="1097280" rtl="0" eaLnBrk="0" fontAlgn="base" latinLnBrk="0" hangingPunct="0">
              <a:lnSpc>
                <a:spcPct val="106000"/>
              </a:lnSpc>
              <a:spcBef>
                <a:spcPct val="50000"/>
              </a:spcBef>
              <a:spcAft>
                <a:spcPct val="0"/>
              </a:spcAft>
              <a:buClrTx/>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Basic</a:t>
            </a:r>
          </a:p>
        </p:txBody>
      </p:sp>
      <p:sp>
        <p:nvSpPr>
          <p:cNvPr id="87" name="Text Box 28">
            <a:extLst>
              <a:ext uri="{FF2B5EF4-FFF2-40B4-BE49-F238E27FC236}">
                <a16:creationId xmlns:a16="http://schemas.microsoft.com/office/drawing/2014/main" id="{E614A11B-CE78-42CB-8511-BE8BA3DA182A}"/>
              </a:ext>
            </a:extLst>
          </p:cNvPr>
          <p:cNvSpPr txBox="1">
            <a:spLocks noChangeArrowheads="1"/>
          </p:cNvSpPr>
          <p:nvPr/>
        </p:nvSpPr>
        <p:spPr bwMode="auto">
          <a:xfrm>
            <a:off x="464019" y="907871"/>
            <a:ext cx="822946" cy="236337"/>
          </a:xfrm>
          <a:prstGeom prst="rect">
            <a:avLst/>
          </a:prstGeom>
          <a:noFill/>
          <a:ln w="25400">
            <a:noFill/>
            <a:miter lim="800000"/>
            <a:headEnd/>
            <a:tailEnd type="none" w="med" len="lg"/>
          </a:ln>
        </p:spPr>
        <p:txBody>
          <a:bodyPr wrap="square" lIns="0" tIns="54859" rIns="109718" bIns="54859">
            <a:spAutoFit/>
          </a:bodyPr>
          <a:lstStyle/>
          <a:p>
            <a:pPr marL="274320" marR="0" lvl="0" indent="-274320" algn="r" defTabSz="1082040" rtl="0" eaLnBrk="0" fontAlgn="base" latinLnBrk="0" hangingPunct="0">
              <a:lnSpc>
                <a:spcPct val="85000"/>
              </a:lnSpc>
              <a:spcBef>
                <a:spcPct val="0"/>
              </a:spcBef>
              <a:spcAft>
                <a:spcPct val="0"/>
              </a:spcAft>
              <a:buClr>
                <a:srgbClr val="8099CC"/>
              </a:buClr>
              <a:buSzTx/>
              <a:buFontTx/>
              <a:buNone/>
              <a:tabLst/>
              <a:defRPr/>
            </a:pPr>
            <a:r>
              <a:rPr kumimoji="0" lang="en-US" altLang="en-US" sz="960" b="1" i="0" u="none" strike="noStrike" kern="1200" cap="none" spc="0" normalizeH="0" baseline="0" noProof="0" dirty="0">
                <a:ln>
                  <a:noFill/>
                </a:ln>
                <a:solidFill>
                  <a:prstClr val="black"/>
                </a:solidFill>
                <a:effectLst/>
                <a:uLnTx/>
                <a:uFillTx/>
                <a:latin typeface="Verdana"/>
                <a:ea typeface="+mn-ea"/>
                <a:cs typeface="Arial" charset="0"/>
              </a:rPr>
              <a:t>Maturity</a:t>
            </a:r>
          </a:p>
        </p:txBody>
      </p:sp>
      <p:sp>
        <p:nvSpPr>
          <p:cNvPr id="88" name="Line 15">
            <a:extLst>
              <a:ext uri="{FF2B5EF4-FFF2-40B4-BE49-F238E27FC236}">
                <a16:creationId xmlns:a16="http://schemas.microsoft.com/office/drawing/2014/main" id="{2D8FD124-1B6B-4D3F-8911-80F0E23003F8}"/>
              </a:ext>
            </a:extLst>
          </p:cNvPr>
          <p:cNvSpPr>
            <a:spLocks noChangeShapeType="1"/>
          </p:cNvSpPr>
          <p:nvPr/>
        </p:nvSpPr>
        <p:spPr bwMode="auto">
          <a:xfrm flipV="1">
            <a:off x="698579" y="1211825"/>
            <a:ext cx="0" cy="4031776"/>
          </a:xfrm>
          <a:prstGeom prst="line">
            <a:avLst/>
          </a:prstGeom>
          <a:noFill/>
          <a:ln w="38100">
            <a:solidFill>
              <a:schemeClr val="tx1"/>
            </a:solidFill>
            <a:round/>
            <a:headEnd/>
            <a:tailEnd type="triangle" w="med" len="med"/>
          </a:ln>
        </p:spPr>
        <p:txBody>
          <a:bodyPr/>
          <a:lstStyle/>
          <a:p>
            <a:pPr marL="0" marR="0" lvl="0" indent="0" algn="l" defTabSz="1097280" rtl="0" eaLnBrk="0" fontAlgn="auto" latinLnBrk="0" hangingPunct="0">
              <a:lnSpc>
                <a:spcPct val="106000"/>
              </a:lnSpc>
              <a:spcBef>
                <a:spcPct val="50000"/>
              </a:spcBef>
              <a:spcAft>
                <a:spcPts val="0"/>
              </a:spcAft>
              <a:buClrTx/>
              <a:buSzPct val="100000"/>
              <a:buFontTx/>
              <a:buNone/>
              <a:tabLst/>
              <a:defRPr/>
            </a:pPr>
            <a:endParaRPr kumimoji="0" lang="en-US" sz="780" b="0" i="0" u="none" strike="noStrike" kern="0" cap="none" spc="0" normalizeH="0" baseline="0" noProof="0" dirty="0">
              <a:ln>
                <a:noFill/>
              </a:ln>
              <a:solidFill>
                <a:prstClr val="black"/>
              </a:solidFill>
              <a:effectLst/>
              <a:uLnTx/>
              <a:uFillTx/>
              <a:latin typeface="Verdana"/>
              <a:ea typeface="+mn-ea"/>
              <a:cs typeface="Arial" charset="0"/>
            </a:endParaRPr>
          </a:p>
        </p:txBody>
      </p:sp>
      <p:sp>
        <p:nvSpPr>
          <p:cNvPr id="89" name="Line 16">
            <a:extLst>
              <a:ext uri="{FF2B5EF4-FFF2-40B4-BE49-F238E27FC236}">
                <a16:creationId xmlns:a16="http://schemas.microsoft.com/office/drawing/2014/main" id="{2DA55379-CEF7-42A6-8AE7-A9F465AB1AA3}"/>
              </a:ext>
            </a:extLst>
          </p:cNvPr>
          <p:cNvSpPr>
            <a:spLocks noChangeShapeType="1"/>
          </p:cNvSpPr>
          <p:nvPr/>
        </p:nvSpPr>
        <p:spPr bwMode="auto">
          <a:xfrm flipV="1">
            <a:off x="679761" y="5243602"/>
            <a:ext cx="10290659" cy="0"/>
          </a:xfrm>
          <a:prstGeom prst="line">
            <a:avLst/>
          </a:prstGeom>
          <a:noFill/>
          <a:ln w="38100">
            <a:solidFill>
              <a:schemeClr val="tx1"/>
            </a:solidFill>
            <a:round/>
            <a:headEnd/>
            <a:tailEnd/>
          </a:ln>
        </p:spPr>
        <p:txBody>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960" b="0" i="0" u="none" strike="noStrike" kern="1200" cap="none" spc="0" normalizeH="0" baseline="0" noProof="0" dirty="0">
              <a:ln>
                <a:noFill/>
              </a:ln>
              <a:solidFill>
                <a:prstClr val="black"/>
              </a:solidFill>
              <a:effectLst/>
              <a:uLnTx/>
              <a:uFillTx/>
              <a:latin typeface="Verdana"/>
              <a:ea typeface="+mn-ea"/>
              <a:cs typeface="Arial" charset="0"/>
            </a:endParaRPr>
          </a:p>
        </p:txBody>
      </p:sp>
      <p:cxnSp>
        <p:nvCxnSpPr>
          <p:cNvPr id="92" name="Straight Arrow Connector 91">
            <a:extLst>
              <a:ext uri="{FF2B5EF4-FFF2-40B4-BE49-F238E27FC236}">
                <a16:creationId xmlns:a16="http://schemas.microsoft.com/office/drawing/2014/main" id="{63BA0240-EBC2-4ACE-BA7F-05417CC94F12}"/>
              </a:ext>
            </a:extLst>
          </p:cNvPr>
          <p:cNvCxnSpPr>
            <a:cxnSpLocks/>
          </p:cNvCxnSpPr>
          <p:nvPr/>
        </p:nvCxnSpPr>
        <p:spPr>
          <a:xfrm flipV="1">
            <a:off x="10819990" y="2658518"/>
            <a:ext cx="0" cy="20465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4" name="Straight Arrow Connector 93">
            <a:extLst>
              <a:ext uri="{FF2B5EF4-FFF2-40B4-BE49-F238E27FC236}">
                <a16:creationId xmlns:a16="http://schemas.microsoft.com/office/drawing/2014/main" id="{51D44D4D-6E28-49FF-8533-882B869CE249}"/>
              </a:ext>
            </a:extLst>
          </p:cNvPr>
          <p:cNvCxnSpPr>
            <a:cxnSpLocks/>
            <a:stCxn id="64" idx="0"/>
            <a:endCxn id="65" idx="2"/>
          </p:cNvCxnSpPr>
          <p:nvPr/>
        </p:nvCxnSpPr>
        <p:spPr>
          <a:xfrm flipV="1">
            <a:off x="9944414" y="2671780"/>
            <a:ext cx="0" cy="20465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6" name="Straight Arrow Connector 95">
            <a:extLst>
              <a:ext uri="{FF2B5EF4-FFF2-40B4-BE49-F238E27FC236}">
                <a16:creationId xmlns:a16="http://schemas.microsoft.com/office/drawing/2014/main" id="{3A8990FB-8524-4A15-9106-E09385EBBFF8}"/>
              </a:ext>
            </a:extLst>
          </p:cNvPr>
          <p:cNvCxnSpPr>
            <a:cxnSpLocks/>
            <a:stCxn id="34" idx="0"/>
            <a:endCxn id="27" idx="2"/>
          </p:cNvCxnSpPr>
          <p:nvPr/>
        </p:nvCxnSpPr>
        <p:spPr>
          <a:xfrm flipV="1">
            <a:off x="9068833" y="2671780"/>
            <a:ext cx="0" cy="20465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8" name="Straight Arrow Connector 97">
            <a:extLst>
              <a:ext uri="{FF2B5EF4-FFF2-40B4-BE49-F238E27FC236}">
                <a16:creationId xmlns:a16="http://schemas.microsoft.com/office/drawing/2014/main" id="{B00FC490-4BA4-4DC7-BDB4-D4CA56AD3FE4}"/>
              </a:ext>
            </a:extLst>
          </p:cNvPr>
          <p:cNvCxnSpPr>
            <a:cxnSpLocks/>
            <a:stCxn id="47" idx="0"/>
            <a:endCxn id="60" idx="2"/>
          </p:cNvCxnSpPr>
          <p:nvPr/>
        </p:nvCxnSpPr>
        <p:spPr>
          <a:xfrm flipV="1">
            <a:off x="8193252" y="2671780"/>
            <a:ext cx="0" cy="20465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0" name="Straight Arrow Connector 99">
            <a:extLst>
              <a:ext uri="{FF2B5EF4-FFF2-40B4-BE49-F238E27FC236}">
                <a16:creationId xmlns:a16="http://schemas.microsoft.com/office/drawing/2014/main" id="{68F9E9E6-738F-4C93-B94F-28AD4F0ADD75}"/>
              </a:ext>
            </a:extLst>
          </p:cNvPr>
          <p:cNvCxnSpPr>
            <a:cxnSpLocks/>
            <a:stCxn id="48" idx="0"/>
            <a:endCxn id="45" idx="2"/>
          </p:cNvCxnSpPr>
          <p:nvPr/>
        </p:nvCxnSpPr>
        <p:spPr>
          <a:xfrm flipV="1">
            <a:off x="7317671" y="2671780"/>
            <a:ext cx="0" cy="20465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2" name="Straight Arrow Connector 101">
            <a:extLst>
              <a:ext uri="{FF2B5EF4-FFF2-40B4-BE49-F238E27FC236}">
                <a16:creationId xmlns:a16="http://schemas.microsoft.com/office/drawing/2014/main" id="{66F38FE6-6B5D-427E-B675-4DE8A0A3618F}"/>
              </a:ext>
            </a:extLst>
          </p:cNvPr>
          <p:cNvCxnSpPr>
            <a:cxnSpLocks/>
            <a:stCxn id="49" idx="0"/>
            <a:endCxn id="46" idx="2"/>
          </p:cNvCxnSpPr>
          <p:nvPr/>
        </p:nvCxnSpPr>
        <p:spPr>
          <a:xfrm flipV="1">
            <a:off x="6442090" y="2671780"/>
            <a:ext cx="0" cy="20465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4" name="Straight Arrow Connector 103">
            <a:extLst>
              <a:ext uri="{FF2B5EF4-FFF2-40B4-BE49-F238E27FC236}">
                <a16:creationId xmlns:a16="http://schemas.microsoft.com/office/drawing/2014/main" id="{4780C777-7AE7-4F75-A50A-18B1D5FDB1D1}"/>
              </a:ext>
            </a:extLst>
          </p:cNvPr>
          <p:cNvCxnSpPr>
            <a:cxnSpLocks/>
            <a:stCxn id="32" idx="0"/>
            <a:endCxn id="25" idx="2"/>
          </p:cNvCxnSpPr>
          <p:nvPr/>
        </p:nvCxnSpPr>
        <p:spPr>
          <a:xfrm flipV="1">
            <a:off x="5566509" y="2671780"/>
            <a:ext cx="0" cy="20465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A2C200C7-AAA0-492E-8969-231BEBB8B660}"/>
              </a:ext>
            </a:extLst>
          </p:cNvPr>
          <p:cNvCxnSpPr>
            <a:cxnSpLocks/>
            <a:stCxn id="33" idx="0"/>
            <a:endCxn id="26" idx="2"/>
          </p:cNvCxnSpPr>
          <p:nvPr/>
        </p:nvCxnSpPr>
        <p:spPr>
          <a:xfrm flipV="1">
            <a:off x="4690928" y="2671780"/>
            <a:ext cx="0" cy="20465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8" name="Straight Arrow Connector 107">
            <a:extLst>
              <a:ext uri="{FF2B5EF4-FFF2-40B4-BE49-F238E27FC236}">
                <a16:creationId xmlns:a16="http://schemas.microsoft.com/office/drawing/2014/main" id="{886D1E83-5C24-4F75-AAB5-68D7FCF7449D}"/>
              </a:ext>
            </a:extLst>
          </p:cNvPr>
          <p:cNvCxnSpPr>
            <a:cxnSpLocks/>
            <a:stCxn id="35" idx="0"/>
            <a:endCxn id="28" idx="2"/>
          </p:cNvCxnSpPr>
          <p:nvPr/>
        </p:nvCxnSpPr>
        <p:spPr>
          <a:xfrm flipV="1">
            <a:off x="3815347" y="2671780"/>
            <a:ext cx="0" cy="20465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0" name="Straight Arrow Connector 109">
            <a:extLst>
              <a:ext uri="{FF2B5EF4-FFF2-40B4-BE49-F238E27FC236}">
                <a16:creationId xmlns:a16="http://schemas.microsoft.com/office/drawing/2014/main" id="{5E06F4D9-F2D0-4FCB-8ACE-5AB2156A1D19}"/>
              </a:ext>
            </a:extLst>
          </p:cNvPr>
          <p:cNvCxnSpPr>
            <a:cxnSpLocks/>
            <a:stCxn id="36" idx="0"/>
            <a:endCxn id="29" idx="2"/>
          </p:cNvCxnSpPr>
          <p:nvPr/>
        </p:nvCxnSpPr>
        <p:spPr>
          <a:xfrm flipV="1">
            <a:off x="2939766" y="2671780"/>
            <a:ext cx="0" cy="20465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2" name="Straight Arrow Connector 111">
            <a:extLst>
              <a:ext uri="{FF2B5EF4-FFF2-40B4-BE49-F238E27FC236}">
                <a16:creationId xmlns:a16="http://schemas.microsoft.com/office/drawing/2014/main" id="{B3361B9A-4457-4269-8B98-D3767B50C917}"/>
              </a:ext>
            </a:extLst>
          </p:cNvPr>
          <p:cNvCxnSpPr>
            <a:cxnSpLocks/>
            <a:stCxn id="37" idx="0"/>
            <a:endCxn id="30" idx="2"/>
          </p:cNvCxnSpPr>
          <p:nvPr/>
        </p:nvCxnSpPr>
        <p:spPr>
          <a:xfrm flipV="1">
            <a:off x="2064185" y="2671780"/>
            <a:ext cx="0" cy="20465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4" name="Straight Arrow Connector 113">
            <a:extLst>
              <a:ext uri="{FF2B5EF4-FFF2-40B4-BE49-F238E27FC236}">
                <a16:creationId xmlns:a16="http://schemas.microsoft.com/office/drawing/2014/main" id="{E4C9DA31-60D7-48BE-BA05-7613F270BFBD}"/>
              </a:ext>
            </a:extLst>
          </p:cNvPr>
          <p:cNvCxnSpPr>
            <a:cxnSpLocks/>
            <a:endCxn id="31" idx="2"/>
          </p:cNvCxnSpPr>
          <p:nvPr/>
        </p:nvCxnSpPr>
        <p:spPr>
          <a:xfrm flipV="1">
            <a:off x="1188604" y="2671780"/>
            <a:ext cx="0" cy="20465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6" name="Straight Arrow Connector 115">
            <a:extLst>
              <a:ext uri="{FF2B5EF4-FFF2-40B4-BE49-F238E27FC236}">
                <a16:creationId xmlns:a16="http://schemas.microsoft.com/office/drawing/2014/main" id="{2E5BA8C2-73DC-49EB-B8CE-A888E2FA4BAF}"/>
              </a:ext>
            </a:extLst>
          </p:cNvPr>
          <p:cNvCxnSpPr>
            <a:cxnSpLocks/>
            <a:stCxn id="24" idx="0"/>
            <a:endCxn id="38" idx="2"/>
          </p:cNvCxnSpPr>
          <p:nvPr/>
        </p:nvCxnSpPr>
        <p:spPr>
          <a:xfrm flipV="1">
            <a:off x="1188604" y="3863986"/>
            <a:ext cx="0" cy="3085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18" name="Straight Arrow Connector 117">
            <a:extLst>
              <a:ext uri="{FF2B5EF4-FFF2-40B4-BE49-F238E27FC236}">
                <a16:creationId xmlns:a16="http://schemas.microsoft.com/office/drawing/2014/main" id="{23D12A4D-93FE-4D85-B9D9-7C4338B5769C}"/>
              </a:ext>
            </a:extLst>
          </p:cNvPr>
          <p:cNvCxnSpPr>
            <a:cxnSpLocks/>
            <a:stCxn id="23" idx="0"/>
            <a:endCxn id="37" idx="2"/>
          </p:cNvCxnSpPr>
          <p:nvPr/>
        </p:nvCxnSpPr>
        <p:spPr>
          <a:xfrm flipV="1">
            <a:off x="2064185" y="3863986"/>
            <a:ext cx="0" cy="3085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0" name="Straight Arrow Connector 119">
            <a:extLst>
              <a:ext uri="{FF2B5EF4-FFF2-40B4-BE49-F238E27FC236}">
                <a16:creationId xmlns:a16="http://schemas.microsoft.com/office/drawing/2014/main" id="{7417E330-7EF2-4A0E-8016-A9192DECBF42}"/>
              </a:ext>
            </a:extLst>
          </p:cNvPr>
          <p:cNvCxnSpPr>
            <a:cxnSpLocks/>
            <a:stCxn id="22" idx="0"/>
            <a:endCxn id="36" idx="2"/>
          </p:cNvCxnSpPr>
          <p:nvPr/>
        </p:nvCxnSpPr>
        <p:spPr>
          <a:xfrm flipV="1">
            <a:off x="2939766" y="3863986"/>
            <a:ext cx="0" cy="3085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2" name="Straight Arrow Connector 121">
            <a:extLst>
              <a:ext uri="{FF2B5EF4-FFF2-40B4-BE49-F238E27FC236}">
                <a16:creationId xmlns:a16="http://schemas.microsoft.com/office/drawing/2014/main" id="{59971653-BDD1-4A02-BD5F-EE2347A82BCE}"/>
              </a:ext>
            </a:extLst>
          </p:cNvPr>
          <p:cNvCxnSpPr>
            <a:cxnSpLocks/>
            <a:stCxn id="21" idx="0"/>
            <a:endCxn id="35" idx="2"/>
          </p:cNvCxnSpPr>
          <p:nvPr/>
        </p:nvCxnSpPr>
        <p:spPr>
          <a:xfrm flipV="1">
            <a:off x="3815347" y="3863986"/>
            <a:ext cx="0" cy="3085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4" name="Straight Arrow Connector 123">
            <a:extLst>
              <a:ext uri="{FF2B5EF4-FFF2-40B4-BE49-F238E27FC236}">
                <a16:creationId xmlns:a16="http://schemas.microsoft.com/office/drawing/2014/main" id="{DBF25B2A-9F25-4A45-8147-AFB73B93740D}"/>
              </a:ext>
            </a:extLst>
          </p:cNvPr>
          <p:cNvCxnSpPr>
            <a:cxnSpLocks/>
            <a:stCxn id="19" idx="0"/>
            <a:endCxn id="33" idx="2"/>
          </p:cNvCxnSpPr>
          <p:nvPr/>
        </p:nvCxnSpPr>
        <p:spPr>
          <a:xfrm flipV="1">
            <a:off x="4690928" y="3863986"/>
            <a:ext cx="0" cy="3085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6" name="Straight Arrow Connector 125">
            <a:extLst>
              <a:ext uri="{FF2B5EF4-FFF2-40B4-BE49-F238E27FC236}">
                <a16:creationId xmlns:a16="http://schemas.microsoft.com/office/drawing/2014/main" id="{A6409909-2007-4B95-8A09-F8E6F9F18376}"/>
              </a:ext>
            </a:extLst>
          </p:cNvPr>
          <p:cNvCxnSpPr>
            <a:cxnSpLocks/>
            <a:stCxn id="18" idx="0"/>
            <a:endCxn id="32" idx="2"/>
          </p:cNvCxnSpPr>
          <p:nvPr/>
        </p:nvCxnSpPr>
        <p:spPr>
          <a:xfrm flipV="1">
            <a:off x="5566509" y="3863986"/>
            <a:ext cx="0" cy="3085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28" name="Straight Arrow Connector 127">
            <a:extLst>
              <a:ext uri="{FF2B5EF4-FFF2-40B4-BE49-F238E27FC236}">
                <a16:creationId xmlns:a16="http://schemas.microsoft.com/office/drawing/2014/main" id="{10494B0A-54AA-413E-8DA4-1E6A02D86A85}"/>
              </a:ext>
            </a:extLst>
          </p:cNvPr>
          <p:cNvCxnSpPr>
            <a:cxnSpLocks/>
            <a:stCxn id="44" idx="0"/>
            <a:endCxn id="49" idx="2"/>
          </p:cNvCxnSpPr>
          <p:nvPr/>
        </p:nvCxnSpPr>
        <p:spPr>
          <a:xfrm flipV="1">
            <a:off x="6442090" y="3863986"/>
            <a:ext cx="0" cy="3085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0" name="Straight Arrow Connector 129">
            <a:extLst>
              <a:ext uri="{FF2B5EF4-FFF2-40B4-BE49-F238E27FC236}">
                <a16:creationId xmlns:a16="http://schemas.microsoft.com/office/drawing/2014/main" id="{684E90B1-D98A-447F-BDD1-9CE472CDBE91}"/>
              </a:ext>
            </a:extLst>
          </p:cNvPr>
          <p:cNvCxnSpPr>
            <a:cxnSpLocks/>
            <a:stCxn id="43" idx="0"/>
            <a:endCxn id="48" idx="2"/>
          </p:cNvCxnSpPr>
          <p:nvPr/>
        </p:nvCxnSpPr>
        <p:spPr>
          <a:xfrm flipV="1">
            <a:off x="7317671" y="3863986"/>
            <a:ext cx="0" cy="3085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2" name="Straight Arrow Connector 131">
            <a:extLst>
              <a:ext uri="{FF2B5EF4-FFF2-40B4-BE49-F238E27FC236}">
                <a16:creationId xmlns:a16="http://schemas.microsoft.com/office/drawing/2014/main" id="{5BEF921D-98E0-4E3D-8023-17FBBD8617F9}"/>
              </a:ext>
            </a:extLst>
          </p:cNvPr>
          <p:cNvCxnSpPr>
            <a:cxnSpLocks/>
            <a:stCxn id="42" idx="0"/>
            <a:endCxn id="47" idx="2"/>
          </p:cNvCxnSpPr>
          <p:nvPr/>
        </p:nvCxnSpPr>
        <p:spPr>
          <a:xfrm flipV="1">
            <a:off x="8193252" y="3863986"/>
            <a:ext cx="0" cy="3085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4" name="Straight Arrow Connector 133">
            <a:extLst>
              <a:ext uri="{FF2B5EF4-FFF2-40B4-BE49-F238E27FC236}">
                <a16:creationId xmlns:a16="http://schemas.microsoft.com/office/drawing/2014/main" id="{87883E86-672E-49D7-8B8E-2160022AF991}"/>
              </a:ext>
            </a:extLst>
          </p:cNvPr>
          <p:cNvCxnSpPr>
            <a:cxnSpLocks/>
            <a:stCxn id="20" idx="0"/>
            <a:endCxn id="34" idx="2"/>
          </p:cNvCxnSpPr>
          <p:nvPr/>
        </p:nvCxnSpPr>
        <p:spPr>
          <a:xfrm flipV="1">
            <a:off x="9068833" y="3863986"/>
            <a:ext cx="0" cy="3085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6" name="Straight Arrow Connector 135">
            <a:extLst>
              <a:ext uri="{FF2B5EF4-FFF2-40B4-BE49-F238E27FC236}">
                <a16:creationId xmlns:a16="http://schemas.microsoft.com/office/drawing/2014/main" id="{F90DEE09-BDD3-4C95-B8C8-1FA6D0259DF4}"/>
              </a:ext>
            </a:extLst>
          </p:cNvPr>
          <p:cNvCxnSpPr>
            <a:cxnSpLocks/>
            <a:stCxn id="61" idx="0"/>
            <a:endCxn id="64" idx="2"/>
          </p:cNvCxnSpPr>
          <p:nvPr/>
        </p:nvCxnSpPr>
        <p:spPr>
          <a:xfrm flipV="1">
            <a:off x="9944414" y="3863986"/>
            <a:ext cx="0" cy="3085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8" name="Straight Arrow Connector 137">
            <a:extLst>
              <a:ext uri="{FF2B5EF4-FFF2-40B4-BE49-F238E27FC236}">
                <a16:creationId xmlns:a16="http://schemas.microsoft.com/office/drawing/2014/main" id="{4381F8BA-02F4-412C-A27F-DA7858D69FF3}"/>
              </a:ext>
            </a:extLst>
          </p:cNvPr>
          <p:cNvCxnSpPr>
            <a:cxnSpLocks/>
            <a:stCxn id="62" idx="0"/>
            <a:endCxn id="63" idx="2"/>
          </p:cNvCxnSpPr>
          <p:nvPr/>
        </p:nvCxnSpPr>
        <p:spPr>
          <a:xfrm flipV="1">
            <a:off x="10819990" y="3863986"/>
            <a:ext cx="0" cy="3085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91" name="Title 1">
            <a:extLst>
              <a:ext uri="{FF2B5EF4-FFF2-40B4-BE49-F238E27FC236}">
                <a16:creationId xmlns:a16="http://schemas.microsoft.com/office/drawing/2014/main" id="{583C26A0-B0D2-4903-B6AA-9AB30D920277}"/>
              </a:ext>
            </a:extLst>
          </p:cNvPr>
          <p:cNvSpPr txBox="1">
            <a:spLocks/>
          </p:cNvSpPr>
          <p:nvPr/>
        </p:nvSpPr>
        <p:spPr>
          <a:xfrm>
            <a:off x="469900" y="402587"/>
            <a:ext cx="8397735" cy="717944"/>
          </a:xfrm>
          <a:prstGeom prst="rect">
            <a:avLst/>
          </a:prstGeom>
        </p:spPr>
        <p:txBody>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400" b="1" dirty="0">
                <a:solidFill>
                  <a:prstClr val="black"/>
                </a:solidFill>
                <a:latin typeface="Verdana"/>
              </a:rPr>
              <a:t>Design for X</a:t>
            </a:r>
            <a:endParaRPr kumimoji="0" lang="en-US" sz="2400" b="1" i="0" u="none" strike="noStrike" kern="1200" cap="none" spc="0" normalizeH="0" baseline="0" noProof="0" dirty="0">
              <a:ln>
                <a:noFill/>
              </a:ln>
              <a:solidFill>
                <a:prstClr val="black"/>
              </a:solidFill>
              <a:effectLst/>
              <a:uLnTx/>
              <a:uFillTx/>
              <a:latin typeface="Verdana"/>
              <a:ea typeface="+mj-ea"/>
              <a:cs typeface="+mj-cs"/>
            </a:endParaRPr>
          </a:p>
        </p:txBody>
      </p:sp>
      <p:sp>
        <p:nvSpPr>
          <p:cNvPr id="3" name="Slide Number Placeholder 2">
            <a:extLst>
              <a:ext uri="{FF2B5EF4-FFF2-40B4-BE49-F238E27FC236}">
                <a16:creationId xmlns:a16="http://schemas.microsoft.com/office/drawing/2014/main" id="{150954B8-2239-4B45-B822-09EB6A9A0BD3}"/>
              </a:ext>
            </a:extLst>
          </p:cNvPr>
          <p:cNvSpPr>
            <a:spLocks noGrp="1"/>
          </p:cNvSpPr>
          <p:nvPr>
            <p:ph type="sldNum" sz="quarter" idx="4"/>
          </p:nvPr>
        </p:nvSpPr>
        <p:spPr>
          <a:xfrm>
            <a:off x="10788816" y="4927808"/>
            <a:ext cx="609600"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04F2263D-2B56-3241-AE08-5B72161B4332}" type="slidenum">
              <a:rPr kumimoji="0" lang="it-IT" sz="1080" b="0" i="0" u="none" strike="noStrike" kern="1200" cap="none" spc="0" normalizeH="0" baseline="0" noProof="0" smtClean="0">
                <a:ln>
                  <a:noFill/>
                </a:ln>
                <a:solidFill>
                  <a:prstClr val="white"/>
                </a:solidFill>
                <a:effectLst/>
                <a:uLnTx/>
                <a:uFillTx/>
                <a:latin typeface="Arial"/>
                <a:ea typeface="+mn-ea"/>
                <a:cs typeface="Arial"/>
              </a:rPr>
              <a:pPr marL="0" marR="0" lvl="0" indent="0" algn="l" defTabSz="1219170" rtl="0" eaLnBrk="1" fontAlgn="auto" latinLnBrk="0" hangingPunct="1">
                <a:lnSpc>
                  <a:spcPct val="100000"/>
                </a:lnSpc>
                <a:spcBef>
                  <a:spcPts val="0"/>
                </a:spcBef>
                <a:spcAft>
                  <a:spcPts val="0"/>
                </a:spcAft>
                <a:buClrTx/>
                <a:buSzTx/>
                <a:buFontTx/>
                <a:buNone/>
                <a:tabLst/>
                <a:defRPr/>
              </a:pPr>
              <a:t>47</a:t>
            </a:fld>
            <a:endParaRPr kumimoji="0" lang="it-IT" sz="1080" b="0" i="0" u="none" strike="noStrike" kern="1200" cap="none" spc="0" normalizeH="0" baseline="0" noProof="0" dirty="0">
              <a:ln>
                <a:noFill/>
              </a:ln>
              <a:solidFill>
                <a:prstClr val="white"/>
              </a:solidFill>
              <a:effectLst/>
              <a:uLnTx/>
              <a:uFillTx/>
              <a:latin typeface="Arial"/>
              <a:ea typeface="+mn-ea"/>
              <a:cs typeface="Arial"/>
            </a:endParaRPr>
          </a:p>
        </p:txBody>
      </p:sp>
      <p:grpSp>
        <p:nvGrpSpPr>
          <p:cNvPr id="95" name="Group 90"/>
          <p:cNvGrpSpPr/>
          <p:nvPr/>
        </p:nvGrpSpPr>
        <p:grpSpPr>
          <a:xfrm>
            <a:off x="8960144" y="237259"/>
            <a:ext cx="2430508" cy="289004"/>
            <a:chOff x="9447824" y="732559"/>
            <a:chExt cx="2430508" cy="289004"/>
          </a:xfrm>
        </p:grpSpPr>
        <p:grpSp>
          <p:nvGrpSpPr>
            <p:cNvPr id="97"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111"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113"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99"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107"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109"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101"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103"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105"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sp>
        <p:nvSpPr>
          <p:cNvPr id="115" name="Freeform 42">
            <a:extLst>
              <a:ext uri="{FF2B5EF4-FFF2-40B4-BE49-F238E27FC236}">
                <a16:creationId xmlns:a16="http://schemas.microsoft.com/office/drawing/2014/main" id="{FD8A668A-73DB-4360-97BF-6D959732B5C5}"/>
              </a:ext>
            </a:extLst>
          </p:cNvPr>
          <p:cNvSpPr/>
          <p:nvPr/>
        </p:nvSpPr>
        <p:spPr bwMode="auto">
          <a:xfrm flipV="1">
            <a:off x="1163899" y="1334577"/>
            <a:ext cx="9650129" cy="3276779"/>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96048 h 299074"/>
              <a:gd name="connsiteX4" fmla="*/ 2642777 w 7136640"/>
              <a:gd name="connsiteY4" fmla="*/ 150850 h 299074"/>
              <a:gd name="connsiteX5" fmla="*/ 3302093 w 7136640"/>
              <a:gd name="connsiteY5" fmla="*/ 216159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42777 w 7136640"/>
              <a:gd name="connsiteY4" fmla="*/ 150850 h 299074"/>
              <a:gd name="connsiteX5" fmla="*/ 3302093 w 7136640"/>
              <a:gd name="connsiteY5" fmla="*/ 216159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42777 w 7136640"/>
              <a:gd name="connsiteY4" fmla="*/ 150850 h 299074"/>
              <a:gd name="connsiteX5" fmla="*/ 3302093 w 7136640"/>
              <a:gd name="connsiteY5" fmla="*/ 216158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42777 w 7136640"/>
              <a:gd name="connsiteY4" fmla="*/ 150850 h 299074"/>
              <a:gd name="connsiteX5" fmla="*/ 3295304 w 7136640"/>
              <a:gd name="connsiteY5" fmla="*/ 147170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42777 w 7136640"/>
              <a:gd name="connsiteY4" fmla="*/ 150851 h 299074"/>
              <a:gd name="connsiteX5" fmla="*/ 3295304 w 7136640"/>
              <a:gd name="connsiteY5" fmla="*/ 147170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133266 h 355241"/>
              <a:gd name="connsiteX1" fmla="*/ 700803 w 7136640"/>
              <a:gd name="connsiteY1" fmla="*/ 56172 h 355241"/>
              <a:gd name="connsiteX2" fmla="*/ 1317807 w 7136640"/>
              <a:gd name="connsiteY2" fmla="*/ 136978 h 355241"/>
              <a:gd name="connsiteX3" fmla="*/ 1998846 w 7136640"/>
              <a:gd name="connsiteY3" fmla="*/ 183226 h 355241"/>
              <a:gd name="connsiteX4" fmla="*/ 2635987 w 7136640"/>
              <a:gd name="connsiteY4" fmla="*/ 51 h 355241"/>
              <a:gd name="connsiteX5" fmla="*/ 3295304 w 7136640"/>
              <a:gd name="connsiteY5" fmla="*/ 203337 h 355241"/>
              <a:gd name="connsiteX6" fmla="*/ 3964644 w 7136640"/>
              <a:gd name="connsiteY6" fmla="*/ 83032 h 355241"/>
              <a:gd name="connsiteX7" fmla="*/ 4578995 w 7136640"/>
              <a:gd name="connsiteY7" fmla="*/ 338509 h 355241"/>
              <a:gd name="connsiteX8" fmla="*/ 5236906 w 7136640"/>
              <a:gd name="connsiteY8" fmla="*/ 210735 h 355241"/>
              <a:gd name="connsiteX9" fmla="*/ 5843222 w 7136640"/>
              <a:gd name="connsiteY9" fmla="*/ 353769 h 355241"/>
              <a:gd name="connsiteX10" fmla="*/ 6486411 w 7136640"/>
              <a:gd name="connsiteY10" fmla="*/ 100896 h 355241"/>
              <a:gd name="connsiteX11" fmla="*/ 7136640 w 7136640"/>
              <a:gd name="connsiteY11" fmla="*/ 223647 h 355241"/>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35987 w 7136640"/>
              <a:gd name="connsiteY4" fmla="*/ 81862 h 299074"/>
              <a:gd name="connsiteX5" fmla="*/ 3295304 w 7136640"/>
              <a:gd name="connsiteY5" fmla="*/ 147170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594"/>
              <a:gd name="connsiteX1" fmla="*/ 700803 w 7136640"/>
              <a:gd name="connsiteY1" fmla="*/ 5 h 299594"/>
              <a:gd name="connsiteX2" fmla="*/ 1317807 w 7136640"/>
              <a:gd name="connsiteY2" fmla="*/ 80811 h 299594"/>
              <a:gd name="connsiteX3" fmla="*/ 1998846 w 7136640"/>
              <a:gd name="connsiteY3" fmla="*/ 127059 h 299594"/>
              <a:gd name="connsiteX4" fmla="*/ 2635987 w 7136640"/>
              <a:gd name="connsiteY4" fmla="*/ 81862 h 299594"/>
              <a:gd name="connsiteX5" fmla="*/ 3295304 w 7136640"/>
              <a:gd name="connsiteY5" fmla="*/ 147170 h 299594"/>
              <a:gd name="connsiteX6" fmla="*/ 3964644 w 7136640"/>
              <a:gd name="connsiteY6" fmla="*/ 26865 h 299594"/>
              <a:gd name="connsiteX7" fmla="*/ 4578995 w 7136640"/>
              <a:gd name="connsiteY7" fmla="*/ 6396 h 299594"/>
              <a:gd name="connsiteX8" fmla="*/ 5236906 w 7136640"/>
              <a:gd name="connsiteY8" fmla="*/ 154568 h 299594"/>
              <a:gd name="connsiteX9" fmla="*/ 5843222 w 7136640"/>
              <a:gd name="connsiteY9" fmla="*/ 297602 h 299594"/>
              <a:gd name="connsiteX10" fmla="*/ 6486411 w 7136640"/>
              <a:gd name="connsiteY10" fmla="*/ 44729 h 299594"/>
              <a:gd name="connsiteX11" fmla="*/ 7136640 w 7136640"/>
              <a:gd name="connsiteY11" fmla="*/ 167480 h 299594"/>
              <a:gd name="connsiteX0" fmla="*/ 0 w 7136640"/>
              <a:gd name="connsiteY0" fmla="*/ 77099 h 299433"/>
              <a:gd name="connsiteX1" fmla="*/ 700803 w 7136640"/>
              <a:gd name="connsiteY1" fmla="*/ 5 h 299433"/>
              <a:gd name="connsiteX2" fmla="*/ 1317807 w 7136640"/>
              <a:gd name="connsiteY2" fmla="*/ 80811 h 299433"/>
              <a:gd name="connsiteX3" fmla="*/ 1998846 w 7136640"/>
              <a:gd name="connsiteY3" fmla="*/ 127059 h 299433"/>
              <a:gd name="connsiteX4" fmla="*/ 2635987 w 7136640"/>
              <a:gd name="connsiteY4" fmla="*/ 81862 h 299433"/>
              <a:gd name="connsiteX5" fmla="*/ 3295304 w 7136640"/>
              <a:gd name="connsiteY5" fmla="*/ 147170 h 299433"/>
              <a:gd name="connsiteX6" fmla="*/ 3964644 w 7136640"/>
              <a:gd name="connsiteY6" fmla="*/ 26865 h 299433"/>
              <a:gd name="connsiteX7" fmla="*/ 4578995 w 7136640"/>
              <a:gd name="connsiteY7" fmla="*/ 75378 h 299433"/>
              <a:gd name="connsiteX8" fmla="*/ 5236906 w 7136640"/>
              <a:gd name="connsiteY8" fmla="*/ 154568 h 299433"/>
              <a:gd name="connsiteX9" fmla="*/ 5843222 w 7136640"/>
              <a:gd name="connsiteY9" fmla="*/ 297602 h 299433"/>
              <a:gd name="connsiteX10" fmla="*/ 6486411 w 7136640"/>
              <a:gd name="connsiteY10" fmla="*/ 44729 h 299433"/>
              <a:gd name="connsiteX11" fmla="*/ 7136640 w 7136640"/>
              <a:gd name="connsiteY11" fmla="*/ 167480 h 299433"/>
              <a:gd name="connsiteX0" fmla="*/ 0 w 7136640"/>
              <a:gd name="connsiteY0" fmla="*/ 77099 h 299433"/>
              <a:gd name="connsiteX1" fmla="*/ 700803 w 7136640"/>
              <a:gd name="connsiteY1" fmla="*/ 5 h 299433"/>
              <a:gd name="connsiteX2" fmla="*/ 1317807 w 7136640"/>
              <a:gd name="connsiteY2" fmla="*/ 80811 h 299433"/>
              <a:gd name="connsiteX3" fmla="*/ 1998846 w 7136640"/>
              <a:gd name="connsiteY3" fmla="*/ 127059 h 299433"/>
              <a:gd name="connsiteX4" fmla="*/ 2635987 w 7136640"/>
              <a:gd name="connsiteY4" fmla="*/ 81862 h 299433"/>
              <a:gd name="connsiteX5" fmla="*/ 3295304 w 7136640"/>
              <a:gd name="connsiteY5" fmla="*/ 147170 h 299433"/>
              <a:gd name="connsiteX6" fmla="*/ 3964644 w 7136640"/>
              <a:gd name="connsiteY6" fmla="*/ 26865 h 299433"/>
              <a:gd name="connsiteX7" fmla="*/ 4578995 w 7136640"/>
              <a:gd name="connsiteY7" fmla="*/ 75378 h 299433"/>
              <a:gd name="connsiteX8" fmla="*/ 5236906 w 7136640"/>
              <a:gd name="connsiteY8" fmla="*/ 154568 h 299433"/>
              <a:gd name="connsiteX9" fmla="*/ 5843222 w 7136640"/>
              <a:gd name="connsiteY9" fmla="*/ 297603 h 299433"/>
              <a:gd name="connsiteX10" fmla="*/ 6486411 w 7136640"/>
              <a:gd name="connsiteY10" fmla="*/ 44729 h 299433"/>
              <a:gd name="connsiteX11" fmla="*/ 7136640 w 7136640"/>
              <a:gd name="connsiteY11" fmla="*/ 167480 h 299433"/>
              <a:gd name="connsiteX0" fmla="*/ 0 w 7136640"/>
              <a:gd name="connsiteY0" fmla="*/ 194798 h 285177"/>
              <a:gd name="connsiteX1" fmla="*/ 700803 w 7136640"/>
              <a:gd name="connsiteY1" fmla="*/ 117704 h 285177"/>
              <a:gd name="connsiteX2" fmla="*/ 1317807 w 7136640"/>
              <a:gd name="connsiteY2" fmla="*/ 198510 h 285177"/>
              <a:gd name="connsiteX3" fmla="*/ 1998846 w 7136640"/>
              <a:gd name="connsiteY3" fmla="*/ 244758 h 285177"/>
              <a:gd name="connsiteX4" fmla="*/ 2635987 w 7136640"/>
              <a:gd name="connsiteY4" fmla="*/ 199561 h 285177"/>
              <a:gd name="connsiteX5" fmla="*/ 3295304 w 7136640"/>
              <a:gd name="connsiteY5" fmla="*/ 264869 h 285177"/>
              <a:gd name="connsiteX6" fmla="*/ 3964644 w 7136640"/>
              <a:gd name="connsiteY6" fmla="*/ 144564 h 285177"/>
              <a:gd name="connsiteX7" fmla="*/ 4578995 w 7136640"/>
              <a:gd name="connsiteY7" fmla="*/ 193077 h 285177"/>
              <a:gd name="connsiteX8" fmla="*/ 5236906 w 7136640"/>
              <a:gd name="connsiteY8" fmla="*/ 272267 h 285177"/>
              <a:gd name="connsiteX9" fmla="*/ 5836433 w 7136640"/>
              <a:gd name="connsiteY9" fmla="*/ 1383 h 285177"/>
              <a:gd name="connsiteX10" fmla="*/ 6486411 w 7136640"/>
              <a:gd name="connsiteY10" fmla="*/ 162428 h 285177"/>
              <a:gd name="connsiteX11" fmla="*/ 7136640 w 7136640"/>
              <a:gd name="connsiteY11" fmla="*/ 285179 h 285177"/>
              <a:gd name="connsiteX0" fmla="*/ 0 w 7136640"/>
              <a:gd name="connsiteY0" fmla="*/ 77099 h 167478"/>
              <a:gd name="connsiteX1" fmla="*/ 700803 w 7136640"/>
              <a:gd name="connsiteY1" fmla="*/ 5 h 167478"/>
              <a:gd name="connsiteX2" fmla="*/ 1317807 w 7136640"/>
              <a:gd name="connsiteY2" fmla="*/ 80811 h 167478"/>
              <a:gd name="connsiteX3" fmla="*/ 1998846 w 7136640"/>
              <a:gd name="connsiteY3" fmla="*/ 127059 h 167478"/>
              <a:gd name="connsiteX4" fmla="*/ 2635987 w 7136640"/>
              <a:gd name="connsiteY4" fmla="*/ 81862 h 167478"/>
              <a:gd name="connsiteX5" fmla="*/ 3295304 w 7136640"/>
              <a:gd name="connsiteY5" fmla="*/ 147170 h 167478"/>
              <a:gd name="connsiteX6" fmla="*/ 3964644 w 7136640"/>
              <a:gd name="connsiteY6" fmla="*/ 26865 h 167478"/>
              <a:gd name="connsiteX7" fmla="*/ 4578995 w 7136640"/>
              <a:gd name="connsiteY7" fmla="*/ 75378 h 167478"/>
              <a:gd name="connsiteX8" fmla="*/ 5236906 w 7136640"/>
              <a:gd name="connsiteY8" fmla="*/ 154568 h 167478"/>
              <a:gd name="connsiteX9" fmla="*/ 5843223 w 7136640"/>
              <a:gd name="connsiteY9" fmla="*/ 90651 h 167478"/>
              <a:gd name="connsiteX10" fmla="*/ 6486411 w 7136640"/>
              <a:gd name="connsiteY10" fmla="*/ 44729 h 167478"/>
              <a:gd name="connsiteX11" fmla="*/ 7136640 w 7136640"/>
              <a:gd name="connsiteY11" fmla="*/ 167480 h 167478"/>
              <a:gd name="connsiteX0" fmla="*/ 0 w 7136640"/>
              <a:gd name="connsiteY0" fmla="*/ 77099 h 167478"/>
              <a:gd name="connsiteX1" fmla="*/ 700803 w 7136640"/>
              <a:gd name="connsiteY1" fmla="*/ 5 h 167478"/>
              <a:gd name="connsiteX2" fmla="*/ 1317807 w 7136640"/>
              <a:gd name="connsiteY2" fmla="*/ 80811 h 167478"/>
              <a:gd name="connsiteX3" fmla="*/ 1998846 w 7136640"/>
              <a:gd name="connsiteY3" fmla="*/ 127059 h 167478"/>
              <a:gd name="connsiteX4" fmla="*/ 2635987 w 7136640"/>
              <a:gd name="connsiteY4" fmla="*/ 81862 h 167478"/>
              <a:gd name="connsiteX5" fmla="*/ 3295304 w 7136640"/>
              <a:gd name="connsiteY5" fmla="*/ 147170 h 167478"/>
              <a:gd name="connsiteX6" fmla="*/ 3964644 w 7136640"/>
              <a:gd name="connsiteY6" fmla="*/ 26865 h 167478"/>
              <a:gd name="connsiteX7" fmla="*/ 4578995 w 7136640"/>
              <a:gd name="connsiteY7" fmla="*/ 75378 h 167478"/>
              <a:gd name="connsiteX8" fmla="*/ 5236906 w 7136640"/>
              <a:gd name="connsiteY8" fmla="*/ 16590 h 167478"/>
              <a:gd name="connsiteX9" fmla="*/ 5843223 w 7136640"/>
              <a:gd name="connsiteY9" fmla="*/ 90651 h 167478"/>
              <a:gd name="connsiteX10" fmla="*/ 6486411 w 7136640"/>
              <a:gd name="connsiteY10" fmla="*/ 44729 h 167478"/>
              <a:gd name="connsiteX11" fmla="*/ 7136640 w 7136640"/>
              <a:gd name="connsiteY11" fmla="*/ 167480 h 167478"/>
              <a:gd name="connsiteX0" fmla="*/ 0 w 7136640"/>
              <a:gd name="connsiteY0" fmla="*/ 77099 h 167478"/>
              <a:gd name="connsiteX1" fmla="*/ 700803 w 7136640"/>
              <a:gd name="connsiteY1" fmla="*/ 5 h 167478"/>
              <a:gd name="connsiteX2" fmla="*/ 1317807 w 7136640"/>
              <a:gd name="connsiteY2" fmla="*/ 80811 h 167478"/>
              <a:gd name="connsiteX3" fmla="*/ 1998846 w 7136640"/>
              <a:gd name="connsiteY3" fmla="*/ 127059 h 167478"/>
              <a:gd name="connsiteX4" fmla="*/ 2635987 w 7136640"/>
              <a:gd name="connsiteY4" fmla="*/ 81862 h 167478"/>
              <a:gd name="connsiteX5" fmla="*/ 3295304 w 7136640"/>
              <a:gd name="connsiteY5" fmla="*/ 147170 h 167478"/>
              <a:gd name="connsiteX6" fmla="*/ 3964644 w 7136640"/>
              <a:gd name="connsiteY6" fmla="*/ 26865 h 167478"/>
              <a:gd name="connsiteX7" fmla="*/ 4578995 w 7136640"/>
              <a:gd name="connsiteY7" fmla="*/ 75378 h 167478"/>
              <a:gd name="connsiteX8" fmla="*/ 5236906 w 7136640"/>
              <a:gd name="connsiteY8" fmla="*/ 16590 h 167478"/>
              <a:gd name="connsiteX9" fmla="*/ 5843223 w 7136640"/>
              <a:gd name="connsiteY9" fmla="*/ 90651 h 167478"/>
              <a:gd name="connsiteX10" fmla="*/ 6486411 w 7136640"/>
              <a:gd name="connsiteY10" fmla="*/ 44729 h 167478"/>
              <a:gd name="connsiteX11" fmla="*/ 7136640 w 7136640"/>
              <a:gd name="connsiteY11" fmla="*/ 167478 h 167478"/>
              <a:gd name="connsiteX0" fmla="*/ 0 w 7163798"/>
              <a:gd name="connsiteY0" fmla="*/ 806596 h 877465"/>
              <a:gd name="connsiteX1" fmla="*/ 700803 w 7163798"/>
              <a:gd name="connsiteY1" fmla="*/ 729502 h 877465"/>
              <a:gd name="connsiteX2" fmla="*/ 1317807 w 7163798"/>
              <a:gd name="connsiteY2" fmla="*/ 810308 h 877465"/>
              <a:gd name="connsiteX3" fmla="*/ 1998846 w 7163798"/>
              <a:gd name="connsiteY3" fmla="*/ 856556 h 877465"/>
              <a:gd name="connsiteX4" fmla="*/ 2635987 w 7163798"/>
              <a:gd name="connsiteY4" fmla="*/ 811359 h 877465"/>
              <a:gd name="connsiteX5" fmla="*/ 3295304 w 7163798"/>
              <a:gd name="connsiteY5" fmla="*/ 876667 h 877465"/>
              <a:gd name="connsiteX6" fmla="*/ 3964644 w 7163798"/>
              <a:gd name="connsiteY6" fmla="*/ 756362 h 877465"/>
              <a:gd name="connsiteX7" fmla="*/ 4578995 w 7163798"/>
              <a:gd name="connsiteY7" fmla="*/ 804875 h 877465"/>
              <a:gd name="connsiteX8" fmla="*/ 5236906 w 7163798"/>
              <a:gd name="connsiteY8" fmla="*/ 746087 h 877465"/>
              <a:gd name="connsiteX9" fmla="*/ 5843223 w 7163798"/>
              <a:gd name="connsiteY9" fmla="*/ 820148 h 877465"/>
              <a:gd name="connsiteX10" fmla="*/ 6486411 w 7163798"/>
              <a:gd name="connsiteY10" fmla="*/ 774226 h 877465"/>
              <a:gd name="connsiteX11" fmla="*/ 7163798 w 7163798"/>
              <a:gd name="connsiteY11" fmla="*/ 139 h 877465"/>
              <a:gd name="connsiteX0" fmla="*/ 0 w 7150220"/>
              <a:gd name="connsiteY0" fmla="*/ 77099 h 147968"/>
              <a:gd name="connsiteX1" fmla="*/ 700803 w 7150220"/>
              <a:gd name="connsiteY1" fmla="*/ 5 h 147968"/>
              <a:gd name="connsiteX2" fmla="*/ 1317807 w 7150220"/>
              <a:gd name="connsiteY2" fmla="*/ 80811 h 147968"/>
              <a:gd name="connsiteX3" fmla="*/ 1998846 w 7150220"/>
              <a:gd name="connsiteY3" fmla="*/ 127059 h 147968"/>
              <a:gd name="connsiteX4" fmla="*/ 2635987 w 7150220"/>
              <a:gd name="connsiteY4" fmla="*/ 81862 h 147968"/>
              <a:gd name="connsiteX5" fmla="*/ 3295304 w 7150220"/>
              <a:gd name="connsiteY5" fmla="*/ 147170 h 147968"/>
              <a:gd name="connsiteX6" fmla="*/ 3964644 w 7150220"/>
              <a:gd name="connsiteY6" fmla="*/ 26865 h 147968"/>
              <a:gd name="connsiteX7" fmla="*/ 4578995 w 7150220"/>
              <a:gd name="connsiteY7" fmla="*/ 75378 h 147968"/>
              <a:gd name="connsiteX8" fmla="*/ 5236906 w 7150220"/>
              <a:gd name="connsiteY8" fmla="*/ 16590 h 147968"/>
              <a:gd name="connsiteX9" fmla="*/ 5843223 w 7150220"/>
              <a:gd name="connsiteY9" fmla="*/ 90651 h 147968"/>
              <a:gd name="connsiteX10" fmla="*/ 6486411 w 7150220"/>
              <a:gd name="connsiteY10" fmla="*/ 44729 h 147968"/>
              <a:gd name="connsiteX11" fmla="*/ 7150220 w 7150220"/>
              <a:gd name="connsiteY11" fmla="*/ 29508 h 147968"/>
              <a:gd name="connsiteX0" fmla="*/ 0 w 7048299"/>
              <a:gd name="connsiteY0" fmla="*/ 19313041 h 19313040"/>
              <a:gd name="connsiteX1" fmla="*/ 598882 w 7048299"/>
              <a:gd name="connsiteY1" fmla="*/ 1311431 h 19313040"/>
              <a:gd name="connsiteX2" fmla="*/ 1215886 w 7048299"/>
              <a:gd name="connsiteY2" fmla="*/ 1392237 h 19313040"/>
              <a:gd name="connsiteX3" fmla="*/ 1896925 w 7048299"/>
              <a:gd name="connsiteY3" fmla="*/ 1438485 h 19313040"/>
              <a:gd name="connsiteX4" fmla="*/ 2534066 w 7048299"/>
              <a:gd name="connsiteY4" fmla="*/ 1393288 h 19313040"/>
              <a:gd name="connsiteX5" fmla="*/ 3193383 w 7048299"/>
              <a:gd name="connsiteY5" fmla="*/ 1458596 h 19313040"/>
              <a:gd name="connsiteX6" fmla="*/ 3862723 w 7048299"/>
              <a:gd name="connsiteY6" fmla="*/ 1338291 h 19313040"/>
              <a:gd name="connsiteX7" fmla="*/ 4477074 w 7048299"/>
              <a:gd name="connsiteY7" fmla="*/ 1386804 h 19313040"/>
              <a:gd name="connsiteX8" fmla="*/ 5134985 w 7048299"/>
              <a:gd name="connsiteY8" fmla="*/ 1328016 h 19313040"/>
              <a:gd name="connsiteX9" fmla="*/ 5741302 w 7048299"/>
              <a:gd name="connsiteY9" fmla="*/ 1402077 h 19313040"/>
              <a:gd name="connsiteX10" fmla="*/ 6384490 w 7048299"/>
              <a:gd name="connsiteY10" fmla="*/ 1356155 h 19313040"/>
              <a:gd name="connsiteX11" fmla="*/ 7048299 w 7048299"/>
              <a:gd name="connsiteY11" fmla="*/ 1340934 h 19313040"/>
              <a:gd name="connsiteX0" fmla="*/ 0 w 7048299"/>
              <a:gd name="connsiteY0" fmla="*/ 19587234 h 25052770"/>
              <a:gd name="connsiteX1" fmla="*/ 740004 w 7048299"/>
              <a:gd name="connsiteY1" fmla="*/ 24369682 h 25052770"/>
              <a:gd name="connsiteX2" fmla="*/ 1215886 w 7048299"/>
              <a:gd name="connsiteY2" fmla="*/ 1666430 h 25052770"/>
              <a:gd name="connsiteX3" fmla="*/ 1896925 w 7048299"/>
              <a:gd name="connsiteY3" fmla="*/ 1712678 h 25052770"/>
              <a:gd name="connsiteX4" fmla="*/ 2534066 w 7048299"/>
              <a:gd name="connsiteY4" fmla="*/ 1667481 h 25052770"/>
              <a:gd name="connsiteX5" fmla="*/ 3193383 w 7048299"/>
              <a:gd name="connsiteY5" fmla="*/ 1732789 h 25052770"/>
              <a:gd name="connsiteX6" fmla="*/ 3862723 w 7048299"/>
              <a:gd name="connsiteY6" fmla="*/ 1612484 h 25052770"/>
              <a:gd name="connsiteX7" fmla="*/ 4477074 w 7048299"/>
              <a:gd name="connsiteY7" fmla="*/ 1660997 h 25052770"/>
              <a:gd name="connsiteX8" fmla="*/ 5134985 w 7048299"/>
              <a:gd name="connsiteY8" fmla="*/ 1602209 h 25052770"/>
              <a:gd name="connsiteX9" fmla="*/ 5741302 w 7048299"/>
              <a:gd name="connsiteY9" fmla="*/ 1676270 h 25052770"/>
              <a:gd name="connsiteX10" fmla="*/ 6384490 w 7048299"/>
              <a:gd name="connsiteY10" fmla="*/ 1630348 h 25052770"/>
              <a:gd name="connsiteX11" fmla="*/ 7048299 w 7048299"/>
              <a:gd name="connsiteY11" fmla="*/ 1615127 h 25052770"/>
              <a:gd name="connsiteX0" fmla="*/ 0 w 7048299"/>
              <a:gd name="connsiteY0" fmla="*/ 19587234 h 24701303"/>
              <a:gd name="connsiteX1" fmla="*/ 740004 w 7048299"/>
              <a:gd name="connsiteY1" fmla="*/ 24369682 h 24701303"/>
              <a:gd name="connsiteX2" fmla="*/ 1215886 w 7048299"/>
              <a:gd name="connsiteY2" fmla="*/ 1666430 h 24701303"/>
              <a:gd name="connsiteX3" fmla="*/ 1896925 w 7048299"/>
              <a:gd name="connsiteY3" fmla="*/ 1712678 h 24701303"/>
              <a:gd name="connsiteX4" fmla="*/ 2534066 w 7048299"/>
              <a:gd name="connsiteY4" fmla="*/ 1667481 h 24701303"/>
              <a:gd name="connsiteX5" fmla="*/ 3193383 w 7048299"/>
              <a:gd name="connsiteY5" fmla="*/ 1732789 h 24701303"/>
              <a:gd name="connsiteX6" fmla="*/ 3862723 w 7048299"/>
              <a:gd name="connsiteY6" fmla="*/ 1612484 h 24701303"/>
              <a:gd name="connsiteX7" fmla="*/ 4477074 w 7048299"/>
              <a:gd name="connsiteY7" fmla="*/ 1660997 h 24701303"/>
              <a:gd name="connsiteX8" fmla="*/ 5134985 w 7048299"/>
              <a:gd name="connsiteY8" fmla="*/ 1602209 h 24701303"/>
              <a:gd name="connsiteX9" fmla="*/ 5741302 w 7048299"/>
              <a:gd name="connsiteY9" fmla="*/ 1676270 h 24701303"/>
              <a:gd name="connsiteX10" fmla="*/ 6384490 w 7048299"/>
              <a:gd name="connsiteY10" fmla="*/ 1630348 h 24701303"/>
              <a:gd name="connsiteX11" fmla="*/ 7048299 w 7048299"/>
              <a:gd name="connsiteY11" fmla="*/ 1615127 h 24701303"/>
              <a:gd name="connsiteX0" fmla="*/ 0 w 7048299"/>
              <a:gd name="connsiteY0" fmla="*/ 19793763 h 27609838"/>
              <a:gd name="connsiteX1" fmla="*/ 732164 w 7048299"/>
              <a:gd name="connsiteY1" fmla="*/ 27364471 h 27609838"/>
              <a:gd name="connsiteX2" fmla="*/ 1215886 w 7048299"/>
              <a:gd name="connsiteY2" fmla="*/ 1872959 h 27609838"/>
              <a:gd name="connsiteX3" fmla="*/ 1896925 w 7048299"/>
              <a:gd name="connsiteY3" fmla="*/ 1919207 h 27609838"/>
              <a:gd name="connsiteX4" fmla="*/ 2534066 w 7048299"/>
              <a:gd name="connsiteY4" fmla="*/ 1874010 h 27609838"/>
              <a:gd name="connsiteX5" fmla="*/ 3193383 w 7048299"/>
              <a:gd name="connsiteY5" fmla="*/ 1939318 h 27609838"/>
              <a:gd name="connsiteX6" fmla="*/ 3862723 w 7048299"/>
              <a:gd name="connsiteY6" fmla="*/ 1819013 h 27609838"/>
              <a:gd name="connsiteX7" fmla="*/ 4477074 w 7048299"/>
              <a:gd name="connsiteY7" fmla="*/ 1867526 h 27609838"/>
              <a:gd name="connsiteX8" fmla="*/ 5134985 w 7048299"/>
              <a:gd name="connsiteY8" fmla="*/ 1808738 h 27609838"/>
              <a:gd name="connsiteX9" fmla="*/ 5741302 w 7048299"/>
              <a:gd name="connsiteY9" fmla="*/ 1882799 h 27609838"/>
              <a:gd name="connsiteX10" fmla="*/ 6384490 w 7048299"/>
              <a:gd name="connsiteY10" fmla="*/ 1836877 h 27609838"/>
              <a:gd name="connsiteX11" fmla="*/ 7048299 w 7048299"/>
              <a:gd name="connsiteY11" fmla="*/ 1821656 h 27609838"/>
              <a:gd name="connsiteX0" fmla="*/ 0 w 7048299"/>
              <a:gd name="connsiteY0" fmla="*/ 19793763 h 27395632"/>
              <a:gd name="connsiteX1" fmla="*/ 732164 w 7048299"/>
              <a:gd name="connsiteY1" fmla="*/ 27364471 h 27395632"/>
              <a:gd name="connsiteX2" fmla="*/ 1215886 w 7048299"/>
              <a:gd name="connsiteY2" fmla="*/ 1872959 h 27395632"/>
              <a:gd name="connsiteX3" fmla="*/ 1896925 w 7048299"/>
              <a:gd name="connsiteY3" fmla="*/ 1919207 h 27395632"/>
              <a:gd name="connsiteX4" fmla="*/ 2534066 w 7048299"/>
              <a:gd name="connsiteY4" fmla="*/ 1874010 h 27395632"/>
              <a:gd name="connsiteX5" fmla="*/ 3193383 w 7048299"/>
              <a:gd name="connsiteY5" fmla="*/ 1939318 h 27395632"/>
              <a:gd name="connsiteX6" fmla="*/ 3862723 w 7048299"/>
              <a:gd name="connsiteY6" fmla="*/ 1819013 h 27395632"/>
              <a:gd name="connsiteX7" fmla="*/ 4477074 w 7048299"/>
              <a:gd name="connsiteY7" fmla="*/ 1867526 h 27395632"/>
              <a:gd name="connsiteX8" fmla="*/ 5134985 w 7048299"/>
              <a:gd name="connsiteY8" fmla="*/ 1808738 h 27395632"/>
              <a:gd name="connsiteX9" fmla="*/ 5741302 w 7048299"/>
              <a:gd name="connsiteY9" fmla="*/ 1882799 h 27395632"/>
              <a:gd name="connsiteX10" fmla="*/ 6384490 w 7048299"/>
              <a:gd name="connsiteY10" fmla="*/ 1836877 h 27395632"/>
              <a:gd name="connsiteX11" fmla="*/ 7048299 w 7048299"/>
              <a:gd name="connsiteY11" fmla="*/ 1821656 h 27395632"/>
              <a:gd name="connsiteX0" fmla="*/ 0 w 7048299"/>
              <a:gd name="connsiteY0" fmla="*/ 18459614 h 26238131"/>
              <a:gd name="connsiteX1" fmla="*/ 732164 w 7048299"/>
              <a:gd name="connsiteY1" fmla="*/ 26030322 h 26238131"/>
              <a:gd name="connsiteX2" fmla="*/ 1333488 w 7048299"/>
              <a:gd name="connsiteY2" fmla="*/ 8266266 h 26238131"/>
              <a:gd name="connsiteX3" fmla="*/ 1896925 w 7048299"/>
              <a:gd name="connsiteY3" fmla="*/ 585058 h 26238131"/>
              <a:gd name="connsiteX4" fmla="*/ 2534066 w 7048299"/>
              <a:gd name="connsiteY4" fmla="*/ 539861 h 26238131"/>
              <a:gd name="connsiteX5" fmla="*/ 3193383 w 7048299"/>
              <a:gd name="connsiteY5" fmla="*/ 605169 h 26238131"/>
              <a:gd name="connsiteX6" fmla="*/ 3862723 w 7048299"/>
              <a:gd name="connsiteY6" fmla="*/ 484864 h 26238131"/>
              <a:gd name="connsiteX7" fmla="*/ 4477074 w 7048299"/>
              <a:gd name="connsiteY7" fmla="*/ 533377 h 26238131"/>
              <a:gd name="connsiteX8" fmla="*/ 5134985 w 7048299"/>
              <a:gd name="connsiteY8" fmla="*/ 474589 h 26238131"/>
              <a:gd name="connsiteX9" fmla="*/ 5741302 w 7048299"/>
              <a:gd name="connsiteY9" fmla="*/ 548650 h 26238131"/>
              <a:gd name="connsiteX10" fmla="*/ 6384490 w 7048299"/>
              <a:gd name="connsiteY10" fmla="*/ 502728 h 26238131"/>
              <a:gd name="connsiteX11" fmla="*/ 7048299 w 7048299"/>
              <a:gd name="connsiteY11" fmla="*/ 487507 h 26238131"/>
              <a:gd name="connsiteX0" fmla="*/ 0 w 7048299"/>
              <a:gd name="connsiteY0" fmla="*/ 18571686 h 26299436"/>
              <a:gd name="connsiteX1" fmla="*/ 732164 w 7048299"/>
              <a:gd name="connsiteY1" fmla="*/ 26142394 h 26299436"/>
              <a:gd name="connsiteX2" fmla="*/ 1349168 w 7048299"/>
              <a:gd name="connsiteY2" fmla="*/ 9891967 h 26299436"/>
              <a:gd name="connsiteX3" fmla="*/ 1896925 w 7048299"/>
              <a:gd name="connsiteY3" fmla="*/ 697130 h 26299436"/>
              <a:gd name="connsiteX4" fmla="*/ 2534066 w 7048299"/>
              <a:gd name="connsiteY4" fmla="*/ 651933 h 26299436"/>
              <a:gd name="connsiteX5" fmla="*/ 3193383 w 7048299"/>
              <a:gd name="connsiteY5" fmla="*/ 717241 h 26299436"/>
              <a:gd name="connsiteX6" fmla="*/ 3862723 w 7048299"/>
              <a:gd name="connsiteY6" fmla="*/ 596936 h 26299436"/>
              <a:gd name="connsiteX7" fmla="*/ 4477074 w 7048299"/>
              <a:gd name="connsiteY7" fmla="*/ 645449 h 26299436"/>
              <a:gd name="connsiteX8" fmla="*/ 5134985 w 7048299"/>
              <a:gd name="connsiteY8" fmla="*/ 586661 h 26299436"/>
              <a:gd name="connsiteX9" fmla="*/ 5741302 w 7048299"/>
              <a:gd name="connsiteY9" fmla="*/ 660722 h 26299436"/>
              <a:gd name="connsiteX10" fmla="*/ 6384490 w 7048299"/>
              <a:gd name="connsiteY10" fmla="*/ 614800 h 26299436"/>
              <a:gd name="connsiteX11" fmla="*/ 7048299 w 7048299"/>
              <a:gd name="connsiteY11" fmla="*/ 599579 h 26299436"/>
              <a:gd name="connsiteX0" fmla="*/ 0 w 7048299"/>
              <a:gd name="connsiteY0" fmla="*/ 19197098 h 26767959"/>
              <a:gd name="connsiteX1" fmla="*/ 732164 w 7048299"/>
              <a:gd name="connsiteY1" fmla="*/ 26767806 h 26767959"/>
              <a:gd name="connsiteX2" fmla="*/ 1270768 w 7048299"/>
              <a:gd name="connsiteY2" fmla="*/ 18961815 h 26767959"/>
              <a:gd name="connsiteX3" fmla="*/ 1896925 w 7048299"/>
              <a:gd name="connsiteY3" fmla="*/ 1322542 h 26767959"/>
              <a:gd name="connsiteX4" fmla="*/ 2534066 w 7048299"/>
              <a:gd name="connsiteY4" fmla="*/ 1277345 h 26767959"/>
              <a:gd name="connsiteX5" fmla="*/ 3193383 w 7048299"/>
              <a:gd name="connsiteY5" fmla="*/ 1342653 h 26767959"/>
              <a:gd name="connsiteX6" fmla="*/ 3862723 w 7048299"/>
              <a:gd name="connsiteY6" fmla="*/ 1222348 h 26767959"/>
              <a:gd name="connsiteX7" fmla="*/ 4477074 w 7048299"/>
              <a:gd name="connsiteY7" fmla="*/ 1270861 h 26767959"/>
              <a:gd name="connsiteX8" fmla="*/ 5134985 w 7048299"/>
              <a:gd name="connsiteY8" fmla="*/ 1212073 h 26767959"/>
              <a:gd name="connsiteX9" fmla="*/ 5741302 w 7048299"/>
              <a:gd name="connsiteY9" fmla="*/ 1286134 h 26767959"/>
              <a:gd name="connsiteX10" fmla="*/ 6384490 w 7048299"/>
              <a:gd name="connsiteY10" fmla="*/ 1240212 h 26767959"/>
              <a:gd name="connsiteX11" fmla="*/ 7048299 w 7048299"/>
              <a:gd name="connsiteY11" fmla="*/ 1224991 h 26767959"/>
              <a:gd name="connsiteX0" fmla="*/ 0 w 7048299"/>
              <a:gd name="connsiteY0" fmla="*/ 19427221 h 27111442"/>
              <a:gd name="connsiteX1" fmla="*/ 732164 w 7048299"/>
              <a:gd name="connsiteY1" fmla="*/ 26997929 h 27111442"/>
              <a:gd name="connsiteX2" fmla="*/ 1223728 w 7048299"/>
              <a:gd name="connsiteY2" fmla="*/ 22298856 h 27111442"/>
              <a:gd name="connsiteX3" fmla="*/ 1896925 w 7048299"/>
              <a:gd name="connsiteY3" fmla="*/ 1552665 h 27111442"/>
              <a:gd name="connsiteX4" fmla="*/ 2534066 w 7048299"/>
              <a:gd name="connsiteY4" fmla="*/ 1507468 h 27111442"/>
              <a:gd name="connsiteX5" fmla="*/ 3193383 w 7048299"/>
              <a:gd name="connsiteY5" fmla="*/ 1572776 h 27111442"/>
              <a:gd name="connsiteX6" fmla="*/ 3862723 w 7048299"/>
              <a:gd name="connsiteY6" fmla="*/ 1452471 h 27111442"/>
              <a:gd name="connsiteX7" fmla="*/ 4477074 w 7048299"/>
              <a:gd name="connsiteY7" fmla="*/ 1500984 h 27111442"/>
              <a:gd name="connsiteX8" fmla="*/ 5134985 w 7048299"/>
              <a:gd name="connsiteY8" fmla="*/ 1442196 h 27111442"/>
              <a:gd name="connsiteX9" fmla="*/ 5741302 w 7048299"/>
              <a:gd name="connsiteY9" fmla="*/ 1516257 h 27111442"/>
              <a:gd name="connsiteX10" fmla="*/ 6384490 w 7048299"/>
              <a:gd name="connsiteY10" fmla="*/ 1470335 h 27111442"/>
              <a:gd name="connsiteX11" fmla="*/ 7048299 w 7048299"/>
              <a:gd name="connsiteY11" fmla="*/ 1455114 h 27111442"/>
              <a:gd name="connsiteX0" fmla="*/ 0 w 7048299"/>
              <a:gd name="connsiteY0" fmla="*/ 19474424 h 27257061"/>
              <a:gd name="connsiteX1" fmla="*/ 732164 w 7048299"/>
              <a:gd name="connsiteY1" fmla="*/ 27045132 h 27257061"/>
              <a:gd name="connsiteX2" fmla="*/ 1270768 w 7048299"/>
              <a:gd name="connsiteY2" fmla="*/ 22983377 h 27257061"/>
              <a:gd name="connsiteX3" fmla="*/ 1896925 w 7048299"/>
              <a:gd name="connsiteY3" fmla="*/ 1599868 h 27257061"/>
              <a:gd name="connsiteX4" fmla="*/ 2534066 w 7048299"/>
              <a:gd name="connsiteY4" fmla="*/ 1554671 h 27257061"/>
              <a:gd name="connsiteX5" fmla="*/ 3193383 w 7048299"/>
              <a:gd name="connsiteY5" fmla="*/ 1619979 h 27257061"/>
              <a:gd name="connsiteX6" fmla="*/ 3862723 w 7048299"/>
              <a:gd name="connsiteY6" fmla="*/ 1499674 h 27257061"/>
              <a:gd name="connsiteX7" fmla="*/ 4477074 w 7048299"/>
              <a:gd name="connsiteY7" fmla="*/ 1548187 h 27257061"/>
              <a:gd name="connsiteX8" fmla="*/ 5134985 w 7048299"/>
              <a:gd name="connsiteY8" fmla="*/ 1489399 h 27257061"/>
              <a:gd name="connsiteX9" fmla="*/ 5741302 w 7048299"/>
              <a:gd name="connsiteY9" fmla="*/ 1563460 h 27257061"/>
              <a:gd name="connsiteX10" fmla="*/ 6384490 w 7048299"/>
              <a:gd name="connsiteY10" fmla="*/ 1517538 h 27257061"/>
              <a:gd name="connsiteX11" fmla="*/ 7048299 w 7048299"/>
              <a:gd name="connsiteY11" fmla="*/ 1502317 h 27257061"/>
              <a:gd name="connsiteX0" fmla="*/ 0 w 7048299"/>
              <a:gd name="connsiteY0" fmla="*/ 19474424 h 27216759"/>
              <a:gd name="connsiteX1" fmla="*/ 732164 w 7048299"/>
              <a:gd name="connsiteY1" fmla="*/ 27045132 h 27216759"/>
              <a:gd name="connsiteX2" fmla="*/ 1270768 w 7048299"/>
              <a:gd name="connsiteY2" fmla="*/ 22983377 h 27216759"/>
              <a:gd name="connsiteX3" fmla="*/ 1896925 w 7048299"/>
              <a:gd name="connsiteY3" fmla="*/ 1599868 h 27216759"/>
              <a:gd name="connsiteX4" fmla="*/ 2534066 w 7048299"/>
              <a:gd name="connsiteY4" fmla="*/ 1554671 h 27216759"/>
              <a:gd name="connsiteX5" fmla="*/ 3193383 w 7048299"/>
              <a:gd name="connsiteY5" fmla="*/ 1619979 h 27216759"/>
              <a:gd name="connsiteX6" fmla="*/ 3862723 w 7048299"/>
              <a:gd name="connsiteY6" fmla="*/ 1499674 h 27216759"/>
              <a:gd name="connsiteX7" fmla="*/ 4477074 w 7048299"/>
              <a:gd name="connsiteY7" fmla="*/ 1548187 h 27216759"/>
              <a:gd name="connsiteX8" fmla="*/ 5134985 w 7048299"/>
              <a:gd name="connsiteY8" fmla="*/ 1489399 h 27216759"/>
              <a:gd name="connsiteX9" fmla="*/ 5741302 w 7048299"/>
              <a:gd name="connsiteY9" fmla="*/ 1563460 h 27216759"/>
              <a:gd name="connsiteX10" fmla="*/ 6384490 w 7048299"/>
              <a:gd name="connsiteY10" fmla="*/ 1517538 h 27216759"/>
              <a:gd name="connsiteX11" fmla="*/ 7048299 w 7048299"/>
              <a:gd name="connsiteY11" fmla="*/ 1502317 h 27216759"/>
              <a:gd name="connsiteX0" fmla="*/ 0 w 7048299"/>
              <a:gd name="connsiteY0" fmla="*/ 19415417 h 27065227"/>
              <a:gd name="connsiteX1" fmla="*/ 732164 w 7048299"/>
              <a:gd name="connsiteY1" fmla="*/ 26986125 h 27065227"/>
              <a:gd name="connsiteX2" fmla="*/ 1325649 w 7048299"/>
              <a:gd name="connsiteY2" fmla="*/ 22127726 h 27065227"/>
              <a:gd name="connsiteX3" fmla="*/ 1896925 w 7048299"/>
              <a:gd name="connsiteY3" fmla="*/ 1540861 h 27065227"/>
              <a:gd name="connsiteX4" fmla="*/ 2534066 w 7048299"/>
              <a:gd name="connsiteY4" fmla="*/ 1495664 h 27065227"/>
              <a:gd name="connsiteX5" fmla="*/ 3193383 w 7048299"/>
              <a:gd name="connsiteY5" fmla="*/ 1560972 h 27065227"/>
              <a:gd name="connsiteX6" fmla="*/ 3862723 w 7048299"/>
              <a:gd name="connsiteY6" fmla="*/ 1440667 h 27065227"/>
              <a:gd name="connsiteX7" fmla="*/ 4477074 w 7048299"/>
              <a:gd name="connsiteY7" fmla="*/ 1489180 h 27065227"/>
              <a:gd name="connsiteX8" fmla="*/ 5134985 w 7048299"/>
              <a:gd name="connsiteY8" fmla="*/ 1430392 h 27065227"/>
              <a:gd name="connsiteX9" fmla="*/ 5741302 w 7048299"/>
              <a:gd name="connsiteY9" fmla="*/ 1504453 h 27065227"/>
              <a:gd name="connsiteX10" fmla="*/ 6384490 w 7048299"/>
              <a:gd name="connsiteY10" fmla="*/ 1458531 h 27065227"/>
              <a:gd name="connsiteX11" fmla="*/ 7048299 w 7048299"/>
              <a:gd name="connsiteY11" fmla="*/ 1443310 h 27065227"/>
              <a:gd name="connsiteX0" fmla="*/ 0 w 7048299"/>
              <a:gd name="connsiteY0" fmla="*/ 19415417 h 27065227"/>
              <a:gd name="connsiteX1" fmla="*/ 732164 w 7048299"/>
              <a:gd name="connsiteY1" fmla="*/ 26986125 h 27065227"/>
              <a:gd name="connsiteX2" fmla="*/ 1325649 w 7048299"/>
              <a:gd name="connsiteY2" fmla="*/ 22127725 h 27065227"/>
              <a:gd name="connsiteX3" fmla="*/ 1896925 w 7048299"/>
              <a:gd name="connsiteY3" fmla="*/ 1540861 h 27065227"/>
              <a:gd name="connsiteX4" fmla="*/ 2534066 w 7048299"/>
              <a:gd name="connsiteY4" fmla="*/ 1495664 h 27065227"/>
              <a:gd name="connsiteX5" fmla="*/ 3193383 w 7048299"/>
              <a:gd name="connsiteY5" fmla="*/ 1560972 h 27065227"/>
              <a:gd name="connsiteX6" fmla="*/ 3862723 w 7048299"/>
              <a:gd name="connsiteY6" fmla="*/ 1440667 h 27065227"/>
              <a:gd name="connsiteX7" fmla="*/ 4477074 w 7048299"/>
              <a:gd name="connsiteY7" fmla="*/ 1489180 h 27065227"/>
              <a:gd name="connsiteX8" fmla="*/ 5134985 w 7048299"/>
              <a:gd name="connsiteY8" fmla="*/ 1430392 h 27065227"/>
              <a:gd name="connsiteX9" fmla="*/ 5741302 w 7048299"/>
              <a:gd name="connsiteY9" fmla="*/ 1504453 h 27065227"/>
              <a:gd name="connsiteX10" fmla="*/ 6384490 w 7048299"/>
              <a:gd name="connsiteY10" fmla="*/ 1458531 h 27065227"/>
              <a:gd name="connsiteX11" fmla="*/ 7048299 w 7048299"/>
              <a:gd name="connsiteY11" fmla="*/ 1443310 h 27065227"/>
              <a:gd name="connsiteX0" fmla="*/ 0 w 7048299"/>
              <a:gd name="connsiteY0" fmla="*/ 17985106 h 25592521"/>
              <a:gd name="connsiteX1" fmla="*/ 732164 w 7048299"/>
              <a:gd name="connsiteY1" fmla="*/ 25555814 h 25592521"/>
              <a:gd name="connsiteX2" fmla="*/ 1325649 w 7048299"/>
              <a:gd name="connsiteY2" fmla="*/ 20697414 h 25592521"/>
              <a:gd name="connsiteX3" fmla="*/ 2006686 w 7048299"/>
              <a:gd name="connsiteY3" fmla="*/ 16760444 h 25592521"/>
              <a:gd name="connsiteX4" fmla="*/ 2534066 w 7048299"/>
              <a:gd name="connsiteY4" fmla="*/ 65353 h 25592521"/>
              <a:gd name="connsiteX5" fmla="*/ 3193383 w 7048299"/>
              <a:gd name="connsiteY5" fmla="*/ 130661 h 25592521"/>
              <a:gd name="connsiteX6" fmla="*/ 3862723 w 7048299"/>
              <a:gd name="connsiteY6" fmla="*/ 10356 h 25592521"/>
              <a:gd name="connsiteX7" fmla="*/ 4477074 w 7048299"/>
              <a:gd name="connsiteY7" fmla="*/ 58869 h 25592521"/>
              <a:gd name="connsiteX8" fmla="*/ 5134985 w 7048299"/>
              <a:gd name="connsiteY8" fmla="*/ 81 h 25592521"/>
              <a:gd name="connsiteX9" fmla="*/ 5741302 w 7048299"/>
              <a:gd name="connsiteY9" fmla="*/ 74142 h 25592521"/>
              <a:gd name="connsiteX10" fmla="*/ 6384490 w 7048299"/>
              <a:gd name="connsiteY10" fmla="*/ 28220 h 25592521"/>
              <a:gd name="connsiteX11" fmla="*/ 7048299 w 7048299"/>
              <a:gd name="connsiteY11" fmla="*/ 12999 h 25592521"/>
              <a:gd name="connsiteX0" fmla="*/ 0 w 7048299"/>
              <a:gd name="connsiteY0" fmla="*/ 17985106 h 25592521"/>
              <a:gd name="connsiteX1" fmla="*/ 732164 w 7048299"/>
              <a:gd name="connsiteY1" fmla="*/ 25555814 h 25592521"/>
              <a:gd name="connsiteX2" fmla="*/ 1325649 w 7048299"/>
              <a:gd name="connsiteY2" fmla="*/ 20697414 h 25592521"/>
              <a:gd name="connsiteX3" fmla="*/ 2006686 w 7048299"/>
              <a:gd name="connsiteY3" fmla="*/ 16760444 h 25592521"/>
              <a:gd name="connsiteX4" fmla="*/ 2534066 w 7048299"/>
              <a:gd name="connsiteY4" fmla="*/ 65353 h 25592521"/>
              <a:gd name="connsiteX5" fmla="*/ 3193383 w 7048299"/>
              <a:gd name="connsiteY5" fmla="*/ 130661 h 25592521"/>
              <a:gd name="connsiteX6" fmla="*/ 3862723 w 7048299"/>
              <a:gd name="connsiteY6" fmla="*/ 10356 h 25592521"/>
              <a:gd name="connsiteX7" fmla="*/ 4477074 w 7048299"/>
              <a:gd name="connsiteY7" fmla="*/ 58869 h 25592521"/>
              <a:gd name="connsiteX8" fmla="*/ 5134985 w 7048299"/>
              <a:gd name="connsiteY8" fmla="*/ 81 h 25592521"/>
              <a:gd name="connsiteX9" fmla="*/ 5741302 w 7048299"/>
              <a:gd name="connsiteY9" fmla="*/ 74142 h 25592521"/>
              <a:gd name="connsiteX10" fmla="*/ 6384490 w 7048299"/>
              <a:gd name="connsiteY10" fmla="*/ 28220 h 25592521"/>
              <a:gd name="connsiteX11" fmla="*/ 7048299 w 7048299"/>
              <a:gd name="connsiteY11" fmla="*/ 12999 h 25592521"/>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534066 w 7048299"/>
              <a:gd name="connsiteY4" fmla="*/ 65353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534066 w 7048299"/>
              <a:gd name="connsiteY4" fmla="*/ 65353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635987 w 7048299"/>
              <a:gd name="connsiteY4" fmla="*/ 19184838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635987 w 7048299"/>
              <a:gd name="connsiteY4" fmla="*/ 19184838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620307 w 7048299"/>
              <a:gd name="connsiteY4" fmla="*/ 21813771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620307 w 7048299"/>
              <a:gd name="connsiteY4" fmla="*/ 22530749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9881166 h 29955846"/>
              <a:gd name="connsiteX1" fmla="*/ 732164 w 7048299"/>
              <a:gd name="connsiteY1" fmla="*/ 27451874 h 29955846"/>
              <a:gd name="connsiteX2" fmla="*/ 1325649 w 7048299"/>
              <a:gd name="connsiteY2" fmla="*/ 22593474 h 29955846"/>
              <a:gd name="connsiteX3" fmla="*/ 1936126 w 7048299"/>
              <a:gd name="connsiteY3" fmla="*/ 25905977 h 29955846"/>
              <a:gd name="connsiteX4" fmla="*/ 2620307 w 7048299"/>
              <a:gd name="connsiteY4" fmla="*/ 24426809 h 29955846"/>
              <a:gd name="connsiteX5" fmla="*/ 3263943 w 7048299"/>
              <a:gd name="connsiteY5" fmla="*/ 27838028 h 29955846"/>
              <a:gd name="connsiteX6" fmla="*/ 3862723 w 7048299"/>
              <a:gd name="connsiteY6" fmla="*/ 1906416 h 29955846"/>
              <a:gd name="connsiteX7" fmla="*/ 4477074 w 7048299"/>
              <a:gd name="connsiteY7" fmla="*/ 1954929 h 29955846"/>
              <a:gd name="connsiteX8" fmla="*/ 5134985 w 7048299"/>
              <a:gd name="connsiteY8" fmla="*/ 1896141 h 29955846"/>
              <a:gd name="connsiteX9" fmla="*/ 5741302 w 7048299"/>
              <a:gd name="connsiteY9" fmla="*/ 1970202 h 29955846"/>
              <a:gd name="connsiteX10" fmla="*/ 6384490 w 7048299"/>
              <a:gd name="connsiteY10" fmla="*/ 1924280 h 29955846"/>
              <a:gd name="connsiteX11" fmla="*/ 7048299 w 7048299"/>
              <a:gd name="connsiteY11" fmla="*/ 1909059 h 29955846"/>
              <a:gd name="connsiteX0" fmla="*/ 0 w 7048299"/>
              <a:gd name="connsiteY0" fmla="*/ 19881166 h 27946470"/>
              <a:gd name="connsiteX1" fmla="*/ 732164 w 7048299"/>
              <a:gd name="connsiteY1" fmla="*/ 27451874 h 27946470"/>
              <a:gd name="connsiteX2" fmla="*/ 1325649 w 7048299"/>
              <a:gd name="connsiteY2" fmla="*/ 22593474 h 27946470"/>
              <a:gd name="connsiteX3" fmla="*/ 1936126 w 7048299"/>
              <a:gd name="connsiteY3" fmla="*/ 25905977 h 27946470"/>
              <a:gd name="connsiteX4" fmla="*/ 2620307 w 7048299"/>
              <a:gd name="connsiteY4" fmla="*/ 24426809 h 27946470"/>
              <a:gd name="connsiteX5" fmla="*/ 3263943 w 7048299"/>
              <a:gd name="connsiteY5" fmla="*/ 27838028 h 27946470"/>
              <a:gd name="connsiteX6" fmla="*/ 3862723 w 7048299"/>
              <a:gd name="connsiteY6" fmla="*/ 1906416 h 27946470"/>
              <a:gd name="connsiteX7" fmla="*/ 4477074 w 7048299"/>
              <a:gd name="connsiteY7" fmla="*/ 1954929 h 27946470"/>
              <a:gd name="connsiteX8" fmla="*/ 5134985 w 7048299"/>
              <a:gd name="connsiteY8" fmla="*/ 1896141 h 27946470"/>
              <a:gd name="connsiteX9" fmla="*/ 5741302 w 7048299"/>
              <a:gd name="connsiteY9" fmla="*/ 1970202 h 27946470"/>
              <a:gd name="connsiteX10" fmla="*/ 6384490 w 7048299"/>
              <a:gd name="connsiteY10" fmla="*/ 1924280 h 27946470"/>
              <a:gd name="connsiteX11" fmla="*/ 7048299 w 7048299"/>
              <a:gd name="connsiteY11" fmla="*/ 1909059 h 27946470"/>
              <a:gd name="connsiteX0" fmla="*/ 0 w 7048299"/>
              <a:gd name="connsiteY0" fmla="*/ 19910673 h 28366370"/>
              <a:gd name="connsiteX1" fmla="*/ 732164 w 7048299"/>
              <a:gd name="connsiteY1" fmla="*/ 27481381 h 28366370"/>
              <a:gd name="connsiteX2" fmla="*/ 1325649 w 7048299"/>
              <a:gd name="connsiteY2" fmla="*/ 22622981 h 28366370"/>
              <a:gd name="connsiteX3" fmla="*/ 1936126 w 7048299"/>
              <a:gd name="connsiteY3" fmla="*/ 25935484 h 28366370"/>
              <a:gd name="connsiteX4" fmla="*/ 2620307 w 7048299"/>
              <a:gd name="connsiteY4" fmla="*/ 24456316 h 28366370"/>
              <a:gd name="connsiteX5" fmla="*/ 3248263 w 7048299"/>
              <a:gd name="connsiteY5" fmla="*/ 28265861 h 28366370"/>
              <a:gd name="connsiteX6" fmla="*/ 3862723 w 7048299"/>
              <a:gd name="connsiteY6" fmla="*/ 1935923 h 28366370"/>
              <a:gd name="connsiteX7" fmla="*/ 4477074 w 7048299"/>
              <a:gd name="connsiteY7" fmla="*/ 1984436 h 28366370"/>
              <a:gd name="connsiteX8" fmla="*/ 5134985 w 7048299"/>
              <a:gd name="connsiteY8" fmla="*/ 1925648 h 28366370"/>
              <a:gd name="connsiteX9" fmla="*/ 5741302 w 7048299"/>
              <a:gd name="connsiteY9" fmla="*/ 1999709 h 28366370"/>
              <a:gd name="connsiteX10" fmla="*/ 6384490 w 7048299"/>
              <a:gd name="connsiteY10" fmla="*/ 1953787 h 28366370"/>
              <a:gd name="connsiteX11" fmla="*/ 7048299 w 7048299"/>
              <a:gd name="connsiteY11" fmla="*/ 1938566 h 28366370"/>
              <a:gd name="connsiteX0" fmla="*/ 0 w 7048299"/>
              <a:gd name="connsiteY0" fmla="*/ 17985106 h 26440803"/>
              <a:gd name="connsiteX1" fmla="*/ 732164 w 7048299"/>
              <a:gd name="connsiteY1" fmla="*/ 25555814 h 26440803"/>
              <a:gd name="connsiteX2" fmla="*/ 1325649 w 7048299"/>
              <a:gd name="connsiteY2" fmla="*/ 20697414 h 26440803"/>
              <a:gd name="connsiteX3" fmla="*/ 1936126 w 7048299"/>
              <a:gd name="connsiteY3" fmla="*/ 24009917 h 26440803"/>
              <a:gd name="connsiteX4" fmla="*/ 2620307 w 7048299"/>
              <a:gd name="connsiteY4" fmla="*/ 22530749 h 26440803"/>
              <a:gd name="connsiteX5" fmla="*/ 3248263 w 7048299"/>
              <a:gd name="connsiteY5" fmla="*/ 26340294 h 26440803"/>
              <a:gd name="connsiteX6" fmla="*/ 3831363 w 7048299"/>
              <a:gd name="connsiteY6" fmla="*/ 14827961 h 26440803"/>
              <a:gd name="connsiteX7" fmla="*/ 4477074 w 7048299"/>
              <a:gd name="connsiteY7" fmla="*/ 58869 h 26440803"/>
              <a:gd name="connsiteX8" fmla="*/ 5134985 w 7048299"/>
              <a:gd name="connsiteY8" fmla="*/ 81 h 26440803"/>
              <a:gd name="connsiteX9" fmla="*/ 5741302 w 7048299"/>
              <a:gd name="connsiteY9" fmla="*/ 74142 h 26440803"/>
              <a:gd name="connsiteX10" fmla="*/ 6384490 w 7048299"/>
              <a:gd name="connsiteY10" fmla="*/ 28220 h 26440803"/>
              <a:gd name="connsiteX11" fmla="*/ 7048299 w 7048299"/>
              <a:gd name="connsiteY11" fmla="*/ 12999 h 26440803"/>
              <a:gd name="connsiteX0" fmla="*/ 0 w 7048299"/>
              <a:gd name="connsiteY0" fmla="*/ 17985106 h 26440803"/>
              <a:gd name="connsiteX1" fmla="*/ 732164 w 7048299"/>
              <a:gd name="connsiteY1" fmla="*/ 25555814 h 26440803"/>
              <a:gd name="connsiteX2" fmla="*/ 1325649 w 7048299"/>
              <a:gd name="connsiteY2" fmla="*/ 20697414 h 26440803"/>
              <a:gd name="connsiteX3" fmla="*/ 1936126 w 7048299"/>
              <a:gd name="connsiteY3" fmla="*/ 24009917 h 26440803"/>
              <a:gd name="connsiteX4" fmla="*/ 2620307 w 7048299"/>
              <a:gd name="connsiteY4" fmla="*/ 22530749 h 26440803"/>
              <a:gd name="connsiteX5" fmla="*/ 3248263 w 7048299"/>
              <a:gd name="connsiteY5" fmla="*/ 26340294 h 26440803"/>
              <a:gd name="connsiteX6" fmla="*/ 3831363 w 7048299"/>
              <a:gd name="connsiteY6" fmla="*/ 14827961 h 26440803"/>
              <a:gd name="connsiteX7" fmla="*/ 4477074 w 7048299"/>
              <a:gd name="connsiteY7" fmla="*/ 58869 h 26440803"/>
              <a:gd name="connsiteX8" fmla="*/ 5134985 w 7048299"/>
              <a:gd name="connsiteY8" fmla="*/ 81 h 26440803"/>
              <a:gd name="connsiteX9" fmla="*/ 5741302 w 7048299"/>
              <a:gd name="connsiteY9" fmla="*/ 74142 h 26440803"/>
              <a:gd name="connsiteX10" fmla="*/ 6384490 w 7048299"/>
              <a:gd name="connsiteY10" fmla="*/ 28220 h 26440803"/>
              <a:gd name="connsiteX11" fmla="*/ 7048299 w 7048299"/>
              <a:gd name="connsiteY11" fmla="*/ 12999 h 26440803"/>
              <a:gd name="connsiteX0" fmla="*/ 0 w 7048299"/>
              <a:gd name="connsiteY0" fmla="*/ 17985106 h 26440803"/>
              <a:gd name="connsiteX1" fmla="*/ 732164 w 7048299"/>
              <a:gd name="connsiteY1" fmla="*/ 25555814 h 26440803"/>
              <a:gd name="connsiteX2" fmla="*/ 1325649 w 7048299"/>
              <a:gd name="connsiteY2" fmla="*/ 20697414 h 26440803"/>
              <a:gd name="connsiteX3" fmla="*/ 1936126 w 7048299"/>
              <a:gd name="connsiteY3" fmla="*/ 24009917 h 26440803"/>
              <a:gd name="connsiteX4" fmla="*/ 2620307 w 7048299"/>
              <a:gd name="connsiteY4" fmla="*/ 22530749 h 26440803"/>
              <a:gd name="connsiteX5" fmla="*/ 3248263 w 7048299"/>
              <a:gd name="connsiteY5" fmla="*/ 26340294 h 26440803"/>
              <a:gd name="connsiteX6" fmla="*/ 3831364 w 7048299"/>
              <a:gd name="connsiteY6" fmla="*/ 14827961 h 26440803"/>
              <a:gd name="connsiteX7" fmla="*/ 4477074 w 7048299"/>
              <a:gd name="connsiteY7" fmla="*/ 58869 h 26440803"/>
              <a:gd name="connsiteX8" fmla="*/ 5134985 w 7048299"/>
              <a:gd name="connsiteY8" fmla="*/ 81 h 26440803"/>
              <a:gd name="connsiteX9" fmla="*/ 5741302 w 7048299"/>
              <a:gd name="connsiteY9" fmla="*/ 74142 h 26440803"/>
              <a:gd name="connsiteX10" fmla="*/ 6384490 w 7048299"/>
              <a:gd name="connsiteY10" fmla="*/ 28220 h 26440803"/>
              <a:gd name="connsiteX11" fmla="*/ 7048299 w 7048299"/>
              <a:gd name="connsiteY11" fmla="*/ 12999 h 26440803"/>
              <a:gd name="connsiteX0" fmla="*/ 0 w 7048299"/>
              <a:gd name="connsiteY0" fmla="*/ 19211120 h 27666817"/>
              <a:gd name="connsiteX1" fmla="*/ 732164 w 7048299"/>
              <a:gd name="connsiteY1" fmla="*/ 26781828 h 27666817"/>
              <a:gd name="connsiteX2" fmla="*/ 1325649 w 7048299"/>
              <a:gd name="connsiteY2" fmla="*/ 21923428 h 27666817"/>
              <a:gd name="connsiteX3" fmla="*/ 1936126 w 7048299"/>
              <a:gd name="connsiteY3" fmla="*/ 25235931 h 27666817"/>
              <a:gd name="connsiteX4" fmla="*/ 2620307 w 7048299"/>
              <a:gd name="connsiteY4" fmla="*/ 23756763 h 27666817"/>
              <a:gd name="connsiteX5" fmla="*/ 3248263 w 7048299"/>
              <a:gd name="connsiteY5" fmla="*/ 27566308 h 27666817"/>
              <a:gd name="connsiteX6" fmla="*/ 3831364 w 7048299"/>
              <a:gd name="connsiteY6" fmla="*/ 16053975 h 27666817"/>
              <a:gd name="connsiteX7" fmla="*/ 4516275 w 7048299"/>
              <a:gd name="connsiteY7" fmla="*/ 18094102 h 27666817"/>
              <a:gd name="connsiteX8" fmla="*/ 5134985 w 7048299"/>
              <a:gd name="connsiteY8" fmla="*/ 1226095 h 27666817"/>
              <a:gd name="connsiteX9" fmla="*/ 5741302 w 7048299"/>
              <a:gd name="connsiteY9" fmla="*/ 1300156 h 27666817"/>
              <a:gd name="connsiteX10" fmla="*/ 6384490 w 7048299"/>
              <a:gd name="connsiteY10" fmla="*/ 1254234 h 27666817"/>
              <a:gd name="connsiteX11" fmla="*/ 7048299 w 7048299"/>
              <a:gd name="connsiteY11" fmla="*/ 1239013 h 27666817"/>
              <a:gd name="connsiteX0" fmla="*/ 0 w 7048299"/>
              <a:gd name="connsiteY0" fmla="*/ 19293721 h 27749418"/>
              <a:gd name="connsiteX1" fmla="*/ 732164 w 7048299"/>
              <a:gd name="connsiteY1" fmla="*/ 26864429 h 27749418"/>
              <a:gd name="connsiteX2" fmla="*/ 1325649 w 7048299"/>
              <a:gd name="connsiteY2" fmla="*/ 22006029 h 27749418"/>
              <a:gd name="connsiteX3" fmla="*/ 1936126 w 7048299"/>
              <a:gd name="connsiteY3" fmla="*/ 25318532 h 27749418"/>
              <a:gd name="connsiteX4" fmla="*/ 2620307 w 7048299"/>
              <a:gd name="connsiteY4" fmla="*/ 23839364 h 27749418"/>
              <a:gd name="connsiteX5" fmla="*/ 3248263 w 7048299"/>
              <a:gd name="connsiteY5" fmla="*/ 27648909 h 27749418"/>
              <a:gd name="connsiteX6" fmla="*/ 3831364 w 7048299"/>
              <a:gd name="connsiteY6" fmla="*/ 16136576 h 27749418"/>
              <a:gd name="connsiteX7" fmla="*/ 4516275 w 7048299"/>
              <a:gd name="connsiteY7" fmla="*/ 19292007 h 27749418"/>
              <a:gd name="connsiteX8" fmla="*/ 5134985 w 7048299"/>
              <a:gd name="connsiteY8" fmla="*/ 1308696 h 27749418"/>
              <a:gd name="connsiteX9" fmla="*/ 5741302 w 7048299"/>
              <a:gd name="connsiteY9" fmla="*/ 1382757 h 27749418"/>
              <a:gd name="connsiteX10" fmla="*/ 6384490 w 7048299"/>
              <a:gd name="connsiteY10" fmla="*/ 1336835 h 27749418"/>
              <a:gd name="connsiteX11" fmla="*/ 7048299 w 7048299"/>
              <a:gd name="connsiteY11" fmla="*/ 1321614 h 27749418"/>
              <a:gd name="connsiteX0" fmla="*/ 0 w 7048299"/>
              <a:gd name="connsiteY0" fmla="*/ 19209517 h 27665214"/>
              <a:gd name="connsiteX1" fmla="*/ 732164 w 7048299"/>
              <a:gd name="connsiteY1" fmla="*/ 26780225 h 27665214"/>
              <a:gd name="connsiteX2" fmla="*/ 1325649 w 7048299"/>
              <a:gd name="connsiteY2" fmla="*/ 21921825 h 27665214"/>
              <a:gd name="connsiteX3" fmla="*/ 1936126 w 7048299"/>
              <a:gd name="connsiteY3" fmla="*/ 25234328 h 27665214"/>
              <a:gd name="connsiteX4" fmla="*/ 2620307 w 7048299"/>
              <a:gd name="connsiteY4" fmla="*/ 23755160 h 27665214"/>
              <a:gd name="connsiteX5" fmla="*/ 3248263 w 7048299"/>
              <a:gd name="connsiteY5" fmla="*/ 27564705 h 27665214"/>
              <a:gd name="connsiteX6" fmla="*/ 3831364 w 7048299"/>
              <a:gd name="connsiteY6" fmla="*/ 16052372 h 27665214"/>
              <a:gd name="connsiteX7" fmla="*/ 4516275 w 7048299"/>
              <a:gd name="connsiteY7" fmla="*/ 19207803 h 27665214"/>
              <a:gd name="connsiteX8" fmla="*/ 5103626 w 7048299"/>
              <a:gd name="connsiteY8" fmla="*/ 18591363 h 27665214"/>
              <a:gd name="connsiteX9" fmla="*/ 5741302 w 7048299"/>
              <a:gd name="connsiteY9" fmla="*/ 1298553 h 27665214"/>
              <a:gd name="connsiteX10" fmla="*/ 6384490 w 7048299"/>
              <a:gd name="connsiteY10" fmla="*/ 1252631 h 27665214"/>
              <a:gd name="connsiteX11" fmla="*/ 7048299 w 7048299"/>
              <a:gd name="connsiteY11" fmla="*/ 1237410 h 27665214"/>
              <a:gd name="connsiteX0" fmla="*/ 0 w 7048299"/>
              <a:gd name="connsiteY0" fmla="*/ 19209517 h 27665214"/>
              <a:gd name="connsiteX1" fmla="*/ 732164 w 7048299"/>
              <a:gd name="connsiteY1" fmla="*/ 26780225 h 27665214"/>
              <a:gd name="connsiteX2" fmla="*/ 1325649 w 7048299"/>
              <a:gd name="connsiteY2" fmla="*/ 21921825 h 27665214"/>
              <a:gd name="connsiteX3" fmla="*/ 1936126 w 7048299"/>
              <a:gd name="connsiteY3" fmla="*/ 25234328 h 27665214"/>
              <a:gd name="connsiteX4" fmla="*/ 2620307 w 7048299"/>
              <a:gd name="connsiteY4" fmla="*/ 23755160 h 27665214"/>
              <a:gd name="connsiteX5" fmla="*/ 3248263 w 7048299"/>
              <a:gd name="connsiteY5" fmla="*/ 27564705 h 27665214"/>
              <a:gd name="connsiteX6" fmla="*/ 3831364 w 7048299"/>
              <a:gd name="connsiteY6" fmla="*/ 16052372 h 27665214"/>
              <a:gd name="connsiteX7" fmla="*/ 4516275 w 7048299"/>
              <a:gd name="connsiteY7" fmla="*/ 19207803 h 27665214"/>
              <a:gd name="connsiteX8" fmla="*/ 5103626 w 7048299"/>
              <a:gd name="connsiteY8" fmla="*/ 18591363 h 27665214"/>
              <a:gd name="connsiteX9" fmla="*/ 5741302 w 7048299"/>
              <a:gd name="connsiteY9" fmla="*/ 1298553 h 27665214"/>
              <a:gd name="connsiteX10" fmla="*/ 6384490 w 7048299"/>
              <a:gd name="connsiteY10" fmla="*/ 1252631 h 27665214"/>
              <a:gd name="connsiteX11" fmla="*/ 7048299 w 7048299"/>
              <a:gd name="connsiteY11" fmla="*/ 1237410 h 27665214"/>
              <a:gd name="connsiteX0" fmla="*/ 0 w 7048299"/>
              <a:gd name="connsiteY0" fmla="*/ 19239024 h 27694721"/>
              <a:gd name="connsiteX1" fmla="*/ 732164 w 7048299"/>
              <a:gd name="connsiteY1" fmla="*/ 26809732 h 27694721"/>
              <a:gd name="connsiteX2" fmla="*/ 1325649 w 7048299"/>
              <a:gd name="connsiteY2" fmla="*/ 21951332 h 27694721"/>
              <a:gd name="connsiteX3" fmla="*/ 1936126 w 7048299"/>
              <a:gd name="connsiteY3" fmla="*/ 25263835 h 27694721"/>
              <a:gd name="connsiteX4" fmla="*/ 2620307 w 7048299"/>
              <a:gd name="connsiteY4" fmla="*/ 23784667 h 27694721"/>
              <a:gd name="connsiteX5" fmla="*/ 3248263 w 7048299"/>
              <a:gd name="connsiteY5" fmla="*/ 27594212 h 27694721"/>
              <a:gd name="connsiteX6" fmla="*/ 3831364 w 7048299"/>
              <a:gd name="connsiteY6" fmla="*/ 16081879 h 27694721"/>
              <a:gd name="connsiteX7" fmla="*/ 4516275 w 7048299"/>
              <a:gd name="connsiteY7" fmla="*/ 19237310 h 27694721"/>
              <a:gd name="connsiteX8" fmla="*/ 5103626 w 7048299"/>
              <a:gd name="connsiteY8" fmla="*/ 19019196 h 27694721"/>
              <a:gd name="connsiteX9" fmla="*/ 5741302 w 7048299"/>
              <a:gd name="connsiteY9" fmla="*/ 1328060 h 27694721"/>
              <a:gd name="connsiteX10" fmla="*/ 6384490 w 7048299"/>
              <a:gd name="connsiteY10" fmla="*/ 1282138 h 27694721"/>
              <a:gd name="connsiteX11" fmla="*/ 7048299 w 7048299"/>
              <a:gd name="connsiteY11" fmla="*/ 1266917 h 27694721"/>
              <a:gd name="connsiteX0" fmla="*/ 0 w 7048299"/>
              <a:gd name="connsiteY0" fmla="*/ 19239024 h 27694721"/>
              <a:gd name="connsiteX1" fmla="*/ 732164 w 7048299"/>
              <a:gd name="connsiteY1" fmla="*/ 26809732 h 27694721"/>
              <a:gd name="connsiteX2" fmla="*/ 1325649 w 7048299"/>
              <a:gd name="connsiteY2" fmla="*/ 21951332 h 27694721"/>
              <a:gd name="connsiteX3" fmla="*/ 1936126 w 7048299"/>
              <a:gd name="connsiteY3" fmla="*/ 25263835 h 27694721"/>
              <a:gd name="connsiteX4" fmla="*/ 2620307 w 7048299"/>
              <a:gd name="connsiteY4" fmla="*/ 23784667 h 27694721"/>
              <a:gd name="connsiteX5" fmla="*/ 3248263 w 7048299"/>
              <a:gd name="connsiteY5" fmla="*/ 27594212 h 27694721"/>
              <a:gd name="connsiteX6" fmla="*/ 3831364 w 7048299"/>
              <a:gd name="connsiteY6" fmla="*/ 16081879 h 27694721"/>
              <a:gd name="connsiteX7" fmla="*/ 4516275 w 7048299"/>
              <a:gd name="connsiteY7" fmla="*/ 19237310 h 27694721"/>
              <a:gd name="connsiteX8" fmla="*/ 5103626 w 7048299"/>
              <a:gd name="connsiteY8" fmla="*/ 19019196 h 27694721"/>
              <a:gd name="connsiteX9" fmla="*/ 5741302 w 7048299"/>
              <a:gd name="connsiteY9" fmla="*/ 1328060 h 27694721"/>
              <a:gd name="connsiteX10" fmla="*/ 6384490 w 7048299"/>
              <a:gd name="connsiteY10" fmla="*/ 1282138 h 27694721"/>
              <a:gd name="connsiteX11" fmla="*/ 7048299 w 7048299"/>
              <a:gd name="connsiteY11" fmla="*/ 1266917 h 27694721"/>
              <a:gd name="connsiteX0" fmla="*/ 0 w 7048299"/>
              <a:gd name="connsiteY0" fmla="*/ 17974772 h 26430469"/>
              <a:gd name="connsiteX1" fmla="*/ 732164 w 7048299"/>
              <a:gd name="connsiteY1" fmla="*/ 25545480 h 26430469"/>
              <a:gd name="connsiteX2" fmla="*/ 1325649 w 7048299"/>
              <a:gd name="connsiteY2" fmla="*/ 20687080 h 26430469"/>
              <a:gd name="connsiteX3" fmla="*/ 1936126 w 7048299"/>
              <a:gd name="connsiteY3" fmla="*/ 23999583 h 26430469"/>
              <a:gd name="connsiteX4" fmla="*/ 2620307 w 7048299"/>
              <a:gd name="connsiteY4" fmla="*/ 22520415 h 26430469"/>
              <a:gd name="connsiteX5" fmla="*/ 3248263 w 7048299"/>
              <a:gd name="connsiteY5" fmla="*/ 26329960 h 26430469"/>
              <a:gd name="connsiteX6" fmla="*/ 3831364 w 7048299"/>
              <a:gd name="connsiteY6" fmla="*/ 14817627 h 26430469"/>
              <a:gd name="connsiteX7" fmla="*/ 4516275 w 7048299"/>
              <a:gd name="connsiteY7" fmla="*/ 17973058 h 26430469"/>
              <a:gd name="connsiteX8" fmla="*/ 5103626 w 7048299"/>
              <a:gd name="connsiteY8" fmla="*/ 17754944 h 26430469"/>
              <a:gd name="connsiteX9" fmla="*/ 5788343 w 7048299"/>
              <a:gd name="connsiteY9" fmla="*/ 16315369 h 26430469"/>
              <a:gd name="connsiteX10" fmla="*/ 6384490 w 7048299"/>
              <a:gd name="connsiteY10" fmla="*/ 17886 h 26430469"/>
              <a:gd name="connsiteX11" fmla="*/ 7048299 w 7048299"/>
              <a:gd name="connsiteY11" fmla="*/ 2665 h 26430469"/>
              <a:gd name="connsiteX0" fmla="*/ 0 w 7048299"/>
              <a:gd name="connsiteY0" fmla="*/ 17974772 h 26430469"/>
              <a:gd name="connsiteX1" fmla="*/ 732164 w 7048299"/>
              <a:gd name="connsiteY1" fmla="*/ 25545480 h 26430469"/>
              <a:gd name="connsiteX2" fmla="*/ 1325649 w 7048299"/>
              <a:gd name="connsiteY2" fmla="*/ 20687080 h 26430469"/>
              <a:gd name="connsiteX3" fmla="*/ 1936126 w 7048299"/>
              <a:gd name="connsiteY3" fmla="*/ 23999583 h 26430469"/>
              <a:gd name="connsiteX4" fmla="*/ 2620307 w 7048299"/>
              <a:gd name="connsiteY4" fmla="*/ 22520415 h 26430469"/>
              <a:gd name="connsiteX5" fmla="*/ 3248263 w 7048299"/>
              <a:gd name="connsiteY5" fmla="*/ 26329960 h 26430469"/>
              <a:gd name="connsiteX6" fmla="*/ 3831364 w 7048299"/>
              <a:gd name="connsiteY6" fmla="*/ 14817627 h 26430469"/>
              <a:gd name="connsiteX7" fmla="*/ 4516275 w 7048299"/>
              <a:gd name="connsiteY7" fmla="*/ 17973058 h 26430469"/>
              <a:gd name="connsiteX8" fmla="*/ 5103626 w 7048299"/>
              <a:gd name="connsiteY8" fmla="*/ 17754944 h 26430469"/>
              <a:gd name="connsiteX9" fmla="*/ 5788343 w 7048299"/>
              <a:gd name="connsiteY9" fmla="*/ 16315369 h 26430469"/>
              <a:gd name="connsiteX10" fmla="*/ 6384490 w 7048299"/>
              <a:gd name="connsiteY10" fmla="*/ 17886 h 26430469"/>
              <a:gd name="connsiteX11" fmla="*/ 7048299 w 7048299"/>
              <a:gd name="connsiteY11" fmla="*/ 2665 h 26430469"/>
              <a:gd name="connsiteX0" fmla="*/ 0 w 7048299"/>
              <a:gd name="connsiteY0" fmla="*/ 17974772 h 26430469"/>
              <a:gd name="connsiteX1" fmla="*/ 732164 w 7048299"/>
              <a:gd name="connsiteY1" fmla="*/ 25545480 h 26430469"/>
              <a:gd name="connsiteX2" fmla="*/ 1325649 w 7048299"/>
              <a:gd name="connsiteY2" fmla="*/ 20687080 h 26430469"/>
              <a:gd name="connsiteX3" fmla="*/ 1936126 w 7048299"/>
              <a:gd name="connsiteY3" fmla="*/ 23999583 h 26430469"/>
              <a:gd name="connsiteX4" fmla="*/ 2620307 w 7048299"/>
              <a:gd name="connsiteY4" fmla="*/ 22520415 h 26430469"/>
              <a:gd name="connsiteX5" fmla="*/ 3248263 w 7048299"/>
              <a:gd name="connsiteY5" fmla="*/ 26329960 h 26430469"/>
              <a:gd name="connsiteX6" fmla="*/ 3831364 w 7048299"/>
              <a:gd name="connsiteY6" fmla="*/ 14817627 h 26430469"/>
              <a:gd name="connsiteX7" fmla="*/ 4516275 w 7048299"/>
              <a:gd name="connsiteY7" fmla="*/ 17973058 h 26430469"/>
              <a:gd name="connsiteX8" fmla="*/ 5103626 w 7048299"/>
              <a:gd name="connsiteY8" fmla="*/ 17754944 h 26430469"/>
              <a:gd name="connsiteX9" fmla="*/ 5702102 w 7048299"/>
              <a:gd name="connsiteY9" fmla="*/ 21812227 h 26430469"/>
              <a:gd name="connsiteX10" fmla="*/ 6384490 w 7048299"/>
              <a:gd name="connsiteY10" fmla="*/ 17886 h 26430469"/>
              <a:gd name="connsiteX11" fmla="*/ 7048299 w 7048299"/>
              <a:gd name="connsiteY11" fmla="*/ 2665 h 26430469"/>
              <a:gd name="connsiteX0" fmla="*/ 0 w 7048299"/>
              <a:gd name="connsiteY0" fmla="*/ 17974772 h 26430469"/>
              <a:gd name="connsiteX1" fmla="*/ 732164 w 7048299"/>
              <a:gd name="connsiteY1" fmla="*/ 25545480 h 26430469"/>
              <a:gd name="connsiteX2" fmla="*/ 1325649 w 7048299"/>
              <a:gd name="connsiteY2" fmla="*/ 20687080 h 26430469"/>
              <a:gd name="connsiteX3" fmla="*/ 1936126 w 7048299"/>
              <a:gd name="connsiteY3" fmla="*/ 23999583 h 26430469"/>
              <a:gd name="connsiteX4" fmla="*/ 2620307 w 7048299"/>
              <a:gd name="connsiteY4" fmla="*/ 22520415 h 26430469"/>
              <a:gd name="connsiteX5" fmla="*/ 3248263 w 7048299"/>
              <a:gd name="connsiteY5" fmla="*/ 26329960 h 26430469"/>
              <a:gd name="connsiteX6" fmla="*/ 3831364 w 7048299"/>
              <a:gd name="connsiteY6" fmla="*/ 14817627 h 26430469"/>
              <a:gd name="connsiteX7" fmla="*/ 4516275 w 7048299"/>
              <a:gd name="connsiteY7" fmla="*/ 17973058 h 26430469"/>
              <a:gd name="connsiteX8" fmla="*/ 5103626 w 7048299"/>
              <a:gd name="connsiteY8" fmla="*/ 17754944 h 26430469"/>
              <a:gd name="connsiteX9" fmla="*/ 5702102 w 7048299"/>
              <a:gd name="connsiteY9" fmla="*/ 21812227 h 26430469"/>
              <a:gd name="connsiteX10" fmla="*/ 6384490 w 7048299"/>
              <a:gd name="connsiteY10" fmla="*/ 17886 h 26430469"/>
              <a:gd name="connsiteX11" fmla="*/ 7048299 w 7048299"/>
              <a:gd name="connsiteY11" fmla="*/ 2665 h 26430469"/>
              <a:gd name="connsiteX0" fmla="*/ 0 w 7048299"/>
              <a:gd name="connsiteY0" fmla="*/ 17972115 h 26427812"/>
              <a:gd name="connsiteX1" fmla="*/ 732164 w 7048299"/>
              <a:gd name="connsiteY1" fmla="*/ 25542823 h 26427812"/>
              <a:gd name="connsiteX2" fmla="*/ 1325649 w 7048299"/>
              <a:gd name="connsiteY2" fmla="*/ 20684423 h 26427812"/>
              <a:gd name="connsiteX3" fmla="*/ 1936126 w 7048299"/>
              <a:gd name="connsiteY3" fmla="*/ 23996926 h 26427812"/>
              <a:gd name="connsiteX4" fmla="*/ 2620307 w 7048299"/>
              <a:gd name="connsiteY4" fmla="*/ 22517758 h 26427812"/>
              <a:gd name="connsiteX5" fmla="*/ 3248263 w 7048299"/>
              <a:gd name="connsiteY5" fmla="*/ 26327303 h 26427812"/>
              <a:gd name="connsiteX6" fmla="*/ 3831364 w 7048299"/>
              <a:gd name="connsiteY6" fmla="*/ 14814970 h 26427812"/>
              <a:gd name="connsiteX7" fmla="*/ 4516275 w 7048299"/>
              <a:gd name="connsiteY7" fmla="*/ 17970401 h 26427812"/>
              <a:gd name="connsiteX8" fmla="*/ 5103626 w 7048299"/>
              <a:gd name="connsiteY8" fmla="*/ 17752287 h 26427812"/>
              <a:gd name="connsiteX9" fmla="*/ 5702102 w 7048299"/>
              <a:gd name="connsiteY9" fmla="*/ 21809570 h 26427812"/>
              <a:gd name="connsiteX10" fmla="*/ 6313930 w 7048299"/>
              <a:gd name="connsiteY10" fmla="*/ 22161966 h 26427812"/>
              <a:gd name="connsiteX11" fmla="*/ 7048299 w 7048299"/>
              <a:gd name="connsiteY11" fmla="*/ 8 h 26427812"/>
              <a:gd name="connsiteX0" fmla="*/ 0 w 6962058"/>
              <a:gd name="connsiteY0" fmla="*/ 3422629 h 11878326"/>
              <a:gd name="connsiteX1" fmla="*/ 732164 w 6962058"/>
              <a:gd name="connsiteY1" fmla="*/ 10993337 h 11878326"/>
              <a:gd name="connsiteX2" fmla="*/ 1325649 w 6962058"/>
              <a:gd name="connsiteY2" fmla="*/ 6134937 h 11878326"/>
              <a:gd name="connsiteX3" fmla="*/ 1936126 w 6962058"/>
              <a:gd name="connsiteY3" fmla="*/ 9447440 h 11878326"/>
              <a:gd name="connsiteX4" fmla="*/ 2620307 w 6962058"/>
              <a:gd name="connsiteY4" fmla="*/ 7968272 h 11878326"/>
              <a:gd name="connsiteX5" fmla="*/ 3248263 w 6962058"/>
              <a:gd name="connsiteY5" fmla="*/ 11777817 h 11878326"/>
              <a:gd name="connsiteX6" fmla="*/ 3831364 w 6962058"/>
              <a:gd name="connsiteY6" fmla="*/ 265484 h 11878326"/>
              <a:gd name="connsiteX7" fmla="*/ 4516275 w 6962058"/>
              <a:gd name="connsiteY7" fmla="*/ 3420915 h 11878326"/>
              <a:gd name="connsiteX8" fmla="*/ 5103626 w 6962058"/>
              <a:gd name="connsiteY8" fmla="*/ 3202801 h 11878326"/>
              <a:gd name="connsiteX9" fmla="*/ 5702102 w 6962058"/>
              <a:gd name="connsiteY9" fmla="*/ 7260084 h 11878326"/>
              <a:gd name="connsiteX10" fmla="*/ 6313930 w 6962058"/>
              <a:gd name="connsiteY10" fmla="*/ 7612480 h 11878326"/>
              <a:gd name="connsiteX11" fmla="*/ 6962058 w 6962058"/>
              <a:gd name="connsiteY11" fmla="*/ 10704176 h 11878326"/>
              <a:gd name="connsiteX0" fmla="*/ 0 w 7011450"/>
              <a:gd name="connsiteY0" fmla="*/ 10699983 h 11878326"/>
              <a:gd name="connsiteX1" fmla="*/ 781556 w 7011450"/>
              <a:gd name="connsiteY1" fmla="*/ 10993337 h 11878326"/>
              <a:gd name="connsiteX2" fmla="*/ 1375041 w 7011450"/>
              <a:gd name="connsiteY2" fmla="*/ 6134937 h 11878326"/>
              <a:gd name="connsiteX3" fmla="*/ 1985518 w 7011450"/>
              <a:gd name="connsiteY3" fmla="*/ 9447440 h 11878326"/>
              <a:gd name="connsiteX4" fmla="*/ 2669699 w 7011450"/>
              <a:gd name="connsiteY4" fmla="*/ 7968272 h 11878326"/>
              <a:gd name="connsiteX5" fmla="*/ 3297655 w 7011450"/>
              <a:gd name="connsiteY5" fmla="*/ 11777817 h 11878326"/>
              <a:gd name="connsiteX6" fmla="*/ 3880756 w 7011450"/>
              <a:gd name="connsiteY6" fmla="*/ 265484 h 11878326"/>
              <a:gd name="connsiteX7" fmla="*/ 4565667 w 7011450"/>
              <a:gd name="connsiteY7" fmla="*/ 3420915 h 11878326"/>
              <a:gd name="connsiteX8" fmla="*/ 5153018 w 7011450"/>
              <a:gd name="connsiteY8" fmla="*/ 3202801 h 11878326"/>
              <a:gd name="connsiteX9" fmla="*/ 5751494 w 7011450"/>
              <a:gd name="connsiteY9" fmla="*/ 7260084 h 11878326"/>
              <a:gd name="connsiteX10" fmla="*/ 6363322 w 7011450"/>
              <a:gd name="connsiteY10" fmla="*/ 7612480 h 11878326"/>
              <a:gd name="connsiteX11" fmla="*/ 7011450 w 7011450"/>
              <a:gd name="connsiteY11" fmla="*/ 10704176 h 11878326"/>
              <a:gd name="connsiteX0" fmla="*/ 0 w 7011450"/>
              <a:gd name="connsiteY0" fmla="*/ 10699983 h 11878326"/>
              <a:gd name="connsiteX1" fmla="*/ 781556 w 7011450"/>
              <a:gd name="connsiteY1" fmla="*/ 10993337 h 11878326"/>
              <a:gd name="connsiteX2" fmla="*/ 1375041 w 7011450"/>
              <a:gd name="connsiteY2" fmla="*/ 10902860 h 11878326"/>
              <a:gd name="connsiteX3" fmla="*/ 1985518 w 7011450"/>
              <a:gd name="connsiteY3" fmla="*/ 9447440 h 11878326"/>
              <a:gd name="connsiteX4" fmla="*/ 2669699 w 7011450"/>
              <a:gd name="connsiteY4" fmla="*/ 7968272 h 11878326"/>
              <a:gd name="connsiteX5" fmla="*/ 3297655 w 7011450"/>
              <a:gd name="connsiteY5" fmla="*/ 11777817 h 11878326"/>
              <a:gd name="connsiteX6" fmla="*/ 3880756 w 7011450"/>
              <a:gd name="connsiteY6" fmla="*/ 265484 h 11878326"/>
              <a:gd name="connsiteX7" fmla="*/ 4565667 w 7011450"/>
              <a:gd name="connsiteY7" fmla="*/ 3420915 h 11878326"/>
              <a:gd name="connsiteX8" fmla="*/ 5153018 w 7011450"/>
              <a:gd name="connsiteY8" fmla="*/ 3202801 h 11878326"/>
              <a:gd name="connsiteX9" fmla="*/ 5751494 w 7011450"/>
              <a:gd name="connsiteY9" fmla="*/ 7260084 h 11878326"/>
              <a:gd name="connsiteX10" fmla="*/ 6363322 w 7011450"/>
              <a:gd name="connsiteY10" fmla="*/ 7612480 h 11878326"/>
              <a:gd name="connsiteX11" fmla="*/ 7011450 w 7011450"/>
              <a:gd name="connsiteY11" fmla="*/ 10704176 h 11878326"/>
              <a:gd name="connsiteX0" fmla="*/ 0 w 7011450"/>
              <a:gd name="connsiteY0" fmla="*/ 10699983 h 11878326"/>
              <a:gd name="connsiteX1" fmla="*/ 781556 w 7011450"/>
              <a:gd name="connsiteY1" fmla="*/ 10993337 h 11878326"/>
              <a:gd name="connsiteX2" fmla="*/ 1375041 w 7011450"/>
              <a:gd name="connsiteY2" fmla="*/ 10902860 h 11878326"/>
              <a:gd name="connsiteX3" fmla="*/ 1985518 w 7011450"/>
              <a:gd name="connsiteY3" fmla="*/ 10451213 h 11878326"/>
              <a:gd name="connsiteX4" fmla="*/ 2669699 w 7011450"/>
              <a:gd name="connsiteY4" fmla="*/ 7968272 h 11878326"/>
              <a:gd name="connsiteX5" fmla="*/ 3297655 w 7011450"/>
              <a:gd name="connsiteY5" fmla="*/ 11777817 h 11878326"/>
              <a:gd name="connsiteX6" fmla="*/ 3880756 w 7011450"/>
              <a:gd name="connsiteY6" fmla="*/ 265484 h 11878326"/>
              <a:gd name="connsiteX7" fmla="*/ 4565667 w 7011450"/>
              <a:gd name="connsiteY7" fmla="*/ 3420915 h 11878326"/>
              <a:gd name="connsiteX8" fmla="*/ 5153018 w 7011450"/>
              <a:gd name="connsiteY8" fmla="*/ 3202801 h 11878326"/>
              <a:gd name="connsiteX9" fmla="*/ 5751494 w 7011450"/>
              <a:gd name="connsiteY9" fmla="*/ 7260084 h 11878326"/>
              <a:gd name="connsiteX10" fmla="*/ 6363322 w 7011450"/>
              <a:gd name="connsiteY10" fmla="*/ 7612480 h 11878326"/>
              <a:gd name="connsiteX11" fmla="*/ 7011450 w 7011450"/>
              <a:gd name="connsiteY11" fmla="*/ 10704176 h 11878326"/>
              <a:gd name="connsiteX0" fmla="*/ 0 w 7011450"/>
              <a:gd name="connsiteY0" fmla="*/ 10699983 h 11975593"/>
              <a:gd name="connsiteX1" fmla="*/ 781556 w 7011450"/>
              <a:gd name="connsiteY1" fmla="*/ 10993337 h 11975593"/>
              <a:gd name="connsiteX2" fmla="*/ 1375041 w 7011450"/>
              <a:gd name="connsiteY2" fmla="*/ 10902860 h 11975593"/>
              <a:gd name="connsiteX3" fmla="*/ 1985518 w 7011450"/>
              <a:gd name="connsiteY3" fmla="*/ 10451213 h 11975593"/>
              <a:gd name="connsiteX4" fmla="*/ 2636770 w 7011450"/>
              <a:gd name="connsiteY4" fmla="*/ 10645001 h 11975593"/>
              <a:gd name="connsiteX5" fmla="*/ 3297655 w 7011450"/>
              <a:gd name="connsiteY5" fmla="*/ 11777817 h 11975593"/>
              <a:gd name="connsiteX6" fmla="*/ 3880756 w 7011450"/>
              <a:gd name="connsiteY6" fmla="*/ 265484 h 11975593"/>
              <a:gd name="connsiteX7" fmla="*/ 4565667 w 7011450"/>
              <a:gd name="connsiteY7" fmla="*/ 3420915 h 11975593"/>
              <a:gd name="connsiteX8" fmla="*/ 5153018 w 7011450"/>
              <a:gd name="connsiteY8" fmla="*/ 3202801 h 11975593"/>
              <a:gd name="connsiteX9" fmla="*/ 5751494 w 7011450"/>
              <a:gd name="connsiteY9" fmla="*/ 7260084 h 11975593"/>
              <a:gd name="connsiteX10" fmla="*/ 6363322 w 7011450"/>
              <a:gd name="connsiteY10" fmla="*/ 7612480 h 11975593"/>
              <a:gd name="connsiteX11" fmla="*/ 7011450 w 7011450"/>
              <a:gd name="connsiteY11" fmla="*/ 10704176 h 11975593"/>
              <a:gd name="connsiteX0" fmla="*/ 0 w 7011450"/>
              <a:gd name="connsiteY0" fmla="*/ 7734264 h 9009874"/>
              <a:gd name="connsiteX1" fmla="*/ 781556 w 7011450"/>
              <a:gd name="connsiteY1" fmla="*/ 8027618 h 9009874"/>
              <a:gd name="connsiteX2" fmla="*/ 1375041 w 7011450"/>
              <a:gd name="connsiteY2" fmla="*/ 7937141 h 9009874"/>
              <a:gd name="connsiteX3" fmla="*/ 1985518 w 7011450"/>
              <a:gd name="connsiteY3" fmla="*/ 7485494 h 9009874"/>
              <a:gd name="connsiteX4" fmla="*/ 2636770 w 7011450"/>
              <a:gd name="connsiteY4" fmla="*/ 7679282 h 9009874"/>
              <a:gd name="connsiteX5" fmla="*/ 3297655 w 7011450"/>
              <a:gd name="connsiteY5" fmla="*/ 8812098 h 9009874"/>
              <a:gd name="connsiteX6" fmla="*/ 3930149 w 7011450"/>
              <a:gd name="connsiteY6" fmla="*/ 7337497 h 9009874"/>
              <a:gd name="connsiteX7" fmla="*/ 4565667 w 7011450"/>
              <a:gd name="connsiteY7" fmla="*/ 455196 h 9009874"/>
              <a:gd name="connsiteX8" fmla="*/ 5153018 w 7011450"/>
              <a:gd name="connsiteY8" fmla="*/ 237082 h 9009874"/>
              <a:gd name="connsiteX9" fmla="*/ 5751494 w 7011450"/>
              <a:gd name="connsiteY9" fmla="*/ 4294365 h 9009874"/>
              <a:gd name="connsiteX10" fmla="*/ 6363322 w 7011450"/>
              <a:gd name="connsiteY10" fmla="*/ 4646761 h 9009874"/>
              <a:gd name="connsiteX11" fmla="*/ 7011450 w 7011450"/>
              <a:gd name="connsiteY11" fmla="*/ 7738457 h 9009874"/>
              <a:gd name="connsiteX0" fmla="*/ 0 w 7011450"/>
              <a:gd name="connsiteY0" fmla="*/ 7570035 h 8845645"/>
              <a:gd name="connsiteX1" fmla="*/ 781556 w 7011450"/>
              <a:gd name="connsiteY1" fmla="*/ 7863389 h 8845645"/>
              <a:gd name="connsiteX2" fmla="*/ 1375041 w 7011450"/>
              <a:gd name="connsiteY2" fmla="*/ 7772912 h 8845645"/>
              <a:gd name="connsiteX3" fmla="*/ 1985518 w 7011450"/>
              <a:gd name="connsiteY3" fmla="*/ 7321265 h 8845645"/>
              <a:gd name="connsiteX4" fmla="*/ 2636770 w 7011450"/>
              <a:gd name="connsiteY4" fmla="*/ 7515053 h 8845645"/>
              <a:gd name="connsiteX5" fmla="*/ 3297655 w 7011450"/>
              <a:gd name="connsiteY5" fmla="*/ 8647869 h 8845645"/>
              <a:gd name="connsiteX6" fmla="*/ 3930149 w 7011450"/>
              <a:gd name="connsiteY6" fmla="*/ 7173268 h 8845645"/>
              <a:gd name="connsiteX7" fmla="*/ 4491579 w 7011450"/>
              <a:gd name="connsiteY7" fmla="*/ 8070209 h 8845645"/>
              <a:gd name="connsiteX8" fmla="*/ 5153018 w 7011450"/>
              <a:gd name="connsiteY8" fmla="*/ 72853 h 8845645"/>
              <a:gd name="connsiteX9" fmla="*/ 5751494 w 7011450"/>
              <a:gd name="connsiteY9" fmla="*/ 4130136 h 8845645"/>
              <a:gd name="connsiteX10" fmla="*/ 6363322 w 7011450"/>
              <a:gd name="connsiteY10" fmla="*/ 4482532 h 8845645"/>
              <a:gd name="connsiteX11" fmla="*/ 7011450 w 7011450"/>
              <a:gd name="connsiteY11" fmla="*/ 7574228 h 8845645"/>
              <a:gd name="connsiteX0" fmla="*/ 0 w 7011450"/>
              <a:gd name="connsiteY0" fmla="*/ 3600667 h 4876277"/>
              <a:gd name="connsiteX1" fmla="*/ 781556 w 7011450"/>
              <a:gd name="connsiteY1" fmla="*/ 3894021 h 4876277"/>
              <a:gd name="connsiteX2" fmla="*/ 1375041 w 7011450"/>
              <a:gd name="connsiteY2" fmla="*/ 3803544 h 4876277"/>
              <a:gd name="connsiteX3" fmla="*/ 1985518 w 7011450"/>
              <a:gd name="connsiteY3" fmla="*/ 3351897 h 4876277"/>
              <a:gd name="connsiteX4" fmla="*/ 2636770 w 7011450"/>
              <a:gd name="connsiteY4" fmla="*/ 3545685 h 4876277"/>
              <a:gd name="connsiteX5" fmla="*/ 3297655 w 7011450"/>
              <a:gd name="connsiteY5" fmla="*/ 4678501 h 4876277"/>
              <a:gd name="connsiteX6" fmla="*/ 3930149 w 7011450"/>
              <a:gd name="connsiteY6" fmla="*/ 3203900 h 4876277"/>
              <a:gd name="connsiteX7" fmla="*/ 4491579 w 7011450"/>
              <a:gd name="connsiteY7" fmla="*/ 4100841 h 4876277"/>
              <a:gd name="connsiteX8" fmla="*/ 5136554 w 7011450"/>
              <a:gd name="connsiteY8" fmla="*/ 3548136 h 4876277"/>
              <a:gd name="connsiteX9" fmla="*/ 5751494 w 7011450"/>
              <a:gd name="connsiteY9" fmla="*/ 160768 h 4876277"/>
              <a:gd name="connsiteX10" fmla="*/ 6363322 w 7011450"/>
              <a:gd name="connsiteY10" fmla="*/ 513164 h 4876277"/>
              <a:gd name="connsiteX11" fmla="*/ 7011450 w 7011450"/>
              <a:gd name="connsiteY11" fmla="*/ 3604860 h 4876277"/>
              <a:gd name="connsiteX0" fmla="*/ 0 w 7011450"/>
              <a:gd name="connsiteY0" fmla="*/ 3087525 h 4363135"/>
              <a:gd name="connsiteX1" fmla="*/ 781556 w 7011450"/>
              <a:gd name="connsiteY1" fmla="*/ 3380879 h 4363135"/>
              <a:gd name="connsiteX2" fmla="*/ 1375041 w 7011450"/>
              <a:gd name="connsiteY2" fmla="*/ 3290402 h 4363135"/>
              <a:gd name="connsiteX3" fmla="*/ 1985518 w 7011450"/>
              <a:gd name="connsiteY3" fmla="*/ 2838755 h 4363135"/>
              <a:gd name="connsiteX4" fmla="*/ 2636770 w 7011450"/>
              <a:gd name="connsiteY4" fmla="*/ 3032543 h 4363135"/>
              <a:gd name="connsiteX5" fmla="*/ 3297655 w 7011450"/>
              <a:gd name="connsiteY5" fmla="*/ 4165359 h 4363135"/>
              <a:gd name="connsiteX6" fmla="*/ 3930149 w 7011450"/>
              <a:gd name="connsiteY6" fmla="*/ 2690758 h 4363135"/>
              <a:gd name="connsiteX7" fmla="*/ 4491579 w 7011450"/>
              <a:gd name="connsiteY7" fmla="*/ 3587699 h 4363135"/>
              <a:gd name="connsiteX8" fmla="*/ 5136554 w 7011450"/>
              <a:gd name="connsiteY8" fmla="*/ 3034994 h 4363135"/>
              <a:gd name="connsiteX9" fmla="*/ 5784423 w 7011450"/>
              <a:gd name="connsiteY9" fmla="*/ 3495423 h 4363135"/>
              <a:gd name="connsiteX10" fmla="*/ 6363322 w 7011450"/>
              <a:gd name="connsiteY10" fmla="*/ 22 h 4363135"/>
              <a:gd name="connsiteX11" fmla="*/ 7011450 w 7011450"/>
              <a:gd name="connsiteY11" fmla="*/ 3091718 h 4363135"/>
              <a:gd name="connsiteX0" fmla="*/ 0 w 7011450"/>
              <a:gd name="connsiteY0" fmla="*/ 403390 h 1679000"/>
              <a:gd name="connsiteX1" fmla="*/ 781556 w 7011450"/>
              <a:gd name="connsiteY1" fmla="*/ 696744 h 1679000"/>
              <a:gd name="connsiteX2" fmla="*/ 1375041 w 7011450"/>
              <a:gd name="connsiteY2" fmla="*/ 606267 h 1679000"/>
              <a:gd name="connsiteX3" fmla="*/ 1985518 w 7011450"/>
              <a:gd name="connsiteY3" fmla="*/ 154620 h 1679000"/>
              <a:gd name="connsiteX4" fmla="*/ 2636770 w 7011450"/>
              <a:gd name="connsiteY4" fmla="*/ 348408 h 1679000"/>
              <a:gd name="connsiteX5" fmla="*/ 3297655 w 7011450"/>
              <a:gd name="connsiteY5" fmla="*/ 1481224 h 1679000"/>
              <a:gd name="connsiteX6" fmla="*/ 3930149 w 7011450"/>
              <a:gd name="connsiteY6" fmla="*/ 6623 h 1679000"/>
              <a:gd name="connsiteX7" fmla="*/ 4491579 w 7011450"/>
              <a:gd name="connsiteY7" fmla="*/ 903564 h 1679000"/>
              <a:gd name="connsiteX8" fmla="*/ 5136554 w 7011450"/>
              <a:gd name="connsiteY8" fmla="*/ 350859 h 1679000"/>
              <a:gd name="connsiteX9" fmla="*/ 5784423 w 7011450"/>
              <a:gd name="connsiteY9" fmla="*/ 811288 h 1679000"/>
              <a:gd name="connsiteX10" fmla="*/ 6437411 w 7011450"/>
              <a:gd name="connsiteY10" fmla="*/ 578150 h 1679000"/>
              <a:gd name="connsiteX11" fmla="*/ 7011450 w 7011450"/>
              <a:gd name="connsiteY11" fmla="*/ 407583 h 1679000"/>
              <a:gd name="connsiteX0" fmla="*/ 0 w 7001239"/>
              <a:gd name="connsiteY0" fmla="*/ 7 h 7085572"/>
              <a:gd name="connsiteX1" fmla="*/ 771345 w 7001239"/>
              <a:gd name="connsiteY1" fmla="*/ 6103316 h 7085572"/>
              <a:gd name="connsiteX2" fmla="*/ 1364830 w 7001239"/>
              <a:gd name="connsiteY2" fmla="*/ 6012839 h 7085572"/>
              <a:gd name="connsiteX3" fmla="*/ 1975307 w 7001239"/>
              <a:gd name="connsiteY3" fmla="*/ 5561192 h 7085572"/>
              <a:gd name="connsiteX4" fmla="*/ 2626559 w 7001239"/>
              <a:gd name="connsiteY4" fmla="*/ 5754980 h 7085572"/>
              <a:gd name="connsiteX5" fmla="*/ 3287444 w 7001239"/>
              <a:gd name="connsiteY5" fmla="*/ 6887796 h 7085572"/>
              <a:gd name="connsiteX6" fmla="*/ 3919938 w 7001239"/>
              <a:gd name="connsiteY6" fmla="*/ 5413195 h 7085572"/>
              <a:gd name="connsiteX7" fmla="*/ 4481368 w 7001239"/>
              <a:gd name="connsiteY7" fmla="*/ 6310136 h 7085572"/>
              <a:gd name="connsiteX8" fmla="*/ 5126343 w 7001239"/>
              <a:gd name="connsiteY8" fmla="*/ 5757431 h 7085572"/>
              <a:gd name="connsiteX9" fmla="*/ 5774212 w 7001239"/>
              <a:gd name="connsiteY9" fmla="*/ 6217860 h 7085572"/>
              <a:gd name="connsiteX10" fmla="*/ 6427200 w 7001239"/>
              <a:gd name="connsiteY10" fmla="*/ 5984722 h 7085572"/>
              <a:gd name="connsiteX11" fmla="*/ 7001239 w 7001239"/>
              <a:gd name="connsiteY11" fmla="*/ 5814155 h 7085572"/>
              <a:gd name="connsiteX0" fmla="*/ 0 w 7016554"/>
              <a:gd name="connsiteY0" fmla="*/ 7 h 5010588"/>
              <a:gd name="connsiteX1" fmla="*/ 786660 w 7016554"/>
              <a:gd name="connsiteY1" fmla="*/ 4028332 h 5010588"/>
              <a:gd name="connsiteX2" fmla="*/ 1380145 w 7016554"/>
              <a:gd name="connsiteY2" fmla="*/ 3937855 h 5010588"/>
              <a:gd name="connsiteX3" fmla="*/ 1990622 w 7016554"/>
              <a:gd name="connsiteY3" fmla="*/ 3486208 h 5010588"/>
              <a:gd name="connsiteX4" fmla="*/ 2641874 w 7016554"/>
              <a:gd name="connsiteY4" fmla="*/ 3679996 h 5010588"/>
              <a:gd name="connsiteX5" fmla="*/ 3302759 w 7016554"/>
              <a:gd name="connsiteY5" fmla="*/ 4812812 h 5010588"/>
              <a:gd name="connsiteX6" fmla="*/ 3935253 w 7016554"/>
              <a:gd name="connsiteY6" fmla="*/ 3338211 h 5010588"/>
              <a:gd name="connsiteX7" fmla="*/ 4496683 w 7016554"/>
              <a:gd name="connsiteY7" fmla="*/ 4235152 h 5010588"/>
              <a:gd name="connsiteX8" fmla="*/ 5141658 w 7016554"/>
              <a:gd name="connsiteY8" fmla="*/ 3682447 h 5010588"/>
              <a:gd name="connsiteX9" fmla="*/ 5789527 w 7016554"/>
              <a:gd name="connsiteY9" fmla="*/ 4142876 h 5010588"/>
              <a:gd name="connsiteX10" fmla="*/ 6442515 w 7016554"/>
              <a:gd name="connsiteY10" fmla="*/ 3909738 h 5010588"/>
              <a:gd name="connsiteX11" fmla="*/ 7016554 w 7016554"/>
              <a:gd name="connsiteY11" fmla="*/ 3739171 h 5010588"/>
              <a:gd name="connsiteX0" fmla="*/ 0 w 6980818"/>
              <a:gd name="connsiteY0" fmla="*/ 7 h 7811814"/>
              <a:gd name="connsiteX1" fmla="*/ 750924 w 6980818"/>
              <a:gd name="connsiteY1" fmla="*/ 6829558 h 7811814"/>
              <a:gd name="connsiteX2" fmla="*/ 1344409 w 6980818"/>
              <a:gd name="connsiteY2" fmla="*/ 6739081 h 7811814"/>
              <a:gd name="connsiteX3" fmla="*/ 1954886 w 6980818"/>
              <a:gd name="connsiteY3" fmla="*/ 6287434 h 7811814"/>
              <a:gd name="connsiteX4" fmla="*/ 2606138 w 6980818"/>
              <a:gd name="connsiteY4" fmla="*/ 6481222 h 7811814"/>
              <a:gd name="connsiteX5" fmla="*/ 3267023 w 6980818"/>
              <a:gd name="connsiteY5" fmla="*/ 7614038 h 7811814"/>
              <a:gd name="connsiteX6" fmla="*/ 3899517 w 6980818"/>
              <a:gd name="connsiteY6" fmla="*/ 6139437 h 7811814"/>
              <a:gd name="connsiteX7" fmla="*/ 4460947 w 6980818"/>
              <a:gd name="connsiteY7" fmla="*/ 7036378 h 7811814"/>
              <a:gd name="connsiteX8" fmla="*/ 5105922 w 6980818"/>
              <a:gd name="connsiteY8" fmla="*/ 6483673 h 7811814"/>
              <a:gd name="connsiteX9" fmla="*/ 5753791 w 6980818"/>
              <a:gd name="connsiteY9" fmla="*/ 6944102 h 7811814"/>
              <a:gd name="connsiteX10" fmla="*/ 6406779 w 6980818"/>
              <a:gd name="connsiteY10" fmla="*/ 6710964 h 7811814"/>
              <a:gd name="connsiteX11" fmla="*/ 6980818 w 6980818"/>
              <a:gd name="connsiteY11" fmla="*/ 6540397 h 7811814"/>
              <a:gd name="connsiteX0" fmla="*/ 0 w 6980818"/>
              <a:gd name="connsiteY0" fmla="*/ 14 h 7811821"/>
              <a:gd name="connsiteX1" fmla="*/ 628400 w 6980818"/>
              <a:gd name="connsiteY1" fmla="*/ 3820843 h 7811821"/>
              <a:gd name="connsiteX2" fmla="*/ 1344409 w 6980818"/>
              <a:gd name="connsiteY2" fmla="*/ 6739088 h 7811821"/>
              <a:gd name="connsiteX3" fmla="*/ 1954886 w 6980818"/>
              <a:gd name="connsiteY3" fmla="*/ 6287441 h 7811821"/>
              <a:gd name="connsiteX4" fmla="*/ 2606138 w 6980818"/>
              <a:gd name="connsiteY4" fmla="*/ 6481229 h 7811821"/>
              <a:gd name="connsiteX5" fmla="*/ 3267023 w 6980818"/>
              <a:gd name="connsiteY5" fmla="*/ 7614045 h 7811821"/>
              <a:gd name="connsiteX6" fmla="*/ 3899517 w 6980818"/>
              <a:gd name="connsiteY6" fmla="*/ 6139444 h 7811821"/>
              <a:gd name="connsiteX7" fmla="*/ 4460947 w 6980818"/>
              <a:gd name="connsiteY7" fmla="*/ 7036385 h 7811821"/>
              <a:gd name="connsiteX8" fmla="*/ 5105922 w 6980818"/>
              <a:gd name="connsiteY8" fmla="*/ 6483680 h 7811821"/>
              <a:gd name="connsiteX9" fmla="*/ 5753791 w 6980818"/>
              <a:gd name="connsiteY9" fmla="*/ 6944109 h 7811821"/>
              <a:gd name="connsiteX10" fmla="*/ 6406779 w 6980818"/>
              <a:gd name="connsiteY10" fmla="*/ 6710971 h 7811821"/>
              <a:gd name="connsiteX11" fmla="*/ 6980818 w 6980818"/>
              <a:gd name="connsiteY11" fmla="*/ 6540404 h 7811821"/>
              <a:gd name="connsiteX0" fmla="*/ 0 w 6980818"/>
              <a:gd name="connsiteY0" fmla="*/ 7 h 7811814"/>
              <a:gd name="connsiteX1" fmla="*/ 628400 w 6980818"/>
              <a:gd name="connsiteY1" fmla="*/ 3820836 h 7811814"/>
              <a:gd name="connsiteX2" fmla="*/ 1344409 w 6980818"/>
              <a:gd name="connsiteY2" fmla="*/ 6739081 h 7811814"/>
              <a:gd name="connsiteX3" fmla="*/ 1954886 w 6980818"/>
              <a:gd name="connsiteY3" fmla="*/ 6287434 h 7811814"/>
              <a:gd name="connsiteX4" fmla="*/ 2606138 w 6980818"/>
              <a:gd name="connsiteY4" fmla="*/ 6481222 h 7811814"/>
              <a:gd name="connsiteX5" fmla="*/ 3267023 w 6980818"/>
              <a:gd name="connsiteY5" fmla="*/ 7614038 h 7811814"/>
              <a:gd name="connsiteX6" fmla="*/ 3899517 w 6980818"/>
              <a:gd name="connsiteY6" fmla="*/ 6139437 h 7811814"/>
              <a:gd name="connsiteX7" fmla="*/ 4460947 w 6980818"/>
              <a:gd name="connsiteY7" fmla="*/ 7036378 h 7811814"/>
              <a:gd name="connsiteX8" fmla="*/ 5105922 w 6980818"/>
              <a:gd name="connsiteY8" fmla="*/ 6483673 h 7811814"/>
              <a:gd name="connsiteX9" fmla="*/ 5753791 w 6980818"/>
              <a:gd name="connsiteY9" fmla="*/ 6944102 h 7811814"/>
              <a:gd name="connsiteX10" fmla="*/ 6406779 w 6980818"/>
              <a:gd name="connsiteY10" fmla="*/ 6710964 h 7811814"/>
              <a:gd name="connsiteX11" fmla="*/ 6980818 w 6980818"/>
              <a:gd name="connsiteY11" fmla="*/ 6540397 h 7811814"/>
              <a:gd name="connsiteX0" fmla="*/ 0 w 6980818"/>
              <a:gd name="connsiteY0" fmla="*/ 2203375 h 10015182"/>
              <a:gd name="connsiteX1" fmla="*/ 628400 w 6980818"/>
              <a:gd name="connsiteY1" fmla="*/ 6024204 h 10015182"/>
              <a:gd name="connsiteX2" fmla="*/ 1242305 w 6980818"/>
              <a:gd name="connsiteY2" fmla="*/ 20023 h 10015182"/>
              <a:gd name="connsiteX3" fmla="*/ 1954886 w 6980818"/>
              <a:gd name="connsiteY3" fmla="*/ 8490802 h 10015182"/>
              <a:gd name="connsiteX4" fmla="*/ 2606138 w 6980818"/>
              <a:gd name="connsiteY4" fmla="*/ 8684590 h 10015182"/>
              <a:gd name="connsiteX5" fmla="*/ 3267023 w 6980818"/>
              <a:gd name="connsiteY5" fmla="*/ 9817406 h 10015182"/>
              <a:gd name="connsiteX6" fmla="*/ 3899517 w 6980818"/>
              <a:gd name="connsiteY6" fmla="*/ 8342805 h 10015182"/>
              <a:gd name="connsiteX7" fmla="*/ 4460947 w 6980818"/>
              <a:gd name="connsiteY7" fmla="*/ 9239746 h 10015182"/>
              <a:gd name="connsiteX8" fmla="*/ 5105922 w 6980818"/>
              <a:gd name="connsiteY8" fmla="*/ 8687041 h 10015182"/>
              <a:gd name="connsiteX9" fmla="*/ 5753791 w 6980818"/>
              <a:gd name="connsiteY9" fmla="*/ 9147470 h 10015182"/>
              <a:gd name="connsiteX10" fmla="*/ 6406779 w 6980818"/>
              <a:gd name="connsiteY10" fmla="*/ 8914332 h 10015182"/>
              <a:gd name="connsiteX11" fmla="*/ 6980818 w 6980818"/>
              <a:gd name="connsiteY11" fmla="*/ 8743765 h 10015182"/>
              <a:gd name="connsiteX0" fmla="*/ 0 w 6980818"/>
              <a:gd name="connsiteY0" fmla="*/ 2184640 h 9996447"/>
              <a:gd name="connsiteX1" fmla="*/ 628400 w 6980818"/>
              <a:gd name="connsiteY1" fmla="*/ 6005469 h 9996447"/>
              <a:gd name="connsiteX2" fmla="*/ 1242305 w 6980818"/>
              <a:gd name="connsiteY2" fmla="*/ 1288 h 9996447"/>
              <a:gd name="connsiteX3" fmla="*/ 1954886 w 6980818"/>
              <a:gd name="connsiteY3" fmla="*/ 8472067 h 9996447"/>
              <a:gd name="connsiteX4" fmla="*/ 2606138 w 6980818"/>
              <a:gd name="connsiteY4" fmla="*/ 8665855 h 9996447"/>
              <a:gd name="connsiteX5" fmla="*/ 3267023 w 6980818"/>
              <a:gd name="connsiteY5" fmla="*/ 9798671 h 9996447"/>
              <a:gd name="connsiteX6" fmla="*/ 3899517 w 6980818"/>
              <a:gd name="connsiteY6" fmla="*/ 8324070 h 9996447"/>
              <a:gd name="connsiteX7" fmla="*/ 4460947 w 6980818"/>
              <a:gd name="connsiteY7" fmla="*/ 9221011 h 9996447"/>
              <a:gd name="connsiteX8" fmla="*/ 5105922 w 6980818"/>
              <a:gd name="connsiteY8" fmla="*/ 8668306 h 9996447"/>
              <a:gd name="connsiteX9" fmla="*/ 5753791 w 6980818"/>
              <a:gd name="connsiteY9" fmla="*/ 9128735 h 9996447"/>
              <a:gd name="connsiteX10" fmla="*/ 6406779 w 6980818"/>
              <a:gd name="connsiteY10" fmla="*/ 8895597 h 9996447"/>
              <a:gd name="connsiteX11" fmla="*/ 6980818 w 6980818"/>
              <a:gd name="connsiteY11" fmla="*/ 8725030 h 9996447"/>
              <a:gd name="connsiteX0" fmla="*/ 0 w 6980818"/>
              <a:gd name="connsiteY0" fmla="*/ 3533162 h 11344969"/>
              <a:gd name="connsiteX1" fmla="*/ 628400 w 6980818"/>
              <a:gd name="connsiteY1" fmla="*/ 7353991 h 11344969"/>
              <a:gd name="connsiteX2" fmla="*/ 1278040 w 6980818"/>
              <a:gd name="connsiteY2" fmla="*/ 1076 h 11344969"/>
              <a:gd name="connsiteX3" fmla="*/ 1954886 w 6980818"/>
              <a:gd name="connsiteY3" fmla="*/ 9820589 h 11344969"/>
              <a:gd name="connsiteX4" fmla="*/ 2606138 w 6980818"/>
              <a:gd name="connsiteY4" fmla="*/ 10014377 h 11344969"/>
              <a:gd name="connsiteX5" fmla="*/ 3267023 w 6980818"/>
              <a:gd name="connsiteY5" fmla="*/ 11147193 h 11344969"/>
              <a:gd name="connsiteX6" fmla="*/ 3899517 w 6980818"/>
              <a:gd name="connsiteY6" fmla="*/ 9672592 h 11344969"/>
              <a:gd name="connsiteX7" fmla="*/ 4460947 w 6980818"/>
              <a:gd name="connsiteY7" fmla="*/ 10569533 h 11344969"/>
              <a:gd name="connsiteX8" fmla="*/ 5105922 w 6980818"/>
              <a:gd name="connsiteY8" fmla="*/ 10016828 h 11344969"/>
              <a:gd name="connsiteX9" fmla="*/ 5753791 w 6980818"/>
              <a:gd name="connsiteY9" fmla="*/ 10477257 h 11344969"/>
              <a:gd name="connsiteX10" fmla="*/ 6406779 w 6980818"/>
              <a:gd name="connsiteY10" fmla="*/ 10244119 h 11344969"/>
              <a:gd name="connsiteX11" fmla="*/ 6980818 w 6980818"/>
              <a:gd name="connsiteY11" fmla="*/ 10073552 h 11344969"/>
              <a:gd name="connsiteX0" fmla="*/ 0 w 6980818"/>
              <a:gd name="connsiteY0" fmla="*/ 17423269 h 25235076"/>
              <a:gd name="connsiteX1" fmla="*/ 628400 w 6980818"/>
              <a:gd name="connsiteY1" fmla="*/ 21244098 h 25235076"/>
              <a:gd name="connsiteX2" fmla="*/ 1278040 w 6980818"/>
              <a:gd name="connsiteY2" fmla="*/ 13891183 h 25235076"/>
              <a:gd name="connsiteX3" fmla="*/ 1929360 w 6980818"/>
              <a:gd name="connsiteY3" fmla="*/ 159640 h 25235076"/>
              <a:gd name="connsiteX4" fmla="*/ 2606138 w 6980818"/>
              <a:gd name="connsiteY4" fmla="*/ 23904484 h 25235076"/>
              <a:gd name="connsiteX5" fmla="*/ 3267023 w 6980818"/>
              <a:gd name="connsiteY5" fmla="*/ 25037300 h 25235076"/>
              <a:gd name="connsiteX6" fmla="*/ 3899517 w 6980818"/>
              <a:gd name="connsiteY6" fmla="*/ 23562699 h 25235076"/>
              <a:gd name="connsiteX7" fmla="*/ 4460947 w 6980818"/>
              <a:gd name="connsiteY7" fmla="*/ 24459640 h 25235076"/>
              <a:gd name="connsiteX8" fmla="*/ 5105922 w 6980818"/>
              <a:gd name="connsiteY8" fmla="*/ 23906935 h 25235076"/>
              <a:gd name="connsiteX9" fmla="*/ 5753791 w 6980818"/>
              <a:gd name="connsiteY9" fmla="*/ 24367364 h 25235076"/>
              <a:gd name="connsiteX10" fmla="*/ 6406779 w 6980818"/>
              <a:gd name="connsiteY10" fmla="*/ 24134226 h 25235076"/>
              <a:gd name="connsiteX11" fmla="*/ 6980818 w 6980818"/>
              <a:gd name="connsiteY11" fmla="*/ 23963659 h 25235076"/>
              <a:gd name="connsiteX0" fmla="*/ 0 w 6980818"/>
              <a:gd name="connsiteY0" fmla="*/ 17263914 h 25075721"/>
              <a:gd name="connsiteX1" fmla="*/ 628400 w 6980818"/>
              <a:gd name="connsiteY1" fmla="*/ 21084743 h 25075721"/>
              <a:gd name="connsiteX2" fmla="*/ 1278040 w 6980818"/>
              <a:gd name="connsiteY2" fmla="*/ 13731828 h 25075721"/>
              <a:gd name="connsiteX3" fmla="*/ 1929360 w 6980818"/>
              <a:gd name="connsiteY3" fmla="*/ 285 h 25075721"/>
              <a:gd name="connsiteX4" fmla="*/ 2606138 w 6980818"/>
              <a:gd name="connsiteY4" fmla="*/ 23745129 h 25075721"/>
              <a:gd name="connsiteX5" fmla="*/ 3267023 w 6980818"/>
              <a:gd name="connsiteY5" fmla="*/ 24877945 h 25075721"/>
              <a:gd name="connsiteX6" fmla="*/ 3899517 w 6980818"/>
              <a:gd name="connsiteY6" fmla="*/ 23403344 h 25075721"/>
              <a:gd name="connsiteX7" fmla="*/ 4460947 w 6980818"/>
              <a:gd name="connsiteY7" fmla="*/ 24300285 h 25075721"/>
              <a:gd name="connsiteX8" fmla="*/ 5105922 w 6980818"/>
              <a:gd name="connsiteY8" fmla="*/ 23747580 h 25075721"/>
              <a:gd name="connsiteX9" fmla="*/ 5753791 w 6980818"/>
              <a:gd name="connsiteY9" fmla="*/ 24208009 h 25075721"/>
              <a:gd name="connsiteX10" fmla="*/ 6406779 w 6980818"/>
              <a:gd name="connsiteY10" fmla="*/ 23974871 h 25075721"/>
              <a:gd name="connsiteX11" fmla="*/ 6980818 w 6980818"/>
              <a:gd name="connsiteY11" fmla="*/ 23804304 h 25075721"/>
              <a:gd name="connsiteX0" fmla="*/ 0 w 6980818"/>
              <a:gd name="connsiteY0" fmla="*/ 17834526 h 25646333"/>
              <a:gd name="connsiteX1" fmla="*/ 628400 w 6980818"/>
              <a:gd name="connsiteY1" fmla="*/ 21655355 h 25646333"/>
              <a:gd name="connsiteX2" fmla="*/ 1278040 w 6980818"/>
              <a:gd name="connsiteY2" fmla="*/ 14302440 h 25646333"/>
              <a:gd name="connsiteX3" fmla="*/ 1903834 w 6980818"/>
              <a:gd name="connsiteY3" fmla="*/ 278 h 25646333"/>
              <a:gd name="connsiteX4" fmla="*/ 2606138 w 6980818"/>
              <a:gd name="connsiteY4" fmla="*/ 24315741 h 25646333"/>
              <a:gd name="connsiteX5" fmla="*/ 3267023 w 6980818"/>
              <a:gd name="connsiteY5" fmla="*/ 25448557 h 25646333"/>
              <a:gd name="connsiteX6" fmla="*/ 3899517 w 6980818"/>
              <a:gd name="connsiteY6" fmla="*/ 23973956 h 25646333"/>
              <a:gd name="connsiteX7" fmla="*/ 4460947 w 6980818"/>
              <a:gd name="connsiteY7" fmla="*/ 24870897 h 25646333"/>
              <a:gd name="connsiteX8" fmla="*/ 5105922 w 6980818"/>
              <a:gd name="connsiteY8" fmla="*/ 24318192 h 25646333"/>
              <a:gd name="connsiteX9" fmla="*/ 5753791 w 6980818"/>
              <a:gd name="connsiteY9" fmla="*/ 24778621 h 25646333"/>
              <a:gd name="connsiteX10" fmla="*/ 6406779 w 6980818"/>
              <a:gd name="connsiteY10" fmla="*/ 24545483 h 25646333"/>
              <a:gd name="connsiteX11" fmla="*/ 6980818 w 6980818"/>
              <a:gd name="connsiteY11" fmla="*/ 24374916 h 25646333"/>
              <a:gd name="connsiteX0" fmla="*/ 0 w 6980818"/>
              <a:gd name="connsiteY0" fmla="*/ 17864465 h 25541923"/>
              <a:gd name="connsiteX1" fmla="*/ 628400 w 6980818"/>
              <a:gd name="connsiteY1" fmla="*/ 21685294 h 25541923"/>
              <a:gd name="connsiteX2" fmla="*/ 1278040 w 6980818"/>
              <a:gd name="connsiteY2" fmla="*/ 14332379 h 25541923"/>
              <a:gd name="connsiteX3" fmla="*/ 1903834 w 6980818"/>
              <a:gd name="connsiteY3" fmla="*/ 30217 h 25541923"/>
              <a:gd name="connsiteX4" fmla="*/ 2514245 w 6980818"/>
              <a:gd name="connsiteY4" fmla="*/ 18483854 h 25541923"/>
              <a:gd name="connsiteX5" fmla="*/ 3267023 w 6980818"/>
              <a:gd name="connsiteY5" fmla="*/ 25478496 h 25541923"/>
              <a:gd name="connsiteX6" fmla="*/ 3899517 w 6980818"/>
              <a:gd name="connsiteY6" fmla="*/ 24003895 h 25541923"/>
              <a:gd name="connsiteX7" fmla="*/ 4460947 w 6980818"/>
              <a:gd name="connsiteY7" fmla="*/ 24900836 h 25541923"/>
              <a:gd name="connsiteX8" fmla="*/ 5105922 w 6980818"/>
              <a:gd name="connsiteY8" fmla="*/ 24348131 h 25541923"/>
              <a:gd name="connsiteX9" fmla="*/ 5753791 w 6980818"/>
              <a:gd name="connsiteY9" fmla="*/ 24808560 h 25541923"/>
              <a:gd name="connsiteX10" fmla="*/ 6406779 w 6980818"/>
              <a:gd name="connsiteY10" fmla="*/ 24575422 h 25541923"/>
              <a:gd name="connsiteX11" fmla="*/ 6980818 w 6980818"/>
              <a:gd name="connsiteY11" fmla="*/ 24404855 h 25541923"/>
              <a:gd name="connsiteX0" fmla="*/ 0 w 6980818"/>
              <a:gd name="connsiteY0" fmla="*/ 17864465 h 25541923"/>
              <a:gd name="connsiteX1" fmla="*/ 628400 w 6980818"/>
              <a:gd name="connsiteY1" fmla="*/ 21685294 h 25541923"/>
              <a:gd name="connsiteX2" fmla="*/ 1278040 w 6980818"/>
              <a:gd name="connsiteY2" fmla="*/ 14332379 h 25541923"/>
              <a:gd name="connsiteX3" fmla="*/ 1903834 w 6980818"/>
              <a:gd name="connsiteY3" fmla="*/ 30217 h 25541923"/>
              <a:gd name="connsiteX4" fmla="*/ 2514245 w 6980818"/>
              <a:gd name="connsiteY4" fmla="*/ 18483854 h 25541923"/>
              <a:gd name="connsiteX5" fmla="*/ 3267023 w 6980818"/>
              <a:gd name="connsiteY5" fmla="*/ 25478496 h 25541923"/>
              <a:gd name="connsiteX6" fmla="*/ 3899517 w 6980818"/>
              <a:gd name="connsiteY6" fmla="*/ 24003895 h 25541923"/>
              <a:gd name="connsiteX7" fmla="*/ 4460947 w 6980818"/>
              <a:gd name="connsiteY7" fmla="*/ 24900836 h 25541923"/>
              <a:gd name="connsiteX8" fmla="*/ 5105922 w 6980818"/>
              <a:gd name="connsiteY8" fmla="*/ 24348131 h 25541923"/>
              <a:gd name="connsiteX9" fmla="*/ 5753791 w 6980818"/>
              <a:gd name="connsiteY9" fmla="*/ 24808560 h 25541923"/>
              <a:gd name="connsiteX10" fmla="*/ 6406779 w 6980818"/>
              <a:gd name="connsiteY10" fmla="*/ 24575422 h 25541923"/>
              <a:gd name="connsiteX11" fmla="*/ 6980818 w 6980818"/>
              <a:gd name="connsiteY11" fmla="*/ 24404855 h 25541923"/>
              <a:gd name="connsiteX0" fmla="*/ 0 w 6980818"/>
              <a:gd name="connsiteY0" fmla="*/ 17864465 h 25554964"/>
              <a:gd name="connsiteX1" fmla="*/ 628400 w 6980818"/>
              <a:gd name="connsiteY1" fmla="*/ 21685294 h 25554964"/>
              <a:gd name="connsiteX2" fmla="*/ 1278040 w 6980818"/>
              <a:gd name="connsiteY2" fmla="*/ 14332379 h 25554964"/>
              <a:gd name="connsiteX3" fmla="*/ 1903834 w 6980818"/>
              <a:gd name="connsiteY3" fmla="*/ 30217 h 25554964"/>
              <a:gd name="connsiteX4" fmla="*/ 2514245 w 6980818"/>
              <a:gd name="connsiteY4" fmla="*/ 18483854 h 25554964"/>
              <a:gd name="connsiteX5" fmla="*/ 3267023 w 6980818"/>
              <a:gd name="connsiteY5" fmla="*/ 25478496 h 25554964"/>
              <a:gd name="connsiteX6" fmla="*/ 3899517 w 6980818"/>
              <a:gd name="connsiteY6" fmla="*/ 24003895 h 25554964"/>
              <a:gd name="connsiteX7" fmla="*/ 4460947 w 6980818"/>
              <a:gd name="connsiteY7" fmla="*/ 24900836 h 25554964"/>
              <a:gd name="connsiteX8" fmla="*/ 5105922 w 6980818"/>
              <a:gd name="connsiteY8" fmla="*/ 24348131 h 25554964"/>
              <a:gd name="connsiteX9" fmla="*/ 5753791 w 6980818"/>
              <a:gd name="connsiteY9" fmla="*/ 24808560 h 25554964"/>
              <a:gd name="connsiteX10" fmla="*/ 6406779 w 6980818"/>
              <a:gd name="connsiteY10" fmla="*/ 24575422 h 25554964"/>
              <a:gd name="connsiteX11" fmla="*/ 6980818 w 6980818"/>
              <a:gd name="connsiteY11" fmla="*/ 24404855 h 25554964"/>
              <a:gd name="connsiteX0" fmla="*/ 0 w 6980818"/>
              <a:gd name="connsiteY0" fmla="*/ 17864465 h 24916146"/>
              <a:gd name="connsiteX1" fmla="*/ 628400 w 6980818"/>
              <a:gd name="connsiteY1" fmla="*/ 21685294 h 24916146"/>
              <a:gd name="connsiteX2" fmla="*/ 1278040 w 6980818"/>
              <a:gd name="connsiteY2" fmla="*/ 14332379 h 24916146"/>
              <a:gd name="connsiteX3" fmla="*/ 1903834 w 6980818"/>
              <a:gd name="connsiteY3" fmla="*/ 30217 h 24916146"/>
              <a:gd name="connsiteX4" fmla="*/ 2514245 w 6980818"/>
              <a:gd name="connsiteY4" fmla="*/ 18483854 h 24916146"/>
              <a:gd name="connsiteX5" fmla="*/ 3175130 w 6980818"/>
              <a:gd name="connsiteY5" fmla="*/ 18164184 h 24916146"/>
              <a:gd name="connsiteX6" fmla="*/ 3899517 w 6980818"/>
              <a:gd name="connsiteY6" fmla="*/ 24003895 h 24916146"/>
              <a:gd name="connsiteX7" fmla="*/ 4460947 w 6980818"/>
              <a:gd name="connsiteY7" fmla="*/ 24900836 h 24916146"/>
              <a:gd name="connsiteX8" fmla="*/ 5105922 w 6980818"/>
              <a:gd name="connsiteY8" fmla="*/ 24348131 h 24916146"/>
              <a:gd name="connsiteX9" fmla="*/ 5753791 w 6980818"/>
              <a:gd name="connsiteY9" fmla="*/ 24808560 h 24916146"/>
              <a:gd name="connsiteX10" fmla="*/ 6406779 w 6980818"/>
              <a:gd name="connsiteY10" fmla="*/ 24575422 h 24916146"/>
              <a:gd name="connsiteX11" fmla="*/ 6980818 w 6980818"/>
              <a:gd name="connsiteY11" fmla="*/ 24404855 h 24916146"/>
              <a:gd name="connsiteX0" fmla="*/ 0 w 6980818"/>
              <a:gd name="connsiteY0" fmla="*/ 17864465 h 24916146"/>
              <a:gd name="connsiteX1" fmla="*/ 628400 w 6980818"/>
              <a:gd name="connsiteY1" fmla="*/ 21685294 h 24916146"/>
              <a:gd name="connsiteX2" fmla="*/ 1278040 w 6980818"/>
              <a:gd name="connsiteY2" fmla="*/ 14332379 h 24916146"/>
              <a:gd name="connsiteX3" fmla="*/ 1903834 w 6980818"/>
              <a:gd name="connsiteY3" fmla="*/ 30217 h 24916146"/>
              <a:gd name="connsiteX4" fmla="*/ 2514245 w 6980818"/>
              <a:gd name="connsiteY4" fmla="*/ 18483854 h 24916146"/>
              <a:gd name="connsiteX5" fmla="*/ 3175130 w 6980818"/>
              <a:gd name="connsiteY5" fmla="*/ 18164184 h 24916146"/>
              <a:gd name="connsiteX6" fmla="*/ 3899517 w 6980818"/>
              <a:gd name="connsiteY6" fmla="*/ 24003895 h 24916146"/>
              <a:gd name="connsiteX7" fmla="*/ 4460947 w 6980818"/>
              <a:gd name="connsiteY7" fmla="*/ 24900836 h 24916146"/>
              <a:gd name="connsiteX8" fmla="*/ 5105922 w 6980818"/>
              <a:gd name="connsiteY8" fmla="*/ 24348131 h 24916146"/>
              <a:gd name="connsiteX9" fmla="*/ 5753791 w 6980818"/>
              <a:gd name="connsiteY9" fmla="*/ 24808560 h 24916146"/>
              <a:gd name="connsiteX10" fmla="*/ 6406779 w 6980818"/>
              <a:gd name="connsiteY10" fmla="*/ 24575422 h 24916146"/>
              <a:gd name="connsiteX11" fmla="*/ 6980818 w 6980818"/>
              <a:gd name="connsiteY11" fmla="*/ 24404855 h 24916146"/>
              <a:gd name="connsiteX0" fmla="*/ 0 w 6980818"/>
              <a:gd name="connsiteY0" fmla="*/ 17864465 h 24916146"/>
              <a:gd name="connsiteX1" fmla="*/ 628400 w 6980818"/>
              <a:gd name="connsiteY1" fmla="*/ 21685294 h 24916146"/>
              <a:gd name="connsiteX2" fmla="*/ 1278040 w 6980818"/>
              <a:gd name="connsiteY2" fmla="*/ 14332379 h 24916146"/>
              <a:gd name="connsiteX3" fmla="*/ 1903834 w 6980818"/>
              <a:gd name="connsiteY3" fmla="*/ 30217 h 24916146"/>
              <a:gd name="connsiteX4" fmla="*/ 2514245 w 6980818"/>
              <a:gd name="connsiteY4" fmla="*/ 18483854 h 24916146"/>
              <a:gd name="connsiteX5" fmla="*/ 3175130 w 6980818"/>
              <a:gd name="connsiteY5" fmla="*/ 18164184 h 24916146"/>
              <a:gd name="connsiteX6" fmla="*/ 3899517 w 6980818"/>
              <a:gd name="connsiteY6" fmla="*/ 24003895 h 24916146"/>
              <a:gd name="connsiteX7" fmla="*/ 4460947 w 6980818"/>
              <a:gd name="connsiteY7" fmla="*/ 24900836 h 24916146"/>
              <a:gd name="connsiteX8" fmla="*/ 5105922 w 6980818"/>
              <a:gd name="connsiteY8" fmla="*/ 24348131 h 24916146"/>
              <a:gd name="connsiteX9" fmla="*/ 5753791 w 6980818"/>
              <a:gd name="connsiteY9" fmla="*/ 24808560 h 24916146"/>
              <a:gd name="connsiteX10" fmla="*/ 6406779 w 6980818"/>
              <a:gd name="connsiteY10" fmla="*/ 24575422 h 24916146"/>
              <a:gd name="connsiteX11" fmla="*/ 6980818 w 6980818"/>
              <a:gd name="connsiteY11" fmla="*/ 24404855 h 24916146"/>
              <a:gd name="connsiteX0" fmla="*/ 0 w 6980818"/>
              <a:gd name="connsiteY0" fmla="*/ 17864465 h 24916146"/>
              <a:gd name="connsiteX1" fmla="*/ 628400 w 6980818"/>
              <a:gd name="connsiteY1" fmla="*/ 21685294 h 24916146"/>
              <a:gd name="connsiteX2" fmla="*/ 1278040 w 6980818"/>
              <a:gd name="connsiteY2" fmla="*/ 14332379 h 24916146"/>
              <a:gd name="connsiteX3" fmla="*/ 1903834 w 6980818"/>
              <a:gd name="connsiteY3" fmla="*/ 30217 h 24916146"/>
              <a:gd name="connsiteX4" fmla="*/ 2514245 w 6980818"/>
              <a:gd name="connsiteY4" fmla="*/ 18483854 h 24916146"/>
              <a:gd name="connsiteX5" fmla="*/ 3175130 w 6980818"/>
              <a:gd name="connsiteY5" fmla="*/ 18164184 h 24916146"/>
              <a:gd name="connsiteX6" fmla="*/ 3899517 w 6980818"/>
              <a:gd name="connsiteY6" fmla="*/ 24003895 h 24916146"/>
              <a:gd name="connsiteX7" fmla="*/ 4460947 w 6980818"/>
              <a:gd name="connsiteY7" fmla="*/ 24900836 h 24916146"/>
              <a:gd name="connsiteX8" fmla="*/ 5105922 w 6980818"/>
              <a:gd name="connsiteY8" fmla="*/ 24348131 h 24916146"/>
              <a:gd name="connsiteX9" fmla="*/ 5753791 w 6980818"/>
              <a:gd name="connsiteY9" fmla="*/ 24808560 h 24916146"/>
              <a:gd name="connsiteX10" fmla="*/ 6406779 w 6980818"/>
              <a:gd name="connsiteY10" fmla="*/ 24575422 h 24916146"/>
              <a:gd name="connsiteX11" fmla="*/ 6980818 w 6980818"/>
              <a:gd name="connsiteY11" fmla="*/ 24404855 h 24916146"/>
              <a:gd name="connsiteX0" fmla="*/ 0 w 6980818"/>
              <a:gd name="connsiteY0" fmla="*/ 17861655 h 24913336"/>
              <a:gd name="connsiteX1" fmla="*/ 628400 w 6980818"/>
              <a:gd name="connsiteY1" fmla="*/ 21682484 h 24913336"/>
              <a:gd name="connsiteX2" fmla="*/ 1278040 w 6980818"/>
              <a:gd name="connsiteY2" fmla="*/ 14329569 h 24913336"/>
              <a:gd name="connsiteX3" fmla="*/ 1903834 w 6980818"/>
              <a:gd name="connsiteY3" fmla="*/ 27407 h 24913336"/>
              <a:gd name="connsiteX4" fmla="*/ 2514245 w 6980818"/>
              <a:gd name="connsiteY4" fmla="*/ 18273549 h 24913336"/>
              <a:gd name="connsiteX5" fmla="*/ 3175130 w 6980818"/>
              <a:gd name="connsiteY5" fmla="*/ 18161374 h 24913336"/>
              <a:gd name="connsiteX6" fmla="*/ 3899517 w 6980818"/>
              <a:gd name="connsiteY6" fmla="*/ 24001085 h 24913336"/>
              <a:gd name="connsiteX7" fmla="*/ 4460947 w 6980818"/>
              <a:gd name="connsiteY7" fmla="*/ 24898026 h 24913336"/>
              <a:gd name="connsiteX8" fmla="*/ 5105922 w 6980818"/>
              <a:gd name="connsiteY8" fmla="*/ 24345321 h 24913336"/>
              <a:gd name="connsiteX9" fmla="*/ 5753791 w 6980818"/>
              <a:gd name="connsiteY9" fmla="*/ 24805750 h 24913336"/>
              <a:gd name="connsiteX10" fmla="*/ 6406779 w 6980818"/>
              <a:gd name="connsiteY10" fmla="*/ 24572612 h 24913336"/>
              <a:gd name="connsiteX11" fmla="*/ 6980818 w 6980818"/>
              <a:gd name="connsiteY11" fmla="*/ 24402045 h 24913336"/>
              <a:gd name="connsiteX0" fmla="*/ 0 w 6980818"/>
              <a:gd name="connsiteY0" fmla="*/ 17861655 h 24898026"/>
              <a:gd name="connsiteX1" fmla="*/ 628400 w 6980818"/>
              <a:gd name="connsiteY1" fmla="*/ 21682484 h 24898026"/>
              <a:gd name="connsiteX2" fmla="*/ 1278040 w 6980818"/>
              <a:gd name="connsiteY2" fmla="*/ 14329569 h 24898026"/>
              <a:gd name="connsiteX3" fmla="*/ 1903834 w 6980818"/>
              <a:gd name="connsiteY3" fmla="*/ 27407 h 24898026"/>
              <a:gd name="connsiteX4" fmla="*/ 2514245 w 6980818"/>
              <a:gd name="connsiteY4" fmla="*/ 18273549 h 24898026"/>
              <a:gd name="connsiteX5" fmla="*/ 3175130 w 6980818"/>
              <a:gd name="connsiteY5" fmla="*/ 18161374 h 24898026"/>
              <a:gd name="connsiteX6" fmla="*/ 3797413 w 6980818"/>
              <a:gd name="connsiteY6" fmla="*/ 13626174 h 24898026"/>
              <a:gd name="connsiteX7" fmla="*/ 4460947 w 6980818"/>
              <a:gd name="connsiteY7" fmla="*/ 24898026 h 24898026"/>
              <a:gd name="connsiteX8" fmla="*/ 5105922 w 6980818"/>
              <a:gd name="connsiteY8" fmla="*/ 24345321 h 24898026"/>
              <a:gd name="connsiteX9" fmla="*/ 5753791 w 6980818"/>
              <a:gd name="connsiteY9" fmla="*/ 24805750 h 24898026"/>
              <a:gd name="connsiteX10" fmla="*/ 6406779 w 6980818"/>
              <a:gd name="connsiteY10" fmla="*/ 24572612 h 24898026"/>
              <a:gd name="connsiteX11" fmla="*/ 6980818 w 6980818"/>
              <a:gd name="connsiteY11" fmla="*/ 24402045 h 24898026"/>
              <a:gd name="connsiteX0" fmla="*/ 0 w 6980818"/>
              <a:gd name="connsiteY0" fmla="*/ 17861655 h 24898026"/>
              <a:gd name="connsiteX1" fmla="*/ 628400 w 6980818"/>
              <a:gd name="connsiteY1" fmla="*/ 21682484 h 24898026"/>
              <a:gd name="connsiteX2" fmla="*/ 1278040 w 6980818"/>
              <a:gd name="connsiteY2" fmla="*/ 14329569 h 24898026"/>
              <a:gd name="connsiteX3" fmla="*/ 1903834 w 6980818"/>
              <a:gd name="connsiteY3" fmla="*/ 27407 h 24898026"/>
              <a:gd name="connsiteX4" fmla="*/ 2514245 w 6980818"/>
              <a:gd name="connsiteY4" fmla="*/ 18273549 h 24898026"/>
              <a:gd name="connsiteX5" fmla="*/ 3175130 w 6980818"/>
              <a:gd name="connsiteY5" fmla="*/ 18161374 h 24898026"/>
              <a:gd name="connsiteX6" fmla="*/ 3797413 w 6980818"/>
              <a:gd name="connsiteY6" fmla="*/ 13626174 h 24898026"/>
              <a:gd name="connsiteX7" fmla="*/ 4460947 w 6980818"/>
              <a:gd name="connsiteY7" fmla="*/ 24898026 h 24898026"/>
              <a:gd name="connsiteX8" fmla="*/ 5105922 w 6980818"/>
              <a:gd name="connsiteY8" fmla="*/ 24345321 h 24898026"/>
              <a:gd name="connsiteX9" fmla="*/ 5753791 w 6980818"/>
              <a:gd name="connsiteY9" fmla="*/ 24805750 h 24898026"/>
              <a:gd name="connsiteX10" fmla="*/ 6406779 w 6980818"/>
              <a:gd name="connsiteY10" fmla="*/ 24572612 h 24898026"/>
              <a:gd name="connsiteX11" fmla="*/ 6980818 w 6980818"/>
              <a:gd name="connsiteY11" fmla="*/ 24402045 h 24898026"/>
              <a:gd name="connsiteX0" fmla="*/ 0 w 6980818"/>
              <a:gd name="connsiteY0" fmla="*/ 17861655 h 24898026"/>
              <a:gd name="connsiteX1" fmla="*/ 628400 w 6980818"/>
              <a:gd name="connsiteY1" fmla="*/ 21682484 h 24898026"/>
              <a:gd name="connsiteX2" fmla="*/ 1278040 w 6980818"/>
              <a:gd name="connsiteY2" fmla="*/ 14329569 h 24898026"/>
              <a:gd name="connsiteX3" fmla="*/ 1903834 w 6980818"/>
              <a:gd name="connsiteY3" fmla="*/ 27407 h 24898026"/>
              <a:gd name="connsiteX4" fmla="*/ 2514245 w 6980818"/>
              <a:gd name="connsiteY4" fmla="*/ 18273549 h 24898026"/>
              <a:gd name="connsiteX5" fmla="*/ 3175130 w 6980818"/>
              <a:gd name="connsiteY5" fmla="*/ 18161374 h 24898026"/>
              <a:gd name="connsiteX6" fmla="*/ 3797413 w 6980818"/>
              <a:gd name="connsiteY6" fmla="*/ 13626174 h 24898026"/>
              <a:gd name="connsiteX7" fmla="*/ 4460947 w 6980818"/>
              <a:gd name="connsiteY7" fmla="*/ 24898026 h 24898026"/>
              <a:gd name="connsiteX8" fmla="*/ 5105922 w 6980818"/>
              <a:gd name="connsiteY8" fmla="*/ 24345321 h 24898026"/>
              <a:gd name="connsiteX9" fmla="*/ 5753791 w 6980818"/>
              <a:gd name="connsiteY9" fmla="*/ 24805750 h 24898026"/>
              <a:gd name="connsiteX10" fmla="*/ 6406779 w 6980818"/>
              <a:gd name="connsiteY10" fmla="*/ 24572612 h 24898026"/>
              <a:gd name="connsiteX11" fmla="*/ 6980818 w 6980818"/>
              <a:gd name="connsiteY11" fmla="*/ 24402045 h 24898026"/>
              <a:gd name="connsiteX0" fmla="*/ 0 w 6980818"/>
              <a:gd name="connsiteY0" fmla="*/ 17861655 h 24898026"/>
              <a:gd name="connsiteX1" fmla="*/ 628400 w 6980818"/>
              <a:gd name="connsiteY1" fmla="*/ 21682484 h 24898026"/>
              <a:gd name="connsiteX2" fmla="*/ 1278040 w 6980818"/>
              <a:gd name="connsiteY2" fmla="*/ 14329569 h 24898026"/>
              <a:gd name="connsiteX3" fmla="*/ 1903834 w 6980818"/>
              <a:gd name="connsiteY3" fmla="*/ 27407 h 24898026"/>
              <a:gd name="connsiteX4" fmla="*/ 2514245 w 6980818"/>
              <a:gd name="connsiteY4" fmla="*/ 18273549 h 24898026"/>
              <a:gd name="connsiteX5" fmla="*/ 3175130 w 6980818"/>
              <a:gd name="connsiteY5" fmla="*/ 18161374 h 24898026"/>
              <a:gd name="connsiteX6" fmla="*/ 3797413 w 6980818"/>
              <a:gd name="connsiteY6" fmla="*/ 13626174 h 24898026"/>
              <a:gd name="connsiteX7" fmla="*/ 4460947 w 6980818"/>
              <a:gd name="connsiteY7" fmla="*/ 24898026 h 24898026"/>
              <a:gd name="connsiteX8" fmla="*/ 5105922 w 6980818"/>
              <a:gd name="connsiteY8" fmla="*/ 24345321 h 24898026"/>
              <a:gd name="connsiteX9" fmla="*/ 5753791 w 6980818"/>
              <a:gd name="connsiteY9" fmla="*/ 24805750 h 24898026"/>
              <a:gd name="connsiteX10" fmla="*/ 6406779 w 6980818"/>
              <a:gd name="connsiteY10" fmla="*/ 24572612 h 24898026"/>
              <a:gd name="connsiteX11" fmla="*/ 6980818 w 6980818"/>
              <a:gd name="connsiteY11" fmla="*/ 24402045 h 24898026"/>
              <a:gd name="connsiteX0" fmla="*/ 0 w 6980818"/>
              <a:gd name="connsiteY0" fmla="*/ 17861655 h 24984704"/>
              <a:gd name="connsiteX1" fmla="*/ 628400 w 6980818"/>
              <a:gd name="connsiteY1" fmla="*/ 21682484 h 24984704"/>
              <a:gd name="connsiteX2" fmla="*/ 1278040 w 6980818"/>
              <a:gd name="connsiteY2" fmla="*/ 14329569 h 24984704"/>
              <a:gd name="connsiteX3" fmla="*/ 1903834 w 6980818"/>
              <a:gd name="connsiteY3" fmla="*/ 27407 h 24984704"/>
              <a:gd name="connsiteX4" fmla="*/ 2514245 w 6980818"/>
              <a:gd name="connsiteY4" fmla="*/ 18273549 h 24984704"/>
              <a:gd name="connsiteX5" fmla="*/ 3175130 w 6980818"/>
              <a:gd name="connsiteY5" fmla="*/ 18161374 h 24984704"/>
              <a:gd name="connsiteX6" fmla="*/ 3797413 w 6980818"/>
              <a:gd name="connsiteY6" fmla="*/ 13626174 h 24984704"/>
              <a:gd name="connsiteX7" fmla="*/ 4399685 w 6980818"/>
              <a:gd name="connsiteY7" fmla="*/ 18102455 h 24984704"/>
              <a:gd name="connsiteX8" fmla="*/ 5105922 w 6980818"/>
              <a:gd name="connsiteY8" fmla="*/ 24345321 h 24984704"/>
              <a:gd name="connsiteX9" fmla="*/ 5753791 w 6980818"/>
              <a:gd name="connsiteY9" fmla="*/ 24805750 h 24984704"/>
              <a:gd name="connsiteX10" fmla="*/ 6406779 w 6980818"/>
              <a:gd name="connsiteY10" fmla="*/ 24572612 h 24984704"/>
              <a:gd name="connsiteX11" fmla="*/ 6980818 w 6980818"/>
              <a:gd name="connsiteY11" fmla="*/ 24402045 h 24984704"/>
              <a:gd name="connsiteX0" fmla="*/ 0 w 6980818"/>
              <a:gd name="connsiteY0" fmla="*/ 17861655 h 25502442"/>
              <a:gd name="connsiteX1" fmla="*/ 628400 w 6980818"/>
              <a:gd name="connsiteY1" fmla="*/ 21682484 h 25502442"/>
              <a:gd name="connsiteX2" fmla="*/ 1278040 w 6980818"/>
              <a:gd name="connsiteY2" fmla="*/ 14329569 h 25502442"/>
              <a:gd name="connsiteX3" fmla="*/ 1903834 w 6980818"/>
              <a:gd name="connsiteY3" fmla="*/ 27407 h 25502442"/>
              <a:gd name="connsiteX4" fmla="*/ 2514245 w 6980818"/>
              <a:gd name="connsiteY4" fmla="*/ 18273549 h 25502442"/>
              <a:gd name="connsiteX5" fmla="*/ 3175130 w 6980818"/>
              <a:gd name="connsiteY5" fmla="*/ 18161374 h 25502442"/>
              <a:gd name="connsiteX6" fmla="*/ 3797413 w 6980818"/>
              <a:gd name="connsiteY6" fmla="*/ 13626174 h 25502442"/>
              <a:gd name="connsiteX7" fmla="*/ 4399685 w 6980818"/>
              <a:gd name="connsiteY7" fmla="*/ 18102455 h 25502442"/>
              <a:gd name="connsiteX8" fmla="*/ 5049765 w 6980818"/>
              <a:gd name="connsiteY8" fmla="*/ 14385400 h 25502442"/>
              <a:gd name="connsiteX9" fmla="*/ 5753791 w 6980818"/>
              <a:gd name="connsiteY9" fmla="*/ 24805750 h 25502442"/>
              <a:gd name="connsiteX10" fmla="*/ 6406779 w 6980818"/>
              <a:gd name="connsiteY10" fmla="*/ 24572612 h 25502442"/>
              <a:gd name="connsiteX11" fmla="*/ 6980818 w 6980818"/>
              <a:gd name="connsiteY11" fmla="*/ 24402045 h 25502442"/>
              <a:gd name="connsiteX0" fmla="*/ 0 w 6980818"/>
              <a:gd name="connsiteY0" fmla="*/ 17861655 h 25502442"/>
              <a:gd name="connsiteX1" fmla="*/ 628400 w 6980818"/>
              <a:gd name="connsiteY1" fmla="*/ 21682484 h 25502442"/>
              <a:gd name="connsiteX2" fmla="*/ 1278040 w 6980818"/>
              <a:gd name="connsiteY2" fmla="*/ 14329569 h 25502442"/>
              <a:gd name="connsiteX3" fmla="*/ 1903834 w 6980818"/>
              <a:gd name="connsiteY3" fmla="*/ 27407 h 25502442"/>
              <a:gd name="connsiteX4" fmla="*/ 2514245 w 6980818"/>
              <a:gd name="connsiteY4" fmla="*/ 18273549 h 25502442"/>
              <a:gd name="connsiteX5" fmla="*/ 3175130 w 6980818"/>
              <a:gd name="connsiteY5" fmla="*/ 18161374 h 25502442"/>
              <a:gd name="connsiteX6" fmla="*/ 3797413 w 6980818"/>
              <a:gd name="connsiteY6" fmla="*/ 13626174 h 25502442"/>
              <a:gd name="connsiteX7" fmla="*/ 4399685 w 6980818"/>
              <a:gd name="connsiteY7" fmla="*/ 18102455 h 25502442"/>
              <a:gd name="connsiteX8" fmla="*/ 5049765 w 6980818"/>
              <a:gd name="connsiteY8" fmla="*/ 14385400 h 25502442"/>
              <a:gd name="connsiteX9" fmla="*/ 5753791 w 6980818"/>
              <a:gd name="connsiteY9" fmla="*/ 24805750 h 25502442"/>
              <a:gd name="connsiteX10" fmla="*/ 6406779 w 6980818"/>
              <a:gd name="connsiteY10" fmla="*/ 24572612 h 25502442"/>
              <a:gd name="connsiteX11" fmla="*/ 6980818 w 6980818"/>
              <a:gd name="connsiteY11" fmla="*/ 24402045 h 25502442"/>
              <a:gd name="connsiteX0" fmla="*/ 0 w 6980818"/>
              <a:gd name="connsiteY0" fmla="*/ 17861655 h 25689848"/>
              <a:gd name="connsiteX1" fmla="*/ 628400 w 6980818"/>
              <a:gd name="connsiteY1" fmla="*/ 21682484 h 25689848"/>
              <a:gd name="connsiteX2" fmla="*/ 1278040 w 6980818"/>
              <a:gd name="connsiteY2" fmla="*/ 14329569 h 25689848"/>
              <a:gd name="connsiteX3" fmla="*/ 1903834 w 6980818"/>
              <a:gd name="connsiteY3" fmla="*/ 27407 h 25689848"/>
              <a:gd name="connsiteX4" fmla="*/ 2514245 w 6980818"/>
              <a:gd name="connsiteY4" fmla="*/ 18273549 h 25689848"/>
              <a:gd name="connsiteX5" fmla="*/ 3175130 w 6980818"/>
              <a:gd name="connsiteY5" fmla="*/ 18161374 h 25689848"/>
              <a:gd name="connsiteX6" fmla="*/ 3797413 w 6980818"/>
              <a:gd name="connsiteY6" fmla="*/ 13626174 h 25689848"/>
              <a:gd name="connsiteX7" fmla="*/ 4399685 w 6980818"/>
              <a:gd name="connsiteY7" fmla="*/ 18102455 h 25689848"/>
              <a:gd name="connsiteX8" fmla="*/ 5059976 w 6980818"/>
              <a:gd name="connsiteY8" fmla="*/ 11843540 h 25689848"/>
              <a:gd name="connsiteX9" fmla="*/ 5753791 w 6980818"/>
              <a:gd name="connsiteY9" fmla="*/ 24805750 h 25689848"/>
              <a:gd name="connsiteX10" fmla="*/ 6406779 w 6980818"/>
              <a:gd name="connsiteY10" fmla="*/ 24572612 h 25689848"/>
              <a:gd name="connsiteX11" fmla="*/ 6980818 w 6980818"/>
              <a:gd name="connsiteY11" fmla="*/ 24402045 h 25689848"/>
              <a:gd name="connsiteX0" fmla="*/ 0 w 6980818"/>
              <a:gd name="connsiteY0" fmla="*/ 17861655 h 25689848"/>
              <a:gd name="connsiteX1" fmla="*/ 628400 w 6980818"/>
              <a:gd name="connsiteY1" fmla="*/ 21682484 h 25689848"/>
              <a:gd name="connsiteX2" fmla="*/ 1278040 w 6980818"/>
              <a:gd name="connsiteY2" fmla="*/ 14329569 h 25689848"/>
              <a:gd name="connsiteX3" fmla="*/ 1903834 w 6980818"/>
              <a:gd name="connsiteY3" fmla="*/ 27407 h 25689848"/>
              <a:gd name="connsiteX4" fmla="*/ 2514245 w 6980818"/>
              <a:gd name="connsiteY4" fmla="*/ 18273549 h 25689848"/>
              <a:gd name="connsiteX5" fmla="*/ 3175130 w 6980818"/>
              <a:gd name="connsiteY5" fmla="*/ 18161374 h 25689848"/>
              <a:gd name="connsiteX6" fmla="*/ 3797413 w 6980818"/>
              <a:gd name="connsiteY6" fmla="*/ 13626174 h 25689848"/>
              <a:gd name="connsiteX7" fmla="*/ 4399685 w 6980818"/>
              <a:gd name="connsiteY7" fmla="*/ 18102455 h 25689848"/>
              <a:gd name="connsiteX8" fmla="*/ 5059976 w 6980818"/>
              <a:gd name="connsiteY8" fmla="*/ 11843540 h 25689848"/>
              <a:gd name="connsiteX9" fmla="*/ 5753791 w 6980818"/>
              <a:gd name="connsiteY9" fmla="*/ 24805750 h 25689848"/>
              <a:gd name="connsiteX10" fmla="*/ 6406779 w 6980818"/>
              <a:gd name="connsiteY10" fmla="*/ 24572612 h 25689848"/>
              <a:gd name="connsiteX11" fmla="*/ 6980818 w 6980818"/>
              <a:gd name="connsiteY11" fmla="*/ 24402045 h 25689848"/>
              <a:gd name="connsiteX0" fmla="*/ 0 w 6980818"/>
              <a:gd name="connsiteY0" fmla="*/ 17861655 h 25689848"/>
              <a:gd name="connsiteX1" fmla="*/ 628400 w 6980818"/>
              <a:gd name="connsiteY1" fmla="*/ 21682484 h 25689848"/>
              <a:gd name="connsiteX2" fmla="*/ 1278040 w 6980818"/>
              <a:gd name="connsiteY2" fmla="*/ 14329569 h 25689848"/>
              <a:gd name="connsiteX3" fmla="*/ 1903834 w 6980818"/>
              <a:gd name="connsiteY3" fmla="*/ 27407 h 25689848"/>
              <a:gd name="connsiteX4" fmla="*/ 2514245 w 6980818"/>
              <a:gd name="connsiteY4" fmla="*/ 18273549 h 25689848"/>
              <a:gd name="connsiteX5" fmla="*/ 3175130 w 6980818"/>
              <a:gd name="connsiteY5" fmla="*/ 18161374 h 25689848"/>
              <a:gd name="connsiteX6" fmla="*/ 3797413 w 6980818"/>
              <a:gd name="connsiteY6" fmla="*/ 13626174 h 25689848"/>
              <a:gd name="connsiteX7" fmla="*/ 4399685 w 6980818"/>
              <a:gd name="connsiteY7" fmla="*/ 18102455 h 25689848"/>
              <a:gd name="connsiteX8" fmla="*/ 5059976 w 6980818"/>
              <a:gd name="connsiteY8" fmla="*/ 11843540 h 25689848"/>
              <a:gd name="connsiteX9" fmla="*/ 5753791 w 6980818"/>
              <a:gd name="connsiteY9" fmla="*/ 24805750 h 25689848"/>
              <a:gd name="connsiteX10" fmla="*/ 6406779 w 6980818"/>
              <a:gd name="connsiteY10" fmla="*/ 24572612 h 25689848"/>
              <a:gd name="connsiteX11" fmla="*/ 6980818 w 6980818"/>
              <a:gd name="connsiteY11" fmla="*/ 24402045 h 25689848"/>
              <a:gd name="connsiteX0" fmla="*/ 0 w 6980818"/>
              <a:gd name="connsiteY0" fmla="*/ 20267241 h 26978353"/>
              <a:gd name="connsiteX1" fmla="*/ 628400 w 6980818"/>
              <a:gd name="connsiteY1" fmla="*/ 24088070 h 26978353"/>
              <a:gd name="connsiteX2" fmla="*/ 1278040 w 6980818"/>
              <a:gd name="connsiteY2" fmla="*/ 16735155 h 26978353"/>
              <a:gd name="connsiteX3" fmla="*/ 1903834 w 6980818"/>
              <a:gd name="connsiteY3" fmla="*/ 2432993 h 26978353"/>
              <a:gd name="connsiteX4" fmla="*/ 2514245 w 6980818"/>
              <a:gd name="connsiteY4" fmla="*/ 20679135 h 26978353"/>
              <a:gd name="connsiteX5" fmla="*/ 3175130 w 6980818"/>
              <a:gd name="connsiteY5" fmla="*/ 20566960 h 26978353"/>
              <a:gd name="connsiteX6" fmla="*/ 3797413 w 6980818"/>
              <a:gd name="connsiteY6" fmla="*/ 16031760 h 26978353"/>
              <a:gd name="connsiteX7" fmla="*/ 4399685 w 6980818"/>
              <a:gd name="connsiteY7" fmla="*/ 20508041 h 26978353"/>
              <a:gd name="connsiteX8" fmla="*/ 5059976 w 6980818"/>
              <a:gd name="connsiteY8" fmla="*/ 14249126 h 26978353"/>
              <a:gd name="connsiteX9" fmla="*/ 5692530 w 6980818"/>
              <a:gd name="connsiteY9" fmla="*/ 236563 h 26978353"/>
              <a:gd name="connsiteX10" fmla="*/ 6406779 w 6980818"/>
              <a:gd name="connsiteY10" fmla="*/ 26978198 h 26978353"/>
              <a:gd name="connsiteX11" fmla="*/ 6980818 w 6980818"/>
              <a:gd name="connsiteY11" fmla="*/ 26807631 h 26978353"/>
              <a:gd name="connsiteX0" fmla="*/ 0 w 6980818"/>
              <a:gd name="connsiteY0" fmla="*/ 20030773 h 26741885"/>
              <a:gd name="connsiteX1" fmla="*/ 628400 w 6980818"/>
              <a:gd name="connsiteY1" fmla="*/ 23851602 h 26741885"/>
              <a:gd name="connsiteX2" fmla="*/ 1278040 w 6980818"/>
              <a:gd name="connsiteY2" fmla="*/ 16498687 h 26741885"/>
              <a:gd name="connsiteX3" fmla="*/ 1903834 w 6980818"/>
              <a:gd name="connsiteY3" fmla="*/ 2196525 h 26741885"/>
              <a:gd name="connsiteX4" fmla="*/ 2514245 w 6980818"/>
              <a:gd name="connsiteY4" fmla="*/ 20442667 h 26741885"/>
              <a:gd name="connsiteX5" fmla="*/ 3175130 w 6980818"/>
              <a:gd name="connsiteY5" fmla="*/ 20330492 h 26741885"/>
              <a:gd name="connsiteX6" fmla="*/ 3797413 w 6980818"/>
              <a:gd name="connsiteY6" fmla="*/ 15795292 h 26741885"/>
              <a:gd name="connsiteX7" fmla="*/ 4399685 w 6980818"/>
              <a:gd name="connsiteY7" fmla="*/ 20271573 h 26741885"/>
              <a:gd name="connsiteX8" fmla="*/ 5059976 w 6980818"/>
              <a:gd name="connsiteY8" fmla="*/ 14012658 h 26741885"/>
              <a:gd name="connsiteX9" fmla="*/ 5692530 w 6980818"/>
              <a:gd name="connsiteY9" fmla="*/ 95 h 26741885"/>
              <a:gd name="connsiteX10" fmla="*/ 6406779 w 6980818"/>
              <a:gd name="connsiteY10" fmla="*/ 26741730 h 26741885"/>
              <a:gd name="connsiteX11" fmla="*/ 6980818 w 6980818"/>
              <a:gd name="connsiteY11" fmla="*/ 26571163 h 26741885"/>
              <a:gd name="connsiteX0" fmla="*/ 0 w 6980818"/>
              <a:gd name="connsiteY0" fmla="*/ 20299902 h 26840294"/>
              <a:gd name="connsiteX1" fmla="*/ 628400 w 6980818"/>
              <a:gd name="connsiteY1" fmla="*/ 24120731 h 26840294"/>
              <a:gd name="connsiteX2" fmla="*/ 1278040 w 6980818"/>
              <a:gd name="connsiteY2" fmla="*/ 16767816 h 26840294"/>
              <a:gd name="connsiteX3" fmla="*/ 1903834 w 6980818"/>
              <a:gd name="connsiteY3" fmla="*/ 2465654 h 26840294"/>
              <a:gd name="connsiteX4" fmla="*/ 2514245 w 6980818"/>
              <a:gd name="connsiteY4" fmla="*/ 20711796 h 26840294"/>
              <a:gd name="connsiteX5" fmla="*/ 3175130 w 6980818"/>
              <a:gd name="connsiteY5" fmla="*/ 20599621 h 26840294"/>
              <a:gd name="connsiteX6" fmla="*/ 3797413 w 6980818"/>
              <a:gd name="connsiteY6" fmla="*/ 16064421 h 26840294"/>
              <a:gd name="connsiteX7" fmla="*/ 4399685 w 6980818"/>
              <a:gd name="connsiteY7" fmla="*/ 20540702 h 26840294"/>
              <a:gd name="connsiteX8" fmla="*/ 5059976 w 6980818"/>
              <a:gd name="connsiteY8" fmla="*/ 14281787 h 26840294"/>
              <a:gd name="connsiteX9" fmla="*/ 5692530 w 6980818"/>
              <a:gd name="connsiteY9" fmla="*/ 269224 h 26840294"/>
              <a:gd name="connsiteX10" fmla="*/ 6350622 w 6980818"/>
              <a:gd name="connsiteY10" fmla="*/ 4704794 h 26840294"/>
              <a:gd name="connsiteX11" fmla="*/ 6980818 w 6980818"/>
              <a:gd name="connsiteY11" fmla="*/ 26840292 h 26840294"/>
              <a:gd name="connsiteX0" fmla="*/ 0 w 6980818"/>
              <a:gd name="connsiteY0" fmla="*/ 20367208 h 26907600"/>
              <a:gd name="connsiteX1" fmla="*/ 628400 w 6980818"/>
              <a:gd name="connsiteY1" fmla="*/ 24188037 h 26907600"/>
              <a:gd name="connsiteX2" fmla="*/ 1278040 w 6980818"/>
              <a:gd name="connsiteY2" fmla="*/ 16835122 h 26907600"/>
              <a:gd name="connsiteX3" fmla="*/ 1903834 w 6980818"/>
              <a:gd name="connsiteY3" fmla="*/ 2532960 h 26907600"/>
              <a:gd name="connsiteX4" fmla="*/ 2514245 w 6980818"/>
              <a:gd name="connsiteY4" fmla="*/ 20779102 h 26907600"/>
              <a:gd name="connsiteX5" fmla="*/ 3175130 w 6980818"/>
              <a:gd name="connsiteY5" fmla="*/ 20666927 h 26907600"/>
              <a:gd name="connsiteX6" fmla="*/ 3797413 w 6980818"/>
              <a:gd name="connsiteY6" fmla="*/ 16131727 h 26907600"/>
              <a:gd name="connsiteX7" fmla="*/ 4399685 w 6980818"/>
              <a:gd name="connsiteY7" fmla="*/ 20608008 h 26907600"/>
              <a:gd name="connsiteX8" fmla="*/ 5059976 w 6980818"/>
              <a:gd name="connsiteY8" fmla="*/ 14349093 h 26907600"/>
              <a:gd name="connsiteX9" fmla="*/ 5692530 w 6980818"/>
              <a:gd name="connsiteY9" fmla="*/ 336530 h 26907600"/>
              <a:gd name="connsiteX10" fmla="*/ 6350622 w 6980818"/>
              <a:gd name="connsiteY10" fmla="*/ 4772100 h 26907600"/>
              <a:gd name="connsiteX11" fmla="*/ 6980818 w 6980818"/>
              <a:gd name="connsiteY11" fmla="*/ 26907598 h 26907600"/>
              <a:gd name="connsiteX0" fmla="*/ 0 w 6980818"/>
              <a:gd name="connsiteY0" fmla="*/ 20367208 h 26907600"/>
              <a:gd name="connsiteX1" fmla="*/ 628400 w 6980818"/>
              <a:gd name="connsiteY1" fmla="*/ 24188037 h 26907600"/>
              <a:gd name="connsiteX2" fmla="*/ 1278040 w 6980818"/>
              <a:gd name="connsiteY2" fmla="*/ 16835122 h 26907600"/>
              <a:gd name="connsiteX3" fmla="*/ 1903834 w 6980818"/>
              <a:gd name="connsiteY3" fmla="*/ 2532960 h 26907600"/>
              <a:gd name="connsiteX4" fmla="*/ 2514245 w 6980818"/>
              <a:gd name="connsiteY4" fmla="*/ 20779102 h 26907600"/>
              <a:gd name="connsiteX5" fmla="*/ 3175130 w 6980818"/>
              <a:gd name="connsiteY5" fmla="*/ 20666927 h 26907600"/>
              <a:gd name="connsiteX6" fmla="*/ 3797413 w 6980818"/>
              <a:gd name="connsiteY6" fmla="*/ 16131727 h 26907600"/>
              <a:gd name="connsiteX7" fmla="*/ 4399685 w 6980818"/>
              <a:gd name="connsiteY7" fmla="*/ 20608008 h 26907600"/>
              <a:gd name="connsiteX8" fmla="*/ 5059976 w 6980818"/>
              <a:gd name="connsiteY8" fmla="*/ 14349093 h 26907600"/>
              <a:gd name="connsiteX9" fmla="*/ 5692530 w 6980818"/>
              <a:gd name="connsiteY9" fmla="*/ 336530 h 26907600"/>
              <a:gd name="connsiteX10" fmla="*/ 6350622 w 6980818"/>
              <a:gd name="connsiteY10" fmla="*/ 4772100 h 26907600"/>
              <a:gd name="connsiteX11" fmla="*/ 6980818 w 6980818"/>
              <a:gd name="connsiteY11" fmla="*/ 26907598 h 26907600"/>
              <a:gd name="connsiteX0" fmla="*/ 0 w 6980818"/>
              <a:gd name="connsiteY0" fmla="*/ 20391527 h 26931919"/>
              <a:gd name="connsiteX1" fmla="*/ 628400 w 6980818"/>
              <a:gd name="connsiteY1" fmla="*/ 24212356 h 26931919"/>
              <a:gd name="connsiteX2" fmla="*/ 1278040 w 6980818"/>
              <a:gd name="connsiteY2" fmla="*/ 16859441 h 26931919"/>
              <a:gd name="connsiteX3" fmla="*/ 1903834 w 6980818"/>
              <a:gd name="connsiteY3" fmla="*/ 2557279 h 26931919"/>
              <a:gd name="connsiteX4" fmla="*/ 2514245 w 6980818"/>
              <a:gd name="connsiteY4" fmla="*/ 20803421 h 26931919"/>
              <a:gd name="connsiteX5" fmla="*/ 3175130 w 6980818"/>
              <a:gd name="connsiteY5" fmla="*/ 20691246 h 26931919"/>
              <a:gd name="connsiteX6" fmla="*/ 3797413 w 6980818"/>
              <a:gd name="connsiteY6" fmla="*/ 16156046 h 26931919"/>
              <a:gd name="connsiteX7" fmla="*/ 4399685 w 6980818"/>
              <a:gd name="connsiteY7" fmla="*/ 20632327 h 26931919"/>
              <a:gd name="connsiteX8" fmla="*/ 5059976 w 6980818"/>
              <a:gd name="connsiteY8" fmla="*/ 14373412 h 26931919"/>
              <a:gd name="connsiteX9" fmla="*/ 5692530 w 6980818"/>
              <a:gd name="connsiteY9" fmla="*/ 360849 h 26931919"/>
              <a:gd name="connsiteX10" fmla="*/ 6350622 w 6980818"/>
              <a:gd name="connsiteY10" fmla="*/ 4796419 h 26931919"/>
              <a:gd name="connsiteX11" fmla="*/ 6980818 w 6980818"/>
              <a:gd name="connsiteY11" fmla="*/ 26931917 h 26931919"/>
              <a:gd name="connsiteX0" fmla="*/ 0 w 6980818"/>
              <a:gd name="connsiteY0" fmla="*/ 20105471 h 26645863"/>
              <a:gd name="connsiteX1" fmla="*/ 628400 w 6980818"/>
              <a:gd name="connsiteY1" fmla="*/ 23926300 h 26645863"/>
              <a:gd name="connsiteX2" fmla="*/ 1278040 w 6980818"/>
              <a:gd name="connsiteY2" fmla="*/ 16573385 h 26645863"/>
              <a:gd name="connsiteX3" fmla="*/ 1903834 w 6980818"/>
              <a:gd name="connsiteY3" fmla="*/ 2271223 h 26645863"/>
              <a:gd name="connsiteX4" fmla="*/ 2514245 w 6980818"/>
              <a:gd name="connsiteY4" fmla="*/ 20517365 h 26645863"/>
              <a:gd name="connsiteX5" fmla="*/ 3175130 w 6980818"/>
              <a:gd name="connsiteY5" fmla="*/ 20405190 h 26645863"/>
              <a:gd name="connsiteX6" fmla="*/ 3797413 w 6980818"/>
              <a:gd name="connsiteY6" fmla="*/ 15869990 h 26645863"/>
              <a:gd name="connsiteX7" fmla="*/ 4399685 w 6980818"/>
              <a:gd name="connsiteY7" fmla="*/ 20346271 h 26645863"/>
              <a:gd name="connsiteX8" fmla="*/ 5059976 w 6980818"/>
              <a:gd name="connsiteY8" fmla="*/ 14087356 h 26645863"/>
              <a:gd name="connsiteX9" fmla="*/ 5692530 w 6980818"/>
              <a:gd name="connsiteY9" fmla="*/ 74793 h 26645863"/>
              <a:gd name="connsiteX10" fmla="*/ 6350622 w 6980818"/>
              <a:gd name="connsiteY10" fmla="*/ 8660331 h 26645863"/>
              <a:gd name="connsiteX11" fmla="*/ 6980818 w 6980818"/>
              <a:gd name="connsiteY11" fmla="*/ 26645861 h 26645863"/>
              <a:gd name="connsiteX0" fmla="*/ 0 w 6960397"/>
              <a:gd name="connsiteY0" fmla="*/ 20105471 h 23980332"/>
              <a:gd name="connsiteX1" fmla="*/ 628400 w 6960397"/>
              <a:gd name="connsiteY1" fmla="*/ 23926300 h 23980332"/>
              <a:gd name="connsiteX2" fmla="*/ 1278040 w 6960397"/>
              <a:gd name="connsiteY2" fmla="*/ 16573385 h 23980332"/>
              <a:gd name="connsiteX3" fmla="*/ 1903834 w 6960397"/>
              <a:gd name="connsiteY3" fmla="*/ 2271223 h 23980332"/>
              <a:gd name="connsiteX4" fmla="*/ 2514245 w 6960397"/>
              <a:gd name="connsiteY4" fmla="*/ 20517365 h 23980332"/>
              <a:gd name="connsiteX5" fmla="*/ 3175130 w 6960397"/>
              <a:gd name="connsiteY5" fmla="*/ 20405190 h 23980332"/>
              <a:gd name="connsiteX6" fmla="*/ 3797413 w 6960397"/>
              <a:gd name="connsiteY6" fmla="*/ 15869990 h 23980332"/>
              <a:gd name="connsiteX7" fmla="*/ 4399685 w 6960397"/>
              <a:gd name="connsiteY7" fmla="*/ 20346271 h 23980332"/>
              <a:gd name="connsiteX8" fmla="*/ 5059976 w 6960397"/>
              <a:gd name="connsiteY8" fmla="*/ 14087356 h 23980332"/>
              <a:gd name="connsiteX9" fmla="*/ 5692530 w 6960397"/>
              <a:gd name="connsiteY9" fmla="*/ 74793 h 23980332"/>
              <a:gd name="connsiteX10" fmla="*/ 6350622 w 6960397"/>
              <a:gd name="connsiteY10" fmla="*/ 8660331 h 23980332"/>
              <a:gd name="connsiteX11" fmla="*/ 6960397 w 6960397"/>
              <a:gd name="connsiteY11" fmla="*/ 16322823 h 23980332"/>
              <a:gd name="connsiteX0" fmla="*/ 0 w 6970608"/>
              <a:gd name="connsiteY0" fmla="*/ 20105471 h 23980332"/>
              <a:gd name="connsiteX1" fmla="*/ 628400 w 6970608"/>
              <a:gd name="connsiteY1" fmla="*/ 23926300 h 23980332"/>
              <a:gd name="connsiteX2" fmla="*/ 1278040 w 6970608"/>
              <a:gd name="connsiteY2" fmla="*/ 16573385 h 23980332"/>
              <a:gd name="connsiteX3" fmla="*/ 1903834 w 6970608"/>
              <a:gd name="connsiteY3" fmla="*/ 2271223 h 23980332"/>
              <a:gd name="connsiteX4" fmla="*/ 2514245 w 6970608"/>
              <a:gd name="connsiteY4" fmla="*/ 20517365 h 23980332"/>
              <a:gd name="connsiteX5" fmla="*/ 3175130 w 6970608"/>
              <a:gd name="connsiteY5" fmla="*/ 20405190 h 23980332"/>
              <a:gd name="connsiteX6" fmla="*/ 3797413 w 6970608"/>
              <a:gd name="connsiteY6" fmla="*/ 15869990 h 23980332"/>
              <a:gd name="connsiteX7" fmla="*/ 4399685 w 6970608"/>
              <a:gd name="connsiteY7" fmla="*/ 20346271 h 23980332"/>
              <a:gd name="connsiteX8" fmla="*/ 5059976 w 6970608"/>
              <a:gd name="connsiteY8" fmla="*/ 14087356 h 23980332"/>
              <a:gd name="connsiteX9" fmla="*/ 5692530 w 6970608"/>
              <a:gd name="connsiteY9" fmla="*/ 74793 h 23980332"/>
              <a:gd name="connsiteX10" fmla="*/ 6350622 w 6970608"/>
              <a:gd name="connsiteY10" fmla="*/ 8660331 h 23980332"/>
              <a:gd name="connsiteX11" fmla="*/ 6970608 w 6970608"/>
              <a:gd name="connsiteY11" fmla="*/ 14766587 h 23980332"/>
              <a:gd name="connsiteX0" fmla="*/ 0 w 6965503"/>
              <a:gd name="connsiteY0" fmla="*/ 20105471 h 23980332"/>
              <a:gd name="connsiteX1" fmla="*/ 628400 w 6965503"/>
              <a:gd name="connsiteY1" fmla="*/ 23926300 h 23980332"/>
              <a:gd name="connsiteX2" fmla="*/ 1278040 w 6965503"/>
              <a:gd name="connsiteY2" fmla="*/ 16573385 h 23980332"/>
              <a:gd name="connsiteX3" fmla="*/ 1903834 w 6965503"/>
              <a:gd name="connsiteY3" fmla="*/ 2271223 h 23980332"/>
              <a:gd name="connsiteX4" fmla="*/ 2514245 w 6965503"/>
              <a:gd name="connsiteY4" fmla="*/ 20517365 h 23980332"/>
              <a:gd name="connsiteX5" fmla="*/ 3175130 w 6965503"/>
              <a:gd name="connsiteY5" fmla="*/ 20405190 h 23980332"/>
              <a:gd name="connsiteX6" fmla="*/ 3797413 w 6965503"/>
              <a:gd name="connsiteY6" fmla="*/ 15869990 h 23980332"/>
              <a:gd name="connsiteX7" fmla="*/ 4399685 w 6965503"/>
              <a:gd name="connsiteY7" fmla="*/ 20346271 h 23980332"/>
              <a:gd name="connsiteX8" fmla="*/ 5059976 w 6965503"/>
              <a:gd name="connsiteY8" fmla="*/ 14087356 h 23980332"/>
              <a:gd name="connsiteX9" fmla="*/ 5692530 w 6965503"/>
              <a:gd name="connsiteY9" fmla="*/ 74793 h 23980332"/>
              <a:gd name="connsiteX10" fmla="*/ 6350622 w 6965503"/>
              <a:gd name="connsiteY10" fmla="*/ 8660331 h 23980332"/>
              <a:gd name="connsiteX11" fmla="*/ 6965503 w 6965503"/>
              <a:gd name="connsiteY11" fmla="*/ 19798420 h 23980332"/>
              <a:gd name="connsiteX0" fmla="*/ 0 w 6950188"/>
              <a:gd name="connsiteY0" fmla="*/ 20105471 h 23980332"/>
              <a:gd name="connsiteX1" fmla="*/ 628400 w 6950188"/>
              <a:gd name="connsiteY1" fmla="*/ 23926300 h 23980332"/>
              <a:gd name="connsiteX2" fmla="*/ 1278040 w 6950188"/>
              <a:gd name="connsiteY2" fmla="*/ 16573385 h 23980332"/>
              <a:gd name="connsiteX3" fmla="*/ 1903834 w 6950188"/>
              <a:gd name="connsiteY3" fmla="*/ 2271223 h 23980332"/>
              <a:gd name="connsiteX4" fmla="*/ 2514245 w 6950188"/>
              <a:gd name="connsiteY4" fmla="*/ 20517365 h 23980332"/>
              <a:gd name="connsiteX5" fmla="*/ 3175130 w 6950188"/>
              <a:gd name="connsiteY5" fmla="*/ 20405190 h 23980332"/>
              <a:gd name="connsiteX6" fmla="*/ 3797413 w 6950188"/>
              <a:gd name="connsiteY6" fmla="*/ 15869990 h 23980332"/>
              <a:gd name="connsiteX7" fmla="*/ 4399685 w 6950188"/>
              <a:gd name="connsiteY7" fmla="*/ 20346271 h 23980332"/>
              <a:gd name="connsiteX8" fmla="*/ 5059976 w 6950188"/>
              <a:gd name="connsiteY8" fmla="*/ 14087356 h 23980332"/>
              <a:gd name="connsiteX9" fmla="*/ 5692530 w 6950188"/>
              <a:gd name="connsiteY9" fmla="*/ 74793 h 23980332"/>
              <a:gd name="connsiteX10" fmla="*/ 6350622 w 6950188"/>
              <a:gd name="connsiteY10" fmla="*/ 8660331 h 23980332"/>
              <a:gd name="connsiteX11" fmla="*/ 6950188 w 6950188"/>
              <a:gd name="connsiteY11" fmla="*/ 23585263 h 2398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50188" h="23980332">
                <a:moveTo>
                  <a:pt x="0" y="20105471"/>
                </a:moveTo>
                <a:cubicBezTo>
                  <a:pt x="541990" y="20098892"/>
                  <a:pt x="415393" y="24514981"/>
                  <a:pt x="628400" y="23926300"/>
                </a:cubicBezTo>
                <a:cubicBezTo>
                  <a:pt x="841407" y="23337619"/>
                  <a:pt x="1065468" y="20182564"/>
                  <a:pt x="1278040" y="16573385"/>
                </a:cubicBezTo>
                <a:cubicBezTo>
                  <a:pt x="1490612" y="12964206"/>
                  <a:pt x="1697800" y="1613893"/>
                  <a:pt x="1903834" y="2271223"/>
                </a:cubicBezTo>
                <a:cubicBezTo>
                  <a:pt x="2109868" y="2928553"/>
                  <a:pt x="2339010" y="17712787"/>
                  <a:pt x="2514245" y="20517365"/>
                </a:cubicBezTo>
                <a:cubicBezTo>
                  <a:pt x="2774615" y="20144515"/>
                  <a:pt x="2783848" y="20377850"/>
                  <a:pt x="3175130" y="20405190"/>
                </a:cubicBezTo>
                <a:cubicBezTo>
                  <a:pt x="3495562" y="17563780"/>
                  <a:pt x="3593321" y="15879810"/>
                  <a:pt x="3797413" y="15869990"/>
                </a:cubicBezTo>
                <a:cubicBezTo>
                  <a:pt x="4001506" y="15860170"/>
                  <a:pt x="4133981" y="20338776"/>
                  <a:pt x="4399685" y="20346271"/>
                </a:cubicBezTo>
                <a:cubicBezTo>
                  <a:pt x="4745551" y="20346300"/>
                  <a:pt x="4844502" y="17465936"/>
                  <a:pt x="5059976" y="14087356"/>
                </a:cubicBezTo>
                <a:cubicBezTo>
                  <a:pt x="5275450" y="10708776"/>
                  <a:pt x="5477422" y="979297"/>
                  <a:pt x="5692530" y="74793"/>
                </a:cubicBezTo>
                <a:cubicBezTo>
                  <a:pt x="5907638" y="-829711"/>
                  <a:pt x="6169692" y="6731281"/>
                  <a:pt x="6350622" y="8660331"/>
                </a:cubicBezTo>
                <a:cubicBezTo>
                  <a:pt x="6497664" y="10689796"/>
                  <a:pt x="6697717" y="23573099"/>
                  <a:pt x="6950188" y="23585263"/>
                </a:cubicBezTo>
              </a:path>
            </a:pathLst>
          </a:custGeom>
          <a:noFill/>
          <a:ln w="136525" cap="rnd" cmpd="sng" algn="ctr">
            <a:solidFill>
              <a:srgbClr val="43B02A">
                <a:alpha val="50000"/>
              </a:srgb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117" name="Freeform 42">
            <a:extLst>
              <a:ext uri="{FF2B5EF4-FFF2-40B4-BE49-F238E27FC236}">
                <a16:creationId xmlns:a16="http://schemas.microsoft.com/office/drawing/2014/main" id="{F8B3A29C-5985-472C-BB43-27DA6019A131}"/>
              </a:ext>
            </a:extLst>
          </p:cNvPr>
          <p:cNvSpPr/>
          <p:nvPr/>
        </p:nvSpPr>
        <p:spPr bwMode="auto">
          <a:xfrm flipV="1">
            <a:off x="1140997" y="2644759"/>
            <a:ext cx="9699748" cy="2742490"/>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96048 h 299074"/>
              <a:gd name="connsiteX4" fmla="*/ 2642777 w 7136640"/>
              <a:gd name="connsiteY4" fmla="*/ 150850 h 299074"/>
              <a:gd name="connsiteX5" fmla="*/ 3302093 w 7136640"/>
              <a:gd name="connsiteY5" fmla="*/ 216159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42777 w 7136640"/>
              <a:gd name="connsiteY4" fmla="*/ 150850 h 299074"/>
              <a:gd name="connsiteX5" fmla="*/ 3302093 w 7136640"/>
              <a:gd name="connsiteY5" fmla="*/ 216159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42777 w 7136640"/>
              <a:gd name="connsiteY4" fmla="*/ 150850 h 299074"/>
              <a:gd name="connsiteX5" fmla="*/ 3302093 w 7136640"/>
              <a:gd name="connsiteY5" fmla="*/ 216158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42777 w 7136640"/>
              <a:gd name="connsiteY4" fmla="*/ 150850 h 299074"/>
              <a:gd name="connsiteX5" fmla="*/ 3295304 w 7136640"/>
              <a:gd name="connsiteY5" fmla="*/ 147170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42777 w 7136640"/>
              <a:gd name="connsiteY4" fmla="*/ 150851 h 299074"/>
              <a:gd name="connsiteX5" fmla="*/ 3295304 w 7136640"/>
              <a:gd name="connsiteY5" fmla="*/ 147170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133266 h 355241"/>
              <a:gd name="connsiteX1" fmla="*/ 700803 w 7136640"/>
              <a:gd name="connsiteY1" fmla="*/ 56172 h 355241"/>
              <a:gd name="connsiteX2" fmla="*/ 1317807 w 7136640"/>
              <a:gd name="connsiteY2" fmla="*/ 136978 h 355241"/>
              <a:gd name="connsiteX3" fmla="*/ 1998846 w 7136640"/>
              <a:gd name="connsiteY3" fmla="*/ 183226 h 355241"/>
              <a:gd name="connsiteX4" fmla="*/ 2635987 w 7136640"/>
              <a:gd name="connsiteY4" fmla="*/ 51 h 355241"/>
              <a:gd name="connsiteX5" fmla="*/ 3295304 w 7136640"/>
              <a:gd name="connsiteY5" fmla="*/ 203337 h 355241"/>
              <a:gd name="connsiteX6" fmla="*/ 3964644 w 7136640"/>
              <a:gd name="connsiteY6" fmla="*/ 83032 h 355241"/>
              <a:gd name="connsiteX7" fmla="*/ 4578995 w 7136640"/>
              <a:gd name="connsiteY7" fmla="*/ 338509 h 355241"/>
              <a:gd name="connsiteX8" fmla="*/ 5236906 w 7136640"/>
              <a:gd name="connsiteY8" fmla="*/ 210735 h 355241"/>
              <a:gd name="connsiteX9" fmla="*/ 5843222 w 7136640"/>
              <a:gd name="connsiteY9" fmla="*/ 353769 h 355241"/>
              <a:gd name="connsiteX10" fmla="*/ 6486411 w 7136640"/>
              <a:gd name="connsiteY10" fmla="*/ 100896 h 355241"/>
              <a:gd name="connsiteX11" fmla="*/ 7136640 w 7136640"/>
              <a:gd name="connsiteY11" fmla="*/ 223647 h 355241"/>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35987 w 7136640"/>
              <a:gd name="connsiteY4" fmla="*/ 81862 h 299074"/>
              <a:gd name="connsiteX5" fmla="*/ 3295304 w 7136640"/>
              <a:gd name="connsiteY5" fmla="*/ 147170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594"/>
              <a:gd name="connsiteX1" fmla="*/ 700803 w 7136640"/>
              <a:gd name="connsiteY1" fmla="*/ 5 h 299594"/>
              <a:gd name="connsiteX2" fmla="*/ 1317807 w 7136640"/>
              <a:gd name="connsiteY2" fmla="*/ 80811 h 299594"/>
              <a:gd name="connsiteX3" fmla="*/ 1998846 w 7136640"/>
              <a:gd name="connsiteY3" fmla="*/ 127059 h 299594"/>
              <a:gd name="connsiteX4" fmla="*/ 2635987 w 7136640"/>
              <a:gd name="connsiteY4" fmla="*/ 81862 h 299594"/>
              <a:gd name="connsiteX5" fmla="*/ 3295304 w 7136640"/>
              <a:gd name="connsiteY5" fmla="*/ 147170 h 299594"/>
              <a:gd name="connsiteX6" fmla="*/ 3964644 w 7136640"/>
              <a:gd name="connsiteY6" fmla="*/ 26865 h 299594"/>
              <a:gd name="connsiteX7" fmla="*/ 4578995 w 7136640"/>
              <a:gd name="connsiteY7" fmla="*/ 6396 h 299594"/>
              <a:gd name="connsiteX8" fmla="*/ 5236906 w 7136640"/>
              <a:gd name="connsiteY8" fmla="*/ 154568 h 299594"/>
              <a:gd name="connsiteX9" fmla="*/ 5843222 w 7136640"/>
              <a:gd name="connsiteY9" fmla="*/ 297602 h 299594"/>
              <a:gd name="connsiteX10" fmla="*/ 6486411 w 7136640"/>
              <a:gd name="connsiteY10" fmla="*/ 44729 h 299594"/>
              <a:gd name="connsiteX11" fmla="*/ 7136640 w 7136640"/>
              <a:gd name="connsiteY11" fmla="*/ 167480 h 299594"/>
              <a:gd name="connsiteX0" fmla="*/ 0 w 7136640"/>
              <a:gd name="connsiteY0" fmla="*/ 77099 h 299433"/>
              <a:gd name="connsiteX1" fmla="*/ 700803 w 7136640"/>
              <a:gd name="connsiteY1" fmla="*/ 5 h 299433"/>
              <a:gd name="connsiteX2" fmla="*/ 1317807 w 7136640"/>
              <a:gd name="connsiteY2" fmla="*/ 80811 h 299433"/>
              <a:gd name="connsiteX3" fmla="*/ 1998846 w 7136640"/>
              <a:gd name="connsiteY3" fmla="*/ 127059 h 299433"/>
              <a:gd name="connsiteX4" fmla="*/ 2635987 w 7136640"/>
              <a:gd name="connsiteY4" fmla="*/ 81862 h 299433"/>
              <a:gd name="connsiteX5" fmla="*/ 3295304 w 7136640"/>
              <a:gd name="connsiteY5" fmla="*/ 147170 h 299433"/>
              <a:gd name="connsiteX6" fmla="*/ 3964644 w 7136640"/>
              <a:gd name="connsiteY6" fmla="*/ 26865 h 299433"/>
              <a:gd name="connsiteX7" fmla="*/ 4578995 w 7136640"/>
              <a:gd name="connsiteY7" fmla="*/ 75378 h 299433"/>
              <a:gd name="connsiteX8" fmla="*/ 5236906 w 7136640"/>
              <a:gd name="connsiteY8" fmla="*/ 154568 h 299433"/>
              <a:gd name="connsiteX9" fmla="*/ 5843222 w 7136640"/>
              <a:gd name="connsiteY9" fmla="*/ 297602 h 299433"/>
              <a:gd name="connsiteX10" fmla="*/ 6486411 w 7136640"/>
              <a:gd name="connsiteY10" fmla="*/ 44729 h 299433"/>
              <a:gd name="connsiteX11" fmla="*/ 7136640 w 7136640"/>
              <a:gd name="connsiteY11" fmla="*/ 167480 h 299433"/>
              <a:gd name="connsiteX0" fmla="*/ 0 w 7136640"/>
              <a:gd name="connsiteY0" fmla="*/ 77099 h 299433"/>
              <a:gd name="connsiteX1" fmla="*/ 700803 w 7136640"/>
              <a:gd name="connsiteY1" fmla="*/ 5 h 299433"/>
              <a:gd name="connsiteX2" fmla="*/ 1317807 w 7136640"/>
              <a:gd name="connsiteY2" fmla="*/ 80811 h 299433"/>
              <a:gd name="connsiteX3" fmla="*/ 1998846 w 7136640"/>
              <a:gd name="connsiteY3" fmla="*/ 127059 h 299433"/>
              <a:gd name="connsiteX4" fmla="*/ 2635987 w 7136640"/>
              <a:gd name="connsiteY4" fmla="*/ 81862 h 299433"/>
              <a:gd name="connsiteX5" fmla="*/ 3295304 w 7136640"/>
              <a:gd name="connsiteY5" fmla="*/ 147170 h 299433"/>
              <a:gd name="connsiteX6" fmla="*/ 3964644 w 7136640"/>
              <a:gd name="connsiteY6" fmla="*/ 26865 h 299433"/>
              <a:gd name="connsiteX7" fmla="*/ 4578995 w 7136640"/>
              <a:gd name="connsiteY7" fmla="*/ 75378 h 299433"/>
              <a:gd name="connsiteX8" fmla="*/ 5236906 w 7136640"/>
              <a:gd name="connsiteY8" fmla="*/ 154568 h 299433"/>
              <a:gd name="connsiteX9" fmla="*/ 5843222 w 7136640"/>
              <a:gd name="connsiteY9" fmla="*/ 297603 h 299433"/>
              <a:gd name="connsiteX10" fmla="*/ 6486411 w 7136640"/>
              <a:gd name="connsiteY10" fmla="*/ 44729 h 299433"/>
              <a:gd name="connsiteX11" fmla="*/ 7136640 w 7136640"/>
              <a:gd name="connsiteY11" fmla="*/ 167480 h 299433"/>
              <a:gd name="connsiteX0" fmla="*/ 0 w 7136640"/>
              <a:gd name="connsiteY0" fmla="*/ 194798 h 285177"/>
              <a:gd name="connsiteX1" fmla="*/ 700803 w 7136640"/>
              <a:gd name="connsiteY1" fmla="*/ 117704 h 285177"/>
              <a:gd name="connsiteX2" fmla="*/ 1317807 w 7136640"/>
              <a:gd name="connsiteY2" fmla="*/ 198510 h 285177"/>
              <a:gd name="connsiteX3" fmla="*/ 1998846 w 7136640"/>
              <a:gd name="connsiteY3" fmla="*/ 244758 h 285177"/>
              <a:gd name="connsiteX4" fmla="*/ 2635987 w 7136640"/>
              <a:gd name="connsiteY4" fmla="*/ 199561 h 285177"/>
              <a:gd name="connsiteX5" fmla="*/ 3295304 w 7136640"/>
              <a:gd name="connsiteY5" fmla="*/ 264869 h 285177"/>
              <a:gd name="connsiteX6" fmla="*/ 3964644 w 7136640"/>
              <a:gd name="connsiteY6" fmla="*/ 144564 h 285177"/>
              <a:gd name="connsiteX7" fmla="*/ 4578995 w 7136640"/>
              <a:gd name="connsiteY7" fmla="*/ 193077 h 285177"/>
              <a:gd name="connsiteX8" fmla="*/ 5236906 w 7136640"/>
              <a:gd name="connsiteY8" fmla="*/ 272267 h 285177"/>
              <a:gd name="connsiteX9" fmla="*/ 5836433 w 7136640"/>
              <a:gd name="connsiteY9" fmla="*/ 1383 h 285177"/>
              <a:gd name="connsiteX10" fmla="*/ 6486411 w 7136640"/>
              <a:gd name="connsiteY10" fmla="*/ 162428 h 285177"/>
              <a:gd name="connsiteX11" fmla="*/ 7136640 w 7136640"/>
              <a:gd name="connsiteY11" fmla="*/ 285179 h 285177"/>
              <a:gd name="connsiteX0" fmla="*/ 0 w 7136640"/>
              <a:gd name="connsiteY0" fmla="*/ 77099 h 167478"/>
              <a:gd name="connsiteX1" fmla="*/ 700803 w 7136640"/>
              <a:gd name="connsiteY1" fmla="*/ 5 h 167478"/>
              <a:gd name="connsiteX2" fmla="*/ 1317807 w 7136640"/>
              <a:gd name="connsiteY2" fmla="*/ 80811 h 167478"/>
              <a:gd name="connsiteX3" fmla="*/ 1998846 w 7136640"/>
              <a:gd name="connsiteY3" fmla="*/ 127059 h 167478"/>
              <a:gd name="connsiteX4" fmla="*/ 2635987 w 7136640"/>
              <a:gd name="connsiteY4" fmla="*/ 81862 h 167478"/>
              <a:gd name="connsiteX5" fmla="*/ 3295304 w 7136640"/>
              <a:gd name="connsiteY5" fmla="*/ 147170 h 167478"/>
              <a:gd name="connsiteX6" fmla="*/ 3964644 w 7136640"/>
              <a:gd name="connsiteY6" fmla="*/ 26865 h 167478"/>
              <a:gd name="connsiteX7" fmla="*/ 4578995 w 7136640"/>
              <a:gd name="connsiteY7" fmla="*/ 75378 h 167478"/>
              <a:gd name="connsiteX8" fmla="*/ 5236906 w 7136640"/>
              <a:gd name="connsiteY8" fmla="*/ 154568 h 167478"/>
              <a:gd name="connsiteX9" fmla="*/ 5843223 w 7136640"/>
              <a:gd name="connsiteY9" fmla="*/ 90651 h 167478"/>
              <a:gd name="connsiteX10" fmla="*/ 6486411 w 7136640"/>
              <a:gd name="connsiteY10" fmla="*/ 44729 h 167478"/>
              <a:gd name="connsiteX11" fmla="*/ 7136640 w 7136640"/>
              <a:gd name="connsiteY11" fmla="*/ 167480 h 167478"/>
              <a:gd name="connsiteX0" fmla="*/ 0 w 7136640"/>
              <a:gd name="connsiteY0" fmla="*/ 77099 h 167478"/>
              <a:gd name="connsiteX1" fmla="*/ 700803 w 7136640"/>
              <a:gd name="connsiteY1" fmla="*/ 5 h 167478"/>
              <a:gd name="connsiteX2" fmla="*/ 1317807 w 7136640"/>
              <a:gd name="connsiteY2" fmla="*/ 80811 h 167478"/>
              <a:gd name="connsiteX3" fmla="*/ 1998846 w 7136640"/>
              <a:gd name="connsiteY3" fmla="*/ 127059 h 167478"/>
              <a:gd name="connsiteX4" fmla="*/ 2635987 w 7136640"/>
              <a:gd name="connsiteY4" fmla="*/ 81862 h 167478"/>
              <a:gd name="connsiteX5" fmla="*/ 3295304 w 7136640"/>
              <a:gd name="connsiteY5" fmla="*/ 147170 h 167478"/>
              <a:gd name="connsiteX6" fmla="*/ 3964644 w 7136640"/>
              <a:gd name="connsiteY6" fmla="*/ 26865 h 167478"/>
              <a:gd name="connsiteX7" fmla="*/ 4578995 w 7136640"/>
              <a:gd name="connsiteY7" fmla="*/ 75378 h 167478"/>
              <a:gd name="connsiteX8" fmla="*/ 5236906 w 7136640"/>
              <a:gd name="connsiteY8" fmla="*/ 16590 h 167478"/>
              <a:gd name="connsiteX9" fmla="*/ 5843223 w 7136640"/>
              <a:gd name="connsiteY9" fmla="*/ 90651 h 167478"/>
              <a:gd name="connsiteX10" fmla="*/ 6486411 w 7136640"/>
              <a:gd name="connsiteY10" fmla="*/ 44729 h 167478"/>
              <a:gd name="connsiteX11" fmla="*/ 7136640 w 7136640"/>
              <a:gd name="connsiteY11" fmla="*/ 167480 h 167478"/>
              <a:gd name="connsiteX0" fmla="*/ 0 w 7136640"/>
              <a:gd name="connsiteY0" fmla="*/ 77099 h 167478"/>
              <a:gd name="connsiteX1" fmla="*/ 700803 w 7136640"/>
              <a:gd name="connsiteY1" fmla="*/ 5 h 167478"/>
              <a:gd name="connsiteX2" fmla="*/ 1317807 w 7136640"/>
              <a:gd name="connsiteY2" fmla="*/ 80811 h 167478"/>
              <a:gd name="connsiteX3" fmla="*/ 1998846 w 7136640"/>
              <a:gd name="connsiteY3" fmla="*/ 127059 h 167478"/>
              <a:gd name="connsiteX4" fmla="*/ 2635987 w 7136640"/>
              <a:gd name="connsiteY4" fmla="*/ 81862 h 167478"/>
              <a:gd name="connsiteX5" fmla="*/ 3295304 w 7136640"/>
              <a:gd name="connsiteY5" fmla="*/ 147170 h 167478"/>
              <a:gd name="connsiteX6" fmla="*/ 3964644 w 7136640"/>
              <a:gd name="connsiteY6" fmla="*/ 26865 h 167478"/>
              <a:gd name="connsiteX7" fmla="*/ 4578995 w 7136640"/>
              <a:gd name="connsiteY7" fmla="*/ 75378 h 167478"/>
              <a:gd name="connsiteX8" fmla="*/ 5236906 w 7136640"/>
              <a:gd name="connsiteY8" fmla="*/ 16590 h 167478"/>
              <a:gd name="connsiteX9" fmla="*/ 5843223 w 7136640"/>
              <a:gd name="connsiteY9" fmla="*/ 90651 h 167478"/>
              <a:gd name="connsiteX10" fmla="*/ 6486411 w 7136640"/>
              <a:gd name="connsiteY10" fmla="*/ 44729 h 167478"/>
              <a:gd name="connsiteX11" fmla="*/ 7136640 w 7136640"/>
              <a:gd name="connsiteY11" fmla="*/ 167478 h 167478"/>
              <a:gd name="connsiteX0" fmla="*/ 0 w 7163798"/>
              <a:gd name="connsiteY0" fmla="*/ 806596 h 877465"/>
              <a:gd name="connsiteX1" fmla="*/ 700803 w 7163798"/>
              <a:gd name="connsiteY1" fmla="*/ 729502 h 877465"/>
              <a:gd name="connsiteX2" fmla="*/ 1317807 w 7163798"/>
              <a:gd name="connsiteY2" fmla="*/ 810308 h 877465"/>
              <a:gd name="connsiteX3" fmla="*/ 1998846 w 7163798"/>
              <a:gd name="connsiteY3" fmla="*/ 856556 h 877465"/>
              <a:gd name="connsiteX4" fmla="*/ 2635987 w 7163798"/>
              <a:gd name="connsiteY4" fmla="*/ 811359 h 877465"/>
              <a:gd name="connsiteX5" fmla="*/ 3295304 w 7163798"/>
              <a:gd name="connsiteY5" fmla="*/ 876667 h 877465"/>
              <a:gd name="connsiteX6" fmla="*/ 3964644 w 7163798"/>
              <a:gd name="connsiteY6" fmla="*/ 756362 h 877465"/>
              <a:gd name="connsiteX7" fmla="*/ 4578995 w 7163798"/>
              <a:gd name="connsiteY7" fmla="*/ 804875 h 877465"/>
              <a:gd name="connsiteX8" fmla="*/ 5236906 w 7163798"/>
              <a:gd name="connsiteY8" fmla="*/ 746087 h 877465"/>
              <a:gd name="connsiteX9" fmla="*/ 5843223 w 7163798"/>
              <a:gd name="connsiteY9" fmla="*/ 820148 h 877465"/>
              <a:gd name="connsiteX10" fmla="*/ 6486411 w 7163798"/>
              <a:gd name="connsiteY10" fmla="*/ 774226 h 877465"/>
              <a:gd name="connsiteX11" fmla="*/ 7163798 w 7163798"/>
              <a:gd name="connsiteY11" fmla="*/ 139 h 877465"/>
              <a:gd name="connsiteX0" fmla="*/ 0 w 7150220"/>
              <a:gd name="connsiteY0" fmla="*/ 77099 h 147968"/>
              <a:gd name="connsiteX1" fmla="*/ 700803 w 7150220"/>
              <a:gd name="connsiteY1" fmla="*/ 5 h 147968"/>
              <a:gd name="connsiteX2" fmla="*/ 1317807 w 7150220"/>
              <a:gd name="connsiteY2" fmla="*/ 80811 h 147968"/>
              <a:gd name="connsiteX3" fmla="*/ 1998846 w 7150220"/>
              <a:gd name="connsiteY3" fmla="*/ 127059 h 147968"/>
              <a:gd name="connsiteX4" fmla="*/ 2635987 w 7150220"/>
              <a:gd name="connsiteY4" fmla="*/ 81862 h 147968"/>
              <a:gd name="connsiteX5" fmla="*/ 3295304 w 7150220"/>
              <a:gd name="connsiteY5" fmla="*/ 147170 h 147968"/>
              <a:gd name="connsiteX6" fmla="*/ 3964644 w 7150220"/>
              <a:gd name="connsiteY6" fmla="*/ 26865 h 147968"/>
              <a:gd name="connsiteX7" fmla="*/ 4578995 w 7150220"/>
              <a:gd name="connsiteY7" fmla="*/ 75378 h 147968"/>
              <a:gd name="connsiteX8" fmla="*/ 5236906 w 7150220"/>
              <a:gd name="connsiteY8" fmla="*/ 16590 h 147968"/>
              <a:gd name="connsiteX9" fmla="*/ 5843223 w 7150220"/>
              <a:gd name="connsiteY9" fmla="*/ 90651 h 147968"/>
              <a:gd name="connsiteX10" fmla="*/ 6486411 w 7150220"/>
              <a:gd name="connsiteY10" fmla="*/ 44729 h 147968"/>
              <a:gd name="connsiteX11" fmla="*/ 7150220 w 7150220"/>
              <a:gd name="connsiteY11" fmla="*/ 29508 h 147968"/>
              <a:gd name="connsiteX0" fmla="*/ 0 w 7048299"/>
              <a:gd name="connsiteY0" fmla="*/ 19313041 h 19313040"/>
              <a:gd name="connsiteX1" fmla="*/ 598882 w 7048299"/>
              <a:gd name="connsiteY1" fmla="*/ 1311431 h 19313040"/>
              <a:gd name="connsiteX2" fmla="*/ 1215886 w 7048299"/>
              <a:gd name="connsiteY2" fmla="*/ 1392237 h 19313040"/>
              <a:gd name="connsiteX3" fmla="*/ 1896925 w 7048299"/>
              <a:gd name="connsiteY3" fmla="*/ 1438485 h 19313040"/>
              <a:gd name="connsiteX4" fmla="*/ 2534066 w 7048299"/>
              <a:gd name="connsiteY4" fmla="*/ 1393288 h 19313040"/>
              <a:gd name="connsiteX5" fmla="*/ 3193383 w 7048299"/>
              <a:gd name="connsiteY5" fmla="*/ 1458596 h 19313040"/>
              <a:gd name="connsiteX6" fmla="*/ 3862723 w 7048299"/>
              <a:gd name="connsiteY6" fmla="*/ 1338291 h 19313040"/>
              <a:gd name="connsiteX7" fmla="*/ 4477074 w 7048299"/>
              <a:gd name="connsiteY7" fmla="*/ 1386804 h 19313040"/>
              <a:gd name="connsiteX8" fmla="*/ 5134985 w 7048299"/>
              <a:gd name="connsiteY8" fmla="*/ 1328016 h 19313040"/>
              <a:gd name="connsiteX9" fmla="*/ 5741302 w 7048299"/>
              <a:gd name="connsiteY9" fmla="*/ 1402077 h 19313040"/>
              <a:gd name="connsiteX10" fmla="*/ 6384490 w 7048299"/>
              <a:gd name="connsiteY10" fmla="*/ 1356155 h 19313040"/>
              <a:gd name="connsiteX11" fmla="*/ 7048299 w 7048299"/>
              <a:gd name="connsiteY11" fmla="*/ 1340934 h 19313040"/>
              <a:gd name="connsiteX0" fmla="*/ 0 w 7048299"/>
              <a:gd name="connsiteY0" fmla="*/ 19587234 h 25052770"/>
              <a:gd name="connsiteX1" fmla="*/ 740004 w 7048299"/>
              <a:gd name="connsiteY1" fmla="*/ 24369682 h 25052770"/>
              <a:gd name="connsiteX2" fmla="*/ 1215886 w 7048299"/>
              <a:gd name="connsiteY2" fmla="*/ 1666430 h 25052770"/>
              <a:gd name="connsiteX3" fmla="*/ 1896925 w 7048299"/>
              <a:gd name="connsiteY3" fmla="*/ 1712678 h 25052770"/>
              <a:gd name="connsiteX4" fmla="*/ 2534066 w 7048299"/>
              <a:gd name="connsiteY4" fmla="*/ 1667481 h 25052770"/>
              <a:gd name="connsiteX5" fmla="*/ 3193383 w 7048299"/>
              <a:gd name="connsiteY5" fmla="*/ 1732789 h 25052770"/>
              <a:gd name="connsiteX6" fmla="*/ 3862723 w 7048299"/>
              <a:gd name="connsiteY6" fmla="*/ 1612484 h 25052770"/>
              <a:gd name="connsiteX7" fmla="*/ 4477074 w 7048299"/>
              <a:gd name="connsiteY7" fmla="*/ 1660997 h 25052770"/>
              <a:gd name="connsiteX8" fmla="*/ 5134985 w 7048299"/>
              <a:gd name="connsiteY8" fmla="*/ 1602209 h 25052770"/>
              <a:gd name="connsiteX9" fmla="*/ 5741302 w 7048299"/>
              <a:gd name="connsiteY9" fmla="*/ 1676270 h 25052770"/>
              <a:gd name="connsiteX10" fmla="*/ 6384490 w 7048299"/>
              <a:gd name="connsiteY10" fmla="*/ 1630348 h 25052770"/>
              <a:gd name="connsiteX11" fmla="*/ 7048299 w 7048299"/>
              <a:gd name="connsiteY11" fmla="*/ 1615127 h 25052770"/>
              <a:gd name="connsiteX0" fmla="*/ 0 w 7048299"/>
              <a:gd name="connsiteY0" fmla="*/ 19587234 h 24701303"/>
              <a:gd name="connsiteX1" fmla="*/ 740004 w 7048299"/>
              <a:gd name="connsiteY1" fmla="*/ 24369682 h 24701303"/>
              <a:gd name="connsiteX2" fmla="*/ 1215886 w 7048299"/>
              <a:gd name="connsiteY2" fmla="*/ 1666430 h 24701303"/>
              <a:gd name="connsiteX3" fmla="*/ 1896925 w 7048299"/>
              <a:gd name="connsiteY3" fmla="*/ 1712678 h 24701303"/>
              <a:gd name="connsiteX4" fmla="*/ 2534066 w 7048299"/>
              <a:gd name="connsiteY4" fmla="*/ 1667481 h 24701303"/>
              <a:gd name="connsiteX5" fmla="*/ 3193383 w 7048299"/>
              <a:gd name="connsiteY5" fmla="*/ 1732789 h 24701303"/>
              <a:gd name="connsiteX6" fmla="*/ 3862723 w 7048299"/>
              <a:gd name="connsiteY6" fmla="*/ 1612484 h 24701303"/>
              <a:gd name="connsiteX7" fmla="*/ 4477074 w 7048299"/>
              <a:gd name="connsiteY7" fmla="*/ 1660997 h 24701303"/>
              <a:gd name="connsiteX8" fmla="*/ 5134985 w 7048299"/>
              <a:gd name="connsiteY8" fmla="*/ 1602209 h 24701303"/>
              <a:gd name="connsiteX9" fmla="*/ 5741302 w 7048299"/>
              <a:gd name="connsiteY9" fmla="*/ 1676270 h 24701303"/>
              <a:gd name="connsiteX10" fmla="*/ 6384490 w 7048299"/>
              <a:gd name="connsiteY10" fmla="*/ 1630348 h 24701303"/>
              <a:gd name="connsiteX11" fmla="*/ 7048299 w 7048299"/>
              <a:gd name="connsiteY11" fmla="*/ 1615127 h 24701303"/>
              <a:gd name="connsiteX0" fmla="*/ 0 w 7048299"/>
              <a:gd name="connsiteY0" fmla="*/ 19793763 h 27609838"/>
              <a:gd name="connsiteX1" fmla="*/ 732164 w 7048299"/>
              <a:gd name="connsiteY1" fmla="*/ 27364471 h 27609838"/>
              <a:gd name="connsiteX2" fmla="*/ 1215886 w 7048299"/>
              <a:gd name="connsiteY2" fmla="*/ 1872959 h 27609838"/>
              <a:gd name="connsiteX3" fmla="*/ 1896925 w 7048299"/>
              <a:gd name="connsiteY3" fmla="*/ 1919207 h 27609838"/>
              <a:gd name="connsiteX4" fmla="*/ 2534066 w 7048299"/>
              <a:gd name="connsiteY4" fmla="*/ 1874010 h 27609838"/>
              <a:gd name="connsiteX5" fmla="*/ 3193383 w 7048299"/>
              <a:gd name="connsiteY5" fmla="*/ 1939318 h 27609838"/>
              <a:gd name="connsiteX6" fmla="*/ 3862723 w 7048299"/>
              <a:gd name="connsiteY6" fmla="*/ 1819013 h 27609838"/>
              <a:gd name="connsiteX7" fmla="*/ 4477074 w 7048299"/>
              <a:gd name="connsiteY7" fmla="*/ 1867526 h 27609838"/>
              <a:gd name="connsiteX8" fmla="*/ 5134985 w 7048299"/>
              <a:gd name="connsiteY8" fmla="*/ 1808738 h 27609838"/>
              <a:gd name="connsiteX9" fmla="*/ 5741302 w 7048299"/>
              <a:gd name="connsiteY9" fmla="*/ 1882799 h 27609838"/>
              <a:gd name="connsiteX10" fmla="*/ 6384490 w 7048299"/>
              <a:gd name="connsiteY10" fmla="*/ 1836877 h 27609838"/>
              <a:gd name="connsiteX11" fmla="*/ 7048299 w 7048299"/>
              <a:gd name="connsiteY11" fmla="*/ 1821656 h 27609838"/>
              <a:gd name="connsiteX0" fmla="*/ 0 w 7048299"/>
              <a:gd name="connsiteY0" fmla="*/ 19793763 h 27395632"/>
              <a:gd name="connsiteX1" fmla="*/ 732164 w 7048299"/>
              <a:gd name="connsiteY1" fmla="*/ 27364471 h 27395632"/>
              <a:gd name="connsiteX2" fmla="*/ 1215886 w 7048299"/>
              <a:gd name="connsiteY2" fmla="*/ 1872959 h 27395632"/>
              <a:gd name="connsiteX3" fmla="*/ 1896925 w 7048299"/>
              <a:gd name="connsiteY3" fmla="*/ 1919207 h 27395632"/>
              <a:gd name="connsiteX4" fmla="*/ 2534066 w 7048299"/>
              <a:gd name="connsiteY4" fmla="*/ 1874010 h 27395632"/>
              <a:gd name="connsiteX5" fmla="*/ 3193383 w 7048299"/>
              <a:gd name="connsiteY5" fmla="*/ 1939318 h 27395632"/>
              <a:gd name="connsiteX6" fmla="*/ 3862723 w 7048299"/>
              <a:gd name="connsiteY6" fmla="*/ 1819013 h 27395632"/>
              <a:gd name="connsiteX7" fmla="*/ 4477074 w 7048299"/>
              <a:gd name="connsiteY7" fmla="*/ 1867526 h 27395632"/>
              <a:gd name="connsiteX8" fmla="*/ 5134985 w 7048299"/>
              <a:gd name="connsiteY8" fmla="*/ 1808738 h 27395632"/>
              <a:gd name="connsiteX9" fmla="*/ 5741302 w 7048299"/>
              <a:gd name="connsiteY9" fmla="*/ 1882799 h 27395632"/>
              <a:gd name="connsiteX10" fmla="*/ 6384490 w 7048299"/>
              <a:gd name="connsiteY10" fmla="*/ 1836877 h 27395632"/>
              <a:gd name="connsiteX11" fmla="*/ 7048299 w 7048299"/>
              <a:gd name="connsiteY11" fmla="*/ 1821656 h 27395632"/>
              <a:gd name="connsiteX0" fmla="*/ 0 w 7048299"/>
              <a:gd name="connsiteY0" fmla="*/ 18459614 h 26238131"/>
              <a:gd name="connsiteX1" fmla="*/ 732164 w 7048299"/>
              <a:gd name="connsiteY1" fmla="*/ 26030322 h 26238131"/>
              <a:gd name="connsiteX2" fmla="*/ 1333488 w 7048299"/>
              <a:gd name="connsiteY2" fmla="*/ 8266266 h 26238131"/>
              <a:gd name="connsiteX3" fmla="*/ 1896925 w 7048299"/>
              <a:gd name="connsiteY3" fmla="*/ 585058 h 26238131"/>
              <a:gd name="connsiteX4" fmla="*/ 2534066 w 7048299"/>
              <a:gd name="connsiteY4" fmla="*/ 539861 h 26238131"/>
              <a:gd name="connsiteX5" fmla="*/ 3193383 w 7048299"/>
              <a:gd name="connsiteY5" fmla="*/ 605169 h 26238131"/>
              <a:gd name="connsiteX6" fmla="*/ 3862723 w 7048299"/>
              <a:gd name="connsiteY6" fmla="*/ 484864 h 26238131"/>
              <a:gd name="connsiteX7" fmla="*/ 4477074 w 7048299"/>
              <a:gd name="connsiteY7" fmla="*/ 533377 h 26238131"/>
              <a:gd name="connsiteX8" fmla="*/ 5134985 w 7048299"/>
              <a:gd name="connsiteY8" fmla="*/ 474589 h 26238131"/>
              <a:gd name="connsiteX9" fmla="*/ 5741302 w 7048299"/>
              <a:gd name="connsiteY9" fmla="*/ 548650 h 26238131"/>
              <a:gd name="connsiteX10" fmla="*/ 6384490 w 7048299"/>
              <a:gd name="connsiteY10" fmla="*/ 502728 h 26238131"/>
              <a:gd name="connsiteX11" fmla="*/ 7048299 w 7048299"/>
              <a:gd name="connsiteY11" fmla="*/ 487507 h 26238131"/>
              <a:gd name="connsiteX0" fmla="*/ 0 w 7048299"/>
              <a:gd name="connsiteY0" fmla="*/ 18571686 h 26299436"/>
              <a:gd name="connsiteX1" fmla="*/ 732164 w 7048299"/>
              <a:gd name="connsiteY1" fmla="*/ 26142394 h 26299436"/>
              <a:gd name="connsiteX2" fmla="*/ 1349168 w 7048299"/>
              <a:gd name="connsiteY2" fmla="*/ 9891967 h 26299436"/>
              <a:gd name="connsiteX3" fmla="*/ 1896925 w 7048299"/>
              <a:gd name="connsiteY3" fmla="*/ 697130 h 26299436"/>
              <a:gd name="connsiteX4" fmla="*/ 2534066 w 7048299"/>
              <a:gd name="connsiteY4" fmla="*/ 651933 h 26299436"/>
              <a:gd name="connsiteX5" fmla="*/ 3193383 w 7048299"/>
              <a:gd name="connsiteY5" fmla="*/ 717241 h 26299436"/>
              <a:gd name="connsiteX6" fmla="*/ 3862723 w 7048299"/>
              <a:gd name="connsiteY6" fmla="*/ 596936 h 26299436"/>
              <a:gd name="connsiteX7" fmla="*/ 4477074 w 7048299"/>
              <a:gd name="connsiteY7" fmla="*/ 645449 h 26299436"/>
              <a:gd name="connsiteX8" fmla="*/ 5134985 w 7048299"/>
              <a:gd name="connsiteY8" fmla="*/ 586661 h 26299436"/>
              <a:gd name="connsiteX9" fmla="*/ 5741302 w 7048299"/>
              <a:gd name="connsiteY9" fmla="*/ 660722 h 26299436"/>
              <a:gd name="connsiteX10" fmla="*/ 6384490 w 7048299"/>
              <a:gd name="connsiteY10" fmla="*/ 614800 h 26299436"/>
              <a:gd name="connsiteX11" fmla="*/ 7048299 w 7048299"/>
              <a:gd name="connsiteY11" fmla="*/ 599579 h 26299436"/>
              <a:gd name="connsiteX0" fmla="*/ 0 w 7048299"/>
              <a:gd name="connsiteY0" fmla="*/ 19197098 h 26767959"/>
              <a:gd name="connsiteX1" fmla="*/ 732164 w 7048299"/>
              <a:gd name="connsiteY1" fmla="*/ 26767806 h 26767959"/>
              <a:gd name="connsiteX2" fmla="*/ 1270768 w 7048299"/>
              <a:gd name="connsiteY2" fmla="*/ 18961815 h 26767959"/>
              <a:gd name="connsiteX3" fmla="*/ 1896925 w 7048299"/>
              <a:gd name="connsiteY3" fmla="*/ 1322542 h 26767959"/>
              <a:gd name="connsiteX4" fmla="*/ 2534066 w 7048299"/>
              <a:gd name="connsiteY4" fmla="*/ 1277345 h 26767959"/>
              <a:gd name="connsiteX5" fmla="*/ 3193383 w 7048299"/>
              <a:gd name="connsiteY5" fmla="*/ 1342653 h 26767959"/>
              <a:gd name="connsiteX6" fmla="*/ 3862723 w 7048299"/>
              <a:gd name="connsiteY6" fmla="*/ 1222348 h 26767959"/>
              <a:gd name="connsiteX7" fmla="*/ 4477074 w 7048299"/>
              <a:gd name="connsiteY7" fmla="*/ 1270861 h 26767959"/>
              <a:gd name="connsiteX8" fmla="*/ 5134985 w 7048299"/>
              <a:gd name="connsiteY8" fmla="*/ 1212073 h 26767959"/>
              <a:gd name="connsiteX9" fmla="*/ 5741302 w 7048299"/>
              <a:gd name="connsiteY9" fmla="*/ 1286134 h 26767959"/>
              <a:gd name="connsiteX10" fmla="*/ 6384490 w 7048299"/>
              <a:gd name="connsiteY10" fmla="*/ 1240212 h 26767959"/>
              <a:gd name="connsiteX11" fmla="*/ 7048299 w 7048299"/>
              <a:gd name="connsiteY11" fmla="*/ 1224991 h 26767959"/>
              <a:gd name="connsiteX0" fmla="*/ 0 w 7048299"/>
              <a:gd name="connsiteY0" fmla="*/ 19427221 h 27111442"/>
              <a:gd name="connsiteX1" fmla="*/ 732164 w 7048299"/>
              <a:gd name="connsiteY1" fmla="*/ 26997929 h 27111442"/>
              <a:gd name="connsiteX2" fmla="*/ 1223728 w 7048299"/>
              <a:gd name="connsiteY2" fmla="*/ 22298856 h 27111442"/>
              <a:gd name="connsiteX3" fmla="*/ 1896925 w 7048299"/>
              <a:gd name="connsiteY3" fmla="*/ 1552665 h 27111442"/>
              <a:gd name="connsiteX4" fmla="*/ 2534066 w 7048299"/>
              <a:gd name="connsiteY4" fmla="*/ 1507468 h 27111442"/>
              <a:gd name="connsiteX5" fmla="*/ 3193383 w 7048299"/>
              <a:gd name="connsiteY5" fmla="*/ 1572776 h 27111442"/>
              <a:gd name="connsiteX6" fmla="*/ 3862723 w 7048299"/>
              <a:gd name="connsiteY6" fmla="*/ 1452471 h 27111442"/>
              <a:gd name="connsiteX7" fmla="*/ 4477074 w 7048299"/>
              <a:gd name="connsiteY7" fmla="*/ 1500984 h 27111442"/>
              <a:gd name="connsiteX8" fmla="*/ 5134985 w 7048299"/>
              <a:gd name="connsiteY8" fmla="*/ 1442196 h 27111442"/>
              <a:gd name="connsiteX9" fmla="*/ 5741302 w 7048299"/>
              <a:gd name="connsiteY9" fmla="*/ 1516257 h 27111442"/>
              <a:gd name="connsiteX10" fmla="*/ 6384490 w 7048299"/>
              <a:gd name="connsiteY10" fmla="*/ 1470335 h 27111442"/>
              <a:gd name="connsiteX11" fmla="*/ 7048299 w 7048299"/>
              <a:gd name="connsiteY11" fmla="*/ 1455114 h 27111442"/>
              <a:gd name="connsiteX0" fmla="*/ 0 w 7048299"/>
              <a:gd name="connsiteY0" fmla="*/ 19474424 h 27257061"/>
              <a:gd name="connsiteX1" fmla="*/ 732164 w 7048299"/>
              <a:gd name="connsiteY1" fmla="*/ 27045132 h 27257061"/>
              <a:gd name="connsiteX2" fmla="*/ 1270768 w 7048299"/>
              <a:gd name="connsiteY2" fmla="*/ 22983377 h 27257061"/>
              <a:gd name="connsiteX3" fmla="*/ 1896925 w 7048299"/>
              <a:gd name="connsiteY3" fmla="*/ 1599868 h 27257061"/>
              <a:gd name="connsiteX4" fmla="*/ 2534066 w 7048299"/>
              <a:gd name="connsiteY4" fmla="*/ 1554671 h 27257061"/>
              <a:gd name="connsiteX5" fmla="*/ 3193383 w 7048299"/>
              <a:gd name="connsiteY5" fmla="*/ 1619979 h 27257061"/>
              <a:gd name="connsiteX6" fmla="*/ 3862723 w 7048299"/>
              <a:gd name="connsiteY6" fmla="*/ 1499674 h 27257061"/>
              <a:gd name="connsiteX7" fmla="*/ 4477074 w 7048299"/>
              <a:gd name="connsiteY7" fmla="*/ 1548187 h 27257061"/>
              <a:gd name="connsiteX8" fmla="*/ 5134985 w 7048299"/>
              <a:gd name="connsiteY8" fmla="*/ 1489399 h 27257061"/>
              <a:gd name="connsiteX9" fmla="*/ 5741302 w 7048299"/>
              <a:gd name="connsiteY9" fmla="*/ 1563460 h 27257061"/>
              <a:gd name="connsiteX10" fmla="*/ 6384490 w 7048299"/>
              <a:gd name="connsiteY10" fmla="*/ 1517538 h 27257061"/>
              <a:gd name="connsiteX11" fmla="*/ 7048299 w 7048299"/>
              <a:gd name="connsiteY11" fmla="*/ 1502317 h 27257061"/>
              <a:gd name="connsiteX0" fmla="*/ 0 w 7048299"/>
              <a:gd name="connsiteY0" fmla="*/ 19474424 h 27216759"/>
              <a:gd name="connsiteX1" fmla="*/ 732164 w 7048299"/>
              <a:gd name="connsiteY1" fmla="*/ 27045132 h 27216759"/>
              <a:gd name="connsiteX2" fmla="*/ 1270768 w 7048299"/>
              <a:gd name="connsiteY2" fmla="*/ 22983377 h 27216759"/>
              <a:gd name="connsiteX3" fmla="*/ 1896925 w 7048299"/>
              <a:gd name="connsiteY3" fmla="*/ 1599868 h 27216759"/>
              <a:gd name="connsiteX4" fmla="*/ 2534066 w 7048299"/>
              <a:gd name="connsiteY4" fmla="*/ 1554671 h 27216759"/>
              <a:gd name="connsiteX5" fmla="*/ 3193383 w 7048299"/>
              <a:gd name="connsiteY5" fmla="*/ 1619979 h 27216759"/>
              <a:gd name="connsiteX6" fmla="*/ 3862723 w 7048299"/>
              <a:gd name="connsiteY6" fmla="*/ 1499674 h 27216759"/>
              <a:gd name="connsiteX7" fmla="*/ 4477074 w 7048299"/>
              <a:gd name="connsiteY7" fmla="*/ 1548187 h 27216759"/>
              <a:gd name="connsiteX8" fmla="*/ 5134985 w 7048299"/>
              <a:gd name="connsiteY8" fmla="*/ 1489399 h 27216759"/>
              <a:gd name="connsiteX9" fmla="*/ 5741302 w 7048299"/>
              <a:gd name="connsiteY9" fmla="*/ 1563460 h 27216759"/>
              <a:gd name="connsiteX10" fmla="*/ 6384490 w 7048299"/>
              <a:gd name="connsiteY10" fmla="*/ 1517538 h 27216759"/>
              <a:gd name="connsiteX11" fmla="*/ 7048299 w 7048299"/>
              <a:gd name="connsiteY11" fmla="*/ 1502317 h 27216759"/>
              <a:gd name="connsiteX0" fmla="*/ 0 w 7048299"/>
              <a:gd name="connsiteY0" fmla="*/ 19415417 h 27065227"/>
              <a:gd name="connsiteX1" fmla="*/ 732164 w 7048299"/>
              <a:gd name="connsiteY1" fmla="*/ 26986125 h 27065227"/>
              <a:gd name="connsiteX2" fmla="*/ 1325649 w 7048299"/>
              <a:gd name="connsiteY2" fmla="*/ 22127726 h 27065227"/>
              <a:gd name="connsiteX3" fmla="*/ 1896925 w 7048299"/>
              <a:gd name="connsiteY3" fmla="*/ 1540861 h 27065227"/>
              <a:gd name="connsiteX4" fmla="*/ 2534066 w 7048299"/>
              <a:gd name="connsiteY4" fmla="*/ 1495664 h 27065227"/>
              <a:gd name="connsiteX5" fmla="*/ 3193383 w 7048299"/>
              <a:gd name="connsiteY5" fmla="*/ 1560972 h 27065227"/>
              <a:gd name="connsiteX6" fmla="*/ 3862723 w 7048299"/>
              <a:gd name="connsiteY6" fmla="*/ 1440667 h 27065227"/>
              <a:gd name="connsiteX7" fmla="*/ 4477074 w 7048299"/>
              <a:gd name="connsiteY7" fmla="*/ 1489180 h 27065227"/>
              <a:gd name="connsiteX8" fmla="*/ 5134985 w 7048299"/>
              <a:gd name="connsiteY8" fmla="*/ 1430392 h 27065227"/>
              <a:gd name="connsiteX9" fmla="*/ 5741302 w 7048299"/>
              <a:gd name="connsiteY9" fmla="*/ 1504453 h 27065227"/>
              <a:gd name="connsiteX10" fmla="*/ 6384490 w 7048299"/>
              <a:gd name="connsiteY10" fmla="*/ 1458531 h 27065227"/>
              <a:gd name="connsiteX11" fmla="*/ 7048299 w 7048299"/>
              <a:gd name="connsiteY11" fmla="*/ 1443310 h 27065227"/>
              <a:gd name="connsiteX0" fmla="*/ 0 w 7048299"/>
              <a:gd name="connsiteY0" fmla="*/ 19415417 h 27065227"/>
              <a:gd name="connsiteX1" fmla="*/ 732164 w 7048299"/>
              <a:gd name="connsiteY1" fmla="*/ 26986125 h 27065227"/>
              <a:gd name="connsiteX2" fmla="*/ 1325649 w 7048299"/>
              <a:gd name="connsiteY2" fmla="*/ 22127725 h 27065227"/>
              <a:gd name="connsiteX3" fmla="*/ 1896925 w 7048299"/>
              <a:gd name="connsiteY3" fmla="*/ 1540861 h 27065227"/>
              <a:gd name="connsiteX4" fmla="*/ 2534066 w 7048299"/>
              <a:gd name="connsiteY4" fmla="*/ 1495664 h 27065227"/>
              <a:gd name="connsiteX5" fmla="*/ 3193383 w 7048299"/>
              <a:gd name="connsiteY5" fmla="*/ 1560972 h 27065227"/>
              <a:gd name="connsiteX6" fmla="*/ 3862723 w 7048299"/>
              <a:gd name="connsiteY6" fmla="*/ 1440667 h 27065227"/>
              <a:gd name="connsiteX7" fmla="*/ 4477074 w 7048299"/>
              <a:gd name="connsiteY7" fmla="*/ 1489180 h 27065227"/>
              <a:gd name="connsiteX8" fmla="*/ 5134985 w 7048299"/>
              <a:gd name="connsiteY8" fmla="*/ 1430392 h 27065227"/>
              <a:gd name="connsiteX9" fmla="*/ 5741302 w 7048299"/>
              <a:gd name="connsiteY9" fmla="*/ 1504453 h 27065227"/>
              <a:gd name="connsiteX10" fmla="*/ 6384490 w 7048299"/>
              <a:gd name="connsiteY10" fmla="*/ 1458531 h 27065227"/>
              <a:gd name="connsiteX11" fmla="*/ 7048299 w 7048299"/>
              <a:gd name="connsiteY11" fmla="*/ 1443310 h 27065227"/>
              <a:gd name="connsiteX0" fmla="*/ 0 w 7048299"/>
              <a:gd name="connsiteY0" fmla="*/ 17985106 h 25592521"/>
              <a:gd name="connsiteX1" fmla="*/ 732164 w 7048299"/>
              <a:gd name="connsiteY1" fmla="*/ 25555814 h 25592521"/>
              <a:gd name="connsiteX2" fmla="*/ 1325649 w 7048299"/>
              <a:gd name="connsiteY2" fmla="*/ 20697414 h 25592521"/>
              <a:gd name="connsiteX3" fmla="*/ 2006686 w 7048299"/>
              <a:gd name="connsiteY3" fmla="*/ 16760444 h 25592521"/>
              <a:gd name="connsiteX4" fmla="*/ 2534066 w 7048299"/>
              <a:gd name="connsiteY4" fmla="*/ 65353 h 25592521"/>
              <a:gd name="connsiteX5" fmla="*/ 3193383 w 7048299"/>
              <a:gd name="connsiteY5" fmla="*/ 130661 h 25592521"/>
              <a:gd name="connsiteX6" fmla="*/ 3862723 w 7048299"/>
              <a:gd name="connsiteY6" fmla="*/ 10356 h 25592521"/>
              <a:gd name="connsiteX7" fmla="*/ 4477074 w 7048299"/>
              <a:gd name="connsiteY7" fmla="*/ 58869 h 25592521"/>
              <a:gd name="connsiteX8" fmla="*/ 5134985 w 7048299"/>
              <a:gd name="connsiteY8" fmla="*/ 81 h 25592521"/>
              <a:gd name="connsiteX9" fmla="*/ 5741302 w 7048299"/>
              <a:gd name="connsiteY9" fmla="*/ 74142 h 25592521"/>
              <a:gd name="connsiteX10" fmla="*/ 6384490 w 7048299"/>
              <a:gd name="connsiteY10" fmla="*/ 28220 h 25592521"/>
              <a:gd name="connsiteX11" fmla="*/ 7048299 w 7048299"/>
              <a:gd name="connsiteY11" fmla="*/ 12999 h 25592521"/>
              <a:gd name="connsiteX0" fmla="*/ 0 w 7048299"/>
              <a:gd name="connsiteY0" fmla="*/ 17985106 h 25592521"/>
              <a:gd name="connsiteX1" fmla="*/ 732164 w 7048299"/>
              <a:gd name="connsiteY1" fmla="*/ 25555814 h 25592521"/>
              <a:gd name="connsiteX2" fmla="*/ 1325649 w 7048299"/>
              <a:gd name="connsiteY2" fmla="*/ 20697414 h 25592521"/>
              <a:gd name="connsiteX3" fmla="*/ 2006686 w 7048299"/>
              <a:gd name="connsiteY3" fmla="*/ 16760444 h 25592521"/>
              <a:gd name="connsiteX4" fmla="*/ 2534066 w 7048299"/>
              <a:gd name="connsiteY4" fmla="*/ 65353 h 25592521"/>
              <a:gd name="connsiteX5" fmla="*/ 3193383 w 7048299"/>
              <a:gd name="connsiteY5" fmla="*/ 130661 h 25592521"/>
              <a:gd name="connsiteX6" fmla="*/ 3862723 w 7048299"/>
              <a:gd name="connsiteY6" fmla="*/ 10356 h 25592521"/>
              <a:gd name="connsiteX7" fmla="*/ 4477074 w 7048299"/>
              <a:gd name="connsiteY7" fmla="*/ 58869 h 25592521"/>
              <a:gd name="connsiteX8" fmla="*/ 5134985 w 7048299"/>
              <a:gd name="connsiteY8" fmla="*/ 81 h 25592521"/>
              <a:gd name="connsiteX9" fmla="*/ 5741302 w 7048299"/>
              <a:gd name="connsiteY9" fmla="*/ 74142 h 25592521"/>
              <a:gd name="connsiteX10" fmla="*/ 6384490 w 7048299"/>
              <a:gd name="connsiteY10" fmla="*/ 28220 h 25592521"/>
              <a:gd name="connsiteX11" fmla="*/ 7048299 w 7048299"/>
              <a:gd name="connsiteY11" fmla="*/ 12999 h 25592521"/>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534066 w 7048299"/>
              <a:gd name="connsiteY4" fmla="*/ 65353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534066 w 7048299"/>
              <a:gd name="connsiteY4" fmla="*/ 65353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635987 w 7048299"/>
              <a:gd name="connsiteY4" fmla="*/ 19184838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635987 w 7048299"/>
              <a:gd name="connsiteY4" fmla="*/ 19184838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620307 w 7048299"/>
              <a:gd name="connsiteY4" fmla="*/ 21813771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620307 w 7048299"/>
              <a:gd name="connsiteY4" fmla="*/ 22530749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9881166 h 29955846"/>
              <a:gd name="connsiteX1" fmla="*/ 732164 w 7048299"/>
              <a:gd name="connsiteY1" fmla="*/ 27451874 h 29955846"/>
              <a:gd name="connsiteX2" fmla="*/ 1325649 w 7048299"/>
              <a:gd name="connsiteY2" fmla="*/ 22593474 h 29955846"/>
              <a:gd name="connsiteX3" fmla="*/ 1936126 w 7048299"/>
              <a:gd name="connsiteY3" fmla="*/ 25905977 h 29955846"/>
              <a:gd name="connsiteX4" fmla="*/ 2620307 w 7048299"/>
              <a:gd name="connsiteY4" fmla="*/ 24426809 h 29955846"/>
              <a:gd name="connsiteX5" fmla="*/ 3263943 w 7048299"/>
              <a:gd name="connsiteY5" fmla="*/ 27838028 h 29955846"/>
              <a:gd name="connsiteX6" fmla="*/ 3862723 w 7048299"/>
              <a:gd name="connsiteY6" fmla="*/ 1906416 h 29955846"/>
              <a:gd name="connsiteX7" fmla="*/ 4477074 w 7048299"/>
              <a:gd name="connsiteY7" fmla="*/ 1954929 h 29955846"/>
              <a:gd name="connsiteX8" fmla="*/ 5134985 w 7048299"/>
              <a:gd name="connsiteY8" fmla="*/ 1896141 h 29955846"/>
              <a:gd name="connsiteX9" fmla="*/ 5741302 w 7048299"/>
              <a:gd name="connsiteY9" fmla="*/ 1970202 h 29955846"/>
              <a:gd name="connsiteX10" fmla="*/ 6384490 w 7048299"/>
              <a:gd name="connsiteY10" fmla="*/ 1924280 h 29955846"/>
              <a:gd name="connsiteX11" fmla="*/ 7048299 w 7048299"/>
              <a:gd name="connsiteY11" fmla="*/ 1909059 h 29955846"/>
              <a:gd name="connsiteX0" fmla="*/ 0 w 7048299"/>
              <a:gd name="connsiteY0" fmla="*/ 19881166 h 27946470"/>
              <a:gd name="connsiteX1" fmla="*/ 732164 w 7048299"/>
              <a:gd name="connsiteY1" fmla="*/ 27451874 h 27946470"/>
              <a:gd name="connsiteX2" fmla="*/ 1325649 w 7048299"/>
              <a:gd name="connsiteY2" fmla="*/ 22593474 h 27946470"/>
              <a:gd name="connsiteX3" fmla="*/ 1936126 w 7048299"/>
              <a:gd name="connsiteY3" fmla="*/ 25905977 h 27946470"/>
              <a:gd name="connsiteX4" fmla="*/ 2620307 w 7048299"/>
              <a:gd name="connsiteY4" fmla="*/ 24426809 h 27946470"/>
              <a:gd name="connsiteX5" fmla="*/ 3263943 w 7048299"/>
              <a:gd name="connsiteY5" fmla="*/ 27838028 h 27946470"/>
              <a:gd name="connsiteX6" fmla="*/ 3862723 w 7048299"/>
              <a:gd name="connsiteY6" fmla="*/ 1906416 h 27946470"/>
              <a:gd name="connsiteX7" fmla="*/ 4477074 w 7048299"/>
              <a:gd name="connsiteY7" fmla="*/ 1954929 h 27946470"/>
              <a:gd name="connsiteX8" fmla="*/ 5134985 w 7048299"/>
              <a:gd name="connsiteY8" fmla="*/ 1896141 h 27946470"/>
              <a:gd name="connsiteX9" fmla="*/ 5741302 w 7048299"/>
              <a:gd name="connsiteY9" fmla="*/ 1970202 h 27946470"/>
              <a:gd name="connsiteX10" fmla="*/ 6384490 w 7048299"/>
              <a:gd name="connsiteY10" fmla="*/ 1924280 h 27946470"/>
              <a:gd name="connsiteX11" fmla="*/ 7048299 w 7048299"/>
              <a:gd name="connsiteY11" fmla="*/ 1909059 h 27946470"/>
              <a:gd name="connsiteX0" fmla="*/ 0 w 7048299"/>
              <a:gd name="connsiteY0" fmla="*/ 19910673 h 28366370"/>
              <a:gd name="connsiteX1" fmla="*/ 732164 w 7048299"/>
              <a:gd name="connsiteY1" fmla="*/ 27481381 h 28366370"/>
              <a:gd name="connsiteX2" fmla="*/ 1325649 w 7048299"/>
              <a:gd name="connsiteY2" fmla="*/ 22622981 h 28366370"/>
              <a:gd name="connsiteX3" fmla="*/ 1936126 w 7048299"/>
              <a:gd name="connsiteY3" fmla="*/ 25935484 h 28366370"/>
              <a:gd name="connsiteX4" fmla="*/ 2620307 w 7048299"/>
              <a:gd name="connsiteY4" fmla="*/ 24456316 h 28366370"/>
              <a:gd name="connsiteX5" fmla="*/ 3248263 w 7048299"/>
              <a:gd name="connsiteY5" fmla="*/ 28265861 h 28366370"/>
              <a:gd name="connsiteX6" fmla="*/ 3862723 w 7048299"/>
              <a:gd name="connsiteY6" fmla="*/ 1935923 h 28366370"/>
              <a:gd name="connsiteX7" fmla="*/ 4477074 w 7048299"/>
              <a:gd name="connsiteY7" fmla="*/ 1984436 h 28366370"/>
              <a:gd name="connsiteX8" fmla="*/ 5134985 w 7048299"/>
              <a:gd name="connsiteY8" fmla="*/ 1925648 h 28366370"/>
              <a:gd name="connsiteX9" fmla="*/ 5741302 w 7048299"/>
              <a:gd name="connsiteY9" fmla="*/ 1999709 h 28366370"/>
              <a:gd name="connsiteX10" fmla="*/ 6384490 w 7048299"/>
              <a:gd name="connsiteY10" fmla="*/ 1953787 h 28366370"/>
              <a:gd name="connsiteX11" fmla="*/ 7048299 w 7048299"/>
              <a:gd name="connsiteY11" fmla="*/ 1938566 h 28366370"/>
              <a:gd name="connsiteX0" fmla="*/ 0 w 7048299"/>
              <a:gd name="connsiteY0" fmla="*/ 17985106 h 26440803"/>
              <a:gd name="connsiteX1" fmla="*/ 732164 w 7048299"/>
              <a:gd name="connsiteY1" fmla="*/ 25555814 h 26440803"/>
              <a:gd name="connsiteX2" fmla="*/ 1325649 w 7048299"/>
              <a:gd name="connsiteY2" fmla="*/ 20697414 h 26440803"/>
              <a:gd name="connsiteX3" fmla="*/ 1936126 w 7048299"/>
              <a:gd name="connsiteY3" fmla="*/ 24009917 h 26440803"/>
              <a:gd name="connsiteX4" fmla="*/ 2620307 w 7048299"/>
              <a:gd name="connsiteY4" fmla="*/ 22530749 h 26440803"/>
              <a:gd name="connsiteX5" fmla="*/ 3248263 w 7048299"/>
              <a:gd name="connsiteY5" fmla="*/ 26340294 h 26440803"/>
              <a:gd name="connsiteX6" fmla="*/ 3831363 w 7048299"/>
              <a:gd name="connsiteY6" fmla="*/ 14827961 h 26440803"/>
              <a:gd name="connsiteX7" fmla="*/ 4477074 w 7048299"/>
              <a:gd name="connsiteY7" fmla="*/ 58869 h 26440803"/>
              <a:gd name="connsiteX8" fmla="*/ 5134985 w 7048299"/>
              <a:gd name="connsiteY8" fmla="*/ 81 h 26440803"/>
              <a:gd name="connsiteX9" fmla="*/ 5741302 w 7048299"/>
              <a:gd name="connsiteY9" fmla="*/ 74142 h 26440803"/>
              <a:gd name="connsiteX10" fmla="*/ 6384490 w 7048299"/>
              <a:gd name="connsiteY10" fmla="*/ 28220 h 26440803"/>
              <a:gd name="connsiteX11" fmla="*/ 7048299 w 7048299"/>
              <a:gd name="connsiteY11" fmla="*/ 12999 h 26440803"/>
              <a:gd name="connsiteX0" fmla="*/ 0 w 7048299"/>
              <a:gd name="connsiteY0" fmla="*/ 17985106 h 26440803"/>
              <a:gd name="connsiteX1" fmla="*/ 732164 w 7048299"/>
              <a:gd name="connsiteY1" fmla="*/ 25555814 h 26440803"/>
              <a:gd name="connsiteX2" fmla="*/ 1325649 w 7048299"/>
              <a:gd name="connsiteY2" fmla="*/ 20697414 h 26440803"/>
              <a:gd name="connsiteX3" fmla="*/ 1936126 w 7048299"/>
              <a:gd name="connsiteY3" fmla="*/ 24009917 h 26440803"/>
              <a:gd name="connsiteX4" fmla="*/ 2620307 w 7048299"/>
              <a:gd name="connsiteY4" fmla="*/ 22530749 h 26440803"/>
              <a:gd name="connsiteX5" fmla="*/ 3248263 w 7048299"/>
              <a:gd name="connsiteY5" fmla="*/ 26340294 h 26440803"/>
              <a:gd name="connsiteX6" fmla="*/ 3831363 w 7048299"/>
              <a:gd name="connsiteY6" fmla="*/ 14827961 h 26440803"/>
              <a:gd name="connsiteX7" fmla="*/ 4477074 w 7048299"/>
              <a:gd name="connsiteY7" fmla="*/ 58869 h 26440803"/>
              <a:gd name="connsiteX8" fmla="*/ 5134985 w 7048299"/>
              <a:gd name="connsiteY8" fmla="*/ 81 h 26440803"/>
              <a:gd name="connsiteX9" fmla="*/ 5741302 w 7048299"/>
              <a:gd name="connsiteY9" fmla="*/ 74142 h 26440803"/>
              <a:gd name="connsiteX10" fmla="*/ 6384490 w 7048299"/>
              <a:gd name="connsiteY10" fmla="*/ 28220 h 26440803"/>
              <a:gd name="connsiteX11" fmla="*/ 7048299 w 7048299"/>
              <a:gd name="connsiteY11" fmla="*/ 12999 h 26440803"/>
              <a:gd name="connsiteX0" fmla="*/ 0 w 7048299"/>
              <a:gd name="connsiteY0" fmla="*/ 17985106 h 26440803"/>
              <a:gd name="connsiteX1" fmla="*/ 732164 w 7048299"/>
              <a:gd name="connsiteY1" fmla="*/ 25555814 h 26440803"/>
              <a:gd name="connsiteX2" fmla="*/ 1325649 w 7048299"/>
              <a:gd name="connsiteY2" fmla="*/ 20697414 h 26440803"/>
              <a:gd name="connsiteX3" fmla="*/ 1936126 w 7048299"/>
              <a:gd name="connsiteY3" fmla="*/ 24009917 h 26440803"/>
              <a:gd name="connsiteX4" fmla="*/ 2620307 w 7048299"/>
              <a:gd name="connsiteY4" fmla="*/ 22530749 h 26440803"/>
              <a:gd name="connsiteX5" fmla="*/ 3248263 w 7048299"/>
              <a:gd name="connsiteY5" fmla="*/ 26340294 h 26440803"/>
              <a:gd name="connsiteX6" fmla="*/ 3831364 w 7048299"/>
              <a:gd name="connsiteY6" fmla="*/ 14827961 h 26440803"/>
              <a:gd name="connsiteX7" fmla="*/ 4477074 w 7048299"/>
              <a:gd name="connsiteY7" fmla="*/ 58869 h 26440803"/>
              <a:gd name="connsiteX8" fmla="*/ 5134985 w 7048299"/>
              <a:gd name="connsiteY8" fmla="*/ 81 h 26440803"/>
              <a:gd name="connsiteX9" fmla="*/ 5741302 w 7048299"/>
              <a:gd name="connsiteY9" fmla="*/ 74142 h 26440803"/>
              <a:gd name="connsiteX10" fmla="*/ 6384490 w 7048299"/>
              <a:gd name="connsiteY10" fmla="*/ 28220 h 26440803"/>
              <a:gd name="connsiteX11" fmla="*/ 7048299 w 7048299"/>
              <a:gd name="connsiteY11" fmla="*/ 12999 h 26440803"/>
              <a:gd name="connsiteX0" fmla="*/ 0 w 7048299"/>
              <a:gd name="connsiteY0" fmla="*/ 19211120 h 27666817"/>
              <a:gd name="connsiteX1" fmla="*/ 732164 w 7048299"/>
              <a:gd name="connsiteY1" fmla="*/ 26781828 h 27666817"/>
              <a:gd name="connsiteX2" fmla="*/ 1325649 w 7048299"/>
              <a:gd name="connsiteY2" fmla="*/ 21923428 h 27666817"/>
              <a:gd name="connsiteX3" fmla="*/ 1936126 w 7048299"/>
              <a:gd name="connsiteY3" fmla="*/ 25235931 h 27666817"/>
              <a:gd name="connsiteX4" fmla="*/ 2620307 w 7048299"/>
              <a:gd name="connsiteY4" fmla="*/ 23756763 h 27666817"/>
              <a:gd name="connsiteX5" fmla="*/ 3248263 w 7048299"/>
              <a:gd name="connsiteY5" fmla="*/ 27566308 h 27666817"/>
              <a:gd name="connsiteX6" fmla="*/ 3831364 w 7048299"/>
              <a:gd name="connsiteY6" fmla="*/ 16053975 h 27666817"/>
              <a:gd name="connsiteX7" fmla="*/ 4516275 w 7048299"/>
              <a:gd name="connsiteY7" fmla="*/ 18094102 h 27666817"/>
              <a:gd name="connsiteX8" fmla="*/ 5134985 w 7048299"/>
              <a:gd name="connsiteY8" fmla="*/ 1226095 h 27666817"/>
              <a:gd name="connsiteX9" fmla="*/ 5741302 w 7048299"/>
              <a:gd name="connsiteY9" fmla="*/ 1300156 h 27666817"/>
              <a:gd name="connsiteX10" fmla="*/ 6384490 w 7048299"/>
              <a:gd name="connsiteY10" fmla="*/ 1254234 h 27666817"/>
              <a:gd name="connsiteX11" fmla="*/ 7048299 w 7048299"/>
              <a:gd name="connsiteY11" fmla="*/ 1239013 h 27666817"/>
              <a:gd name="connsiteX0" fmla="*/ 0 w 7048299"/>
              <a:gd name="connsiteY0" fmla="*/ 19293721 h 27749418"/>
              <a:gd name="connsiteX1" fmla="*/ 732164 w 7048299"/>
              <a:gd name="connsiteY1" fmla="*/ 26864429 h 27749418"/>
              <a:gd name="connsiteX2" fmla="*/ 1325649 w 7048299"/>
              <a:gd name="connsiteY2" fmla="*/ 22006029 h 27749418"/>
              <a:gd name="connsiteX3" fmla="*/ 1936126 w 7048299"/>
              <a:gd name="connsiteY3" fmla="*/ 25318532 h 27749418"/>
              <a:gd name="connsiteX4" fmla="*/ 2620307 w 7048299"/>
              <a:gd name="connsiteY4" fmla="*/ 23839364 h 27749418"/>
              <a:gd name="connsiteX5" fmla="*/ 3248263 w 7048299"/>
              <a:gd name="connsiteY5" fmla="*/ 27648909 h 27749418"/>
              <a:gd name="connsiteX6" fmla="*/ 3831364 w 7048299"/>
              <a:gd name="connsiteY6" fmla="*/ 16136576 h 27749418"/>
              <a:gd name="connsiteX7" fmla="*/ 4516275 w 7048299"/>
              <a:gd name="connsiteY7" fmla="*/ 19292007 h 27749418"/>
              <a:gd name="connsiteX8" fmla="*/ 5134985 w 7048299"/>
              <a:gd name="connsiteY8" fmla="*/ 1308696 h 27749418"/>
              <a:gd name="connsiteX9" fmla="*/ 5741302 w 7048299"/>
              <a:gd name="connsiteY9" fmla="*/ 1382757 h 27749418"/>
              <a:gd name="connsiteX10" fmla="*/ 6384490 w 7048299"/>
              <a:gd name="connsiteY10" fmla="*/ 1336835 h 27749418"/>
              <a:gd name="connsiteX11" fmla="*/ 7048299 w 7048299"/>
              <a:gd name="connsiteY11" fmla="*/ 1321614 h 27749418"/>
              <a:gd name="connsiteX0" fmla="*/ 0 w 7048299"/>
              <a:gd name="connsiteY0" fmla="*/ 19209517 h 27665214"/>
              <a:gd name="connsiteX1" fmla="*/ 732164 w 7048299"/>
              <a:gd name="connsiteY1" fmla="*/ 26780225 h 27665214"/>
              <a:gd name="connsiteX2" fmla="*/ 1325649 w 7048299"/>
              <a:gd name="connsiteY2" fmla="*/ 21921825 h 27665214"/>
              <a:gd name="connsiteX3" fmla="*/ 1936126 w 7048299"/>
              <a:gd name="connsiteY3" fmla="*/ 25234328 h 27665214"/>
              <a:gd name="connsiteX4" fmla="*/ 2620307 w 7048299"/>
              <a:gd name="connsiteY4" fmla="*/ 23755160 h 27665214"/>
              <a:gd name="connsiteX5" fmla="*/ 3248263 w 7048299"/>
              <a:gd name="connsiteY5" fmla="*/ 27564705 h 27665214"/>
              <a:gd name="connsiteX6" fmla="*/ 3831364 w 7048299"/>
              <a:gd name="connsiteY6" fmla="*/ 16052372 h 27665214"/>
              <a:gd name="connsiteX7" fmla="*/ 4516275 w 7048299"/>
              <a:gd name="connsiteY7" fmla="*/ 19207803 h 27665214"/>
              <a:gd name="connsiteX8" fmla="*/ 5103626 w 7048299"/>
              <a:gd name="connsiteY8" fmla="*/ 18591363 h 27665214"/>
              <a:gd name="connsiteX9" fmla="*/ 5741302 w 7048299"/>
              <a:gd name="connsiteY9" fmla="*/ 1298553 h 27665214"/>
              <a:gd name="connsiteX10" fmla="*/ 6384490 w 7048299"/>
              <a:gd name="connsiteY10" fmla="*/ 1252631 h 27665214"/>
              <a:gd name="connsiteX11" fmla="*/ 7048299 w 7048299"/>
              <a:gd name="connsiteY11" fmla="*/ 1237410 h 27665214"/>
              <a:gd name="connsiteX0" fmla="*/ 0 w 7048299"/>
              <a:gd name="connsiteY0" fmla="*/ 19209517 h 27665214"/>
              <a:gd name="connsiteX1" fmla="*/ 732164 w 7048299"/>
              <a:gd name="connsiteY1" fmla="*/ 26780225 h 27665214"/>
              <a:gd name="connsiteX2" fmla="*/ 1325649 w 7048299"/>
              <a:gd name="connsiteY2" fmla="*/ 21921825 h 27665214"/>
              <a:gd name="connsiteX3" fmla="*/ 1936126 w 7048299"/>
              <a:gd name="connsiteY3" fmla="*/ 25234328 h 27665214"/>
              <a:gd name="connsiteX4" fmla="*/ 2620307 w 7048299"/>
              <a:gd name="connsiteY4" fmla="*/ 23755160 h 27665214"/>
              <a:gd name="connsiteX5" fmla="*/ 3248263 w 7048299"/>
              <a:gd name="connsiteY5" fmla="*/ 27564705 h 27665214"/>
              <a:gd name="connsiteX6" fmla="*/ 3831364 w 7048299"/>
              <a:gd name="connsiteY6" fmla="*/ 16052372 h 27665214"/>
              <a:gd name="connsiteX7" fmla="*/ 4516275 w 7048299"/>
              <a:gd name="connsiteY7" fmla="*/ 19207803 h 27665214"/>
              <a:gd name="connsiteX8" fmla="*/ 5103626 w 7048299"/>
              <a:gd name="connsiteY8" fmla="*/ 18591363 h 27665214"/>
              <a:gd name="connsiteX9" fmla="*/ 5741302 w 7048299"/>
              <a:gd name="connsiteY9" fmla="*/ 1298553 h 27665214"/>
              <a:gd name="connsiteX10" fmla="*/ 6384490 w 7048299"/>
              <a:gd name="connsiteY10" fmla="*/ 1252631 h 27665214"/>
              <a:gd name="connsiteX11" fmla="*/ 7048299 w 7048299"/>
              <a:gd name="connsiteY11" fmla="*/ 1237410 h 27665214"/>
              <a:gd name="connsiteX0" fmla="*/ 0 w 7048299"/>
              <a:gd name="connsiteY0" fmla="*/ 19239024 h 27694721"/>
              <a:gd name="connsiteX1" fmla="*/ 732164 w 7048299"/>
              <a:gd name="connsiteY1" fmla="*/ 26809732 h 27694721"/>
              <a:gd name="connsiteX2" fmla="*/ 1325649 w 7048299"/>
              <a:gd name="connsiteY2" fmla="*/ 21951332 h 27694721"/>
              <a:gd name="connsiteX3" fmla="*/ 1936126 w 7048299"/>
              <a:gd name="connsiteY3" fmla="*/ 25263835 h 27694721"/>
              <a:gd name="connsiteX4" fmla="*/ 2620307 w 7048299"/>
              <a:gd name="connsiteY4" fmla="*/ 23784667 h 27694721"/>
              <a:gd name="connsiteX5" fmla="*/ 3248263 w 7048299"/>
              <a:gd name="connsiteY5" fmla="*/ 27594212 h 27694721"/>
              <a:gd name="connsiteX6" fmla="*/ 3831364 w 7048299"/>
              <a:gd name="connsiteY6" fmla="*/ 16081879 h 27694721"/>
              <a:gd name="connsiteX7" fmla="*/ 4516275 w 7048299"/>
              <a:gd name="connsiteY7" fmla="*/ 19237310 h 27694721"/>
              <a:gd name="connsiteX8" fmla="*/ 5103626 w 7048299"/>
              <a:gd name="connsiteY8" fmla="*/ 19019196 h 27694721"/>
              <a:gd name="connsiteX9" fmla="*/ 5741302 w 7048299"/>
              <a:gd name="connsiteY9" fmla="*/ 1328060 h 27694721"/>
              <a:gd name="connsiteX10" fmla="*/ 6384490 w 7048299"/>
              <a:gd name="connsiteY10" fmla="*/ 1282138 h 27694721"/>
              <a:gd name="connsiteX11" fmla="*/ 7048299 w 7048299"/>
              <a:gd name="connsiteY11" fmla="*/ 1266917 h 27694721"/>
              <a:gd name="connsiteX0" fmla="*/ 0 w 7048299"/>
              <a:gd name="connsiteY0" fmla="*/ 19239024 h 27694721"/>
              <a:gd name="connsiteX1" fmla="*/ 732164 w 7048299"/>
              <a:gd name="connsiteY1" fmla="*/ 26809732 h 27694721"/>
              <a:gd name="connsiteX2" fmla="*/ 1325649 w 7048299"/>
              <a:gd name="connsiteY2" fmla="*/ 21951332 h 27694721"/>
              <a:gd name="connsiteX3" fmla="*/ 1936126 w 7048299"/>
              <a:gd name="connsiteY3" fmla="*/ 25263835 h 27694721"/>
              <a:gd name="connsiteX4" fmla="*/ 2620307 w 7048299"/>
              <a:gd name="connsiteY4" fmla="*/ 23784667 h 27694721"/>
              <a:gd name="connsiteX5" fmla="*/ 3248263 w 7048299"/>
              <a:gd name="connsiteY5" fmla="*/ 27594212 h 27694721"/>
              <a:gd name="connsiteX6" fmla="*/ 3831364 w 7048299"/>
              <a:gd name="connsiteY6" fmla="*/ 16081879 h 27694721"/>
              <a:gd name="connsiteX7" fmla="*/ 4516275 w 7048299"/>
              <a:gd name="connsiteY7" fmla="*/ 19237310 h 27694721"/>
              <a:gd name="connsiteX8" fmla="*/ 5103626 w 7048299"/>
              <a:gd name="connsiteY8" fmla="*/ 19019196 h 27694721"/>
              <a:gd name="connsiteX9" fmla="*/ 5741302 w 7048299"/>
              <a:gd name="connsiteY9" fmla="*/ 1328060 h 27694721"/>
              <a:gd name="connsiteX10" fmla="*/ 6384490 w 7048299"/>
              <a:gd name="connsiteY10" fmla="*/ 1282138 h 27694721"/>
              <a:gd name="connsiteX11" fmla="*/ 7048299 w 7048299"/>
              <a:gd name="connsiteY11" fmla="*/ 1266917 h 27694721"/>
              <a:gd name="connsiteX0" fmla="*/ 0 w 7048299"/>
              <a:gd name="connsiteY0" fmla="*/ 17974772 h 26430469"/>
              <a:gd name="connsiteX1" fmla="*/ 732164 w 7048299"/>
              <a:gd name="connsiteY1" fmla="*/ 25545480 h 26430469"/>
              <a:gd name="connsiteX2" fmla="*/ 1325649 w 7048299"/>
              <a:gd name="connsiteY2" fmla="*/ 20687080 h 26430469"/>
              <a:gd name="connsiteX3" fmla="*/ 1936126 w 7048299"/>
              <a:gd name="connsiteY3" fmla="*/ 23999583 h 26430469"/>
              <a:gd name="connsiteX4" fmla="*/ 2620307 w 7048299"/>
              <a:gd name="connsiteY4" fmla="*/ 22520415 h 26430469"/>
              <a:gd name="connsiteX5" fmla="*/ 3248263 w 7048299"/>
              <a:gd name="connsiteY5" fmla="*/ 26329960 h 26430469"/>
              <a:gd name="connsiteX6" fmla="*/ 3831364 w 7048299"/>
              <a:gd name="connsiteY6" fmla="*/ 14817627 h 26430469"/>
              <a:gd name="connsiteX7" fmla="*/ 4516275 w 7048299"/>
              <a:gd name="connsiteY7" fmla="*/ 17973058 h 26430469"/>
              <a:gd name="connsiteX8" fmla="*/ 5103626 w 7048299"/>
              <a:gd name="connsiteY8" fmla="*/ 17754944 h 26430469"/>
              <a:gd name="connsiteX9" fmla="*/ 5788343 w 7048299"/>
              <a:gd name="connsiteY9" fmla="*/ 16315369 h 26430469"/>
              <a:gd name="connsiteX10" fmla="*/ 6384490 w 7048299"/>
              <a:gd name="connsiteY10" fmla="*/ 17886 h 26430469"/>
              <a:gd name="connsiteX11" fmla="*/ 7048299 w 7048299"/>
              <a:gd name="connsiteY11" fmla="*/ 2665 h 26430469"/>
              <a:gd name="connsiteX0" fmla="*/ 0 w 7048299"/>
              <a:gd name="connsiteY0" fmla="*/ 17974772 h 26430469"/>
              <a:gd name="connsiteX1" fmla="*/ 732164 w 7048299"/>
              <a:gd name="connsiteY1" fmla="*/ 25545480 h 26430469"/>
              <a:gd name="connsiteX2" fmla="*/ 1325649 w 7048299"/>
              <a:gd name="connsiteY2" fmla="*/ 20687080 h 26430469"/>
              <a:gd name="connsiteX3" fmla="*/ 1936126 w 7048299"/>
              <a:gd name="connsiteY3" fmla="*/ 23999583 h 26430469"/>
              <a:gd name="connsiteX4" fmla="*/ 2620307 w 7048299"/>
              <a:gd name="connsiteY4" fmla="*/ 22520415 h 26430469"/>
              <a:gd name="connsiteX5" fmla="*/ 3248263 w 7048299"/>
              <a:gd name="connsiteY5" fmla="*/ 26329960 h 26430469"/>
              <a:gd name="connsiteX6" fmla="*/ 3831364 w 7048299"/>
              <a:gd name="connsiteY6" fmla="*/ 14817627 h 26430469"/>
              <a:gd name="connsiteX7" fmla="*/ 4516275 w 7048299"/>
              <a:gd name="connsiteY7" fmla="*/ 17973058 h 26430469"/>
              <a:gd name="connsiteX8" fmla="*/ 5103626 w 7048299"/>
              <a:gd name="connsiteY8" fmla="*/ 17754944 h 26430469"/>
              <a:gd name="connsiteX9" fmla="*/ 5788343 w 7048299"/>
              <a:gd name="connsiteY9" fmla="*/ 16315369 h 26430469"/>
              <a:gd name="connsiteX10" fmla="*/ 6384490 w 7048299"/>
              <a:gd name="connsiteY10" fmla="*/ 17886 h 26430469"/>
              <a:gd name="connsiteX11" fmla="*/ 7048299 w 7048299"/>
              <a:gd name="connsiteY11" fmla="*/ 2665 h 26430469"/>
              <a:gd name="connsiteX0" fmla="*/ 0 w 7048299"/>
              <a:gd name="connsiteY0" fmla="*/ 17974772 h 26430469"/>
              <a:gd name="connsiteX1" fmla="*/ 732164 w 7048299"/>
              <a:gd name="connsiteY1" fmla="*/ 25545480 h 26430469"/>
              <a:gd name="connsiteX2" fmla="*/ 1325649 w 7048299"/>
              <a:gd name="connsiteY2" fmla="*/ 20687080 h 26430469"/>
              <a:gd name="connsiteX3" fmla="*/ 1936126 w 7048299"/>
              <a:gd name="connsiteY3" fmla="*/ 23999583 h 26430469"/>
              <a:gd name="connsiteX4" fmla="*/ 2620307 w 7048299"/>
              <a:gd name="connsiteY4" fmla="*/ 22520415 h 26430469"/>
              <a:gd name="connsiteX5" fmla="*/ 3248263 w 7048299"/>
              <a:gd name="connsiteY5" fmla="*/ 26329960 h 26430469"/>
              <a:gd name="connsiteX6" fmla="*/ 3831364 w 7048299"/>
              <a:gd name="connsiteY6" fmla="*/ 14817627 h 26430469"/>
              <a:gd name="connsiteX7" fmla="*/ 4516275 w 7048299"/>
              <a:gd name="connsiteY7" fmla="*/ 17973058 h 26430469"/>
              <a:gd name="connsiteX8" fmla="*/ 5103626 w 7048299"/>
              <a:gd name="connsiteY8" fmla="*/ 17754944 h 26430469"/>
              <a:gd name="connsiteX9" fmla="*/ 5702102 w 7048299"/>
              <a:gd name="connsiteY9" fmla="*/ 21812227 h 26430469"/>
              <a:gd name="connsiteX10" fmla="*/ 6384490 w 7048299"/>
              <a:gd name="connsiteY10" fmla="*/ 17886 h 26430469"/>
              <a:gd name="connsiteX11" fmla="*/ 7048299 w 7048299"/>
              <a:gd name="connsiteY11" fmla="*/ 2665 h 26430469"/>
              <a:gd name="connsiteX0" fmla="*/ 0 w 7048299"/>
              <a:gd name="connsiteY0" fmla="*/ 17974772 h 26430469"/>
              <a:gd name="connsiteX1" fmla="*/ 732164 w 7048299"/>
              <a:gd name="connsiteY1" fmla="*/ 25545480 h 26430469"/>
              <a:gd name="connsiteX2" fmla="*/ 1325649 w 7048299"/>
              <a:gd name="connsiteY2" fmla="*/ 20687080 h 26430469"/>
              <a:gd name="connsiteX3" fmla="*/ 1936126 w 7048299"/>
              <a:gd name="connsiteY3" fmla="*/ 23999583 h 26430469"/>
              <a:gd name="connsiteX4" fmla="*/ 2620307 w 7048299"/>
              <a:gd name="connsiteY4" fmla="*/ 22520415 h 26430469"/>
              <a:gd name="connsiteX5" fmla="*/ 3248263 w 7048299"/>
              <a:gd name="connsiteY5" fmla="*/ 26329960 h 26430469"/>
              <a:gd name="connsiteX6" fmla="*/ 3831364 w 7048299"/>
              <a:gd name="connsiteY6" fmla="*/ 14817627 h 26430469"/>
              <a:gd name="connsiteX7" fmla="*/ 4516275 w 7048299"/>
              <a:gd name="connsiteY7" fmla="*/ 17973058 h 26430469"/>
              <a:gd name="connsiteX8" fmla="*/ 5103626 w 7048299"/>
              <a:gd name="connsiteY8" fmla="*/ 17754944 h 26430469"/>
              <a:gd name="connsiteX9" fmla="*/ 5702102 w 7048299"/>
              <a:gd name="connsiteY9" fmla="*/ 21812227 h 26430469"/>
              <a:gd name="connsiteX10" fmla="*/ 6384490 w 7048299"/>
              <a:gd name="connsiteY10" fmla="*/ 17886 h 26430469"/>
              <a:gd name="connsiteX11" fmla="*/ 7048299 w 7048299"/>
              <a:gd name="connsiteY11" fmla="*/ 2665 h 26430469"/>
              <a:gd name="connsiteX0" fmla="*/ 0 w 7048299"/>
              <a:gd name="connsiteY0" fmla="*/ 17972115 h 26427812"/>
              <a:gd name="connsiteX1" fmla="*/ 732164 w 7048299"/>
              <a:gd name="connsiteY1" fmla="*/ 25542823 h 26427812"/>
              <a:gd name="connsiteX2" fmla="*/ 1325649 w 7048299"/>
              <a:gd name="connsiteY2" fmla="*/ 20684423 h 26427812"/>
              <a:gd name="connsiteX3" fmla="*/ 1936126 w 7048299"/>
              <a:gd name="connsiteY3" fmla="*/ 23996926 h 26427812"/>
              <a:gd name="connsiteX4" fmla="*/ 2620307 w 7048299"/>
              <a:gd name="connsiteY4" fmla="*/ 22517758 h 26427812"/>
              <a:gd name="connsiteX5" fmla="*/ 3248263 w 7048299"/>
              <a:gd name="connsiteY5" fmla="*/ 26327303 h 26427812"/>
              <a:gd name="connsiteX6" fmla="*/ 3831364 w 7048299"/>
              <a:gd name="connsiteY6" fmla="*/ 14814970 h 26427812"/>
              <a:gd name="connsiteX7" fmla="*/ 4516275 w 7048299"/>
              <a:gd name="connsiteY7" fmla="*/ 17970401 h 26427812"/>
              <a:gd name="connsiteX8" fmla="*/ 5103626 w 7048299"/>
              <a:gd name="connsiteY8" fmla="*/ 17752287 h 26427812"/>
              <a:gd name="connsiteX9" fmla="*/ 5702102 w 7048299"/>
              <a:gd name="connsiteY9" fmla="*/ 21809570 h 26427812"/>
              <a:gd name="connsiteX10" fmla="*/ 6313930 w 7048299"/>
              <a:gd name="connsiteY10" fmla="*/ 22161966 h 26427812"/>
              <a:gd name="connsiteX11" fmla="*/ 7048299 w 7048299"/>
              <a:gd name="connsiteY11" fmla="*/ 8 h 26427812"/>
              <a:gd name="connsiteX0" fmla="*/ 0 w 6962058"/>
              <a:gd name="connsiteY0" fmla="*/ 3422629 h 11878326"/>
              <a:gd name="connsiteX1" fmla="*/ 732164 w 6962058"/>
              <a:gd name="connsiteY1" fmla="*/ 10993337 h 11878326"/>
              <a:gd name="connsiteX2" fmla="*/ 1325649 w 6962058"/>
              <a:gd name="connsiteY2" fmla="*/ 6134937 h 11878326"/>
              <a:gd name="connsiteX3" fmla="*/ 1936126 w 6962058"/>
              <a:gd name="connsiteY3" fmla="*/ 9447440 h 11878326"/>
              <a:gd name="connsiteX4" fmla="*/ 2620307 w 6962058"/>
              <a:gd name="connsiteY4" fmla="*/ 7968272 h 11878326"/>
              <a:gd name="connsiteX5" fmla="*/ 3248263 w 6962058"/>
              <a:gd name="connsiteY5" fmla="*/ 11777817 h 11878326"/>
              <a:gd name="connsiteX6" fmla="*/ 3831364 w 6962058"/>
              <a:gd name="connsiteY6" fmla="*/ 265484 h 11878326"/>
              <a:gd name="connsiteX7" fmla="*/ 4516275 w 6962058"/>
              <a:gd name="connsiteY7" fmla="*/ 3420915 h 11878326"/>
              <a:gd name="connsiteX8" fmla="*/ 5103626 w 6962058"/>
              <a:gd name="connsiteY8" fmla="*/ 3202801 h 11878326"/>
              <a:gd name="connsiteX9" fmla="*/ 5702102 w 6962058"/>
              <a:gd name="connsiteY9" fmla="*/ 7260084 h 11878326"/>
              <a:gd name="connsiteX10" fmla="*/ 6313930 w 6962058"/>
              <a:gd name="connsiteY10" fmla="*/ 7612480 h 11878326"/>
              <a:gd name="connsiteX11" fmla="*/ 6962058 w 6962058"/>
              <a:gd name="connsiteY11" fmla="*/ 10704176 h 11878326"/>
              <a:gd name="connsiteX0" fmla="*/ 0 w 7011450"/>
              <a:gd name="connsiteY0" fmla="*/ 10699983 h 11878326"/>
              <a:gd name="connsiteX1" fmla="*/ 781556 w 7011450"/>
              <a:gd name="connsiteY1" fmla="*/ 10993337 h 11878326"/>
              <a:gd name="connsiteX2" fmla="*/ 1375041 w 7011450"/>
              <a:gd name="connsiteY2" fmla="*/ 6134937 h 11878326"/>
              <a:gd name="connsiteX3" fmla="*/ 1985518 w 7011450"/>
              <a:gd name="connsiteY3" fmla="*/ 9447440 h 11878326"/>
              <a:gd name="connsiteX4" fmla="*/ 2669699 w 7011450"/>
              <a:gd name="connsiteY4" fmla="*/ 7968272 h 11878326"/>
              <a:gd name="connsiteX5" fmla="*/ 3297655 w 7011450"/>
              <a:gd name="connsiteY5" fmla="*/ 11777817 h 11878326"/>
              <a:gd name="connsiteX6" fmla="*/ 3880756 w 7011450"/>
              <a:gd name="connsiteY6" fmla="*/ 265484 h 11878326"/>
              <a:gd name="connsiteX7" fmla="*/ 4565667 w 7011450"/>
              <a:gd name="connsiteY7" fmla="*/ 3420915 h 11878326"/>
              <a:gd name="connsiteX8" fmla="*/ 5153018 w 7011450"/>
              <a:gd name="connsiteY8" fmla="*/ 3202801 h 11878326"/>
              <a:gd name="connsiteX9" fmla="*/ 5751494 w 7011450"/>
              <a:gd name="connsiteY9" fmla="*/ 7260084 h 11878326"/>
              <a:gd name="connsiteX10" fmla="*/ 6363322 w 7011450"/>
              <a:gd name="connsiteY10" fmla="*/ 7612480 h 11878326"/>
              <a:gd name="connsiteX11" fmla="*/ 7011450 w 7011450"/>
              <a:gd name="connsiteY11" fmla="*/ 10704176 h 11878326"/>
              <a:gd name="connsiteX0" fmla="*/ 0 w 7011450"/>
              <a:gd name="connsiteY0" fmla="*/ 10699983 h 11878326"/>
              <a:gd name="connsiteX1" fmla="*/ 781556 w 7011450"/>
              <a:gd name="connsiteY1" fmla="*/ 10993337 h 11878326"/>
              <a:gd name="connsiteX2" fmla="*/ 1375041 w 7011450"/>
              <a:gd name="connsiteY2" fmla="*/ 10902860 h 11878326"/>
              <a:gd name="connsiteX3" fmla="*/ 1985518 w 7011450"/>
              <a:gd name="connsiteY3" fmla="*/ 9447440 h 11878326"/>
              <a:gd name="connsiteX4" fmla="*/ 2669699 w 7011450"/>
              <a:gd name="connsiteY4" fmla="*/ 7968272 h 11878326"/>
              <a:gd name="connsiteX5" fmla="*/ 3297655 w 7011450"/>
              <a:gd name="connsiteY5" fmla="*/ 11777817 h 11878326"/>
              <a:gd name="connsiteX6" fmla="*/ 3880756 w 7011450"/>
              <a:gd name="connsiteY6" fmla="*/ 265484 h 11878326"/>
              <a:gd name="connsiteX7" fmla="*/ 4565667 w 7011450"/>
              <a:gd name="connsiteY7" fmla="*/ 3420915 h 11878326"/>
              <a:gd name="connsiteX8" fmla="*/ 5153018 w 7011450"/>
              <a:gd name="connsiteY8" fmla="*/ 3202801 h 11878326"/>
              <a:gd name="connsiteX9" fmla="*/ 5751494 w 7011450"/>
              <a:gd name="connsiteY9" fmla="*/ 7260084 h 11878326"/>
              <a:gd name="connsiteX10" fmla="*/ 6363322 w 7011450"/>
              <a:gd name="connsiteY10" fmla="*/ 7612480 h 11878326"/>
              <a:gd name="connsiteX11" fmla="*/ 7011450 w 7011450"/>
              <a:gd name="connsiteY11" fmla="*/ 10704176 h 11878326"/>
              <a:gd name="connsiteX0" fmla="*/ 0 w 7011450"/>
              <a:gd name="connsiteY0" fmla="*/ 10699983 h 11878326"/>
              <a:gd name="connsiteX1" fmla="*/ 781556 w 7011450"/>
              <a:gd name="connsiteY1" fmla="*/ 10993337 h 11878326"/>
              <a:gd name="connsiteX2" fmla="*/ 1375041 w 7011450"/>
              <a:gd name="connsiteY2" fmla="*/ 10902860 h 11878326"/>
              <a:gd name="connsiteX3" fmla="*/ 1985518 w 7011450"/>
              <a:gd name="connsiteY3" fmla="*/ 10451213 h 11878326"/>
              <a:gd name="connsiteX4" fmla="*/ 2669699 w 7011450"/>
              <a:gd name="connsiteY4" fmla="*/ 7968272 h 11878326"/>
              <a:gd name="connsiteX5" fmla="*/ 3297655 w 7011450"/>
              <a:gd name="connsiteY5" fmla="*/ 11777817 h 11878326"/>
              <a:gd name="connsiteX6" fmla="*/ 3880756 w 7011450"/>
              <a:gd name="connsiteY6" fmla="*/ 265484 h 11878326"/>
              <a:gd name="connsiteX7" fmla="*/ 4565667 w 7011450"/>
              <a:gd name="connsiteY7" fmla="*/ 3420915 h 11878326"/>
              <a:gd name="connsiteX8" fmla="*/ 5153018 w 7011450"/>
              <a:gd name="connsiteY8" fmla="*/ 3202801 h 11878326"/>
              <a:gd name="connsiteX9" fmla="*/ 5751494 w 7011450"/>
              <a:gd name="connsiteY9" fmla="*/ 7260084 h 11878326"/>
              <a:gd name="connsiteX10" fmla="*/ 6363322 w 7011450"/>
              <a:gd name="connsiteY10" fmla="*/ 7612480 h 11878326"/>
              <a:gd name="connsiteX11" fmla="*/ 7011450 w 7011450"/>
              <a:gd name="connsiteY11" fmla="*/ 10704176 h 11878326"/>
              <a:gd name="connsiteX0" fmla="*/ 0 w 7011450"/>
              <a:gd name="connsiteY0" fmla="*/ 10699983 h 11975593"/>
              <a:gd name="connsiteX1" fmla="*/ 781556 w 7011450"/>
              <a:gd name="connsiteY1" fmla="*/ 10993337 h 11975593"/>
              <a:gd name="connsiteX2" fmla="*/ 1375041 w 7011450"/>
              <a:gd name="connsiteY2" fmla="*/ 10902860 h 11975593"/>
              <a:gd name="connsiteX3" fmla="*/ 1985518 w 7011450"/>
              <a:gd name="connsiteY3" fmla="*/ 10451213 h 11975593"/>
              <a:gd name="connsiteX4" fmla="*/ 2636770 w 7011450"/>
              <a:gd name="connsiteY4" fmla="*/ 10645001 h 11975593"/>
              <a:gd name="connsiteX5" fmla="*/ 3297655 w 7011450"/>
              <a:gd name="connsiteY5" fmla="*/ 11777817 h 11975593"/>
              <a:gd name="connsiteX6" fmla="*/ 3880756 w 7011450"/>
              <a:gd name="connsiteY6" fmla="*/ 265484 h 11975593"/>
              <a:gd name="connsiteX7" fmla="*/ 4565667 w 7011450"/>
              <a:gd name="connsiteY7" fmla="*/ 3420915 h 11975593"/>
              <a:gd name="connsiteX8" fmla="*/ 5153018 w 7011450"/>
              <a:gd name="connsiteY8" fmla="*/ 3202801 h 11975593"/>
              <a:gd name="connsiteX9" fmla="*/ 5751494 w 7011450"/>
              <a:gd name="connsiteY9" fmla="*/ 7260084 h 11975593"/>
              <a:gd name="connsiteX10" fmla="*/ 6363322 w 7011450"/>
              <a:gd name="connsiteY10" fmla="*/ 7612480 h 11975593"/>
              <a:gd name="connsiteX11" fmla="*/ 7011450 w 7011450"/>
              <a:gd name="connsiteY11" fmla="*/ 10704176 h 11975593"/>
              <a:gd name="connsiteX0" fmla="*/ 0 w 7011450"/>
              <a:gd name="connsiteY0" fmla="*/ 7734264 h 9009874"/>
              <a:gd name="connsiteX1" fmla="*/ 781556 w 7011450"/>
              <a:gd name="connsiteY1" fmla="*/ 8027618 h 9009874"/>
              <a:gd name="connsiteX2" fmla="*/ 1375041 w 7011450"/>
              <a:gd name="connsiteY2" fmla="*/ 7937141 h 9009874"/>
              <a:gd name="connsiteX3" fmla="*/ 1985518 w 7011450"/>
              <a:gd name="connsiteY3" fmla="*/ 7485494 h 9009874"/>
              <a:gd name="connsiteX4" fmla="*/ 2636770 w 7011450"/>
              <a:gd name="connsiteY4" fmla="*/ 7679282 h 9009874"/>
              <a:gd name="connsiteX5" fmla="*/ 3297655 w 7011450"/>
              <a:gd name="connsiteY5" fmla="*/ 8812098 h 9009874"/>
              <a:gd name="connsiteX6" fmla="*/ 3930149 w 7011450"/>
              <a:gd name="connsiteY6" fmla="*/ 7337497 h 9009874"/>
              <a:gd name="connsiteX7" fmla="*/ 4565667 w 7011450"/>
              <a:gd name="connsiteY7" fmla="*/ 455196 h 9009874"/>
              <a:gd name="connsiteX8" fmla="*/ 5153018 w 7011450"/>
              <a:gd name="connsiteY8" fmla="*/ 237082 h 9009874"/>
              <a:gd name="connsiteX9" fmla="*/ 5751494 w 7011450"/>
              <a:gd name="connsiteY9" fmla="*/ 4294365 h 9009874"/>
              <a:gd name="connsiteX10" fmla="*/ 6363322 w 7011450"/>
              <a:gd name="connsiteY10" fmla="*/ 4646761 h 9009874"/>
              <a:gd name="connsiteX11" fmla="*/ 7011450 w 7011450"/>
              <a:gd name="connsiteY11" fmla="*/ 7738457 h 9009874"/>
              <a:gd name="connsiteX0" fmla="*/ 0 w 7011450"/>
              <a:gd name="connsiteY0" fmla="*/ 7570035 h 8845645"/>
              <a:gd name="connsiteX1" fmla="*/ 781556 w 7011450"/>
              <a:gd name="connsiteY1" fmla="*/ 7863389 h 8845645"/>
              <a:gd name="connsiteX2" fmla="*/ 1375041 w 7011450"/>
              <a:gd name="connsiteY2" fmla="*/ 7772912 h 8845645"/>
              <a:gd name="connsiteX3" fmla="*/ 1985518 w 7011450"/>
              <a:gd name="connsiteY3" fmla="*/ 7321265 h 8845645"/>
              <a:gd name="connsiteX4" fmla="*/ 2636770 w 7011450"/>
              <a:gd name="connsiteY4" fmla="*/ 7515053 h 8845645"/>
              <a:gd name="connsiteX5" fmla="*/ 3297655 w 7011450"/>
              <a:gd name="connsiteY5" fmla="*/ 8647869 h 8845645"/>
              <a:gd name="connsiteX6" fmla="*/ 3930149 w 7011450"/>
              <a:gd name="connsiteY6" fmla="*/ 7173268 h 8845645"/>
              <a:gd name="connsiteX7" fmla="*/ 4491579 w 7011450"/>
              <a:gd name="connsiteY7" fmla="*/ 8070209 h 8845645"/>
              <a:gd name="connsiteX8" fmla="*/ 5153018 w 7011450"/>
              <a:gd name="connsiteY8" fmla="*/ 72853 h 8845645"/>
              <a:gd name="connsiteX9" fmla="*/ 5751494 w 7011450"/>
              <a:gd name="connsiteY9" fmla="*/ 4130136 h 8845645"/>
              <a:gd name="connsiteX10" fmla="*/ 6363322 w 7011450"/>
              <a:gd name="connsiteY10" fmla="*/ 4482532 h 8845645"/>
              <a:gd name="connsiteX11" fmla="*/ 7011450 w 7011450"/>
              <a:gd name="connsiteY11" fmla="*/ 7574228 h 8845645"/>
              <a:gd name="connsiteX0" fmla="*/ 0 w 7011450"/>
              <a:gd name="connsiteY0" fmla="*/ 3600667 h 4876277"/>
              <a:gd name="connsiteX1" fmla="*/ 781556 w 7011450"/>
              <a:gd name="connsiteY1" fmla="*/ 3894021 h 4876277"/>
              <a:gd name="connsiteX2" fmla="*/ 1375041 w 7011450"/>
              <a:gd name="connsiteY2" fmla="*/ 3803544 h 4876277"/>
              <a:gd name="connsiteX3" fmla="*/ 1985518 w 7011450"/>
              <a:gd name="connsiteY3" fmla="*/ 3351897 h 4876277"/>
              <a:gd name="connsiteX4" fmla="*/ 2636770 w 7011450"/>
              <a:gd name="connsiteY4" fmla="*/ 3545685 h 4876277"/>
              <a:gd name="connsiteX5" fmla="*/ 3297655 w 7011450"/>
              <a:gd name="connsiteY5" fmla="*/ 4678501 h 4876277"/>
              <a:gd name="connsiteX6" fmla="*/ 3930149 w 7011450"/>
              <a:gd name="connsiteY6" fmla="*/ 3203900 h 4876277"/>
              <a:gd name="connsiteX7" fmla="*/ 4491579 w 7011450"/>
              <a:gd name="connsiteY7" fmla="*/ 4100841 h 4876277"/>
              <a:gd name="connsiteX8" fmla="*/ 5136554 w 7011450"/>
              <a:gd name="connsiteY8" fmla="*/ 3548136 h 4876277"/>
              <a:gd name="connsiteX9" fmla="*/ 5751494 w 7011450"/>
              <a:gd name="connsiteY9" fmla="*/ 160768 h 4876277"/>
              <a:gd name="connsiteX10" fmla="*/ 6363322 w 7011450"/>
              <a:gd name="connsiteY10" fmla="*/ 513164 h 4876277"/>
              <a:gd name="connsiteX11" fmla="*/ 7011450 w 7011450"/>
              <a:gd name="connsiteY11" fmla="*/ 3604860 h 4876277"/>
              <a:gd name="connsiteX0" fmla="*/ 0 w 7011450"/>
              <a:gd name="connsiteY0" fmla="*/ 3087525 h 4363135"/>
              <a:gd name="connsiteX1" fmla="*/ 781556 w 7011450"/>
              <a:gd name="connsiteY1" fmla="*/ 3380879 h 4363135"/>
              <a:gd name="connsiteX2" fmla="*/ 1375041 w 7011450"/>
              <a:gd name="connsiteY2" fmla="*/ 3290402 h 4363135"/>
              <a:gd name="connsiteX3" fmla="*/ 1985518 w 7011450"/>
              <a:gd name="connsiteY3" fmla="*/ 2838755 h 4363135"/>
              <a:gd name="connsiteX4" fmla="*/ 2636770 w 7011450"/>
              <a:gd name="connsiteY4" fmla="*/ 3032543 h 4363135"/>
              <a:gd name="connsiteX5" fmla="*/ 3297655 w 7011450"/>
              <a:gd name="connsiteY5" fmla="*/ 4165359 h 4363135"/>
              <a:gd name="connsiteX6" fmla="*/ 3930149 w 7011450"/>
              <a:gd name="connsiteY6" fmla="*/ 2690758 h 4363135"/>
              <a:gd name="connsiteX7" fmla="*/ 4491579 w 7011450"/>
              <a:gd name="connsiteY7" fmla="*/ 3587699 h 4363135"/>
              <a:gd name="connsiteX8" fmla="*/ 5136554 w 7011450"/>
              <a:gd name="connsiteY8" fmla="*/ 3034994 h 4363135"/>
              <a:gd name="connsiteX9" fmla="*/ 5784423 w 7011450"/>
              <a:gd name="connsiteY9" fmla="*/ 3495423 h 4363135"/>
              <a:gd name="connsiteX10" fmla="*/ 6363322 w 7011450"/>
              <a:gd name="connsiteY10" fmla="*/ 22 h 4363135"/>
              <a:gd name="connsiteX11" fmla="*/ 7011450 w 7011450"/>
              <a:gd name="connsiteY11" fmla="*/ 3091718 h 4363135"/>
              <a:gd name="connsiteX0" fmla="*/ 0 w 7011450"/>
              <a:gd name="connsiteY0" fmla="*/ 403390 h 1679000"/>
              <a:gd name="connsiteX1" fmla="*/ 781556 w 7011450"/>
              <a:gd name="connsiteY1" fmla="*/ 696744 h 1679000"/>
              <a:gd name="connsiteX2" fmla="*/ 1375041 w 7011450"/>
              <a:gd name="connsiteY2" fmla="*/ 606267 h 1679000"/>
              <a:gd name="connsiteX3" fmla="*/ 1985518 w 7011450"/>
              <a:gd name="connsiteY3" fmla="*/ 154620 h 1679000"/>
              <a:gd name="connsiteX4" fmla="*/ 2636770 w 7011450"/>
              <a:gd name="connsiteY4" fmla="*/ 348408 h 1679000"/>
              <a:gd name="connsiteX5" fmla="*/ 3297655 w 7011450"/>
              <a:gd name="connsiteY5" fmla="*/ 1481224 h 1679000"/>
              <a:gd name="connsiteX6" fmla="*/ 3930149 w 7011450"/>
              <a:gd name="connsiteY6" fmla="*/ 6623 h 1679000"/>
              <a:gd name="connsiteX7" fmla="*/ 4491579 w 7011450"/>
              <a:gd name="connsiteY7" fmla="*/ 903564 h 1679000"/>
              <a:gd name="connsiteX8" fmla="*/ 5136554 w 7011450"/>
              <a:gd name="connsiteY8" fmla="*/ 350859 h 1679000"/>
              <a:gd name="connsiteX9" fmla="*/ 5784423 w 7011450"/>
              <a:gd name="connsiteY9" fmla="*/ 811288 h 1679000"/>
              <a:gd name="connsiteX10" fmla="*/ 6437411 w 7011450"/>
              <a:gd name="connsiteY10" fmla="*/ 578150 h 1679000"/>
              <a:gd name="connsiteX11" fmla="*/ 7011450 w 7011450"/>
              <a:gd name="connsiteY11" fmla="*/ 407583 h 1679000"/>
              <a:gd name="connsiteX0" fmla="*/ 0 w 7139080"/>
              <a:gd name="connsiteY0" fmla="*/ 24767728 h 24767727"/>
              <a:gd name="connsiteX1" fmla="*/ 909186 w 7139080"/>
              <a:gd name="connsiteY1" fmla="*/ 1717525 h 24767727"/>
              <a:gd name="connsiteX2" fmla="*/ 1502671 w 7139080"/>
              <a:gd name="connsiteY2" fmla="*/ 1627048 h 24767727"/>
              <a:gd name="connsiteX3" fmla="*/ 2113148 w 7139080"/>
              <a:gd name="connsiteY3" fmla="*/ 1175401 h 24767727"/>
              <a:gd name="connsiteX4" fmla="*/ 2764400 w 7139080"/>
              <a:gd name="connsiteY4" fmla="*/ 1369189 h 24767727"/>
              <a:gd name="connsiteX5" fmla="*/ 3425285 w 7139080"/>
              <a:gd name="connsiteY5" fmla="*/ 2502005 h 24767727"/>
              <a:gd name="connsiteX6" fmla="*/ 4057779 w 7139080"/>
              <a:gd name="connsiteY6" fmla="*/ 1027404 h 24767727"/>
              <a:gd name="connsiteX7" fmla="*/ 4619209 w 7139080"/>
              <a:gd name="connsiteY7" fmla="*/ 1924345 h 24767727"/>
              <a:gd name="connsiteX8" fmla="*/ 5264184 w 7139080"/>
              <a:gd name="connsiteY8" fmla="*/ 1371640 h 24767727"/>
              <a:gd name="connsiteX9" fmla="*/ 5912053 w 7139080"/>
              <a:gd name="connsiteY9" fmla="*/ 1832069 h 24767727"/>
              <a:gd name="connsiteX10" fmla="*/ 6565041 w 7139080"/>
              <a:gd name="connsiteY10" fmla="*/ 1598931 h 24767727"/>
              <a:gd name="connsiteX11" fmla="*/ 7139080 w 7139080"/>
              <a:gd name="connsiteY11" fmla="*/ 1428364 h 24767727"/>
              <a:gd name="connsiteX0" fmla="*/ 0 w 7139080"/>
              <a:gd name="connsiteY0" fmla="*/ 24669063 h 24669062"/>
              <a:gd name="connsiteX1" fmla="*/ 648823 w 7139080"/>
              <a:gd name="connsiteY1" fmla="*/ 20138076 h 24669062"/>
              <a:gd name="connsiteX2" fmla="*/ 1502671 w 7139080"/>
              <a:gd name="connsiteY2" fmla="*/ 1528383 h 24669062"/>
              <a:gd name="connsiteX3" fmla="*/ 2113148 w 7139080"/>
              <a:gd name="connsiteY3" fmla="*/ 1076736 h 24669062"/>
              <a:gd name="connsiteX4" fmla="*/ 2764400 w 7139080"/>
              <a:gd name="connsiteY4" fmla="*/ 1270524 h 24669062"/>
              <a:gd name="connsiteX5" fmla="*/ 3425285 w 7139080"/>
              <a:gd name="connsiteY5" fmla="*/ 2403340 h 24669062"/>
              <a:gd name="connsiteX6" fmla="*/ 4057779 w 7139080"/>
              <a:gd name="connsiteY6" fmla="*/ 928739 h 24669062"/>
              <a:gd name="connsiteX7" fmla="*/ 4619209 w 7139080"/>
              <a:gd name="connsiteY7" fmla="*/ 1825680 h 24669062"/>
              <a:gd name="connsiteX8" fmla="*/ 5264184 w 7139080"/>
              <a:gd name="connsiteY8" fmla="*/ 1272975 h 24669062"/>
              <a:gd name="connsiteX9" fmla="*/ 5912053 w 7139080"/>
              <a:gd name="connsiteY9" fmla="*/ 1733404 h 24669062"/>
              <a:gd name="connsiteX10" fmla="*/ 6565041 w 7139080"/>
              <a:gd name="connsiteY10" fmla="*/ 1500266 h 24669062"/>
              <a:gd name="connsiteX11" fmla="*/ 7139080 w 7139080"/>
              <a:gd name="connsiteY11" fmla="*/ 1329699 h 24669062"/>
              <a:gd name="connsiteX0" fmla="*/ 0 w 7139080"/>
              <a:gd name="connsiteY0" fmla="*/ 24669063 h 24669062"/>
              <a:gd name="connsiteX1" fmla="*/ 648823 w 7139080"/>
              <a:gd name="connsiteY1" fmla="*/ 20138076 h 24669062"/>
              <a:gd name="connsiteX2" fmla="*/ 1502671 w 7139080"/>
              <a:gd name="connsiteY2" fmla="*/ 1528383 h 24669062"/>
              <a:gd name="connsiteX3" fmla="*/ 2113148 w 7139080"/>
              <a:gd name="connsiteY3" fmla="*/ 1076736 h 24669062"/>
              <a:gd name="connsiteX4" fmla="*/ 2764400 w 7139080"/>
              <a:gd name="connsiteY4" fmla="*/ 1270524 h 24669062"/>
              <a:gd name="connsiteX5" fmla="*/ 3425285 w 7139080"/>
              <a:gd name="connsiteY5" fmla="*/ 2403340 h 24669062"/>
              <a:gd name="connsiteX6" fmla="*/ 4057779 w 7139080"/>
              <a:gd name="connsiteY6" fmla="*/ 928739 h 24669062"/>
              <a:gd name="connsiteX7" fmla="*/ 4619209 w 7139080"/>
              <a:gd name="connsiteY7" fmla="*/ 1825680 h 24669062"/>
              <a:gd name="connsiteX8" fmla="*/ 5264184 w 7139080"/>
              <a:gd name="connsiteY8" fmla="*/ 1272975 h 24669062"/>
              <a:gd name="connsiteX9" fmla="*/ 5912053 w 7139080"/>
              <a:gd name="connsiteY9" fmla="*/ 1733404 h 24669062"/>
              <a:gd name="connsiteX10" fmla="*/ 6565041 w 7139080"/>
              <a:gd name="connsiteY10" fmla="*/ 1500266 h 24669062"/>
              <a:gd name="connsiteX11" fmla="*/ 7139080 w 7139080"/>
              <a:gd name="connsiteY11" fmla="*/ 1329699 h 24669062"/>
              <a:gd name="connsiteX0" fmla="*/ 0 w 7139080"/>
              <a:gd name="connsiteY0" fmla="*/ 24669063 h 24669062"/>
              <a:gd name="connsiteX1" fmla="*/ 648823 w 7139080"/>
              <a:gd name="connsiteY1" fmla="*/ 20138076 h 24669062"/>
              <a:gd name="connsiteX2" fmla="*/ 1502671 w 7139080"/>
              <a:gd name="connsiteY2" fmla="*/ 1528383 h 24669062"/>
              <a:gd name="connsiteX3" fmla="*/ 2113148 w 7139080"/>
              <a:gd name="connsiteY3" fmla="*/ 1076736 h 24669062"/>
              <a:gd name="connsiteX4" fmla="*/ 2764400 w 7139080"/>
              <a:gd name="connsiteY4" fmla="*/ 1270524 h 24669062"/>
              <a:gd name="connsiteX5" fmla="*/ 3425285 w 7139080"/>
              <a:gd name="connsiteY5" fmla="*/ 2403340 h 24669062"/>
              <a:gd name="connsiteX6" fmla="*/ 4057779 w 7139080"/>
              <a:gd name="connsiteY6" fmla="*/ 928739 h 24669062"/>
              <a:gd name="connsiteX7" fmla="*/ 4619209 w 7139080"/>
              <a:gd name="connsiteY7" fmla="*/ 1825680 h 24669062"/>
              <a:gd name="connsiteX8" fmla="*/ 5264184 w 7139080"/>
              <a:gd name="connsiteY8" fmla="*/ 1272975 h 24669062"/>
              <a:gd name="connsiteX9" fmla="*/ 5912053 w 7139080"/>
              <a:gd name="connsiteY9" fmla="*/ 1733404 h 24669062"/>
              <a:gd name="connsiteX10" fmla="*/ 6565041 w 7139080"/>
              <a:gd name="connsiteY10" fmla="*/ 1500266 h 24669062"/>
              <a:gd name="connsiteX11" fmla="*/ 7139080 w 7139080"/>
              <a:gd name="connsiteY11" fmla="*/ 1329699 h 24669062"/>
              <a:gd name="connsiteX0" fmla="*/ 0 w 7139080"/>
              <a:gd name="connsiteY0" fmla="*/ 24741594 h 24741593"/>
              <a:gd name="connsiteX1" fmla="*/ 648823 w 7139080"/>
              <a:gd name="connsiteY1" fmla="*/ 21196224 h 24741593"/>
              <a:gd name="connsiteX2" fmla="*/ 1502671 w 7139080"/>
              <a:gd name="connsiteY2" fmla="*/ 1600914 h 24741593"/>
              <a:gd name="connsiteX3" fmla="*/ 2113148 w 7139080"/>
              <a:gd name="connsiteY3" fmla="*/ 1149267 h 24741593"/>
              <a:gd name="connsiteX4" fmla="*/ 2764400 w 7139080"/>
              <a:gd name="connsiteY4" fmla="*/ 1343055 h 24741593"/>
              <a:gd name="connsiteX5" fmla="*/ 3425285 w 7139080"/>
              <a:gd name="connsiteY5" fmla="*/ 2475871 h 24741593"/>
              <a:gd name="connsiteX6" fmla="*/ 4057779 w 7139080"/>
              <a:gd name="connsiteY6" fmla="*/ 1001270 h 24741593"/>
              <a:gd name="connsiteX7" fmla="*/ 4619209 w 7139080"/>
              <a:gd name="connsiteY7" fmla="*/ 1898211 h 24741593"/>
              <a:gd name="connsiteX8" fmla="*/ 5264184 w 7139080"/>
              <a:gd name="connsiteY8" fmla="*/ 1345506 h 24741593"/>
              <a:gd name="connsiteX9" fmla="*/ 5912053 w 7139080"/>
              <a:gd name="connsiteY9" fmla="*/ 1805935 h 24741593"/>
              <a:gd name="connsiteX10" fmla="*/ 6565041 w 7139080"/>
              <a:gd name="connsiteY10" fmla="*/ 1572797 h 24741593"/>
              <a:gd name="connsiteX11" fmla="*/ 7139080 w 7139080"/>
              <a:gd name="connsiteY11" fmla="*/ 1402230 h 24741593"/>
              <a:gd name="connsiteX0" fmla="*/ 0 w 7139080"/>
              <a:gd name="connsiteY0" fmla="*/ 24203219 h 24203218"/>
              <a:gd name="connsiteX1" fmla="*/ 648823 w 7139080"/>
              <a:gd name="connsiteY1" fmla="*/ 20657849 h 24203218"/>
              <a:gd name="connsiteX2" fmla="*/ 1242308 w 7139080"/>
              <a:gd name="connsiteY2" fmla="*/ 9673720 h 24203218"/>
              <a:gd name="connsiteX3" fmla="*/ 2113148 w 7139080"/>
              <a:gd name="connsiteY3" fmla="*/ 610892 h 24203218"/>
              <a:gd name="connsiteX4" fmla="*/ 2764400 w 7139080"/>
              <a:gd name="connsiteY4" fmla="*/ 804680 h 24203218"/>
              <a:gd name="connsiteX5" fmla="*/ 3425285 w 7139080"/>
              <a:gd name="connsiteY5" fmla="*/ 1937496 h 24203218"/>
              <a:gd name="connsiteX6" fmla="*/ 4057779 w 7139080"/>
              <a:gd name="connsiteY6" fmla="*/ 462895 h 24203218"/>
              <a:gd name="connsiteX7" fmla="*/ 4619209 w 7139080"/>
              <a:gd name="connsiteY7" fmla="*/ 1359836 h 24203218"/>
              <a:gd name="connsiteX8" fmla="*/ 5264184 w 7139080"/>
              <a:gd name="connsiteY8" fmla="*/ 807131 h 24203218"/>
              <a:gd name="connsiteX9" fmla="*/ 5912053 w 7139080"/>
              <a:gd name="connsiteY9" fmla="*/ 1267560 h 24203218"/>
              <a:gd name="connsiteX10" fmla="*/ 6565041 w 7139080"/>
              <a:gd name="connsiteY10" fmla="*/ 1034422 h 24203218"/>
              <a:gd name="connsiteX11" fmla="*/ 7139080 w 7139080"/>
              <a:gd name="connsiteY11" fmla="*/ 863855 h 24203218"/>
              <a:gd name="connsiteX0" fmla="*/ 0 w 7139080"/>
              <a:gd name="connsiteY0" fmla="*/ 23746947 h 23746946"/>
              <a:gd name="connsiteX1" fmla="*/ 648823 w 7139080"/>
              <a:gd name="connsiteY1" fmla="*/ 20201577 h 23746946"/>
              <a:gd name="connsiteX2" fmla="*/ 1242308 w 7139080"/>
              <a:gd name="connsiteY2" fmla="*/ 9217448 h 23746946"/>
              <a:gd name="connsiteX3" fmla="*/ 1944678 w 7139080"/>
              <a:gd name="connsiteY3" fmla="*/ 9180798 h 23746946"/>
              <a:gd name="connsiteX4" fmla="*/ 2764400 w 7139080"/>
              <a:gd name="connsiteY4" fmla="*/ 348408 h 23746946"/>
              <a:gd name="connsiteX5" fmla="*/ 3425285 w 7139080"/>
              <a:gd name="connsiteY5" fmla="*/ 1481224 h 23746946"/>
              <a:gd name="connsiteX6" fmla="*/ 4057779 w 7139080"/>
              <a:gd name="connsiteY6" fmla="*/ 6623 h 23746946"/>
              <a:gd name="connsiteX7" fmla="*/ 4619209 w 7139080"/>
              <a:gd name="connsiteY7" fmla="*/ 903564 h 23746946"/>
              <a:gd name="connsiteX8" fmla="*/ 5264184 w 7139080"/>
              <a:gd name="connsiteY8" fmla="*/ 350859 h 23746946"/>
              <a:gd name="connsiteX9" fmla="*/ 5912053 w 7139080"/>
              <a:gd name="connsiteY9" fmla="*/ 811288 h 23746946"/>
              <a:gd name="connsiteX10" fmla="*/ 6565041 w 7139080"/>
              <a:gd name="connsiteY10" fmla="*/ 578150 h 23746946"/>
              <a:gd name="connsiteX11" fmla="*/ 7139080 w 7139080"/>
              <a:gd name="connsiteY11" fmla="*/ 407583 h 23746946"/>
              <a:gd name="connsiteX0" fmla="*/ 0 w 7139080"/>
              <a:gd name="connsiteY0" fmla="*/ 23746947 h 23746946"/>
              <a:gd name="connsiteX1" fmla="*/ 648823 w 7139080"/>
              <a:gd name="connsiteY1" fmla="*/ 20201577 h 23746946"/>
              <a:gd name="connsiteX2" fmla="*/ 1242308 w 7139080"/>
              <a:gd name="connsiteY2" fmla="*/ 9217448 h 23746946"/>
              <a:gd name="connsiteX3" fmla="*/ 1944678 w 7139080"/>
              <a:gd name="connsiteY3" fmla="*/ 9180798 h 23746946"/>
              <a:gd name="connsiteX4" fmla="*/ 2764400 w 7139080"/>
              <a:gd name="connsiteY4" fmla="*/ 348408 h 23746946"/>
              <a:gd name="connsiteX5" fmla="*/ 3425285 w 7139080"/>
              <a:gd name="connsiteY5" fmla="*/ 1481224 h 23746946"/>
              <a:gd name="connsiteX6" fmla="*/ 4057779 w 7139080"/>
              <a:gd name="connsiteY6" fmla="*/ 6623 h 23746946"/>
              <a:gd name="connsiteX7" fmla="*/ 4619209 w 7139080"/>
              <a:gd name="connsiteY7" fmla="*/ 903564 h 23746946"/>
              <a:gd name="connsiteX8" fmla="*/ 5264184 w 7139080"/>
              <a:gd name="connsiteY8" fmla="*/ 350859 h 23746946"/>
              <a:gd name="connsiteX9" fmla="*/ 5912053 w 7139080"/>
              <a:gd name="connsiteY9" fmla="*/ 811288 h 23746946"/>
              <a:gd name="connsiteX10" fmla="*/ 6565041 w 7139080"/>
              <a:gd name="connsiteY10" fmla="*/ 578150 h 23746946"/>
              <a:gd name="connsiteX11" fmla="*/ 7139080 w 7139080"/>
              <a:gd name="connsiteY11" fmla="*/ 407583 h 23746946"/>
              <a:gd name="connsiteX0" fmla="*/ 0 w 7139080"/>
              <a:gd name="connsiteY0" fmla="*/ 23746947 h 23746946"/>
              <a:gd name="connsiteX1" fmla="*/ 648823 w 7139080"/>
              <a:gd name="connsiteY1" fmla="*/ 20201577 h 23746946"/>
              <a:gd name="connsiteX2" fmla="*/ 1242308 w 7139080"/>
              <a:gd name="connsiteY2" fmla="*/ 9217448 h 23746946"/>
              <a:gd name="connsiteX3" fmla="*/ 1929362 w 7139080"/>
              <a:gd name="connsiteY3" fmla="*/ 8921424 h 23746946"/>
              <a:gd name="connsiteX4" fmla="*/ 2764400 w 7139080"/>
              <a:gd name="connsiteY4" fmla="*/ 348408 h 23746946"/>
              <a:gd name="connsiteX5" fmla="*/ 3425285 w 7139080"/>
              <a:gd name="connsiteY5" fmla="*/ 1481224 h 23746946"/>
              <a:gd name="connsiteX6" fmla="*/ 4057779 w 7139080"/>
              <a:gd name="connsiteY6" fmla="*/ 6623 h 23746946"/>
              <a:gd name="connsiteX7" fmla="*/ 4619209 w 7139080"/>
              <a:gd name="connsiteY7" fmla="*/ 903564 h 23746946"/>
              <a:gd name="connsiteX8" fmla="*/ 5264184 w 7139080"/>
              <a:gd name="connsiteY8" fmla="*/ 350859 h 23746946"/>
              <a:gd name="connsiteX9" fmla="*/ 5912053 w 7139080"/>
              <a:gd name="connsiteY9" fmla="*/ 811288 h 23746946"/>
              <a:gd name="connsiteX10" fmla="*/ 6565041 w 7139080"/>
              <a:gd name="connsiteY10" fmla="*/ 578150 h 23746946"/>
              <a:gd name="connsiteX11" fmla="*/ 7139080 w 7139080"/>
              <a:gd name="connsiteY11" fmla="*/ 407583 h 23746946"/>
              <a:gd name="connsiteX0" fmla="*/ 0 w 7139080"/>
              <a:gd name="connsiteY0" fmla="*/ 23746947 h 26233824"/>
              <a:gd name="connsiteX1" fmla="*/ 648823 w 7139080"/>
              <a:gd name="connsiteY1" fmla="*/ 20201577 h 26233824"/>
              <a:gd name="connsiteX2" fmla="*/ 1242308 w 7139080"/>
              <a:gd name="connsiteY2" fmla="*/ 9217448 h 26233824"/>
              <a:gd name="connsiteX3" fmla="*/ 1929362 w 7139080"/>
              <a:gd name="connsiteY3" fmla="*/ 8921424 h 26233824"/>
              <a:gd name="connsiteX4" fmla="*/ 2549984 w 7139080"/>
              <a:gd name="connsiteY4" fmla="*/ 26233824 h 26233824"/>
              <a:gd name="connsiteX5" fmla="*/ 3425285 w 7139080"/>
              <a:gd name="connsiteY5" fmla="*/ 1481224 h 26233824"/>
              <a:gd name="connsiteX6" fmla="*/ 4057779 w 7139080"/>
              <a:gd name="connsiteY6" fmla="*/ 6623 h 26233824"/>
              <a:gd name="connsiteX7" fmla="*/ 4619209 w 7139080"/>
              <a:gd name="connsiteY7" fmla="*/ 903564 h 26233824"/>
              <a:gd name="connsiteX8" fmla="*/ 5264184 w 7139080"/>
              <a:gd name="connsiteY8" fmla="*/ 350859 h 26233824"/>
              <a:gd name="connsiteX9" fmla="*/ 5912053 w 7139080"/>
              <a:gd name="connsiteY9" fmla="*/ 811288 h 26233824"/>
              <a:gd name="connsiteX10" fmla="*/ 6565041 w 7139080"/>
              <a:gd name="connsiteY10" fmla="*/ 578150 h 26233824"/>
              <a:gd name="connsiteX11" fmla="*/ 7139080 w 7139080"/>
              <a:gd name="connsiteY11" fmla="*/ 407583 h 26233824"/>
              <a:gd name="connsiteX0" fmla="*/ 0 w 7139080"/>
              <a:gd name="connsiteY0" fmla="*/ 25038965 h 27525842"/>
              <a:gd name="connsiteX1" fmla="*/ 648823 w 7139080"/>
              <a:gd name="connsiteY1" fmla="*/ 21493595 h 27525842"/>
              <a:gd name="connsiteX2" fmla="*/ 1242308 w 7139080"/>
              <a:gd name="connsiteY2" fmla="*/ 10509466 h 27525842"/>
              <a:gd name="connsiteX3" fmla="*/ 1929362 w 7139080"/>
              <a:gd name="connsiteY3" fmla="*/ 10213442 h 27525842"/>
              <a:gd name="connsiteX4" fmla="*/ 2549984 w 7139080"/>
              <a:gd name="connsiteY4" fmla="*/ 27525842 h 27525842"/>
              <a:gd name="connsiteX5" fmla="*/ 3159817 w 7139080"/>
              <a:gd name="connsiteY5" fmla="*/ 22433706 h 27525842"/>
              <a:gd name="connsiteX6" fmla="*/ 4057779 w 7139080"/>
              <a:gd name="connsiteY6" fmla="*/ 1298641 h 27525842"/>
              <a:gd name="connsiteX7" fmla="*/ 4619209 w 7139080"/>
              <a:gd name="connsiteY7" fmla="*/ 2195582 h 27525842"/>
              <a:gd name="connsiteX8" fmla="*/ 5264184 w 7139080"/>
              <a:gd name="connsiteY8" fmla="*/ 1642877 h 27525842"/>
              <a:gd name="connsiteX9" fmla="*/ 5912053 w 7139080"/>
              <a:gd name="connsiteY9" fmla="*/ 2103306 h 27525842"/>
              <a:gd name="connsiteX10" fmla="*/ 6565041 w 7139080"/>
              <a:gd name="connsiteY10" fmla="*/ 1870168 h 27525842"/>
              <a:gd name="connsiteX11" fmla="*/ 7139080 w 7139080"/>
              <a:gd name="connsiteY11" fmla="*/ 1699601 h 27525842"/>
              <a:gd name="connsiteX0" fmla="*/ 0 w 7139080"/>
              <a:gd name="connsiteY0" fmla="*/ 25038965 h 27525842"/>
              <a:gd name="connsiteX1" fmla="*/ 648823 w 7139080"/>
              <a:gd name="connsiteY1" fmla="*/ 21493595 h 27525842"/>
              <a:gd name="connsiteX2" fmla="*/ 1242308 w 7139080"/>
              <a:gd name="connsiteY2" fmla="*/ 10509466 h 27525842"/>
              <a:gd name="connsiteX3" fmla="*/ 1929362 w 7139080"/>
              <a:gd name="connsiteY3" fmla="*/ 10213442 h 27525842"/>
              <a:gd name="connsiteX4" fmla="*/ 2549984 w 7139080"/>
              <a:gd name="connsiteY4" fmla="*/ 27525842 h 27525842"/>
              <a:gd name="connsiteX5" fmla="*/ 3159817 w 7139080"/>
              <a:gd name="connsiteY5" fmla="*/ 22433706 h 27525842"/>
              <a:gd name="connsiteX6" fmla="*/ 4057779 w 7139080"/>
              <a:gd name="connsiteY6" fmla="*/ 1298641 h 27525842"/>
              <a:gd name="connsiteX7" fmla="*/ 4619209 w 7139080"/>
              <a:gd name="connsiteY7" fmla="*/ 2195582 h 27525842"/>
              <a:gd name="connsiteX8" fmla="*/ 5264184 w 7139080"/>
              <a:gd name="connsiteY8" fmla="*/ 1642877 h 27525842"/>
              <a:gd name="connsiteX9" fmla="*/ 5912053 w 7139080"/>
              <a:gd name="connsiteY9" fmla="*/ 2103306 h 27525842"/>
              <a:gd name="connsiteX10" fmla="*/ 6565041 w 7139080"/>
              <a:gd name="connsiteY10" fmla="*/ 1870168 h 27525842"/>
              <a:gd name="connsiteX11" fmla="*/ 7139080 w 7139080"/>
              <a:gd name="connsiteY11" fmla="*/ 1699601 h 27525842"/>
              <a:gd name="connsiteX0" fmla="*/ 0 w 7139080"/>
              <a:gd name="connsiteY0" fmla="*/ 25038965 h 27525842"/>
              <a:gd name="connsiteX1" fmla="*/ 648823 w 7139080"/>
              <a:gd name="connsiteY1" fmla="*/ 21493595 h 27525842"/>
              <a:gd name="connsiteX2" fmla="*/ 1242308 w 7139080"/>
              <a:gd name="connsiteY2" fmla="*/ 10509466 h 27525842"/>
              <a:gd name="connsiteX3" fmla="*/ 1929362 w 7139080"/>
              <a:gd name="connsiteY3" fmla="*/ 10213442 h 27525842"/>
              <a:gd name="connsiteX4" fmla="*/ 2549984 w 7139080"/>
              <a:gd name="connsiteY4" fmla="*/ 27525842 h 27525842"/>
              <a:gd name="connsiteX5" fmla="*/ 3159817 w 7139080"/>
              <a:gd name="connsiteY5" fmla="*/ 22433706 h 27525842"/>
              <a:gd name="connsiteX6" fmla="*/ 4057779 w 7139080"/>
              <a:gd name="connsiteY6" fmla="*/ 1298641 h 27525842"/>
              <a:gd name="connsiteX7" fmla="*/ 4619209 w 7139080"/>
              <a:gd name="connsiteY7" fmla="*/ 2195582 h 27525842"/>
              <a:gd name="connsiteX8" fmla="*/ 5264184 w 7139080"/>
              <a:gd name="connsiteY8" fmla="*/ 1642877 h 27525842"/>
              <a:gd name="connsiteX9" fmla="*/ 5912053 w 7139080"/>
              <a:gd name="connsiteY9" fmla="*/ 2103306 h 27525842"/>
              <a:gd name="connsiteX10" fmla="*/ 6565041 w 7139080"/>
              <a:gd name="connsiteY10" fmla="*/ 1870168 h 27525842"/>
              <a:gd name="connsiteX11" fmla="*/ 7139080 w 7139080"/>
              <a:gd name="connsiteY11" fmla="*/ 1699601 h 27525842"/>
              <a:gd name="connsiteX0" fmla="*/ 0 w 7139080"/>
              <a:gd name="connsiteY0" fmla="*/ 25038965 h 27525842"/>
              <a:gd name="connsiteX1" fmla="*/ 648823 w 7139080"/>
              <a:gd name="connsiteY1" fmla="*/ 21493595 h 27525842"/>
              <a:gd name="connsiteX2" fmla="*/ 1242308 w 7139080"/>
              <a:gd name="connsiteY2" fmla="*/ 10509466 h 27525842"/>
              <a:gd name="connsiteX3" fmla="*/ 1929362 w 7139080"/>
              <a:gd name="connsiteY3" fmla="*/ 10213442 h 27525842"/>
              <a:gd name="connsiteX4" fmla="*/ 2549984 w 7139080"/>
              <a:gd name="connsiteY4" fmla="*/ 27525842 h 27525842"/>
              <a:gd name="connsiteX5" fmla="*/ 3159817 w 7139080"/>
              <a:gd name="connsiteY5" fmla="*/ 22433706 h 27525842"/>
              <a:gd name="connsiteX6" fmla="*/ 4057779 w 7139080"/>
              <a:gd name="connsiteY6" fmla="*/ 1298641 h 27525842"/>
              <a:gd name="connsiteX7" fmla="*/ 4619209 w 7139080"/>
              <a:gd name="connsiteY7" fmla="*/ 2195582 h 27525842"/>
              <a:gd name="connsiteX8" fmla="*/ 5264184 w 7139080"/>
              <a:gd name="connsiteY8" fmla="*/ 1642877 h 27525842"/>
              <a:gd name="connsiteX9" fmla="*/ 5912053 w 7139080"/>
              <a:gd name="connsiteY9" fmla="*/ 2103306 h 27525842"/>
              <a:gd name="connsiteX10" fmla="*/ 6565041 w 7139080"/>
              <a:gd name="connsiteY10" fmla="*/ 1870168 h 27525842"/>
              <a:gd name="connsiteX11" fmla="*/ 7139080 w 7139080"/>
              <a:gd name="connsiteY11" fmla="*/ 1699601 h 27525842"/>
              <a:gd name="connsiteX0" fmla="*/ 0 w 7139080"/>
              <a:gd name="connsiteY0" fmla="*/ 23396483 h 25883360"/>
              <a:gd name="connsiteX1" fmla="*/ 648823 w 7139080"/>
              <a:gd name="connsiteY1" fmla="*/ 19851113 h 25883360"/>
              <a:gd name="connsiteX2" fmla="*/ 1242308 w 7139080"/>
              <a:gd name="connsiteY2" fmla="*/ 8866984 h 25883360"/>
              <a:gd name="connsiteX3" fmla="*/ 1929362 w 7139080"/>
              <a:gd name="connsiteY3" fmla="*/ 8570960 h 25883360"/>
              <a:gd name="connsiteX4" fmla="*/ 2549984 w 7139080"/>
              <a:gd name="connsiteY4" fmla="*/ 25883360 h 25883360"/>
              <a:gd name="connsiteX5" fmla="*/ 3159817 w 7139080"/>
              <a:gd name="connsiteY5" fmla="*/ 20791224 h 25883360"/>
              <a:gd name="connsiteX6" fmla="*/ 3828046 w 7139080"/>
              <a:gd name="connsiteY6" fmla="*/ 22947843 h 25883360"/>
              <a:gd name="connsiteX7" fmla="*/ 4619209 w 7139080"/>
              <a:gd name="connsiteY7" fmla="*/ 553100 h 25883360"/>
              <a:gd name="connsiteX8" fmla="*/ 5264184 w 7139080"/>
              <a:gd name="connsiteY8" fmla="*/ 395 h 25883360"/>
              <a:gd name="connsiteX9" fmla="*/ 5912053 w 7139080"/>
              <a:gd name="connsiteY9" fmla="*/ 460824 h 25883360"/>
              <a:gd name="connsiteX10" fmla="*/ 6565041 w 7139080"/>
              <a:gd name="connsiteY10" fmla="*/ 227686 h 25883360"/>
              <a:gd name="connsiteX11" fmla="*/ 7139080 w 7139080"/>
              <a:gd name="connsiteY11" fmla="*/ 57119 h 25883360"/>
              <a:gd name="connsiteX0" fmla="*/ 0 w 7139080"/>
              <a:gd name="connsiteY0" fmla="*/ 23396483 h 25883360"/>
              <a:gd name="connsiteX1" fmla="*/ 648823 w 7139080"/>
              <a:gd name="connsiteY1" fmla="*/ 19851113 h 25883360"/>
              <a:gd name="connsiteX2" fmla="*/ 1242308 w 7139080"/>
              <a:gd name="connsiteY2" fmla="*/ 8866984 h 25883360"/>
              <a:gd name="connsiteX3" fmla="*/ 1929362 w 7139080"/>
              <a:gd name="connsiteY3" fmla="*/ 8570960 h 25883360"/>
              <a:gd name="connsiteX4" fmla="*/ 2549984 w 7139080"/>
              <a:gd name="connsiteY4" fmla="*/ 25883360 h 25883360"/>
              <a:gd name="connsiteX5" fmla="*/ 3159817 w 7139080"/>
              <a:gd name="connsiteY5" fmla="*/ 20791224 h 25883360"/>
              <a:gd name="connsiteX6" fmla="*/ 3828046 w 7139080"/>
              <a:gd name="connsiteY6" fmla="*/ 22947843 h 25883360"/>
              <a:gd name="connsiteX7" fmla="*/ 4619209 w 7139080"/>
              <a:gd name="connsiteY7" fmla="*/ 553100 h 25883360"/>
              <a:gd name="connsiteX8" fmla="*/ 5264184 w 7139080"/>
              <a:gd name="connsiteY8" fmla="*/ 395 h 25883360"/>
              <a:gd name="connsiteX9" fmla="*/ 5912053 w 7139080"/>
              <a:gd name="connsiteY9" fmla="*/ 460824 h 25883360"/>
              <a:gd name="connsiteX10" fmla="*/ 6565041 w 7139080"/>
              <a:gd name="connsiteY10" fmla="*/ 227686 h 25883360"/>
              <a:gd name="connsiteX11" fmla="*/ 7139080 w 7139080"/>
              <a:gd name="connsiteY11" fmla="*/ 57119 h 25883360"/>
              <a:gd name="connsiteX0" fmla="*/ 0 w 7139080"/>
              <a:gd name="connsiteY0" fmla="*/ 23396483 h 25883360"/>
              <a:gd name="connsiteX1" fmla="*/ 648823 w 7139080"/>
              <a:gd name="connsiteY1" fmla="*/ 19851113 h 25883360"/>
              <a:gd name="connsiteX2" fmla="*/ 1242308 w 7139080"/>
              <a:gd name="connsiteY2" fmla="*/ 8866984 h 25883360"/>
              <a:gd name="connsiteX3" fmla="*/ 1929362 w 7139080"/>
              <a:gd name="connsiteY3" fmla="*/ 8570960 h 25883360"/>
              <a:gd name="connsiteX4" fmla="*/ 2549984 w 7139080"/>
              <a:gd name="connsiteY4" fmla="*/ 25883360 h 25883360"/>
              <a:gd name="connsiteX5" fmla="*/ 3159817 w 7139080"/>
              <a:gd name="connsiteY5" fmla="*/ 20791224 h 25883360"/>
              <a:gd name="connsiteX6" fmla="*/ 3797415 w 7139080"/>
              <a:gd name="connsiteY6" fmla="*/ 22947843 h 25883360"/>
              <a:gd name="connsiteX7" fmla="*/ 4619209 w 7139080"/>
              <a:gd name="connsiteY7" fmla="*/ 553100 h 25883360"/>
              <a:gd name="connsiteX8" fmla="*/ 5264184 w 7139080"/>
              <a:gd name="connsiteY8" fmla="*/ 395 h 25883360"/>
              <a:gd name="connsiteX9" fmla="*/ 5912053 w 7139080"/>
              <a:gd name="connsiteY9" fmla="*/ 460824 h 25883360"/>
              <a:gd name="connsiteX10" fmla="*/ 6565041 w 7139080"/>
              <a:gd name="connsiteY10" fmla="*/ 227686 h 25883360"/>
              <a:gd name="connsiteX11" fmla="*/ 7139080 w 7139080"/>
              <a:gd name="connsiteY11" fmla="*/ 57119 h 25883360"/>
              <a:gd name="connsiteX0" fmla="*/ 0 w 7139080"/>
              <a:gd name="connsiteY0" fmla="*/ 24798172 h 27285049"/>
              <a:gd name="connsiteX1" fmla="*/ 648823 w 7139080"/>
              <a:gd name="connsiteY1" fmla="*/ 21252802 h 27285049"/>
              <a:gd name="connsiteX2" fmla="*/ 1242308 w 7139080"/>
              <a:gd name="connsiteY2" fmla="*/ 10268673 h 27285049"/>
              <a:gd name="connsiteX3" fmla="*/ 1929362 w 7139080"/>
              <a:gd name="connsiteY3" fmla="*/ 9972649 h 27285049"/>
              <a:gd name="connsiteX4" fmla="*/ 2549984 w 7139080"/>
              <a:gd name="connsiteY4" fmla="*/ 27285049 h 27285049"/>
              <a:gd name="connsiteX5" fmla="*/ 3159817 w 7139080"/>
              <a:gd name="connsiteY5" fmla="*/ 22192913 h 27285049"/>
              <a:gd name="connsiteX6" fmla="*/ 3797415 w 7139080"/>
              <a:gd name="connsiteY6" fmla="*/ 24349532 h 27285049"/>
              <a:gd name="connsiteX7" fmla="*/ 4466054 w 7139080"/>
              <a:gd name="connsiteY7" fmla="*/ 22185873 h 27285049"/>
              <a:gd name="connsiteX8" fmla="*/ 5264184 w 7139080"/>
              <a:gd name="connsiteY8" fmla="*/ 1402084 h 27285049"/>
              <a:gd name="connsiteX9" fmla="*/ 5912053 w 7139080"/>
              <a:gd name="connsiteY9" fmla="*/ 1862513 h 27285049"/>
              <a:gd name="connsiteX10" fmla="*/ 6565041 w 7139080"/>
              <a:gd name="connsiteY10" fmla="*/ 1629375 h 27285049"/>
              <a:gd name="connsiteX11" fmla="*/ 7139080 w 7139080"/>
              <a:gd name="connsiteY11" fmla="*/ 1458808 h 27285049"/>
              <a:gd name="connsiteX0" fmla="*/ 0 w 7139080"/>
              <a:gd name="connsiteY0" fmla="*/ 24798172 h 27285049"/>
              <a:gd name="connsiteX1" fmla="*/ 648823 w 7139080"/>
              <a:gd name="connsiteY1" fmla="*/ 21252802 h 27285049"/>
              <a:gd name="connsiteX2" fmla="*/ 1242308 w 7139080"/>
              <a:gd name="connsiteY2" fmla="*/ 10268673 h 27285049"/>
              <a:gd name="connsiteX3" fmla="*/ 1929362 w 7139080"/>
              <a:gd name="connsiteY3" fmla="*/ 9972649 h 27285049"/>
              <a:gd name="connsiteX4" fmla="*/ 2549984 w 7139080"/>
              <a:gd name="connsiteY4" fmla="*/ 27285049 h 27285049"/>
              <a:gd name="connsiteX5" fmla="*/ 3159817 w 7139080"/>
              <a:gd name="connsiteY5" fmla="*/ 22192913 h 27285049"/>
              <a:gd name="connsiteX6" fmla="*/ 3797415 w 7139080"/>
              <a:gd name="connsiteY6" fmla="*/ 24349532 h 27285049"/>
              <a:gd name="connsiteX7" fmla="*/ 4466054 w 7139080"/>
              <a:gd name="connsiteY7" fmla="*/ 22185873 h 27285049"/>
              <a:gd name="connsiteX8" fmla="*/ 5264184 w 7139080"/>
              <a:gd name="connsiteY8" fmla="*/ 1402084 h 27285049"/>
              <a:gd name="connsiteX9" fmla="*/ 5912053 w 7139080"/>
              <a:gd name="connsiteY9" fmla="*/ 1862513 h 27285049"/>
              <a:gd name="connsiteX10" fmla="*/ 6565041 w 7139080"/>
              <a:gd name="connsiteY10" fmla="*/ 1629375 h 27285049"/>
              <a:gd name="connsiteX11" fmla="*/ 7139080 w 7139080"/>
              <a:gd name="connsiteY11" fmla="*/ 1458808 h 27285049"/>
              <a:gd name="connsiteX0" fmla="*/ 0 w 7139080"/>
              <a:gd name="connsiteY0" fmla="*/ 24798172 h 27285049"/>
              <a:gd name="connsiteX1" fmla="*/ 648823 w 7139080"/>
              <a:gd name="connsiteY1" fmla="*/ 21252802 h 27285049"/>
              <a:gd name="connsiteX2" fmla="*/ 1242308 w 7139080"/>
              <a:gd name="connsiteY2" fmla="*/ 10268673 h 27285049"/>
              <a:gd name="connsiteX3" fmla="*/ 1929362 w 7139080"/>
              <a:gd name="connsiteY3" fmla="*/ 9972649 h 27285049"/>
              <a:gd name="connsiteX4" fmla="*/ 2549984 w 7139080"/>
              <a:gd name="connsiteY4" fmla="*/ 27285049 h 27285049"/>
              <a:gd name="connsiteX5" fmla="*/ 3159817 w 7139080"/>
              <a:gd name="connsiteY5" fmla="*/ 22192913 h 27285049"/>
              <a:gd name="connsiteX6" fmla="*/ 3797415 w 7139080"/>
              <a:gd name="connsiteY6" fmla="*/ 24349532 h 27285049"/>
              <a:gd name="connsiteX7" fmla="*/ 4466054 w 7139080"/>
              <a:gd name="connsiteY7" fmla="*/ 22185873 h 27285049"/>
              <a:gd name="connsiteX8" fmla="*/ 5264184 w 7139080"/>
              <a:gd name="connsiteY8" fmla="*/ 1402084 h 27285049"/>
              <a:gd name="connsiteX9" fmla="*/ 5912053 w 7139080"/>
              <a:gd name="connsiteY9" fmla="*/ 1862513 h 27285049"/>
              <a:gd name="connsiteX10" fmla="*/ 6565041 w 7139080"/>
              <a:gd name="connsiteY10" fmla="*/ 1629375 h 27285049"/>
              <a:gd name="connsiteX11" fmla="*/ 7139080 w 7139080"/>
              <a:gd name="connsiteY11" fmla="*/ 1458808 h 27285049"/>
              <a:gd name="connsiteX0" fmla="*/ 0 w 7139080"/>
              <a:gd name="connsiteY0" fmla="*/ 24513374 h 27000251"/>
              <a:gd name="connsiteX1" fmla="*/ 648823 w 7139080"/>
              <a:gd name="connsiteY1" fmla="*/ 20968004 h 27000251"/>
              <a:gd name="connsiteX2" fmla="*/ 1242308 w 7139080"/>
              <a:gd name="connsiteY2" fmla="*/ 9983875 h 27000251"/>
              <a:gd name="connsiteX3" fmla="*/ 1929362 w 7139080"/>
              <a:gd name="connsiteY3" fmla="*/ 9687851 h 27000251"/>
              <a:gd name="connsiteX4" fmla="*/ 2549984 w 7139080"/>
              <a:gd name="connsiteY4" fmla="*/ 27000251 h 27000251"/>
              <a:gd name="connsiteX5" fmla="*/ 3159817 w 7139080"/>
              <a:gd name="connsiteY5" fmla="*/ 21908115 h 27000251"/>
              <a:gd name="connsiteX6" fmla="*/ 3797415 w 7139080"/>
              <a:gd name="connsiteY6" fmla="*/ 24064734 h 27000251"/>
              <a:gd name="connsiteX7" fmla="*/ 4466054 w 7139080"/>
              <a:gd name="connsiteY7" fmla="*/ 21901075 h 27000251"/>
              <a:gd name="connsiteX8" fmla="*/ 5049767 w 7139080"/>
              <a:gd name="connsiteY8" fmla="*/ 21763367 h 27000251"/>
              <a:gd name="connsiteX9" fmla="*/ 5912053 w 7139080"/>
              <a:gd name="connsiteY9" fmla="*/ 1577715 h 27000251"/>
              <a:gd name="connsiteX10" fmla="*/ 6565041 w 7139080"/>
              <a:gd name="connsiteY10" fmla="*/ 1344577 h 27000251"/>
              <a:gd name="connsiteX11" fmla="*/ 7139080 w 7139080"/>
              <a:gd name="connsiteY11" fmla="*/ 1174010 h 27000251"/>
              <a:gd name="connsiteX0" fmla="*/ 0 w 7139080"/>
              <a:gd name="connsiteY0" fmla="*/ 24513374 h 27000251"/>
              <a:gd name="connsiteX1" fmla="*/ 648823 w 7139080"/>
              <a:gd name="connsiteY1" fmla="*/ 20968004 h 27000251"/>
              <a:gd name="connsiteX2" fmla="*/ 1242308 w 7139080"/>
              <a:gd name="connsiteY2" fmla="*/ 9983875 h 27000251"/>
              <a:gd name="connsiteX3" fmla="*/ 1929362 w 7139080"/>
              <a:gd name="connsiteY3" fmla="*/ 9687851 h 27000251"/>
              <a:gd name="connsiteX4" fmla="*/ 2549984 w 7139080"/>
              <a:gd name="connsiteY4" fmla="*/ 27000251 h 27000251"/>
              <a:gd name="connsiteX5" fmla="*/ 3159817 w 7139080"/>
              <a:gd name="connsiteY5" fmla="*/ 21908115 h 27000251"/>
              <a:gd name="connsiteX6" fmla="*/ 3797415 w 7139080"/>
              <a:gd name="connsiteY6" fmla="*/ 24064734 h 27000251"/>
              <a:gd name="connsiteX7" fmla="*/ 4466054 w 7139080"/>
              <a:gd name="connsiteY7" fmla="*/ 21901075 h 27000251"/>
              <a:gd name="connsiteX8" fmla="*/ 5049767 w 7139080"/>
              <a:gd name="connsiteY8" fmla="*/ 21763367 h 27000251"/>
              <a:gd name="connsiteX9" fmla="*/ 5912053 w 7139080"/>
              <a:gd name="connsiteY9" fmla="*/ 1577715 h 27000251"/>
              <a:gd name="connsiteX10" fmla="*/ 6565041 w 7139080"/>
              <a:gd name="connsiteY10" fmla="*/ 1344577 h 27000251"/>
              <a:gd name="connsiteX11" fmla="*/ 7139080 w 7139080"/>
              <a:gd name="connsiteY11" fmla="*/ 1174010 h 27000251"/>
              <a:gd name="connsiteX0" fmla="*/ 0 w 7139080"/>
              <a:gd name="connsiteY0" fmla="*/ 24463515 h 26950392"/>
              <a:gd name="connsiteX1" fmla="*/ 648823 w 7139080"/>
              <a:gd name="connsiteY1" fmla="*/ 20918145 h 26950392"/>
              <a:gd name="connsiteX2" fmla="*/ 1242308 w 7139080"/>
              <a:gd name="connsiteY2" fmla="*/ 9934016 h 26950392"/>
              <a:gd name="connsiteX3" fmla="*/ 1929362 w 7139080"/>
              <a:gd name="connsiteY3" fmla="*/ 9637992 h 26950392"/>
              <a:gd name="connsiteX4" fmla="*/ 2549984 w 7139080"/>
              <a:gd name="connsiteY4" fmla="*/ 26950392 h 26950392"/>
              <a:gd name="connsiteX5" fmla="*/ 3159817 w 7139080"/>
              <a:gd name="connsiteY5" fmla="*/ 21858256 h 26950392"/>
              <a:gd name="connsiteX6" fmla="*/ 3797415 w 7139080"/>
              <a:gd name="connsiteY6" fmla="*/ 24014875 h 26950392"/>
              <a:gd name="connsiteX7" fmla="*/ 4466054 w 7139080"/>
              <a:gd name="connsiteY7" fmla="*/ 21851216 h 26950392"/>
              <a:gd name="connsiteX8" fmla="*/ 5059977 w 7139080"/>
              <a:gd name="connsiteY8" fmla="*/ 21039138 h 26950392"/>
              <a:gd name="connsiteX9" fmla="*/ 5912053 w 7139080"/>
              <a:gd name="connsiteY9" fmla="*/ 1527856 h 26950392"/>
              <a:gd name="connsiteX10" fmla="*/ 6565041 w 7139080"/>
              <a:gd name="connsiteY10" fmla="*/ 1294718 h 26950392"/>
              <a:gd name="connsiteX11" fmla="*/ 7139080 w 7139080"/>
              <a:gd name="connsiteY11" fmla="*/ 1124151 h 26950392"/>
              <a:gd name="connsiteX0" fmla="*/ 0 w 7139080"/>
              <a:gd name="connsiteY0" fmla="*/ 24463515 h 26950392"/>
              <a:gd name="connsiteX1" fmla="*/ 648823 w 7139080"/>
              <a:gd name="connsiteY1" fmla="*/ 20918145 h 26950392"/>
              <a:gd name="connsiteX2" fmla="*/ 1242308 w 7139080"/>
              <a:gd name="connsiteY2" fmla="*/ 9934016 h 26950392"/>
              <a:gd name="connsiteX3" fmla="*/ 1929362 w 7139080"/>
              <a:gd name="connsiteY3" fmla="*/ 9637992 h 26950392"/>
              <a:gd name="connsiteX4" fmla="*/ 2549984 w 7139080"/>
              <a:gd name="connsiteY4" fmla="*/ 26950392 h 26950392"/>
              <a:gd name="connsiteX5" fmla="*/ 3159817 w 7139080"/>
              <a:gd name="connsiteY5" fmla="*/ 21858256 h 26950392"/>
              <a:gd name="connsiteX6" fmla="*/ 3797415 w 7139080"/>
              <a:gd name="connsiteY6" fmla="*/ 24014875 h 26950392"/>
              <a:gd name="connsiteX7" fmla="*/ 4466054 w 7139080"/>
              <a:gd name="connsiteY7" fmla="*/ 21851216 h 26950392"/>
              <a:gd name="connsiteX8" fmla="*/ 5059977 w 7139080"/>
              <a:gd name="connsiteY8" fmla="*/ 21039138 h 26950392"/>
              <a:gd name="connsiteX9" fmla="*/ 5912053 w 7139080"/>
              <a:gd name="connsiteY9" fmla="*/ 1527856 h 26950392"/>
              <a:gd name="connsiteX10" fmla="*/ 6565041 w 7139080"/>
              <a:gd name="connsiteY10" fmla="*/ 1294718 h 26950392"/>
              <a:gd name="connsiteX11" fmla="*/ 7139080 w 7139080"/>
              <a:gd name="connsiteY11" fmla="*/ 1124151 h 26950392"/>
              <a:gd name="connsiteX0" fmla="*/ 0 w 7139080"/>
              <a:gd name="connsiteY0" fmla="*/ 24463515 h 26950392"/>
              <a:gd name="connsiteX1" fmla="*/ 648823 w 7139080"/>
              <a:gd name="connsiteY1" fmla="*/ 20918145 h 26950392"/>
              <a:gd name="connsiteX2" fmla="*/ 1242308 w 7139080"/>
              <a:gd name="connsiteY2" fmla="*/ 9934016 h 26950392"/>
              <a:gd name="connsiteX3" fmla="*/ 1929362 w 7139080"/>
              <a:gd name="connsiteY3" fmla="*/ 9637992 h 26950392"/>
              <a:gd name="connsiteX4" fmla="*/ 2549984 w 7139080"/>
              <a:gd name="connsiteY4" fmla="*/ 26950392 h 26950392"/>
              <a:gd name="connsiteX5" fmla="*/ 3159817 w 7139080"/>
              <a:gd name="connsiteY5" fmla="*/ 21858256 h 26950392"/>
              <a:gd name="connsiteX6" fmla="*/ 3797415 w 7139080"/>
              <a:gd name="connsiteY6" fmla="*/ 24014875 h 26950392"/>
              <a:gd name="connsiteX7" fmla="*/ 4466054 w 7139080"/>
              <a:gd name="connsiteY7" fmla="*/ 21851216 h 26950392"/>
              <a:gd name="connsiteX8" fmla="*/ 5059977 w 7139080"/>
              <a:gd name="connsiteY8" fmla="*/ 21039138 h 26950392"/>
              <a:gd name="connsiteX9" fmla="*/ 5912053 w 7139080"/>
              <a:gd name="connsiteY9" fmla="*/ 1527856 h 26950392"/>
              <a:gd name="connsiteX10" fmla="*/ 6565041 w 7139080"/>
              <a:gd name="connsiteY10" fmla="*/ 1294718 h 26950392"/>
              <a:gd name="connsiteX11" fmla="*/ 7139080 w 7139080"/>
              <a:gd name="connsiteY11" fmla="*/ 1124151 h 26950392"/>
              <a:gd name="connsiteX0" fmla="*/ 0 w 7139080"/>
              <a:gd name="connsiteY0" fmla="*/ 23339927 h 25826804"/>
              <a:gd name="connsiteX1" fmla="*/ 648823 w 7139080"/>
              <a:gd name="connsiteY1" fmla="*/ 19794557 h 25826804"/>
              <a:gd name="connsiteX2" fmla="*/ 1242308 w 7139080"/>
              <a:gd name="connsiteY2" fmla="*/ 8810428 h 25826804"/>
              <a:gd name="connsiteX3" fmla="*/ 1929362 w 7139080"/>
              <a:gd name="connsiteY3" fmla="*/ 8514404 h 25826804"/>
              <a:gd name="connsiteX4" fmla="*/ 2549984 w 7139080"/>
              <a:gd name="connsiteY4" fmla="*/ 25826804 h 25826804"/>
              <a:gd name="connsiteX5" fmla="*/ 3159817 w 7139080"/>
              <a:gd name="connsiteY5" fmla="*/ 20734668 h 25826804"/>
              <a:gd name="connsiteX6" fmla="*/ 3797415 w 7139080"/>
              <a:gd name="connsiteY6" fmla="*/ 22891287 h 25826804"/>
              <a:gd name="connsiteX7" fmla="*/ 4466054 w 7139080"/>
              <a:gd name="connsiteY7" fmla="*/ 20727628 h 25826804"/>
              <a:gd name="connsiteX8" fmla="*/ 5059977 w 7139080"/>
              <a:gd name="connsiteY8" fmla="*/ 19915550 h 25826804"/>
              <a:gd name="connsiteX9" fmla="*/ 5651690 w 7139080"/>
              <a:gd name="connsiteY9" fmla="*/ 5954849 h 25826804"/>
              <a:gd name="connsiteX10" fmla="*/ 6565041 w 7139080"/>
              <a:gd name="connsiteY10" fmla="*/ 171130 h 25826804"/>
              <a:gd name="connsiteX11" fmla="*/ 7139080 w 7139080"/>
              <a:gd name="connsiteY11" fmla="*/ 563 h 25826804"/>
              <a:gd name="connsiteX0" fmla="*/ 0 w 7139080"/>
              <a:gd name="connsiteY0" fmla="*/ 23339371 h 25826248"/>
              <a:gd name="connsiteX1" fmla="*/ 648823 w 7139080"/>
              <a:gd name="connsiteY1" fmla="*/ 19794001 h 25826248"/>
              <a:gd name="connsiteX2" fmla="*/ 1242308 w 7139080"/>
              <a:gd name="connsiteY2" fmla="*/ 8809872 h 25826248"/>
              <a:gd name="connsiteX3" fmla="*/ 1929362 w 7139080"/>
              <a:gd name="connsiteY3" fmla="*/ 8513848 h 25826248"/>
              <a:gd name="connsiteX4" fmla="*/ 2549984 w 7139080"/>
              <a:gd name="connsiteY4" fmla="*/ 25826248 h 25826248"/>
              <a:gd name="connsiteX5" fmla="*/ 3159817 w 7139080"/>
              <a:gd name="connsiteY5" fmla="*/ 20734112 h 25826248"/>
              <a:gd name="connsiteX6" fmla="*/ 3797415 w 7139080"/>
              <a:gd name="connsiteY6" fmla="*/ 22890731 h 25826248"/>
              <a:gd name="connsiteX7" fmla="*/ 4466054 w 7139080"/>
              <a:gd name="connsiteY7" fmla="*/ 20727072 h 25826248"/>
              <a:gd name="connsiteX8" fmla="*/ 5059977 w 7139080"/>
              <a:gd name="connsiteY8" fmla="*/ 19914994 h 25826248"/>
              <a:gd name="connsiteX9" fmla="*/ 5651690 w 7139080"/>
              <a:gd name="connsiteY9" fmla="*/ 5954293 h 25826248"/>
              <a:gd name="connsiteX10" fmla="*/ 6350624 w 7139080"/>
              <a:gd name="connsiteY10" fmla="*/ 15888573 h 25826248"/>
              <a:gd name="connsiteX11" fmla="*/ 7139080 w 7139080"/>
              <a:gd name="connsiteY11" fmla="*/ 7 h 25826248"/>
              <a:gd name="connsiteX0" fmla="*/ 0 w 7139080"/>
              <a:gd name="connsiteY0" fmla="*/ 23339371 h 25826248"/>
              <a:gd name="connsiteX1" fmla="*/ 648823 w 7139080"/>
              <a:gd name="connsiteY1" fmla="*/ 19794001 h 25826248"/>
              <a:gd name="connsiteX2" fmla="*/ 1242308 w 7139080"/>
              <a:gd name="connsiteY2" fmla="*/ 8809872 h 25826248"/>
              <a:gd name="connsiteX3" fmla="*/ 1929362 w 7139080"/>
              <a:gd name="connsiteY3" fmla="*/ 8513848 h 25826248"/>
              <a:gd name="connsiteX4" fmla="*/ 2549984 w 7139080"/>
              <a:gd name="connsiteY4" fmla="*/ 25826248 h 25826248"/>
              <a:gd name="connsiteX5" fmla="*/ 3159817 w 7139080"/>
              <a:gd name="connsiteY5" fmla="*/ 20734112 h 25826248"/>
              <a:gd name="connsiteX6" fmla="*/ 3797415 w 7139080"/>
              <a:gd name="connsiteY6" fmla="*/ 22890731 h 25826248"/>
              <a:gd name="connsiteX7" fmla="*/ 4466054 w 7139080"/>
              <a:gd name="connsiteY7" fmla="*/ 20727072 h 25826248"/>
              <a:gd name="connsiteX8" fmla="*/ 5059977 w 7139080"/>
              <a:gd name="connsiteY8" fmla="*/ 19914994 h 25826248"/>
              <a:gd name="connsiteX9" fmla="*/ 5651690 w 7139080"/>
              <a:gd name="connsiteY9" fmla="*/ 5954293 h 25826248"/>
              <a:gd name="connsiteX10" fmla="*/ 6355729 w 7139080"/>
              <a:gd name="connsiteY10" fmla="*/ 11323615 h 25826248"/>
              <a:gd name="connsiteX11" fmla="*/ 7139080 w 7139080"/>
              <a:gd name="connsiteY11" fmla="*/ 7 h 25826248"/>
              <a:gd name="connsiteX0" fmla="*/ 0 w 6985925"/>
              <a:gd name="connsiteY0" fmla="*/ 17583388 h 20070265"/>
              <a:gd name="connsiteX1" fmla="*/ 648823 w 6985925"/>
              <a:gd name="connsiteY1" fmla="*/ 14038018 h 20070265"/>
              <a:gd name="connsiteX2" fmla="*/ 1242308 w 6985925"/>
              <a:gd name="connsiteY2" fmla="*/ 3053889 h 20070265"/>
              <a:gd name="connsiteX3" fmla="*/ 1929362 w 6985925"/>
              <a:gd name="connsiteY3" fmla="*/ 2757865 h 20070265"/>
              <a:gd name="connsiteX4" fmla="*/ 2549984 w 6985925"/>
              <a:gd name="connsiteY4" fmla="*/ 20070265 h 20070265"/>
              <a:gd name="connsiteX5" fmla="*/ 3159817 w 6985925"/>
              <a:gd name="connsiteY5" fmla="*/ 14978129 h 20070265"/>
              <a:gd name="connsiteX6" fmla="*/ 3797415 w 6985925"/>
              <a:gd name="connsiteY6" fmla="*/ 17134748 h 20070265"/>
              <a:gd name="connsiteX7" fmla="*/ 4466054 w 6985925"/>
              <a:gd name="connsiteY7" fmla="*/ 14971089 h 20070265"/>
              <a:gd name="connsiteX8" fmla="*/ 5059977 w 6985925"/>
              <a:gd name="connsiteY8" fmla="*/ 14159011 h 20070265"/>
              <a:gd name="connsiteX9" fmla="*/ 5651690 w 6985925"/>
              <a:gd name="connsiteY9" fmla="*/ 198310 h 20070265"/>
              <a:gd name="connsiteX10" fmla="*/ 6355729 w 6985925"/>
              <a:gd name="connsiteY10" fmla="*/ 5567632 h 20070265"/>
              <a:gd name="connsiteX11" fmla="*/ 6985925 w 6985925"/>
              <a:gd name="connsiteY11" fmla="*/ 5656432 h 2007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85925" h="20070265">
                <a:moveTo>
                  <a:pt x="0" y="17583388"/>
                </a:moveTo>
                <a:cubicBezTo>
                  <a:pt x="541990" y="17576809"/>
                  <a:pt x="441772" y="16459601"/>
                  <a:pt x="648823" y="14038018"/>
                </a:cubicBezTo>
                <a:cubicBezTo>
                  <a:pt x="855874" y="11616435"/>
                  <a:pt x="1028885" y="4933914"/>
                  <a:pt x="1242308" y="3053889"/>
                </a:cubicBezTo>
                <a:cubicBezTo>
                  <a:pt x="1455731" y="1173864"/>
                  <a:pt x="1711416" y="-78198"/>
                  <a:pt x="1929362" y="2757865"/>
                </a:cubicBezTo>
                <a:cubicBezTo>
                  <a:pt x="2147308" y="5593928"/>
                  <a:pt x="2333908" y="20066913"/>
                  <a:pt x="2549984" y="20070265"/>
                </a:cubicBezTo>
                <a:cubicBezTo>
                  <a:pt x="2759303" y="19853045"/>
                  <a:pt x="2855323" y="18167019"/>
                  <a:pt x="3159817" y="14978129"/>
                </a:cubicBezTo>
                <a:cubicBezTo>
                  <a:pt x="3495565" y="10787977"/>
                  <a:pt x="3579709" y="17135921"/>
                  <a:pt x="3797415" y="17134748"/>
                </a:cubicBezTo>
                <a:cubicBezTo>
                  <a:pt x="4015121" y="17133575"/>
                  <a:pt x="4200350" y="15949212"/>
                  <a:pt x="4466054" y="14971089"/>
                </a:cubicBezTo>
                <a:cubicBezTo>
                  <a:pt x="4847656" y="14141117"/>
                  <a:pt x="4862371" y="16621141"/>
                  <a:pt x="5059977" y="14159011"/>
                </a:cubicBezTo>
                <a:cubicBezTo>
                  <a:pt x="5257583" y="11696881"/>
                  <a:pt x="5435731" y="1630207"/>
                  <a:pt x="5651690" y="198310"/>
                </a:cubicBezTo>
                <a:cubicBezTo>
                  <a:pt x="5867649" y="-1233587"/>
                  <a:pt x="6154379" y="5557946"/>
                  <a:pt x="6355729" y="5567632"/>
                </a:cubicBezTo>
                <a:cubicBezTo>
                  <a:pt x="6528297" y="5573987"/>
                  <a:pt x="6733454" y="5644268"/>
                  <a:pt x="6985925" y="5656432"/>
                </a:cubicBezTo>
              </a:path>
            </a:pathLst>
          </a:custGeom>
          <a:noFill/>
          <a:ln w="136525" cap="rnd" cmpd="sng" algn="ctr">
            <a:solidFill>
              <a:srgbClr val="FFCD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119" name="Freeform 42">
            <a:extLst>
              <a:ext uri="{FF2B5EF4-FFF2-40B4-BE49-F238E27FC236}">
                <a16:creationId xmlns:a16="http://schemas.microsoft.com/office/drawing/2014/main" id="{5D5D755D-09D5-4801-9B45-B0B083AB24D0}"/>
              </a:ext>
            </a:extLst>
          </p:cNvPr>
          <p:cNvSpPr/>
          <p:nvPr/>
        </p:nvSpPr>
        <p:spPr bwMode="auto">
          <a:xfrm flipV="1">
            <a:off x="1155175" y="2399009"/>
            <a:ext cx="9742275" cy="3019463"/>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96048 h 299074"/>
              <a:gd name="connsiteX4" fmla="*/ 2642777 w 7136640"/>
              <a:gd name="connsiteY4" fmla="*/ 150850 h 299074"/>
              <a:gd name="connsiteX5" fmla="*/ 3302093 w 7136640"/>
              <a:gd name="connsiteY5" fmla="*/ 216159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42777 w 7136640"/>
              <a:gd name="connsiteY4" fmla="*/ 150850 h 299074"/>
              <a:gd name="connsiteX5" fmla="*/ 3302093 w 7136640"/>
              <a:gd name="connsiteY5" fmla="*/ 216159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42777 w 7136640"/>
              <a:gd name="connsiteY4" fmla="*/ 150850 h 299074"/>
              <a:gd name="connsiteX5" fmla="*/ 3302093 w 7136640"/>
              <a:gd name="connsiteY5" fmla="*/ 216158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42777 w 7136640"/>
              <a:gd name="connsiteY4" fmla="*/ 150850 h 299074"/>
              <a:gd name="connsiteX5" fmla="*/ 3295304 w 7136640"/>
              <a:gd name="connsiteY5" fmla="*/ 147170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42777 w 7136640"/>
              <a:gd name="connsiteY4" fmla="*/ 150851 h 299074"/>
              <a:gd name="connsiteX5" fmla="*/ 3295304 w 7136640"/>
              <a:gd name="connsiteY5" fmla="*/ 147170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133266 h 355241"/>
              <a:gd name="connsiteX1" fmla="*/ 700803 w 7136640"/>
              <a:gd name="connsiteY1" fmla="*/ 56172 h 355241"/>
              <a:gd name="connsiteX2" fmla="*/ 1317807 w 7136640"/>
              <a:gd name="connsiteY2" fmla="*/ 136978 h 355241"/>
              <a:gd name="connsiteX3" fmla="*/ 1998846 w 7136640"/>
              <a:gd name="connsiteY3" fmla="*/ 183226 h 355241"/>
              <a:gd name="connsiteX4" fmla="*/ 2635987 w 7136640"/>
              <a:gd name="connsiteY4" fmla="*/ 51 h 355241"/>
              <a:gd name="connsiteX5" fmla="*/ 3295304 w 7136640"/>
              <a:gd name="connsiteY5" fmla="*/ 203337 h 355241"/>
              <a:gd name="connsiteX6" fmla="*/ 3964644 w 7136640"/>
              <a:gd name="connsiteY6" fmla="*/ 83032 h 355241"/>
              <a:gd name="connsiteX7" fmla="*/ 4578995 w 7136640"/>
              <a:gd name="connsiteY7" fmla="*/ 338509 h 355241"/>
              <a:gd name="connsiteX8" fmla="*/ 5236906 w 7136640"/>
              <a:gd name="connsiteY8" fmla="*/ 210735 h 355241"/>
              <a:gd name="connsiteX9" fmla="*/ 5843222 w 7136640"/>
              <a:gd name="connsiteY9" fmla="*/ 353769 h 355241"/>
              <a:gd name="connsiteX10" fmla="*/ 6486411 w 7136640"/>
              <a:gd name="connsiteY10" fmla="*/ 100896 h 355241"/>
              <a:gd name="connsiteX11" fmla="*/ 7136640 w 7136640"/>
              <a:gd name="connsiteY11" fmla="*/ 223647 h 355241"/>
              <a:gd name="connsiteX0" fmla="*/ 0 w 7136640"/>
              <a:gd name="connsiteY0" fmla="*/ 77099 h 299074"/>
              <a:gd name="connsiteX1" fmla="*/ 700803 w 7136640"/>
              <a:gd name="connsiteY1" fmla="*/ 5 h 299074"/>
              <a:gd name="connsiteX2" fmla="*/ 1317807 w 7136640"/>
              <a:gd name="connsiteY2" fmla="*/ 80811 h 299074"/>
              <a:gd name="connsiteX3" fmla="*/ 1998846 w 7136640"/>
              <a:gd name="connsiteY3" fmla="*/ 127059 h 299074"/>
              <a:gd name="connsiteX4" fmla="*/ 2635987 w 7136640"/>
              <a:gd name="connsiteY4" fmla="*/ 81862 h 299074"/>
              <a:gd name="connsiteX5" fmla="*/ 3295304 w 7136640"/>
              <a:gd name="connsiteY5" fmla="*/ 147170 h 299074"/>
              <a:gd name="connsiteX6" fmla="*/ 3964644 w 7136640"/>
              <a:gd name="connsiteY6" fmla="*/ 26865 h 299074"/>
              <a:gd name="connsiteX7" fmla="*/ 4578995 w 7136640"/>
              <a:gd name="connsiteY7" fmla="*/ 282342 h 299074"/>
              <a:gd name="connsiteX8" fmla="*/ 5236906 w 7136640"/>
              <a:gd name="connsiteY8" fmla="*/ 154568 h 299074"/>
              <a:gd name="connsiteX9" fmla="*/ 5843222 w 7136640"/>
              <a:gd name="connsiteY9" fmla="*/ 297602 h 299074"/>
              <a:gd name="connsiteX10" fmla="*/ 6486411 w 7136640"/>
              <a:gd name="connsiteY10" fmla="*/ 44729 h 299074"/>
              <a:gd name="connsiteX11" fmla="*/ 7136640 w 7136640"/>
              <a:gd name="connsiteY11" fmla="*/ 167480 h 299074"/>
              <a:gd name="connsiteX0" fmla="*/ 0 w 7136640"/>
              <a:gd name="connsiteY0" fmla="*/ 77099 h 299594"/>
              <a:gd name="connsiteX1" fmla="*/ 700803 w 7136640"/>
              <a:gd name="connsiteY1" fmla="*/ 5 h 299594"/>
              <a:gd name="connsiteX2" fmla="*/ 1317807 w 7136640"/>
              <a:gd name="connsiteY2" fmla="*/ 80811 h 299594"/>
              <a:gd name="connsiteX3" fmla="*/ 1998846 w 7136640"/>
              <a:gd name="connsiteY3" fmla="*/ 127059 h 299594"/>
              <a:gd name="connsiteX4" fmla="*/ 2635987 w 7136640"/>
              <a:gd name="connsiteY4" fmla="*/ 81862 h 299594"/>
              <a:gd name="connsiteX5" fmla="*/ 3295304 w 7136640"/>
              <a:gd name="connsiteY5" fmla="*/ 147170 h 299594"/>
              <a:gd name="connsiteX6" fmla="*/ 3964644 w 7136640"/>
              <a:gd name="connsiteY6" fmla="*/ 26865 h 299594"/>
              <a:gd name="connsiteX7" fmla="*/ 4578995 w 7136640"/>
              <a:gd name="connsiteY7" fmla="*/ 6396 h 299594"/>
              <a:gd name="connsiteX8" fmla="*/ 5236906 w 7136640"/>
              <a:gd name="connsiteY8" fmla="*/ 154568 h 299594"/>
              <a:gd name="connsiteX9" fmla="*/ 5843222 w 7136640"/>
              <a:gd name="connsiteY9" fmla="*/ 297602 h 299594"/>
              <a:gd name="connsiteX10" fmla="*/ 6486411 w 7136640"/>
              <a:gd name="connsiteY10" fmla="*/ 44729 h 299594"/>
              <a:gd name="connsiteX11" fmla="*/ 7136640 w 7136640"/>
              <a:gd name="connsiteY11" fmla="*/ 167480 h 299594"/>
              <a:gd name="connsiteX0" fmla="*/ 0 w 7136640"/>
              <a:gd name="connsiteY0" fmla="*/ 77099 h 299433"/>
              <a:gd name="connsiteX1" fmla="*/ 700803 w 7136640"/>
              <a:gd name="connsiteY1" fmla="*/ 5 h 299433"/>
              <a:gd name="connsiteX2" fmla="*/ 1317807 w 7136640"/>
              <a:gd name="connsiteY2" fmla="*/ 80811 h 299433"/>
              <a:gd name="connsiteX3" fmla="*/ 1998846 w 7136640"/>
              <a:gd name="connsiteY3" fmla="*/ 127059 h 299433"/>
              <a:gd name="connsiteX4" fmla="*/ 2635987 w 7136640"/>
              <a:gd name="connsiteY4" fmla="*/ 81862 h 299433"/>
              <a:gd name="connsiteX5" fmla="*/ 3295304 w 7136640"/>
              <a:gd name="connsiteY5" fmla="*/ 147170 h 299433"/>
              <a:gd name="connsiteX6" fmla="*/ 3964644 w 7136640"/>
              <a:gd name="connsiteY6" fmla="*/ 26865 h 299433"/>
              <a:gd name="connsiteX7" fmla="*/ 4578995 w 7136640"/>
              <a:gd name="connsiteY7" fmla="*/ 75378 h 299433"/>
              <a:gd name="connsiteX8" fmla="*/ 5236906 w 7136640"/>
              <a:gd name="connsiteY8" fmla="*/ 154568 h 299433"/>
              <a:gd name="connsiteX9" fmla="*/ 5843222 w 7136640"/>
              <a:gd name="connsiteY9" fmla="*/ 297602 h 299433"/>
              <a:gd name="connsiteX10" fmla="*/ 6486411 w 7136640"/>
              <a:gd name="connsiteY10" fmla="*/ 44729 h 299433"/>
              <a:gd name="connsiteX11" fmla="*/ 7136640 w 7136640"/>
              <a:gd name="connsiteY11" fmla="*/ 167480 h 299433"/>
              <a:gd name="connsiteX0" fmla="*/ 0 w 7136640"/>
              <a:gd name="connsiteY0" fmla="*/ 77099 h 299433"/>
              <a:gd name="connsiteX1" fmla="*/ 700803 w 7136640"/>
              <a:gd name="connsiteY1" fmla="*/ 5 h 299433"/>
              <a:gd name="connsiteX2" fmla="*/ 1317807 w 7136640"/>
              <a:gd name="connsiteY2" fmla="*/ 80811 h 299433"/>
              <a:gd name="connsiteX3" fmla="*/ 1998846 w 7136640"/>
              <a:gd name="connsiteY3" fmla="*/ 127059 h 299433"/>
              <a:gd name="connsiteX4" fmla="*/ 2635987 w 7136640"/>
              <a:gd name="connsiteY4" fmla="*/ 81862 h 299433"/>
              <a:gd name="connsiteX5" fmla="*/ 3295304 w 7136640"/>
              <a:gd name="connsiteY5" fmla="*/ 147170 h 299433"/>
              <a:gd name="connsiteX6" fmla="*/ 3964644 w 7136640"/>
              <a:gd name="connsiteY6" fmla="*/ 26865 h 299433"/>
              <a:gd name="connsiteX7" fmla="*/ 4578995 w 7136640"/>
              <a:gd name="connsiteY7" fmla="*/ 75378 h 299433"/>
              <a:gd name="connsiteX8" fmla="*/ 5236906 w 7136640"/>
              <a:gd name="connsiteY8" fmla="*/ 154568 h 299433"/>
              <a:gd name="connsiteX9" fmla="*/ 5843222 w 7136640"/>
              <a:gd name="connsiteY9" fmla="*/ 297603 h 299433"/>
              <a:gd name="connsiteX10" fmla="*/ 6486411 w 7136640"/>
              <a:gd name="connsiteY10" fmla="*/ 44729 h 299433"/>
              <a:gd name="connsiteX11" fmla="*/ 7136640 w 7136640"/>
              <a:gd name="connsiteY11" fmla="*/ 167480 h 299433"/>
              <a:gd name="connsiteX0" fmla="*/ 0 w 7136640"/>
              <a:gd name="connsiteY0" fmla="*/ 194798 h 285177"/>
              <a:gd name="connsiteX1" fmla="*/ 700803 w 7136640"/>
              <a:gd name="connsiteY1" fmla="*/ 117704 h 285177"/>
              <a:gd name="connsiteX2" fmla="*/ 1317807 w 7136640"/>
              <a:gd name="connsiteY2" fmla="*/ 198510 h 285177"/>
              <a:gd name="connsiteX3" fmla="*/ 1998846 w 7136640"/>
              <a:gd name="connsiteY3" fmla="*/ 244758 h 285177"/>
              <a:gd name="connsiteX4" fmla="*/ 2635987 w 7136640"/>
              <a:gd name="connsiteY4" fmla="*/ 199561 h 285177"/>
              <a:gd name="connsiteX5" fmla="*/ 3295304 w 7136640"/>
              <a:gd name="connsiteY5" fmla="*/ 264869 h 285177"/>
              <a:gd name="connsiteX6" fmla="*/ 3964644 w 7136640"/>
              <a:gd name="connsiteY6" fmla="*/ 144564 h 285177"/>
              <a:gd name="connsiteX7" fmla="*/ 4578995 w 7136640"/>
              <a:gd name="connsiteY7" fmla="*/ 193077 h 285177"/>
              <a:gd name="connsiteX8" fmla="*/ 5236906 w 7136640"/>
              <a:gd name="connsiteY8" fmla="*/ 272267 h 285177"/>
              <a:gd name="connsiteX9" fmla="*/ 5836433 w 7136640"/>
              <a:gd name="connsiteY9" fmla="*/ 1383 h 285177"/>
              <a:gd name="connsiteX10" fmla="*/ 6486411 w 7136640"/>
              <a:gd name="connsiteY10" fmla="*/ 162428 h 285177"/>
              <a:gd name="connsiteX11" fmla="*/ 7136640 w 7136640"/>
              <a:gd name="connsiteY11" fmla="*/ 285179 h 285177"/>
              <a:gd name="connsiteX0" fmla="*/ 0 w 7136640"/>
              <a:gd name="connsiteY0" fmla="*/ 77099 h 167478"/>
              <a:gd name="connsiteX1" fmla="*/ 700803 w 7136640"/>
              <a:gd name="connsiteY1" fmla="*/ 5 h 167478"/>
              <a:gd name="connsiteX2" fmla="*/ 1317807 w 7136640"/>
              <a:gd name="connsiteY2" fmla="*/ 80811 h 167478"/>
              <a:gd name="connsiteX3" fmla="*/ 1998846 w 7136640"/>
              <a:gd name="connsiteY3" fmla="*/ 127059 h 167478"/>
              <a:gd name="connsiteX4" fmla="*/ 2635987 w 7136640"/>
              <a:gd name="connsiteY4" fmla="*/ 81862 h 167478"/>
              <a:gd name="connsiteX5" fmla="*/ 3295304 w 7136640"/>
              <a:gd name="connsiteY5" fmla="*/ 147170 h 167478"/>
              <a:gd name="connsiteX6" fmla="*/ 3964644 w 7136640"/>
              <a:gd name="connsiteY6" fmla="*/ 26865 h 167478"/>
              <a:gd name="connsiteX7" fmla="*/ 4578995 w 7136640"/>
              <a:gd name="connsiteY7" fmla="*/ 75378 h 167478"/>
              <a:gd name="connsiteX8" fmla="*/ 5236906 w 7136640"/>
              <a:gd name="connsiteY8" fmla="*/ 154568 h 167478"/>
              <a:gd name="connsiteX9" fmla="*/ 5843223 w 7136640"/>
              <a:gd name="connsiteY9" fmla="*/ 90651 h 167478"/>
              <a:gd name="connsiteX10" fmla="*/ 6486411 w 7136640"/>
              <a:gd name="connsiteY10" fmla="*/ 44729 h 167478"/>
              <a:gd name="connsiteX11" fmla="*/ 7136640 w 7136640"/>
              <a:gd name="connsiteY11" fmla="*/ 167480 h 167478"/>
              <a:gd name="connsiteX0" fmla="*/ 0 w 7136640"/>
              <a:gd name="connsiteY0" fmla="*/ 77099 h 167478"/>
              <a:gd name="connsiteX1" fmla="*/ 700803 w 7136640"/>
              <a:gd name="connsiteY1" fmla="*/ 5 h 167478"/>
              <a:gd name="connsiteX2" fmla="*/ 1317807 w 7136640"/>
              <a:gd name="connsiteY2" fmla="*/ 80811 h 167478"/>
              <a:gd name="connsiteX3" fmla="*/ 1998846 w 7136640"/>
              <a:gd name="connsiteY3" fmla="*/ 127059 h 167478"/>
              <a:gd name="connsiteX4" fmla="*/ 2635987 w 7136640"/>
              <a:gd name="connsiteY4" fmla="*/ 81862 h 167478"/>
              <a:gd name="connsiteX5" fmla="*/ 3295304 w 7136640"/>
              <a:gd name="connsiteY5" fmla="*/ 147170 h 167478"/>
              <a:gd name="connsiteX6" fmla="*/ 3964644 w 7136640"/>
              <a:gd name="connsiteY6" fmla="*/ 26865 h 167478"/>
              <a:gd name="connsiteX7" fmla="*/ 4578995 w 7136640"/>
              <a:gd name="connsiteY7" fmla="*/ 75378 h 167478"/>
              <a:gd name="connsiteX8" fmla="*/ 5236906 w 7136640"/>
              <a:gd name="connsiteY8" fmla="*/ 16590 h 167478"/>
              <a:gd name="connsiteX9" fmla="*/ 5843223 w 7136640"/>
              <a:gd name="connsiteY9" fmla="*/ 90651 h 167478"/>
              <a:gd name="connsiteX10" fmla="*/ 6486411 w 7136640"/>
              <a:gd name="connsiteY10" fmla="*/ 44729 h 167478"/>
              <a:gd name="connsiteX11" fmla="*/ 7136640 w 7136640"/>
              <a:gd name="connsiteY11" fmla="*/ 167480 h 167478"/>
              <a:gd name="connsiteX0" fmla="*/ 0 w 7136640"/>
              <a:gd name="connsiteY0" fmla="*/ 77099 h 167478"/>
              <a:gd name="connsiteX1" fmla="*/ 700803 w 7136640"/>
              <a:gd name="connsiteY1" fmla="*/ 5 h 167478"/>
              <a:gd name="connsiteX2" fmla="*/ 1317807 w 7136640"/>
              <a:gd name="connsiteY2" fmla="*/ 80811 h 167478"/>
              <a:gd name="connsiteX3" fmla="*/ 1998846 w 7136640"/>
              <a:gd name="connsiteY3" fmla="*/ 127059 h 167478"/>
              <a:gd name="connsiteX4" fmla="*/ 2635987 w 7136640"/>
              <a:gd name="connsiteY4" fmla="*/ 81862 h 167478"/>
              <a:gd name="connsiteX5" fmla="*/ 3295304 w 7136640"/>
              <a:gd name="connsiteY5" fmla="*/ 147170 h 167478"/>
              <a:gd name="connsiteX6" fmla="*/ 3964644 w 7136640"/>
              <a:gd name="connsiteY6" fmla="*/ 26865 h 167478"/>
              <a:gd name="connsiteX7" fmla="*/ 4578995 w 7136640"/>
              <a:gd name="connsiteY7" fmla="*/ 75378 h 167478"/>
              <a:gd name="connsiteX8" fmla="*/ 5236906 w 7136640"/>
              <a:gd name="connsiteY8" fmla="*/ 16590 h 167478"/>
              <a:gd name="connsiteX9" fmla="*/ 5843223 w 7136640"/>
              <a:gd name="connsiteY9" fmla="*/ 90651 h 167478"/>
              <a:gd name="connsiteX10" fmla="*/ 6486411 w 7136640"/>
              <a:gd name="connsiteY10" fmla="*/ 44729 h 167478"/>
              <a:gd name="connsiteX11" fmla="*/ 7136640 w 7136640"/>
              <a:gd name="connsiteY11" fmla="*/ 167478 h 167478"/>
              <a:gd name="connsiteX0" fmla="*/ 0 w 7163798"/>
              <a:gd name="connsiteY0" fmla="*/ 806596 h 877465"/>
              <a:gd name="connsiteX1" fmla="*/ 700803 w 7163798"/>
              <a:gd name="connsiteY1" fmla="*/ 729502 h 877465"/>
              <a:gd name="connsiteX2" fmla="*/ 1317807 w 7163798"/>
              <a:gd name="connsiteY2" fmla="*/ 810308 h 877465"/>
              <a:gd name="connsiteX3" fmla="*/ 1998846 w 7163798"/>
              <a:gd name="connsiteY3" fmla="*/ 856556 h 877465"/>
              <a:gd name="connsiteX4" fmla="*/ 2635987 w 7163798"/>
              <a:gd name="connsiteY4" fmla="*/ 811359 h 877465"/>
              <a:gd name="connsiteX5" fmla="*/ 3295304 w 7163798"/>
              <a:gd name="connsiteY5" fmla="*/ 876667 h 877465"/>
              <a:gd name="connsiteX6" fmla="*/ 3964644 w 7163798"/>
              <a:gd name="connsiteY6" fmla="*/ 756362 h 877465"/>
              <a:gd name="connsiteX7" fmla="*/ 4578995 w 7163798"/>
              <a:gd name="connsiteY7" fmla="*/ 804875 h 877465"/>
              <a:gd name="connsiteX8" fmla="*/ 5236906 w 7163798"/>
              <a:gd name="connsiteY8" fmla="*/ 746087 h 877465"/>
              <a:gd name="connsiteX9" fmla="*/ 5843223 w 7163798"/>
              <a:gd name="connsiteY9" fmla="*/ 820148 h 877465"/>
              <a:gd name="connsiteX10" fmla="*/ 6486411 w 7163798"/>
              <a:gd name="connsiteY10" fmla="*/ 774226 h 877465"/>
              <a:gd name="connsiteX11" fmla="*/ 7163798 w 7163798"/>
              <a:gd name="connsiteY11" fmla="*/ 139 h 877465"/>
              <a:gd name="connsiteX0" fmla="*/ 0 w 7150220"/>
              <a:gd name="connsiteY0" fmla="*/ 77099 h 147968"/>
              <a:gd name="connsiteX1" fmla="*/ 700803 w 7150220"/>
              <a:gd name="connsiteY1" fmla="*/ 5 h 147968"/>
              <a:gd name="connsiteX2" fmla="*/ 1317807 w 7150220"/>
              <a:gd name="connsiteY2" fmla="*/ 80811 h 147968"/>
              <a:gd name="connsiteX3" fmla="*/ 1998846 w 7150220"/>
              <a:gd name="connsiteY3" fmla="*/ 127059 h 147968"/>
              <a:gd name="connsiteX4" fmla="*/ 2635987 w 7150220"/>
              <a:gd name="connsiteY4" fmla="*/ 81862 h 147968"/>
              <a:gd name="connsiteX5" fmla="*/ 3295304 w 7150220"/>
              <a:gd name="connsiteY5" fmla="*/ 147170 h 147968"/>
              <a:gd name="connsiteX6" fmla="*/ 3964644 w 7150220"/>
              <a:gd name="connsiteY6" fmla="*/ 26865 h 147968"/>
              <a:gd name="connsiteX7" fmla="*/ 4578995 w 7150220"/>
              <a:gd name="connsiteY7" fmla="*/ 75378 h 147968"/>
              <a:gd name="connsiteX8" fmla="*/ 5236906 w 7150220"/>
              <a:gd name="connsiteY8" fmla="*/ 16590 h 147968"/>
              <a:gd name="connsiteX9" fmla="*/ 5843223 w 7150220"/>
              <a:gd name="connsiteY9" fmla="*/ 90651 h 147968"/>
              <a:gd name="connsiteX10" fmla="*/ 6486411 w 7150220"/>
              <a:gd name="connsiteY10" fmla="*/ 44729 h 147968"/>
              <a:gd name="connsiteX11" fmla="*/ 7150220 w 7150220"/>
              <a:gd name="connsiteY11" fmla="*/ 29508 h 147968"/>
              <a:gd name="connsiteX0" fmla="*/ 0 w 7048299"/>
              <a:gd name="connsiteY0" fmla="*/ 19313041 h 19313040"/>
              <a:gd name="connsiteX1" fmla="*/ 598882 w 7048299"/>
              <a:gd name="connsiteY1" fmla="*/ 1311431 h 19313040"/>
              <a:gd name="connsiteX2" fmla="*/ 1215886 w 7048299"/>
              <a:gd name="connsiteY2" fmla="*/ 1392237 h 19313040"/>
              <a:gd name="connsiteX3" fmla="*/ 1896925 w 7048299"/>
              <a:gd name="connsiteY3" fmla="*/ 1438485 h 19313040"/>
              <a:gd name="connsiteX4" fmla="*/ 2534066 w 7048299"/>
              <a:gd name="connsiteY4" fmla="*/ 1393288 h 19313040"/>
              <a:gd name="connsiteX5" fmla="*/ 3193383 w 7048299"/>
              <a:gd name="connsiteY5" fmla="*/ 1458596 h 19313040"/>
              <a:gd name="connsiteX6" fmla="*/ 3862723 w 7048299"/>
              <a:gd name="connsiteY6" fmla="*/ 1338291 h 19313040"/>
              <a:gd name="connsiteX7" fmla="*/ 4477074 w 7048299"/>
              <a:gd name="connsiteY7" fmla="*/ 1386804 h 19313040"/>
              <a:gd name="connsiteX8" fmla="*/ 5134985 w 7048299"/>
              <a:gd name="connsiteY8" fmla="*/ 1328016 h 19313040"/>
              <a:gd name="connsiteX9" fmla="*/ 5741302 w 7048299"/>
              <a:gd name="connsiteY9" fmla="*/ 1402077 h 19313040"/>
              <a:gd name="connsiteX10" fmla="*/ 6384490 w 7048299"/>
              <a:gd name="connsiteY10" fmla="*/ 1356155 h 19313040"/>
              <a:gd name="connsiteX11" fmla="*/ 7048299 w 7048299"/>
              <a:gd name="connsiteY11" fmla="*/ 1340934 h 19313040"/>
              <a:gd name="connsiteX0" fmla="*/ 0 w 7048299"/>
              <a:gd name="connsiteY0" fmla="*/ 19587234 h 25052770"/>
              <a:gd name="connsiteX1" fmla="*/ 740004 w 7048299"/>
              <a:gd name="connsiteY1" fmla="*/ 24369682 h 25052770"/>
              <a:gd name="connsiteX2" fmla="*/ 1215886 w 7048299"/>
              <a:gd name="connsiteY2" fmla="*/ 1666430 h 25052770"/>
              <a:gd name="connsiteX3" fmla="*/ 1896925 w 7048299"/>
              <a:gd name="connsiteY3" fmla="*/ 1712678 h 25052770"/>
              <a:gd name="connsiteX4" fmla="*/ 2534066 w 7048299"/>
              <a:gd name="connsiteY4" fmla="*/ 1667481 h 25052770"/>
              <a:gd name="connsiteX5" fmla="*/ 3193383 w 7048299"/>
              <a:gd name="connsiteY5" fmla="*/ 1732789 h 25052770"/>
              <a:gd name="connsiteX6" fmla="*/ 3862723 w 7048299"/>
              <a:gd name="connsiteY6" fmla="*/ 1612484 h 25052770"/>
              <a:gd name="connsiteX7" fmla="*/ 4477074 w 7048299"/>
              <a:gd name="connsiteY7" fmla="*/ 1660997 h 25052770"/>
              <a:gd name="connsiteX8" fmla="*/ 5134985 w 7048299"/>
              <a:gd name="connsiteY8" fmla="*/ 1602209 h 25052770"/>
              <a:gd name="connsiteX9" fmla="*/ 5741302 w 7048299"/>
              <a:gd name="connsiteY9" fmla="*/ 1676270 h 25052770"/>
              <a:gd name="connsiteX10" fmla="*/ 6384490 w 7048299"/>
              <a:gd name="connsiteY10" fmla="*/ 1630348 h 25052770"/>
              <a:gd name="connsiteX11" fmla="*/ 7048299 w 7048299"/>
              <a:gd name="connsiteY11" fmla="*/ 1615127 h 25052770"/>
              <a:gd name="connsiteX0" fmla="*/ 0 w 7048299"/>
              <a:gd name="connsiteY0" fmla="*/ 19587234 h 24701303"/>
              <a:gd name="connsiteX1" fmla="*/ 740004 w 7048299"/>
              <a:gd name="connsiteY1" fmla="*/ 24369682 h 24701303"/>
              <a:gd name="connsiteX2" fmla="*/ 1215886 w 7048299"/>
              <a:gd name="connsiteY2" fmla="*/ 1666430 h 24701303"/>
              <a:gd name="connsiteX3" fmla="*/ 1896925 w 7048299"/>
              <a:gd name="connsiteY3" fmla="*/ 1712678 h 24701303"/>
              <a:gd name="connsiteX4" fmla="*/ 2534066 w 7048299"/>
              <a:gd name="connsiteY4" fmla="*/ 1667481 h 24701303"/>
              <a:gd name="connsiteX5" fmla="*/ 3193383 w 7048299"/>
              <a:gd name="connsiteY5" fmla="*/ 1732789 h 24701303"/>
              <a:gd name="connsiteX6" fmla="*/ 3862723 w 7048299"/>
              <a:gd name="connsiteY6" fmla="*/ 1612484 h 24701303"/>
              <a:gd name="connsiteX7" fmla="*/ 4477074 w 7048299"/>
              <a:gd name="connsiteY7" fmla="*/ 1660997 h 24701303"/>
              <a:gd name="connsiteX8" fmla="*/ 5134985 w 7048299"/>
              <a:gd name="connsiteY8" fmla="*/ 1602209 h 24701303"/>
              <a:gd name="connsiteX9" fmla="*/ 5741302 w 7048299"/>
              <a:gd name="connsiteY9" fmla="*/ 1676270 h 24701303"/>
              <a:gd name="connsiteX10" fmla="*/ 6384490 w 7048299"/>
              <a:gd name="connsiteY10" fmla="*/ 1630348 h 24701303"/>
              <a:gd name="connsiteX11" fmla="*/ 7048299 w 7048299"/>
              <a:gd name="connsiteY11" fmla="*/ 1615127 h 24701303"/>
              <a:gd name="connsiteX0" fmla="*/ 0 w 7048299"/>
              <a:gd name="connsiteY0" fmla="*/ 19793763 h 27609838"/>
              <a:gd name="connsiteX1" fmla="*/ 732164 w 7048299"/>
              <a:gd name="connsiteY1" fmla="*/ 27364471 h 27609838"/>
              <a:gd name="connsiteX2" fmla="*/ 1215886 w 7048299"/>
              <a:gd name="connsiteY2" fmla="*/ 1872959 h 27609838"/>
              <a:gd name="connsiteX3" fmla="*/ 1896925 w 7048299"/>
              <a:gd name="connsiteY3" fmla="*/ 1919207 h 27609838"/>
              <a:gd name="connsiteX4" fmla="*/ 2534066 w 7048299"/>
              <a:gd name="connsiteY4" fmla="*/ 1874010 h 27609838"/>
              <a:gd name="connsiteX5" fmla="*/ 3193383 w 7048299"/>
              <a:gd name="connsiteY5" fmla="*/ 1939318 h 27609838"/>
              <a:gd name="connsiteX6" fmla="*/ 3862723 w 7048299"/>
              <a:gd name="connsiteY6" fmla="*/ 1819013 h 27609838"/>
              <a:gd name="connsiteX7" fmla="*/ 4477074 w 7048299"/>
              <a:gd name="connsiteY7" fmla="*/ 1867526 h 27609838"/>
              <a:gd name="connsiteX8" fmla="*/ 5134985 w 7048299"/>
              <a:gd name="connsiteY8" fmla="*/ 1808738 h 27609838"/>
              <a:gd name="connsiteX9" fmla="*/ 5741302 w 7048299"/>
              <a:gd name="connsiteY9" fmla="*/ 1882799 h 27609838"/>
              <a:gd name="connsiteX10" fmla="*/ 6384490 w 7048299"/>
              <a:gd name="connsiteY10" fmla="*/ 1836877 h 27609838"/>
              <a:gd name="connsiteX11" fmla="*/ 7048299 w 7048299"/>
              <a:gd name="connsiteY11" fmla="*/ 1821656 h 27609838"/>
              <a:gd name="connsiteX0" fmla="*/ 0 w 7048299"/>
              <a:gd name="connsiteY0" fmla="*/ 19793763 h 27395632"/>
              <a:gd name="connsiteX1" fmla="*/ 732164 w 7048299"/>
              <a:gd name="connsiteY1" fmla="*/ 27364471 h 27395632"/>
              <a:gd name="connsiteX2" fmla="*/ 1215886 w 7048299"/>
              <a:gd name="connsiteY2" fmla="*/ 1872959 h 27395632"/>
              <a:gd name="connsiteX3" fmla="*/ 1896925 w 7048299"/>
              <a:gd name="connsiteY3" fmla="*/ 1919207 h 27395632"/>
              <a:gd name="connsiteX4" fmla="*/ 2534066 w 7048299"/>
              <a:gd name="connsiteY4" fmla="*/ 1874010 h 27395632"/>
              <a:gd name="connsiteX5" fmla="*/ 3193383 w 7048299"/>
              <a:gd name="connsiteY5" fmla="*/ 1939318 h 27395632"/>
              <a:gd name="connsiteX6" fmla="*/ 3862723 w 7048299"/>
              <a:gd name="connsiteY6" fmla="*/ 1819013 h 27395632"/>
              <a:gd name="connsiteX7" fmla="*/ 4477074 w 7048299"/>
              <a:gd name="connsiteY7" fmla="*/ 1867526 h 27395632"/>
              <a:gd name="connsiteX8" fmla="*/ 5134985 w 7048299"/>
              <a:gd name="connsiteY8" fmla="*/ 1808738 h 27395632"/>
              <a:gd name="connsiteX9" fmla="*/ 5741302 w 7048299"/>
              <a:gd name="connsiteY9" fmla="*/ 1882799 h 27395632"/>
              <a:gd name="connsiteX10" fmla="*/ 6384490 w 7048299"/>
              <a:gd name="connsiteY10" fmla="*/ 1836877 h 27395632"/>
              <a:gd name="connsiteX11" fmla="*/ 7048299 w 7048299"/>
              <a:gd name="connsiteY11" fmla="*/ 1821656 h 27395632"/>
              <a:gd name="connsiteX0" fmla="*/ 0 w 7048299"/>
              <a:gd name="connsiteY0" fmla="*/ 18459614 h 26238131"/>
              <a:gd name="connsiteX1" fmla="*/ 732164 w 7048299"/>
              <a:gd name="connsiteY1" fmla="*/ 26030322 h 26238131"/>
              <a:gd name="connsiteX2" fmla="*/ 1333488 w 7048299"/>
              <a:gd name="connsiteY2" fmla="*/ 8266266 h 26238131"/>
              <a:gd name="connsiteX3" fmla="*/ 1896925 w 7048299"/>
              <a:gd name="connsiteY3" fmla="*/ 585058 h 26238131"/>
              <a:gd name="connsiteX4" fmla="*/ 2534066 w 7048299"/>
              <a:gd name="connsiteY4" fmla="*/ 539861 h 26238131"/>
              <a:gd name="connsiteX5" fmla="*/ 3193383 w 7048299"/>
              <a:gd name="connsiteY5" fmla="*/ 605169 h 26238131"/>
              <a:gd name="connsiteX6" fmla="*/ 3862723 w 7048299"/>
              <a:gd name="connsiteY6" fmla="*/ 484864 h 26238131"/>
              <a:gd name="connsiteX7" fmla="*/ 4477074 w 7048299"/>
              <a:gd name="connsiteY7" fmla="*/ 533377 h 26238131"/>
              <a:gd name="connsiteX8" fmla="*/ 5134985 w 7048299"/>
              <a:gd name="connsiteY8" fmla="*/ 474589 h 26238131"/>
              <a:gd name="connsiteX9" fmla="*/ 5741302 w 7048299"/>
              <a:gd name="connsiteY9" fmla="*/ 548650 h 26238131"/>
              <a:gd name="connsiteX10" fmla="*/ 6384490 w 7048299"/>
              <a:gd name="connsiteY10" fmla="*/ 502728 h 26238131"/>
              <a:gd name="connsiteX11" fmla="*/ 7048299 w 7048299"/>
              <a:gd name="connsiteY11" fmla="*/ 487507 h 26238131"/>
              <a:gd name="connsiteX0" fmla="*/ 0 w 7048299"/>
              <a:gd name="connsiteY0" fmla="*/ 18571686 h 26299436"/>
              <a:gd name="connsiteX1" fmla="*/ 732164 w 7048299"/>
              <a:gd name="connsiteY1" fmla="*/ 26142394 h 26299436"/>
              <a:gd name="connsiteX2" fmla="*/ 1349168 w 7048299"/>
              <a:gd name="connsiteY2" fmla="*/ 9891967 h 26299436"/>
              <a:gd name="connsiteX3" fmla="*/ 1896925 w 7048299"/>
              <a:gd name="connsiteY3" fmla="*/ 697130 h 26299436"/>
              <a:gd name="connsiteX4" fmla="*/ 2534066 w 7048299"/>
              <a:gd name="connsiteY4" fmla="*/ 651933 h 26299436"/>
              <a:gd name="connsiteX5" fmla="*/ 3193383 w 7048299"/>
              <a:gd name="connsiteY5" fmla="*/ 717241 h 26299436"/>
              <a:gd name="connsiteX6" fmla="*/ 3862723 w 7048299"/>
              <a:gd name="connsiteY6" fmla="*/ 596936 h 26299436"/>
              <a:gd name="connsiteX7" fmla="*/ 4477074 w 7048299"/>
              <a:gd name="connsiteY7" fmla="*/ 645449 h 26299436"/>
              <a:gd name="connsiteX8" fmla="*/ 5134985 w 7048299"/>
              <a:gd name="connsiteY8" fmla="*/ 586661 h 26299436"/>
              <a:gd name="connsiteX9" fmla="*/ 5741302 w 7048299"/>
              <a:gd name="connsiteY9" fmla="*/ 660722 h 26299436"/>
              <a:gd name="connsiteX10" fmla="*/ 6384490 w 7048299"/>
              <a:gd name="connsiteY10" fmla="*/ 614800 h 26299436"/>
              <a:gd name="connsiteX11" fmla="*/ 7048299 w 7048299"/>
              <a:gd name="connsiteY11" fmla="*/ 599579 h 26299436"/>
              <a:gd name="connsiteX0" fmla="*/ 0 w 7048299"/>
              <a:gd name="connsiteY0" fmla="*/ 19197098 h 26767959"/>
              <a:gd name="connsiteX1" fmla="*/ 732164 w 7048299"/>
              <a:gd name="connsiteY1" fmla="*/ 26767806 h 26767959"/>
              <a:gd name="connsiteX2" fmla="*/ 1270768 w 7048299"/>
              <a:gd name="connsiteY2" fmla="*/ 18961815 h 26767959"/>
              <a:gd name="connsiteX3" fmla="*/ 1896925 w 7048299"/>
              <a:gd name="connsiteY3" fmla="*/ 1322542 h 26767959"/>
              <a:gd name="connsiteX4" fmla="*/ 2534066 w 7048299"/>
              <a:gd name="connsiteY4" fmla="*/ 1277345 h 26767959"/>
              <a:gd name="connsiteX5" fmla="*/ 3193383 w 7048299"/>
              <a:gd name="connsiteY5" fmla="*/ 1342653 h 26767959"/>
              <a:gd name="connsiteX6" fmla="*/ 3862723 w 7048299"/>
              <a:gd name="connsiteY6" fmla="*/ 1222348 h 26767959"/>
              <a:gd name="connsiteX7" fmla="*/ 4477074 w 7048299"/>
              <a:gd name="connsiteY7" fmla="*/ 1270861 h 26767959"/>
              <a:gd name="connsiteX8" fmla="*/ 5134985 w 7048299"/>
              <a:gd name="connsiteY8" fmla="*/ 1212073 h 26767959"/>
              <a:gd name="connsiteX9" fmla="*/ 5741302 w 7048299"/>
              <a:gd name="connsiteY9" fmla="*/ 1286134 h 26767959"/>
              <a:gd name="connsiteX10" fmla="*/ 6384490 w 7048299"/>
              <a:gd name="connsiteY10" fmla="*/ 1240212 h 26767959"/>
              <a:gd name="connsiteX11" fmla="*/ 7048299 w 7048299"/>
              <a:gd name="connsiteY11" fmla="*/ 1224991 h 26767959"/>
              <a:gd name="connsiteX0" fmla="*/ 0 w 7048299"/>
              <a:gd name="connsiteY0" fmla="*/ 19427221 h 27111442"/>
              <a:gd name="connsiteX1" fmla="*/ 732164 w 7048299"/>
              <a:gd name="connsiteY1" fmla="*/ 26997929 h 27111442"/>
              <a:gd name="connsiteX2" fmla="*/ 1223728 w 7048299"/>
              <a:gd name="connsiteY2" fmla="*/ 22298856 h 27111442"/>
              <a:gd name="connsiteX3" fmla="*/ 1896925 w 7048299"/>
              <a:gd name="connsiteY3" fmla="*/ 1552665 h 27111442"/>
              <a:gd name="connsiteX4" fmla="*/ 2534066 w 7048299"/>
              <a:gd name="connsiteY4" fmla="*/ 1507468 h 27111442"/>
              <a:gd name="connsiteX5" fmla="*/ 3193383 w 7048299"/>
              <a:gd name="connsiteY5" fmla="*/ 1572776 h 27111442"/>
              <a:gd name="connsiteX6" fmla="*/ 3862723 w 7048299"/>
              <a:gd name="connsiteY6" fmla="*/ 1452471 h 27111442"/>
              <a:gd name="connsiteX7" fmla="*/ 4477074 w 7048299"/>
              <a:gd name="connsiteY7" fmla="*/ 1500984 h 27111442"/>
              <a:gd name="connsiteX8" fmla="*/ 5134985 w 7048299"/>
              <a:gd name="connsiteY8" fmla="*/ 1442196 h 27111442"/>
              <a:gd name="connsiteX9" fmla="*/ 5741302 w 7048299"/>
              <a:gd name="connsiteY9" fmla="*/ 1516257 h 27111442"/>
              <a:gd name="connsiteX10" fmla="*/ 6384490 w 7048299"/>
              <a:gd name="connsiteY10" fmla="*/ 1470335 h 27111442"/>
              <a:gd name="connsiteX11" fmla="*/ 7048299 w 7048299"/>
              <a:gd name="connsiteY11" fmla="*/ 1455114 h 27111442"/>
              <a:gd name="connsiteX0" fmla="*/ 0 w 7048299"/>
              <a:gd name="connsiteY0" fmla="*/ 19474424 h 27257061"/>
              <a:gd name="connsiteX1" fmla="*/ 732164 w 7048299"/>
              <a:gd name="connsiteY1" fmla="*/ 27045132 h 27257061"/>
              <a:gd name="connsiteX2" fmla="*/ 1270768 w 7048299"/>
              <a:gd name="connsiteY2" fmla="*/ 22983377 h 27257061"/>
              <a:gd name="connsiteX3" fmla="*/ 1896925 w 7048299"/>
              <a:gd name="connsiteY3" fmla="*/ 1599868 h 27257061"/>
              <a:gd name="connsiteX4" fmla="*/ 2534066 w 7048299"/>
              <a:gd name="connsiteY4" fmla="*/ 1554671 h 27257061"/>
              <a:gd name="connsiteX5" fmla="*/ 3193383 w 7048299"/>
              <a:gd name="connsiteY5" fmla="*/ 1619979 h 27257061"/>
              <a:gd name="connsiteX6" fmla="*/ 3862723 w 7048299"/>
              <a:gd name="connsiteY6" fmla="*/ 1499674 h 27257061"/>
              <a:gd name="connsiteX7" fmla="*/ 4477074 w 7048299"/>
              <a:gd name="connsiteY7" fmla="*/ 1548187 h 27257061"/>
              <a:gd name="connsiteX8" fmla="*/ 5134985 w 7048299"/>
              <a:gd name="connsiteY8" fmla="*/ 1489399 h 27257061"/>
              <a:gd name="connsiteX9" fmla="*/ 5741302 w 7048299"/>
              <a:gd name="connsiteY9" fmla="*/ 1563460 h 27257061"/>
              <a:gd name="connsiteX10" fmla="*/ 6384490 w 7048299"/>
              <a:gd name="connsiteY10" fmla="*/ 1517538 h 27257061"/>
              <a:gd name="connsiteX11" fmla="*/ 7048299 w 7048299"/>
              <a:gd name="connsiteY11" fmla="*/ 1502317 h 27257061"/>
              <a:gd name="connsiteX0" fmla="*/ 0 w 7048299"/>
              <a:gd name="connsiteY0" fmla="*/ 19474424 h 27216759"/>
              <a:gd name="connsiteX1" fmla="*/ 732164 w 7048299"/>
              <a:gd name="connsiteY1" fmla="*/ 27045132 h 27216759"/>
              <a:gd name="connsiteX2" fmla="*/ 1270768 w 7048299"/>
              <a:gd name="connsiteY2" fmla="*/ 22983377 h 27216759"/>
              <a:gd name="connsiteX3" fmla="*/ 1896925 w 7048299"/>
              <a:gd name="connsiteY3" fmla="*/ 1599868 h 27216759"/>
              <a:gd name="connsiteX4" fmla="*/ 2534066 w 7048299"/>
              <a:gd name="connsiteY4" fmla="*/ 1554671 h 27216759"/>
              <a:gd name="connsiteX5" fmla="*/ 3193383 w 7048299"/>
              <a:gd name="connsiteY5" fmla="*/ 1619979 h 27216759"/>
              <a:gd name="connsiteX6" fmla="*/ 3862723 w 7048299"/>
              <a:gd name="connsiteY6" fmla="*/ 1499674 h 27216759"/>
              <a:gd name="connsiteX7" fmla="*/ 4477074 w 7048299"/>
              <a:gd name="connsiteY7" fmla="*/ 1548187 h 27216759"/>
              <a:gd name="connsiteX8" fmla="*/ 5134985 w 7048299"/>
              <a:gd name="connsiteY8" fmla="*/ 1489399 h 27216759"/>
              <a:gd name="connsiteX9" fmla="*/ 5741302 w 7048299"/>
              <a:gd name="connsiteY9" fmla="*/ 1563460 h 27216759"/>
              <a:gd name="connsiteX10" fmla="*/ 6384490 w 7048299"/>
              <a:gd name="connsiteY10" fmla="*/ 1517538 h 27216759"/>
              <a:gd name="connsiteX11" fmla="*/ 7048299 w 7048299"/>
              <a:gd name="connsiteY11" fmla="*/ 1502317 h 27216759"/>
              <a:gd name="connsiteX0" fmla="*/ 0 w 7048299"/>
              <a:gd name="connsiteY0" fmla="*/ 19415417 h 27065227"/>
              <a:gd name="connsiteX1" fmla="*/ 732164 w 7048299"/>
              <a:gd name="connsiteY1" fmla="*/ 26986125 h 27065227"/>
              <a:gd name="connsiteX2" fmla="*/ 1325649 w 7048299"/>
              <a:gd name="connsiteY2" fmla="*/ 22127726 h 27065227"/>
              <a:gd name="connsiteX3" fmla="*/ 1896925 w 7048299"/>
              <a:gd name="connsiteY3" fmla="*/ 1540861 h 27065227"/>
              <a:gd name="connsiteX4" fmla="*/ 2534066 w 7048299"/>
              <a:gd name="connsiteY4" fmla="*/ 1495664 h 27065227"/>
              <a:gd name="connsiteX5" fmla="*/ 3193383 w 7048299"/>
              <a:gd name="connsiteY5" fmla="*/ 1560972 h 27065227"/>
              <a:gd name="connsiteX6" fmla="*/ 3862723 w 7048299"/>
              <a:gd name="connsiteY6" fmla="*/ 1440667 h 27065227"/>
              <a:gd name="connsiteX7" fmla="*/ 4477074 w 7048299"/>
              <a:gd name="connsiteY7" fmla="*/ 1489180 h 27065227"/>
              <a:gd name="connsiteX8" fmla="*/ 5134985 w 7048299"/>
              <a:gd name="connsiteY8" fmla="*/ 1430392 h 27065227"/>
              <a:gd name="connsiteX9" fmla="*/ 5741302 w 7048299"/>
              <a:gd name="connsiteY9" fmla="*/ 1504453 h 27065227"/>
              <a:gd name="connsiteX10" fmla="*/ 6384490 w 7048299"/>
              <a:gd name="connsiteY10" fmla="*/ 1458531 h 27065227"/>
              <a:gd name="connsiteX11" fmla="*/ 7048299 w 7048299"/>
              <a:gd name="connsiteY11" fmla="*/ 1443310 h 27065227"/>
              <a:gd name="connsiteX0" fmla="*/ 0 w 7048299"/>
              <a:gd name="connsiteY0" fmla="*/ 19415417 h 27065227"/>
              <a:gd name="connsiteX1" fmla="*/ 732164 w 7048299"/>
              <a:gd name="connsiteY1" fmla="*/ 26986125 h 27065227"/>
              <a:gd name="connsiteX2" fmla="*/ 1325649 w 7048299"/>
              <a:gd name="connsiteY2" fmla="*/ 22127725 h 27065227"/>
              <a:gd name="connsiteX3" fmla="*/ 1896925 w 7048299"/>
              <a:gd name="connsiteY3" fmla="*/ 1540861 h 27065227"/>
              <a:gd name="connsiteX4" fmla="*/ 2534066 w 7048299"/>
              <a:gd name="connsiteY4" fmla="*/ 1495664 h 27065227"/>
              <a:gd name="connsiteX5" fmla="*/ 3193383 w 7048299"/>
              <a:gd name="connsiteY5" fmla="*/ 1560972 h 27065227"/>
              <a:gd name="connsiteX6" fmla="*/ 3862723 w 7048299"/>
              <a:gd name="connsiteY6" fmla="*/ 1440667 h 27065227"/>
              <a:gd name="connsiteX7" fmla="*/ 4477074 w 7048299"/>
              <a:gd name="connsiteY7" fmla="*/ 1489180 h 27065227"/>
              <a:gd name="connsiteX8" fmla="*/ 5134985 w 7048299"/>
              <a:gd name="connsiteY8" fmla="*/ 1430392 h 27065227"/>
              <a:gd name="connsiteX9" fmla="*/ 5741302 w 7048299"/>
              <a:gd name="connsiteY9" fmla="*/ 1504453 h 27065227"/>
              <a:gd name="connsiteX10" fmla="*/ 6384490 w 7048299"/>
              <a:gd name="connsiteY10" fmla="*/ 1458531 h 27065227"/>
              <a:gd name="connsiteX11" fmla="*/ 7048299 w 7048299"/>
              <a:gd name="connsiteY11" fmla="*/ 1443310 h 27065227"/>
              <a:gd name="connsiteX0" fmla="*/ 0 w 7048299"/>
              <a:gd name="connsiteY0" fmla="*/ 17985106 h 25592521"/>
              <a:gd name="connsiteX1" fmla="*/ 732164 w 7048299"/>
              <a:gd name="connsiteY1" fmla="*/ 25555814 h 25592521"/>
              <a:gd name="connsiteX2" fmla="*/ 1325649 w 7048299"/>
              <a:gd name="connsiteY2" fmla="*/ 20697414 h 25592521"/>
              <a:gd name="connsiteX3" fmla="*/ 2006686 w 7048299"/>
              <a:gd name="connsiteY3" fmla="*/ 16760444 h 25592521"/>
              <a:gd name="connsiteX4" fmla="*/ 2534066 w 7048299"/>
              <a:gd name="connsiteY4" fmla="*/ 65353 h 25592521"/>
              <a:gd name="connsiteX5" fmla="*/ 3193383 w 7048299"/>
              <a:gd name="connsiteY5" fmla="*/ 130661 h 25592521"/>
              <a:gd name="connsiteX6" fmla="*/ 3862723 w 7048299"/>
              <a:gd name="connsiteY6" fmla="*/ 10356 h 25592521"/>
              <a:gd name="connsiteX7" fmla="*/ 4477074 w 7048299"/>
              <a:gd name="connsiteY7" fmla="*/ 58869 h 25592521"/>
              <a:gd name="connsiteX8" fmla="*/ 5134985 w 7048299"/>
              <a:gd name="connsiteY8" fmla="*/ 81 h 25592521"/>
              <a:gd name="connsiteX9" fmla="*/ 5741302 w 7048299"/>
              <a:gd name="connsiteY9" fmla="*/ 74142 h 25592521"/>
              <a:gd name="connsiteX10" fmla="*/ 6384490 w 7048299"/>
              <a:gd name="connsiteY10" fmla="*/ 28220 h 25592521"/>
              <a:gd name="connsiteX11" fmla="*/ 7048299 w 7048299"/>
              <a:gd name="connsiteY11" fmla="*/ 12999 h 25592521"/>
              <a:gd name="connsiteX0" fmla="*/ 0 w 7048299"/>
              <a:gd name="connsiteY0" fmla="*/ 17985106 h 25592521"/>
              <a:gd name="connsiteX1" fmla="*/ 732164 w 7048299"/>
              <a:gd name="connsiteY1" fmla="*/ 25555814 h 25592521"/>
              <a:gd name="connsiteX2" fmla="*/ 1325649 w 7048299"/>
              <a:gd name="connsiteY2" fmla="*/ 20697414 h 25592521"/>
              <a:gd name="connsiteX3" fmla="*/ 2006686 w 7048299"/>
              <a:gd name="connsiteY3" fmla="*/ 16760444 h 25592521"/>
              <a:gd name="connsiteX4" fmla="*/ 2534066 w 7048299"/>
              <a:gd name="connsiteY4" fmla="*/ 65353 h 25592521"/>
              <a:gd name="connsiteX5" fmla="*/ 3193383 w 7048299"/>
              <a:gd name="connsiteY5" fmla="*/ 130661 h 25592521"/>
              <a:gd name="connsiteX6" fmla="*/ 3862723 w 7048299"/>
              <a:gd name="connsiteY6" fmla="*/ 10356 h 25592521"/>
              <a:gd name="connsiteX7" fmla="*/ 4477074 w 7048299"/>
              <a:gd name="connsiteY7" fmla="*/ 58869 h 25592521"/>
              <a:gd name="connsiteX8" fmla="*/ 5134985 w 7048299"/>
              <a:gd name="connsiteY8" fmla="*/ 81 h 25592521"/>
              <a:gd name="connsiteX9" fmla="*/ 5741302 w 7048299"/>
              <a:gd name="connsiteY9" fmla="*/ 74142 h 25592521"/>
              <a:gd name="connsiteX10" fmla="*/ 6384490 w 7048299"/>
              <a:gd name="connsiteY10" fmla="*/ 28220 h 25592521"/>
              <a:gd name="connsiteX11" fmla="*/ 7048299 w 7048299"/>
              <a:gd name="connsiteY11" fmla="*/ 12999 h 25592521"/>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534066 w 7048299"/>
              <a:gd name="connsiteY4" fmla="*/ 65353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534066 w 7048299"/>
              <a:gd name="connsiteY4" fmla="*/ 65353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635987 w 7048299"/>
              <a:gd name="connsiteY4" fmla="*/ 19184838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635987 w 7048299"/>
              <a:gd name="connsiteY4" fmla="*/ 19184838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620307 w 7048299"/>
              <a:gd name="connsiteY4" fmla="*/ 21813771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7985106 h 25584412"/>
              <a:gd name="connsiteX1" fmla="*/ 732164 w 7048299"/>
              <a:gd name="connsiteY1" fmla="*/ 25555814 h 25584412"/>
              <a:gd name="connsiteX2" fmla="*/ 1325649 w 7048299"/>
              <a:gd name="connsiteY2" fmla="*/ 20697414 h 25584412"/>
              <a:gd name="connsiteX3" fmla="*/ 1936126 w 7048299"/>
              <a:gd name="connsiteY3" fmla="*/ 24009917 h 25584412"/>
              <a:gd name="connsiteX4" fmla="*/ 2620307 w 7048299"/>
              <a:gd name="connsiteY4" fmla="*/ 22530749 h 25584412"/>
              <a:gd name="connsiteX5" fmla="*/ 3193383 w 7048299"/>
              <a:gd name="connsiteY5" fmla="*/ 130661 h 25584412"/>
              <a:gd name="connsiteX6" fmla="*/ 3862723 w 7048299"/>
              <a:gd name="connsiteY6" fmla="*/ 10356 h 25584412"/>
              <a:gd name="connsiteX7" fmla="*/ 4477074 w 7048299"/>
              <a:gd name="connsiteY7" fmla="*/ 58869 h 25584412"/>
              <a:gd name="connsiteX8" fmla="*/ 5134985 w 7048299"/>
              <a:gd name="connsiteY8" fmla="*/ 81 h 25584412"/>
              <a:gd name="connsiteX9" fmla="*/ 5741302 w 7048299"/>
              <a:gd name="connsiteY9" fmla="*/ 74142 h 25584412"/>
              <a:gd name="connsiteX10" fmla="*/ 6384490 w 7048299"/>
              <a:gd name="connsiteY10" fmla="*/ 28220 h 25584412"/>
              <a:gd name="connsiteX11" fmla="*/ 7048299 w 7048299"/>
              <a:gd name="connsiteY11" fmla="*/ 12999 h 25584412"/>
              <a:gd name="connsiteX0" fmla="*/ 0 w 7048299"/>
              <a:gd name="connsiteY0" fmla="*/ 19881166 h 29955846"/>
              <a:gd name="connsiteX1" fmla="*/ 732164 w 7048299"/>
              <a:gd name="connsiteY1" fmla="*/ 27451874 h 29955846"/>
              <a:gd name="connsiteX2" fmla="*/ 1325649 w 7048299"/>
              <a:gd name="connsiteY2" fmla="*/ 22593474 h 29955846"/>
              <a:gd name="connsiteX3" fmla="*/ 1936126 w 7048299"/>
              <a:gd name="connsiteY3" fmla="*/ 25905977 h 29955846"/>
              <a:gd name="connsiteX4" fmla="*/ 2620307 w 7048299"/>
              <a:gd name="connsiteY4" fmla="*/ 24426809 h 29955846"/>
              <a:gd name="connsiteX5" fmla="*/ 3263943 w 7048299"/>
              <a:gd name="connsiteY5" fmla="*/ 27838028 h 29955846"/>
              <a:gd name="connsiteX6" fmla="*/ 3862723 w 7048299"/>
              <a:gd name="connsiteY6" fmla="*/ 1906416 h 29955846"/>
              <a:gd name="connsiteX7" fmla="*/ 4477074 w 7048299"/>
              <a:gd name="connsiteY7" fmla="*/ 1954929 h 29955846"/>
              <a:gd name="connsiteX8" fmla="*/ 5134985 w 7048299"/>
              <a:gd name="connsiteY8" fmla="*/ 1896141 h 29955846"/>
              <a:gd name="connsiteX9" fmla="*/ 5741302 w 7048299"/>
              <a:gd name="connsiteY9" fmla="*/ 1970202 h 29955846"/>
              <a:gd name="connsiteX10" fmla="*/ 6384490 w 7048299"/>
              <a:gd name="connsiteY10" fmla="*/ 1924280 h 29955846"/>
              <a:gd name="connsiteX11" fmla="*/ 7048299 w 7048299"/>
              <a:gd name="connsiteY11" fmla="*/ 1909059 h 29955846"/>
              <a:gd name="connsiteX0" fmla="*/ 0 w 7048299"/>
              <a:gd name="connsiteY0" fmla="*/ 19881166 h 27946470"/>
              <a:gd name="connsiteX1" fmla="*/ 732164 w 7048299"/>
              <a:gd name="connsiteY1" fmla="*/ 27451874 h 27946470"/>
              <a:gd name="connsiteX2" fmla="*/ 1325649 w 7048299"/>
              <a:gd name="connsiteY2" fmla="*/ 22593474 h 27946470"/>
              <a:gd name="connsiteX3" fmla="*/ 1936126 w 7048299"/>
              <a:gd name="connsiteY3" fmla="*/ 25905977 h 27946470"/>
              <a:gd name="connsiteX4" fmla="*/ 2620307 w 7048299"/>
              <a:gd name="connsiteY4" fmla="*/ 24426809 h 27946470"/>
              <a:gd name="connsiteX5" fmla="*/ 3263943 w 7048299"/>
              <a:gd name="connsiteY5" fmla="*/ 27838028 h 27946470"/>
              <a:gd name="connsiteX6" fmla="*/ 3862723 w 7048299"/>
              <a:gd name="connsiteY6" fmla="*/ 1906416 h 27946470"/>
              <a:gd name="connsiteX7" fmla="*/ 4477074 w 7048299"/>
              <a:gd name="connsiteY7" fmla="*/ 1954929 h 27946470"/>
              <a:gd name="connsiteX8" fmla="*/ 5134985 w 7048299"/>
              <a:gd name="connsiteY8" fmla="*/ 1896141 h 27946470"/>
              <a:gd name="connsiteX9" fmla="*/ 5741302 w 7048299"/>
              <a:gd name="connsiteY9" fmla="*/ 1970202 h 27946470"/>
              <a:gd name="connsiteX10" fmla="*/ 6384490 w 7048299"/>
              <a:gd name="connsiteY10" fmla="*/ 1924280 h 27946470"/>
              <a:gd name="connsiteX11" fmla="*/ 7048299 w 7048299"/>
              <a:gd name="connsiteY11" fmla="*/ 1909059 h 27946470"/>
              <a:gd name="connsiteX0" fmla="*/ 0 w 7048299"/>
              <a:gd name="connsiteY0" fmla="*/ 19910673 h 28366370"/>
              <a:gd name="connsiteX1" fmla="*/ 732164 w 7048299"/>
              <a:gd name="connsiteY1" fmla="*/ 27481381 h 28366370"/>
              <a:gd name="connsiteX2" fmla="*/ 1325649 w 7048299"/>
              <a:gd name="connsiteY2" fmla="*/ 22622981 h 28366370"/>
              <a:gd name="connsiteX3" fmla="*/ 1936126 w 7048299"/>
              <a:gd name="connsiteY3" fmla="*/ 25935484 h 28366370"/>
              <a:gd name="connsiteX4" fmla="*/ 2620307 w 7048299"/>
              <a:gd name="connsiteY4" fmla="*/ 24456316 h 28366370"/>
              <a:gd name="connsiteX5" fmla="*/ 3248263 w 7048299"/>
              <a:gd name="connsiteY5" fmla="*/ 28265861 h 28366370"/>
              <a:gd name="connsiteX6" fmla="*/ 3862723 w 7048299"/>
              <a:gd name="connsiteY6" fmla="*/ 1935923 h 28366370"/>
              <a:gd name="connsiteX7" fmla="*/ 4477074 w 7048299"/>
              <a:gd name="connsiteY7" fmla="*/ 1984436 h 28366370"/>
              <a:gd name="connsiteX8" fmla="*/ 5134985 w 7048299"/>
              <a:gd name="connsiteY8" fmla="*/ 1925648 h 28366370"/>
              <a:gd name="connsiteX9" fmla="*/ 5741302 w 7048299"/>
              <a:gd name="connsiteY9" fmla="*/ 1999709 h 28366370"/>
              <a:gd name="connsiteX10" fmla="*/ 6384490 w 7048299"/>
              <a:gd name="connsiteY10" fmla="*/ 1953787 h 28366370"/>
              <a:gd name="connsiteX11" fmla="*/ 7048299 w 7048299"/>
              <a:gd name="connsiteY11" fmla="*/ 1938566 h 28366370"/>
              <a:gd name="connsiteX0" fmla="*/ 0 w 7048299"/>
              <a:gd name="connsiteY0" fmla="*/ 17985106 h 26440803"/>
              <a:gd name="connsiteX1" fmla="*/ 732164 w 7048299"/>
              <a:gd name="connsiteY1" fmla="*/ 25555814 h 26440803"/>
              <a:gd name="connsiteX2" fmla="*/ 1325649 w 7048299"/>
              <a:gd name="connsiteY2" fmla="*/ 20697414 h 26440803"/>
              <a:gd name="connsiteX3" fmla="*/ 1936126 w 7048299"/>
              <a:gd name="connsiteY3" fmla="*/ 24009917 h 26440803"/>
              <a:gd name="connsiteX4" fmla="*/ 2620307 w 7048299"/>
              <a:gd name="connsiteY4" fmla="*/ 22530749 h 26440803"/>
              <a:gd name="connsiteX5" fmla="*/ 3248263 w 7048299"/>
              <a:gd name="connsiteY5" fmla="*/ 26340294 h 26440803"/>
              <a:gd name="connsiteX6" fmla="*/ 3831363 w 7048299"/>
              <a:gd name="connsiteY6" fmla="*/ 14827961 h 26440803"/>
              <a:gd name="connsiteX7" fmla="*/ 4477074 w 7048299"/>
              <a:gd name="connsiteY7" fmla="*/ 58869 h 26440803"/>
              <a:gd name="connsiteX8" fmla="*/ 5134985 w 7048299"/>
              <a:gd name="connsiteY8" fmla="*/ 81 h 26440803"/>
              <a:gd name="connsiteX9" fmla="*/ 5741302 w 7048299"/>
              <a:gd name="connsiteY9" fmla="*/ 74142 h 26440803"/>
              <a:gd name="connsiteX10" fmla="*/ 6384490 w 7048299"/>
              <a:gd name="connsiteY10" fmla="*/ 28220 h 26440803"/>
              <a:gd name="connsiteX11" fmla="*/ 7048299 w 7048299"/>
              <a:gd name="connsiteY11" fmla="*/ 12999 h 26440803"/>
              <a:gd name="connsiteX0" fmla="*/ 0 w 7048299"/>
              <a:gd name="connsiteY0" fmla="*/ 17985106 h 26440803"/>
              <a:gd name="connsiteX1" fmla="*/ 732164 w 7048299"/>
              <a:gd name="connsiteY1" fmla="*/ 25555814 h 26440803"/>
              <a:gd name="connsiteX2" fmla="*/ 1325649 w 7048299"/>
              <a:gd name="connsiteY2" fmla="*/ 20697414 h 26440803"/>
              <a:gd name="connsiteX3" fmla="*/ 1936126 w 7048299"/>
              <a:gd name="connsiteY3" fmla="*/ 24009917 h 26440803"/>
              <a:gd name="connsiteX4" fmla="*/ 2620307 w 7048299"/>
              <a:gd name="connsiteY4" fmla="*/ 22530749 h 26440803"/>
              <a:gd name="connsiteX5" fmla="*/ 3248263 w 7048299"/>
              <a:gd name="connsiteY5" fmla="*/ 26340294 h 26440803"/>
              <a:gd name="connsiteX6" fmla="*/ 3831363 w 7048299"/>
              <a:gd name="connsiteY6" fmla="*/ 14827961 h 26440803"/>
              <a:gd name="connsiteX7" fmla="*/ 4477074 w 7048299"/>
              <a:gd name="connsiteY7" fmla="*/ 58869 h 26440803"/>
              <a:gd name="connsiteX8" fmla="*/ 5134985 w 7048299"/>
              <a:gd name="connsiteY8" fmla="*/ 81 h 26440803"/>
              <a:gd name="connsiteX9" fmla="*/ 5741302 w 7048299"/>
              <a:gd name="connsiteY9" fmla="*/ 74142 h 26440803"/>
              <a:gd name="connsiteX10" fmla="*/ 6384490 w 7048299"/>
              <a:gd name="connsiteY10" fmla="*/ 28220 h 26440803"/>
              <a:gd name="connsiteX11" fmla="*/ 7048299 w 7048299"/>
              <a:gd name="connsiteY11" fmla="*/ 12999 h 26440803"/>
              <a:gd name="connsiteX0" fmla="*/ 0 w 7048299"/>
              <a:gd name="connsiteY0" fmla="*/ 17985106 h 26440803"/>
              <a:gd name="connsiteX1" fmla="*/ 732164 w 7048299"/>
              <a:gd name="connsiteY1" fmla="*/ 25555814 h 26440803"/>
              <a:gd name="connsiteX2" fmla="*/ 1325649 w 7048299"/>
              <a:gd name="connsiteY2" fmla="*/ 20697414 h 26440803"/>
              <a:gd name="connsiteX3" fmla="*/ 1936126 w 7048299"/>
              <a:gd name="connsiteY3" fmla="*/ 24009917 h 26440803"/>
              <a:gd name="connsiteX4" fmla="*/ 2620307 w 7048299"/>
              <a:gd name="connsiteY4" fmla="*/ 22530749 h 26440803"/>
              <a:gd name="connsiteX5" fmla="*/ 3248263 w 7048299"/>
              <a:gd name="connsiteY5" fmla="*/ 26340294 h 26440803"/>
              <a:gd name="connsiteX6" fmla="*/ 3831364 w 7048299"/>
              <a:gd name="connsiteY6" fmla="*/ 14827961 h 26440803"/>
              <a:gd name="connsiteX7" fmla="*/ 4477074 w 7048299"/>
              <a:gd name="connsiteY7" fmla="*/ 58869 h 26440803"/>
              <a:gd name="connsiteX8" fmla="*/ 5134985 w 7048299"/>
              <a:gd name="connsiteY8" fmla="*/ 81 h 26440803"/>
              <a:gd name="connsiteX9" fmla="*/ 5741302 w 7048299"/>
              <a:gd name="connsiteY9" fmla="*/ 74142 h 26440803"/>
              <a:gd name="connsiteX10" fmla="*/ 6384490 w 7048299"/>
              <a:gd name="connsiteY10" fmla="*/ 28220 h 26440803"/>
              <a:gd name="connsiteX11" fmla="*/ 7048299 w 7048299"/>
              <a:gd name="connsiteY11" fmla="*/ 12999 h 26440803"/>
              <a:gd name="connsiteX0" fmla="*/ 0 w 7048299"/>
              <a:gd name="connsiteY0" fmla="*/ 19211120 h 27666817"/>
              <a:gd name="connsiteX1" fmla="*/ 732164 w 7048299"/>
              <a:gd name="connsiteY1" fmla="*/ 26781828 h 27666817"/>
              <a:gd name="connsiteX2" fmla="*/ 1325649 w 7048299"/>
              <a:gd name="connsiteY2" fmla="*/ 21923428 h 27666817"/>
              <a:gd name="connsiteX3" fmla="*/ 1936126 w 7048299"/>
              <a:gd name="connsiteY3" fmla="*/ 25235931 h 27666817"/>
              <a:gd name="connsiteX4" fmla="*/ 2620307 w 7048299"/>
              <a:gd name="connsiteY4" fmla="*/ 23756763 h 27666817"/>
              <a:gd name="connsiteX5" fmla="*/ 3248263 w 7048299"/>
              <a:gd name="connsiteY5" fmla="*/ 27566308 h 27666817"/>
              <a:gd name="connsiteX6" fmla="*/ 3831364 w 7048299"/>
              <a:gd name="connsiteY6" fmla="*/ 16053975 h 27666817"/>
              <a:gd name="connsiteX7" fmla="*/ 4516275 w 7048299"/>
              <a:gd name="connsiteY7" fmla="*/ 18094102 h 27666817"/>
              <a:gd name="connsiteX8" fmla="*/ 5134985 w 7048299"/>
              <a:gd name="connsiteY8" fmla="*/ 1226095 h 27666817"/>
              <a:gd name="connsiteX9" fmla="*/ 5741302 w 7048299"/>
              <a:gd name="connsiteY9" fmla="*/ 1300156 h 27666817"/>
              <a:gd name="connsiteX10" fmla="*/ 6384490 w 7048299"/>
              <a:gd name="connsiteY10" fmla="*/ 1254234 h 27666817"/>
              <a:gd name="connsiteX11" fmla="*/ 7048299 w 7048299"/>
              <a:gd name="connsiteY11" fmla="*/ 1239013 h 27666817"/>
              <a:gd name="connsiteX0" fmla="*/ 0 w 7048299"/>
              <a:gd name="connsiteY0" fmla="*/ 19293721 h 27749418"/>
              <a:gd name="connsiteX1" fmla="*/ 732164 w 7048299"/>
              <a:gd name="connsiteY1" fmla="*/ 26864429 h 27749418"/>
              <a:gd name="connsiteX2" fmla="*/ 1325649 w 7048299"/>
              <a:gd name="connsiteY2" fmla="*/ 22006029 h 27749418"/>
              <a:gd name="connsiteX3" fmla="*/ 1936126 w 7048299"/>
              <a:gd name="connsiteY3" fmla="*/ 25318532 h 27749418"/>
              <a:gd name="connsiteX4" fmla="*/ 2620307 w 7048299"/>
              <a:gd name="connsiteY4" fmla="*/ 23839364 h 27749418"/>
              <a:gd name="connsiteX5" fmla="*/ 3248263 w 7048299"/>
              <a:gd name="connsiteY5" fmla="*/ 27648909 h 27749418"/>
              <a:gd name="connsiteX6" fmla="*/ 3831364 w 7048299"/>
              <a:gd name="connsiteY6" fmla="*/ 16136576 h 27749418"/>
              <a:gd name="connsiteX7" fmla="*/ 4516275 w 7048299"/>
              <a:gd name="connsiteY7" fmla="*/ 19292007 h 27749418"/>
              <a:gd name="connsiteX8" fmla="*/ 5134985 w 7048299"/>
              <a:gd name="connsiteY8" fmla="*/ 1308696 h 27749418"/>
              <a:gd name="connsiteX9" fmla="*/ 5741302 w 7048299"/>
              <a:gd name="connsiteY9" fmla="*/ 1382757 h 27749418"/>
              <a:gd name="connsiteX10" fmla="*/ 6384490 w 7048299"/>
              <a:gd name="connsiteY10" fmla="*/ 1336835 h 27749418"/>
              <a:gd name="connsiteX11" fmla="*/ 7048299 w 7048299"/>
              <a:gd name="connsiteY11" fmla="*/ 1321614 h 27749418"/>
              <a:gd name="connsiteX0" fmla="*/ 0 w 7048299"/>
              <a:gd name="connsiteY0" fmla="*/ 19209517 h 27665214"/>
              <a:gd name="connsiteX1" fmla="*/ 732164 w 7048299"/>
              <a:gd name="connsiteY1" fmla="*/ 26780225 h 27665214"/>
              <a:gd name="connsiteX2" fmla="*/ 1325649 w 7048299"/>
              <a:gd name="connsiteY2" fmla="*/ 21921825 h 27665214"/>
              <a:gd name="connsiteX3" fmla="*/ 1936126 w 7048299"/>
              <a:gd name="connsiteY3" fmla="*/ 25234328 h 27665214"/>
              <a:gd name="connsiteX4" fmla="*/ 2620307 w 7048299"/>
              <a:gd name="connsiteY4" fmla="*/ 23755160 h 27665214"/>
              <a:gd name="connsiteX5" fmla="*/ 3248263 w 7048299"/>
              <a:gd name="connsiteY5" fmla="*/ 27564705 h 27665214"/>
              <a:gd name="connsiteX6" fmla="*/ 3831364 w 7048299"/>
              <a:gd name="connsiteY6" fmla="*/ 16052372 h 27665214"/>
              <a:gd name="connsiteX7" fmla="*/ 4516275 w 7048299"/>
              <a:gd name="connsiteY7" fmla="*/ 19207803 h 27665214"/>
              <a:gd name="connsiteX8" fmla="*/ 5103626 w 7048299"/>
              <a:gd name="connsiteY8" fmla="*/ 18591363 h 27665214"/>
              <a:gd name="connsiteX9" fmla="*/ 5741302 w 7048299"/>
              <a:gd name="connsiteY9" fmla="*/ 1298553 h 27665214"/>
              <a:gd name="connsiteX10" fmla="*/ 6384490 w 7048299"/>
              <a:gd name="connsiteY10" fmla="*/ 1252631 h 27665214"/>
              <a:gd name="connsiteX11" fmla="*/ 7048299 w 7048299"/>
              <a:gd name="connsiteY11" fmla="*/ 1237410 h 27665214"/>
              <a:gd name="connsiteX0" fmla="*/ 0 w 7048299"/>
              <a:gd name="connsiteY0" fmla="*/ 19209517 h 27665214"/>
              <a:gd name="connsiteX1" fmla="*/ 732164 w 7048299"/>
              <a:gd name="connsiteY1" fmla="*/ 26780225 h 27665214"/>
              <a:gd name="connsiteX2" fmla="*/ 1325649 w 7048299"/>
              <a:gd name="connsiteY2" fmla="*/ 21921825 h 27665214"/>
              <a:gd name="connsiteX3" fmla="*/ 1936126 w 7048299"/>
              <a:gd name="connsiteY3" fmla="*/ 25234328 h 27665214"/>
              <a:gd name="connsiteX4" fmla="*/ 2620307 w 7048299"/>
              <a:gd name="connsiteY4" fmla="*/ 23755160 h 27665214"/>
              <a:gd name="connsiteX5" fmla="*/ 3248263 w 7048299"/>
              <a:gd name="connsiteY5" fmla="*/ 27564705 h 27665214"/>
              <a:gd name="connsiteX6" fmla="*/ 3831364 w 7048299"/>
              <a:gd name="connsiteY6" fmla="*/ 16052372 h 27665214"/>
              <a:gd name="connsiteX7" fmla="*/ 4516275 w 7048299"/>
              <a:gd name="connsiteY7" fmla="*/ 19207803 h 27665214"/>
              <a:gd name="connsiteX8" fmla="*/ 5103626 w 7048299"/>
              <a:gd name="connsiteY8" fmla="*/ 18591363 h 27665214"/>
              <a:gd name="connsiteX9" fmla="*/ 5741302 w 7048299"/>
              <a:gd name="connsiteY9" fmla="*/ 1298553 h 27665214"/>
              <a:gd name="connsiteX10" fmla="*/ 6384490 w 7048299"/>
              <a:gd name="connsiteY10" fmla="*/ 1252631 h 27665214"/>
              <a:gd name="connsiteX11" fmla="*/ 7048299 w 7048299"/>
              <a:gd name="connsiteY11" fmla="*/ 1237410 h 27665214"/>
              <a:gd name="connsiteX0" fmla="*/ 0 w 7048299"/>
              <a:gd name="connsiteY0" fmla="*/ 19239024 h 27694721"/>
              <a:gd name="connsiteX1" fmla="*/ 732164 w 7048299"/>
              <a:gd name="connsiteY1" fmla="*/ 26809732 h 27694721"/>
              <a:gd name="connsiteX2" fmla="*/ 1325649 w 7048299"/>
              <a:gd name="connsiteY2" fmla="*/ 21951332 h 27694721"/>
              <a:gd name="connsiteX3" fmla="*/ 1936126 w 7048299"/>
              <a:gd name="connsiteY3" fmla="*/ 25263835 h 27694721"/>
              <a:gd name="connsiteX4" fmla="*/ 2620307 w 7048299"/>
              <a:gd name="connsiteY4" fmla="*/ 23784667 h 27694721"/>
              <a:gd name="connsiteX5" fmla="*/ 3248263 w 7048299"/>
              <a:gd name="connsiteY5" fmla="*/ 27594212 h 27694721"/>
              <a:gd name="connsiteX6" fmla="*/ 3831364 w 7048299"/>
              <a:gd name="connsiteY6" fmla="*/ 16081879 h 27694721"/>
              <a:gd name="connsiteX7" fmla="*/ 4516275 w 7048299"/>
              <a:gd name="connsiteY7" fmla="*/ 19237310 h 27694721"/>
              <a:gd name="connsiteX8" fmla="*/ 5103626 w 7048299"/>
              <a:gd name="connsiteY8" fmla="*/ 19019196 h 27694721"/>
              <a:gd name="connsiteX9" fmla="*/ 5741302 w 7048299"/>
              <a:gd name="connsiteY9" fmla="*/ 1328060 h 27694721"/>
              <a:gd name="connsiteX10" fmla="*/ 6384490 w 7048299"/>
              <a:gd name="connsiteY10" fmla="*/ 1282138 h 27694721"/>
              <a:gd name="connsiteX11" fmla="*/ 7048299 w 7048299"/>
              <a:gd name="connsiteY11" fmla="*/ 1266917 h 27694721"/>
              <a:gd name="connsiteX0" fmla="*/ 0 w 7048299"/>
              <a:gd name="connsiteY0" fmla="*/ 19239024 h 27694721"/>
              <a:gd name="connsiteX1" fmla="*/ 732164 w 7048299"/>
              <a:gd name="connsiteY1" fmla="*/ 26809732 h 27694721"/>
              <a:gd name="connsiteX2" fmla="*/ 1325649 w 7048299"/>
              <a:gd name="connsiteY2" fmla="*/ 21951332 h 27694721"/>
              <a:gd name="connsiteX3" fmla="*/ 1936126 w 7048299"/>
              <a:gd name="connsiteY3" fmla="*/ 25263835 h 27694721"/>
              <a:gd name="connsiteX4" fmla="*/ 2620307 w 7048299"/>
              <a:gd name="connsiteY4" fmla="*/ 23784667 h 27694721"/>
              <a:gd name="connsiteX5" fmla="*/ 3248263 w 7048299"/>
              <a:gd name="connsiteY5" fmla="*/ 27594212 h 27694721"/>
              <a:gd name="connsiteX6" fmla="*/ 3831364 w 7048299"/>
              <a:gd name="connsiteY6" fmla="*/ 16081879 h 27694721"/>
              <a:gd name="connsiteX7" fmla="*/ 4516275 w 7048299"/>
              <a:gd name="connsiteY7" fmla="*/ 19237310 h 27694721"/>
              <a:gd name="connsiteX8" fmla="*/ 5103626 w 7048299"/>
              <a:gd name="connsiteY8" fmla="*/ 19019196 h 27694721"/>
              <a:gd name="connsiteX9" fmla="*/ 5741302 w 7048299"/>
              <a:gd name="connsiteY9" fmla="*/ 1328060 h 27694721"/>
              <a:gd name="connsiteX10" fmla="*/ 6384490 w 7048299"/>
              <a:gd name="connsiteY10" fmla="*/ 1282138 h 27694721"/>
              <a:gd name="connsiteX11" fmla="*/ 7048299 w 7048299"/>
              <a:gd name="connsiteY11" fmla="*/ 1266917 h 27694721"/>
              <a:gd name="connsiteX0" fmla="*/ 0 w 7048299"/>
              <a:gd name="connsiteY0" fmla="*/ 17974772 h 26430469"/>
              <a:gd name="connsiteX1" fmla="*/ 732164 w 7048299"/>
              <a:gd name="connsiteY1" fmla="*/ 25545480 h 26430469"/>
              <a:gd name="connsiteX2" fmla="*/ 1325649 w 7048299"/>
              <a:gd name="connsiteY2" fmla="*/ 20687080 h 26430469"/>
              <a:gd name="connsiteX3" fmla="*/ 1936126 w 7048299"/>
              <a:gd name="connsiteY3" fmla="*/ 23999583 h 26430469"/>
              <a:gd name="connsiteX4" fmla="*/ 2620307 w 7048299"/>
              <a:gd name="connsiteY4" fmla="*/ 22520415 h 26430469"/>
              <a:gd name="connsiteX5" fmla="*/ 3248263 w 7048299"/>
              <a:gd name="connsiteY5" fmla="*/ 26329960 h 26430469"/>
              <a:gd name="connsiteX6" fmla="*/ 3831364 w 7048299"/>
              <a:gd name="connsiteY6" fmla="*/ 14817627 h 26430469"/>
              <a:gd name="connsiteX7" fmla="*/ 4516275 w 7048299"/>
              <a:gd name="connsiteY7" fmla="*/ 17973058 h 26430469"/>
              <a:gd name="connsiteX8" fmla="*/ 5103626 w 7048299"/>
              <a:gd name="connsiteY8" fmla="*/ 17754944 h 26430469"/>
              <a:gd name="connsiteX9" fmla="*/ 5788343 w 7048299"/>
              <a:gd name="connsiteY9" fmla="*/ 16315369 h 26430469"/>
              <a:gd name="connsiteX10" fmla="*/ 6384490 w 7048299"/>
              <a:gd name="connsiteY10" fmla="*/ 17886 h 26430469"/>
              <a:gd name="connsiteX11" fmla="*/ 7048299 w 7048299"/>
              <a:gd name="connsiteY11" fmla="*/ 2665 h 26430469"/>
              <a:gd name="connsiteX0" fmla="*/ 0 w 7048299"/>
              <a:gd name="connsiteY0" fmla="*/ 17974772 h 26430469"/>
              <a:gd name="connsiteX1" fmla="*/ 732164 w 7048299"/>
              <a:gd name="connsiteY1" fmla="*/ 25545480 h 26430469"/>
              <a:gd name="connsiteX2" fmla="*/ 1325649 w 7048299"/>
              <a:gd name="connsiteY2" fmla="*/ 20687080 h 26430469"/>
              <a:gd name="connsiteX3" fmla="*/ 1936126 w 7048299"/>
              <a:gd name="connsiteY3" fmla="*/ 23999583 h 26430469"/>
              <a:gd name="connsiteX4" fmla="*/ 2620307 w 7048299"/>
              <a:gd name="connsiteY4" fmla="*/ 22520415 h 26430469"/>
              <a:gd name="connsiteX5" fmla="*/ 3248263 w 7048299"/>
              <a:gd name="connsiteY5" fmla="*/ 26329960 h 26430469"/>
              <a:gd name="connsiteX6" fmla="*/ 3831364 w 7048299"/>
              <a:gd name="connsiteY6" fmla="*/ 14817627 h 26430469"/>
              <a:gd name="connsiteX7" fmla="*/ 4516275 w 7048299"/>
              <a:gd name="connsiteY7" fmla="*/ 17973058 h 26430469"/>
              <a:gd name="connsiteX8" fmla="*/ 5103626 w 7048299"/>
              <a:gd name="connsiteY8" fmla="*/ 17754944 h 26430469"/>
              <a:gd name="connsiteX9" fmla="*/ 5788343 w 7048299"/>
              <a:gd name="connsiteY9" fmla="*/ 16315369 h 26430469"/>
              <a:gd name="connsiteX10" fmla="*/ 6384490 w 7048299"/>
              <a:gd name="connsiteY10" fmla="*/ 17886 h 26430469"/>
              <a:gd name="connsiteX11" fmla="*/ 7048299 w 7048299"/>
              <a:gd name="connsiteY11" fmla="*/ 2665 h 26430469"/>
              <a:gd name="connsiteX0" fmla="*/ 0 w 7048299"/>
              <a:gd name="connsiteY0" fmla="*/ 17974772 h 26430469"/>
              <a:gd name="connsiteX1" fmla="*/ 732164 w 7048299"/>
              <a:gd name="connsiteY1" fmla="*/ 25545480 h 26430469"/>
              <a:gd name="connsiteX2" fmla="*/ 1325649 w 7048299"/>
              <a:gd name="connsiteY2" fmla="*/ 20687080 h 26430469"/>
              <a:gd name="connsiteX3" fmla="*/ 1936126 w 7048299"/>
              <a:gd name="connsiteY3" fmla="*/ 23999583 h 26430469"/>
              <a:gd name="connsiteX4" fmla="*/ 2620307 w 7048299"/>
              <a:gd name="connsiteY4" fmla="*/ 22520415 h 26430469"/>
              <a:gd name="connsiteX5" fmla="*/ 3248263 w 7048299"/>
              <a:gd name="connsiteY5" fmla="*/ 26329960 h 26430469"/>
              <a:gd name="connsiteX6" fmla="*/ 3831364 w 7048299"/>
              <a:gd name="connsiteY6" fmla="*/ 14817627 h 26430469"/>
              <a:gd name="connsiteX7" fmla="*/ 4516275 w 7048299"/>
              <a:gd name="connsiteY7" fmla="*/ 17973058 h 26430469"/>
              <a:gd name="connsiteX8" fmla="*/ 5103626 w 7048299"/>
              <a:gd name="connsiteY8" fmla="*/ 17754944 h 26430469"/>
              <a:gd name="connsiteX9" fmla="*/ 5702102 w 7048299"/>
              <a:gd name="connsiteY9" fmla="*/ 21812227 h 26430469"/>
              <a:gd name="connsiteX10" fmla="*/ 6384490 w 7048299"/>
              <a:gd name="connsiteY10" fmla="*/ 17886 h 26430469"/>
              <a:gd name="connsiteX11" fmla="*/ 7048299 w 7048299"/>
              <a:gd name="connsiteY11" fmla="*/ 2665 h 26430469"/>
              <a:gd name="connsiteX0" fmla="*/ 0 w 7048299"/>
              <a:gd name="connsiteY0" fmla="*/ 17974772 h 26430469"/>
              <a:gd name="connsiteX1" fmla="*/ 732164 w 7048299"/>
              <a:gd name="connsiteY1" fmla="*/ 25545480 h 26430469"/>
              <a:gd name="connsiteX2" fmla="*/ 1325649 w 7048299"/>
              <a:gd name="connsiteY2" fmla="*/ 20687080 h 26430469"/>
              <a:gd name="connsiteX3" fmla="*/ 1936126 w 7048299"/>
              <a:gd name="connsiteY3" fmla="*/ 23999583 h 26430469"/>
              <a:gd name="connsiteX4" fmla="*/ 2620307 w 7048299"/>
              <a:gd name="connsiteY4" fmla="*/ 22520415 h 26430469"/>
              <a:gd name="connsiteX5" fmla="*/ 3248263 w 7048299"/>
              <a:gd name="connsiteY5" fmla="*/ 26329960 h 26430469"/>
              <a:gd name="connsiteX6" fmla="*/ 3831364 w 7048299"/>
              <a:gd name="connsiteY6" fmla="*/ 14817627 h 26430469"/>
              <a:gd name="connsiteX7" fmla="*/ 4516275 w 7048299"/>
              <a:gd name="connsiteY7" fmla="*/ 17973058 h 26430469"/>
              <a:gd name="connsiteX8" fmla="*/ 5103626 w 7048299"/>
              <a:gd name="connsiteY8" fmla="*/ 17754944 h 26430469"/>
              <a:gd name="connsiteX9" fmla="*/ 5702102 w 7048299"/>
              <a:gd name="connsiteY9" fmla="*/ 21812227 h 26430469"/>
              <a:gd name="connsiteX10" fmla="*/ 6384490 w 7048299"/>
              <a:gd name="connsiteY10" fmla="*/ 17886 h 26430469"/>
              <a:gd name="connsiteX11" fmla="*/ 7048299 w 7048299"/>
              <a:gd name="connsiteY11" fmla="*/ 2665 h 26430469"/>
              <a:gd name="connsiteX0" fmla="*/ 0 w 7048299"/>
              <a:gd name="connsiteY0" fmla="*/ 17972115 h 26427812"/>
              <a:gd name="connsiteX1" fmla="*/ 732164 w 7048299"/>
              <a:gd name="connsiteY1" fmla="*/ 25542823 h 26427812"/>
              <a:gd name="connsiteX2" fmla="*/ 1325649 w 7048299"/>
              <a:gd name="connsiteY2" fmla="*/ 20684423 h 26427812"/>
              <a:gd name="connsiteX3" fmla="*/ 1936126 w 7048299"/>
              <a:gd name="connsiteY3" fmla="*/ 23996926 h 26427812"/>
              <a:gd name="connsiteX4" fmla="*/ 2620307 w 7048299"/>
              <a:gd name="connsiteY4" fmla="*/ 22517758 h 26427812"/>
              <a:gd name="connsiteX5" fmla="*/ 3248263 w 7048299"/>
              <a:gd name="connsiteY5" fmla="*/ 26327303 h 26427812"/>
              <a:gd name="connsiteX6" fmla="*/ 3831364 w 7048299"/>
              <a:gd name="connsiteY6" fmla="*/ 14814970 h 26427812"/>
              <a:gd name="connsiteX7" fmla="*/ 4516275 w 7048299"/>
              <a:gd name="connsiteY7" fmla="*/ 17970401 h 26427812"/>
              <a:gd name="connsiteX8" fmla="*/ 5103626 w 7048299"/>
              <a:gd name="connsiteY8" fmla="*/ 17752287 h 26427812"/>
              <a:gd name="connsiteX9" fmla="*/ 5702102 w 7048299"/>
              <a:gd name="connsiteY9" fmla="*/ 21809570 h 26427812"/>
              <a:gd name="connsiteX10" fmla="*/ 6313930 w 7048299"/>
              <a:gd name="connsiteY10" fmla="*/ 22161966 h 26427812"/>
              <a:gd name="connsiteX11" fmla="*/ 7048299 w 7048299"/>
              <a:gd name="connsiteY11" fmla="*/ 8 h 26427812"/>
              <a:gd name="connsiteX0" fmla="*/ 0 w 6962058"/>
              <a:gd name="connsiteY0" fmla="*/ 3422629 h 11878326"/>
              <a:gd name="connsiteX1" fmla="*/ 732164 w 6962058"/>
              <a:gd name="connsiteY1" fmla="*/ 10993337 h 11878326"/>
              <a:gd name="connsiteX2" fmla="*/ 1325649 w 6962058"/>
              <a:gd name="connsiteY2" fmla="*/ 6134937 h 11878326"/>
              <a:gd name="connsiteX3" fmla="*/ 1936126 w 6962058"/>
              <a:gd name="connsiteY3" fmla="*/ 9447440 h 11878326"/>
              <a:gd name="connsiteX4" fmla="*/ 2620307 w 6962058"/>
              <a:gd name="connsiteY4" fmla="*/ 7968272 h 11878326"/>
              <a:gd name="connsiteX5" fmla="*/ 3248263 w 6962058"/>
              <a:gd name="connsiteY5" fmla="*/ 11777817 h 11878326"/>
              <a:gd name="connsiteX6" fmla="*/ 3831364 w 6962058"/>
              <a:gd name="connsiteY6" fmla="*/ 265484 h 11878326"/>
              <a:gd name="connsiteX7" fmla="*/ 4516275 w 6962058"/>
              <a:gd name="connsiteY7" fmla="*/ 3420915 h 11878326"/>
              <a:gd name="connsiteX8" fmla="*/ 5103626 w 6962058"/>
              <a:gd name="connsiteY8" fmla="*/ 3202801 h 11878326"/>
              <a:gd name="connsiteX9" fmla="*/ 5702102 w 6962058"/>
              <a:gd name="connsiteY9" fmla="*/ 7260084 h 11878326"/>
              <a:gd name="connsiteX10" fmla="*/ 6313930 w 6962058"/>
              <a:gd name="connsiteY10" fmla="*/ 7612480 h 11878326"/>
              <a:gd name="connsiteX11" fmla="*/ 6962058 w 6962058"/>
              <a:gd name="connsiteY11" fmla="*/ 10704176 h 11878326"/>
              <a:gd name="connsiteX0" fmla="*/ 0 w 7011450"/>
              <a:gd name="connsiteY0" fmla="*/ 10699983 h 11878326"/>
              <a:gd name="connsiteX1" fmla="*/ 781556 w 7011450"/>
              <a:gd name="connsiteY1" fmla="*/ 10993337 h 11878326"/>
              <a:gd name="connsiteX2" fmla="*/ 1375041 w 7011450"/>
              <a:gd name="connsiteY2" fmla="*/ 6134937 h 11878326"/>
              <a:gd name="connsiteX3" fmla="*/ 1985518 w 7011450"/>
              <a:gd name="connsiteY3" fmla="*/ 9447440 h 11878326"/>
              <a:gd name="connsiteX4" fmla="*/ 2669699 w 7011450"/>
              <a:gd name="connsiteY4" fmla="*/ 7968272 h 11878326"/>
              <a:gd name="connsiteX5" fmla="*/ 3297655 w 7011450"/>
              <a:gd name="connsiteY5" fmla="*/ 11777817 h 11878326"/>
              <a:gd name="connsiteX6" fmla="*/ 3880756 w 7011450"/>
              <a:gd name="connsiteY6" fmla="*/ 265484 h 11878326"/>
              <a:gd name="connsiteX7" fmla="*/ 4565667 w 7011450"/>
              <a:gd name="connsiteY7" fmla="*/ 3420915 h 11878326"/>
              <a:gd name="connsiteX8" fmla="*/ 5153018 w 7011450"/>
              <a:gd name="connsiteY8" fmla="*/ 3202801 h 11878326"/>
              <a:gd name="connsiteX9" fmla="*/ 5751494 w 7011450"/>
              <a:gd name="connsiteY9" fmla="*/ 7260084 h 11878326"/>
              <a:gd name="connsiteX10" fmla="*/ 6363322 w 7011450"/>
              <a:gd name="connsiteY10" fmla="*/ 7612480 h 11878326"/>
              <a:gd name="connsiteX11" fmla="*/ 7011450 w 7011450"/>
              <a:gd name="connsiteY11" fmla="*/ 10704176 h 11878326"/>
              <a:gd name="connsiteX0" fmla="*/ 0 w 7011450"/>
              <a:gd name="connsiteY0" fmla="*/ 10699983 h 11878326"/>
              <a:gd name="connsiteX1" fmla="*/ 781556 w 7011450"/>
              <a:gd name="connsiteY1" fmla="*/ 10993337 h 11878326"/>
              <a:gd name="connsiteX2" fmla="*/ 1375041 w 7011450"/>
              <a:gd name="connsiteY2" fmla="*/ 10902860 h 11878326"/>
              <a:gd name="connsiteX3" fmla="*/ 1985518 w 7011450"/>
              <a:gd name="connsiteY3" fmla="*/ 9447440 h 11878326"/>
              <a:gd name="connsiteX4" fmla="*/ 2669699 w 7011450"/>
              <a:gd name="connsiteY4" fmla="*/ 7968272 h 11878326"/>
              <a:gd name="connsiteX5" fmla="*/ 3297655 w 7011450"/>
              <a:gd name="connsiteY5" fmla="*/ 11777817 h 11878326"/>
              <a:gd name="connsiteX6" fmla="*/ 3880756 w 7011450"/>
              <a:gd name="connsiteY6" fmla="*/ 265484 h 11878326"/>
              <a:gd name="connsiteX7" fmla="*/ 4565667 w 7011450"/>
              <a:gd name="connsiteY7" fmla="*/ 3420915 h 11878326"/>
              <a:gd name="connsiteX8" fmla="*/ 5153018 w 7011450"/>
              <a:gd name="connsiteY8" fmla="*/ 3202801 h 11878326"/>
              <a:gd name="connsiteX9" fmla="*/ 5751494 w 7011450"/>
              <a:gd name="connsiteY9" fmla="*/ 7260084 h 11878326"/>
              <a:gd name="connsiteX10" fmla="*/ 6363322 w 7011450"/>
              <a:gd name="connsiteY10" fmla="*/ 7612480 h 11878326"/>
              <a:gd name="connsiteX11" fmla="*/ 7011450 w 7011450"/>
              <a:gd name="connsiteY11" fmla="*/ 10704176 h 11878326"/>
              <a:gd name="connsiteX0" fmla="*/ 0 w 7011450"/>
              <a:gd name="connsiteY0" fmla="*/ 10699983 h 11878326"/>
              <a:gd name="connsiteX1" fmla="*/ 781556 w 7011450"/>
              <a:gd name="connsiteY1" fmla="*/ 10993337 h 11878326"/>
              <a:gd name="connsiteX2" fmla="*/ 1375041 w 7011450"/>
              <a:gd name="connsiteY2" fmla="*/ 10902860 h 11878326"/>
              <a:gd name="connsiteX3" fmla="*/ 1985518 w 7011450"/>
              <a:gd name="connsiteY3" fmla="*/ 10451213 h 11878326"/>
              <a:gd name="connsiteX4" fmla="*/ 2669699 w 7011450"/>
              <a:gd name="connsiteY4" fmla="*/ 7968272 h 11878326"/>
              <a:gd name="connsiteX5" fmla="*/ 3297655 w 7011450"/>
              <a:gd name="connsiteY5" fmla="*/ 11777817 h 11878326"/>
              <a:gd name="connsiteX6" fmla="*/ 3880756 w 7011450"/>
              <a:gd name="connsiteY6" fmla="*/ 265484 h 11878326"/>
              <a:gd name="connsiteX7" fmla="*/ 4565667 w 7011450"/>
              <a:gd name="connsiteY7" fmla="*/ 3420915 h 11878326"/>
              <a:gd name="connsiteX8" fmla="*/ 5153018 w 7011450"/>
              <a:gd name="connsiteY8" fmla="*/ 3202801 h 11878326"/>
              <a:gd name="connsiteX9" fmla="*/ 5751494 w 7011450"/>
              <a:gd name="connsiteY9" fmla="*/ 7260084 h 11878326"/>
              <a:gd name="connsiteX10" fmla="*/ 6363322 w 7011450"/>
              <a:gd name="connsiteY10" fmla="*/ 7612480 h 11878326"/>
              <a:gd name="connsiteX11" fmla="*/ 7011450 w 7011450"/>
              <a:gd name="connsiteY11" fmla="*/ 10704176 h 11878326"/>
              <a:gd name="connsiteX0" fmla="*/ 0 w 7011450"/>
              <a:gd name="connsiteY0" fmla="*/ 10699983 h 11975593"/>
              <a:gd name="connsiteX1" fmla="*/ 781556 w 7011450"/>
              <a:gd name="connsiteY1" fmla="*/ 10993337 h 11975593"/>
              <a:gd name="connsiteX2" fmla="*/ 1375041 w 7011450"/>
              <a:gd name="connsiteY2" fmla="*/ 10902860 h 11975593"/>
              <a:gd name="connsiteX3" fmla="*/ 1985518 w 7011450"/>
              <a:gd name="connsiteY3" fmla="*/ 10451213 h 11975593"/>
              <a:gd name="connsiteX4" fmla="*/ 2636770 w 7011450"/>
              <a:gd name="connsiteY4" fmla="*/ 10645001 h 11975593"/>
              <a:gd name="connsiteX5" fmla="*/ 3297655 w 7011450"/>
              <a:gd name="connsiteY5" fmla="*/ 11777817 h 11975593"/>
              <a:gd name="connsiteX6" fmla="*/ 3880756 w 7011450"/>
              <a:gd name="connsiteY6" fmla="*/ 265484 h 11975593"/>
              <a:gd name="connsiteX7" fmla="*/ 4565667 w 7011450"/>
              <a:gd name="connsiteY7" fmla="*/ 3420915 h 11975593"/>
              <a:gd name="connsiteX8" fmla="*/ 5153018 w 7011450"/>
              <a:gd name="connsiteY8" fmla="*/ 3202801 h 11975593"/>
              <a:gd name="connsiteX9" fmla="*/ 5751494 w 7011450"/>
              <a:gd name="connsiteY9" fmla="*/ 7260084 h 11975593"/>
              <a:gd name="connsiteX10" fmla="*/ 6363322 w 7011450"/>
              <a:gd name="connsiteY10" fmla="*/ 7612480 h 11975593"/>
              <a:gd name="connsiteX11" fmla="*/ 7011450 w 7011450"/>
              <a:gd name="connsiteY11" fmla="*/ 10704176 h 11975593"/>
              <a:gd name="connsiteX0" fmla="*/ 0 w 7011450"/>
              <a:gd name="connsiteY0" fmla="*/ 7734264 h 9009874"/>
              <a:gd name="connsiteX1" fmla="*/ 781556 w 7011450"/>
              <a:gd name="connsiteY1" fmla="*/ 8027618 h 9009874"/>
              <a:gd name="connsiteX2" fmla="*/ 1375041 w 7011450"/>
              <a:gd name="connsiteY2" fmla="*/ 7937141 h 9009874"/>
              <a:gd name="connsiteX3" fmla="*/ 1985518 w 7011450"/>
              <a:gd name="connsiteY3" fmla="*/ 7485494 h 9009874"/>
              <a:gd name="connsiteX4" fmla="*/ 2636770 w 7011450"/>
              <a:gd name="connsiteY4" fmla="*/ 7679282 h 9009874"/>
              <a:gd name="connsiteX5" fmla="*/ 3297655 w 7011450"/>
              <a:gd name="connsiteY5" fmla="*/ 8812098 h 9009874"/>
              <a:gd name="connsiteX6" fmla="*/ 3930149 w 7011450"/>
              <a:gd name="connsiteY6" fmla="*/ 7337497 h 9009874"/>
              <a:gd name="connsiteX7" fmla="*/ 4565667 w 7011450"/>
              <a:gd name="connsiteY7" fmla="*/ 455196 h 9009874"/>
              <a:gd name="connsiteX8" fmla="*/ 5153018 w 7011450"/>
              <a:gd name="connsiteY8" fmla="*/ 237082 h 9009874"/>
              <a:gd name="connsiteX9" fmla="*/ 5751494 w 7011450"/>
              <a:gd name="connsiteY9" fmla="*/ 4294365 h 9009874"/>
              <a:gd name="connsiteX10" fmla="*/ 6363322 w 7011450"/>
              <a:gd name="connsiteY10" fmla="*/ 4646761 h 9009874"/>
              <a:gd name="connsiteX11" fmla="*/ 7011450 w 7011450"/>
              <a:gd name="connsiteY11" fmla="*/ 7738457 h 9009874"/>
              <a:gd name="connsiteX0" fmla="*/ 0 w 7011450"/>
              <a:gd name="connsiteY0" fmla="*/ 7570035 h 8845645"/>
              <a:gd name="connsiteX1" fmla="*/ 781556 w 7011450"/>
              <a:gd name="connsiteY1" fmla="*/ 7863389 h 8845645"/>
              <a:gd name="connsiteX2" fmla="*/ 1375041 w 7011450"/>
              <a:gd name="connsiteY2" fmla="*/ 7772912 h 8845645"/>
              <a:gd name="connsiteX3" fmla="*/ 1985518 w 7011450"/>
              <a:gd name="connsiteY3" fmla="*/ 7321265 h 8845645"/>
              <a:gd name="connsiteX4" fmla="*/ 2636770 w 7011450"/>
              <a:gd name="connsiteY4" fmla="*/ 7515053 h 8845645"/>
              <a:gd name="connsiteX5" fmla="*/ 3297655 w 7011450"/>
              <a:gd name="connsiteY5" fmla="*/ 8647869 h 8845645"/>
              <a:gd name="connsiteX6" fmla="*/ 3930149 w 7011450"/>
              <a:gd name="connsiteY6" fmla="*/ 7173268 h 8845645"/>
              <a:gd name="connsiteX7" fmla="*/ 4491579 w 7011450"/>
              <a:gd name="connsiteY7" fmla="*/ 8070209 h 8845645"/>
              <a:gd name="connsiteX8" fmla="*/ 5153018 w 7011450"/>
              <a:gd name="connsiteY8" fmla="*/ 72853 h 8845645"/>
              <a:gd name="connsiteX9" fmla="*/ 5751494 w 7011450"/>
              <a:gd name="connsiteY9" fmla="*/ 4130136 h 8845645"/>
              <a:gd name="connsiteX10" fmla="*/ 6363322 w 7011450"/>
              <a:gd name="connsiteY10" fmla="*/ 4482532 h 8845645"/>
              <a:gd name="connsiteX11" fmla="*/ 7011450 w 7011450"/>
              <a:gd name="connsiteY11" fmla="*/ 7574228 h 8845645"/>
              <a:gd name="connsiteX0" fmla="*/ 0 w 7011450"/>
              <a:gd name="connsiteY0" fmla="*/ 3600667 h 4876277"/>
              <a:gd name="connsiteX1" fmla="*/ 781556 w 7011450"/>
              <a:gd name="connsiteY1" fmla="*/ 3894021 h 4876277"/>
              <a:gd name="connsiteX2" fmla="*/ 1375041 w 7011450"/>
              <a:gd name="connsiteY2" fmla="*/ 3803544 h 4876277"/>
              <a:gd name="connsiteX3" fmla="*/ 1985518 w 7011450"/>
              <a:gd name="connsiteY3" fmla="*/ 3351897 h 4876277"/>
              <a:gd name="connsiteX4" fmla="*/ 2636770 w 7011450"/>
              <a:gd name="connsiteY4" fmla="*/ 3545685 h 4876277"/>
              <a:gd name="connsiteX5" fmla="*/ 3297655 w 7011450"/>
              <a:gd name="connsiteY5" fmla="*/ 4678501 h 4876277"/>
              <a:gd name="connsiteX6" fmla="*/ 3930149 w 7011450"/>
              <a:gd name="connsiteY6" fmla="*/ 3203900 h 4876277"/>
              <a:gd name="connsiteX7" fmla="*/ 4491579 w 7011450"/>
              <a:gd name="connsiteY7" fmla="*/ 4100841 h 4876277"/>
              <a:gd name="connsiteX8" fmla="*/ 5136554 w 7011450"/>
              <a:gd name="connsiteY8" fmla="*/ 3548136 h 4876277"/>
              <a:gd name="connsiteX9" fmla="*/ 5751494 w 7011450"/>
              <a:gd name="connsiteY9" fmla="*/ 160768 h 4876277"/>
              <a:gd name="connsiteX10" fmla="*/ 6363322 w 7011450"/>
              <a:gd name="connsiteY10" fmla="*/ 513164 h 4876277"/>
              <a:gd name="connsiteX11" fmla="*/ 7011450 w 7011450"/>
              <a:gd name="connsiteY11" fmla="*/ 3604860 h 4876277"/>
              <a:gd name="connsiteX0" fmla="*/ 0 w 7011450"/>
              <a:gd name="connsiteY0" fmla="*/ 3087525 h 4363135"/>
              <a:gd name="connsiteX1" fmla="*/ 781556 w 7011450"/>
              <a:gd name="connsiteY1" fmla="*/ 3380879 h 4363135"/>
              <a:gd name="connsiteX2" fmla="*/ 1375041 w 7011450"/>
              <a:gd name="connsiteY2" fmla="*/ 3290402 h 4363135"/>
              <a:gd name="connsiteX3" fmla="*/ 1985518 w 7011450"/>
              <a:gd name="connsiteY3" fmla="*/ 2838755 h 4363135"/>
              <a:gd name="connsiteX4" fmla="*/ 2636770 w 7011450"/>
              <a:gd name="connsiteY4" fmla="*/ 3032543 h 4363135"/>
              <a:gd name="connsiteX5" fmla="*/ 3297655 w 7011450"/>
              <a:gd name="connsiteY5" fmla="*/ 4165359 h 4363135"/>
              <a:gd name="connsiteX6" fmla="*/ 3930149 w 7011450"/>
              <a:gd name="connsiteY6" fmla="*/ 2690758 h 4363135"/>
              <a:gd name="connsiteX7" fmla="*/ 4491579 w 7011450"/>
              <a:gd name="connsiteY7" fmla="*/ 3587699 h 4363135"/>
              <a:gd name="connsiteX8" fmla="*/ 5136554 w 7011450"/>
              <a:gd name="connsiteY8" fmla="*/ 3034994 h 4363135"/>
              <a:gd name="connsiteX9" fmla="*/ 5784423 w 7011450"/>
              <a:gd name="connsiteY9" fmla="*/ 3495423 h 4363135"/>
              <a:gd name="connsiteX10" fmla="*/ 6363322 w 7011450"/>
              <a:gd name="connsiteY10" fmla="*/ 22 h 4363135"/>
              <a:gd name="connsiteX11" fmla="*/ 7011450 w 7011450"/>
              <a:gd name="connsiteY11" fmla="*/ 3091718 h 4363135"/>
              <a:gd name="connsiteX0" fmla="*/ 0 w 7011450"/>
              <a:gd name="connsiteY0" fmla="*/ 403390 h 1679000"/>
              <a:gd name="connsiteX1" fmla="*/ 781556 w 7011450"/>
              <a:gd name="connsiteY1" fmla="*/ 696744 h 1679000"/>
              <a:gd name="connsiteX2" fmla="*/ 1375041 w 7011450"/>
              <a:gd name="connsiteY2" fmla="*/ 606267 h 1679000"/>
              <a:gd name="connsiteX3" fmla="*/ 1985518 w 7011450"/>
              <a:gd name="connsiteY3" fmla="*/ 154620 h 1679000"/>
              <a:gd name="connsiteX4" fmla="*/ 2636770 w 7011450"/>
              <a:gd name="connsiteY4" fmla="*/ 348408 h 1679000"/>
              <a:gd name="connsiteX5" fmla="*/ 3297655 w 7011450"/>
              <a:gd name="connsiteY5" fmla="*/ 1481224 h 1679000"/>
              <a:gd name="connsiteX6" fmla="*/ 3930149 w 7011450"/>
              <a:gd name="connsiteY6" fmla="*/ 6623 h 1679000"/>
              <a:gd name="connsiteX7" fmla="*/ 4491579 w 7011450"/>
              <a:gd name="connsiteY7" fmla="*/ 903564 h 1679000"/>
              <a:gd name="connsiteX8" fmla="*/ 5136554 w 7011450"/>
              <a:gd name="connsiteY8" fmla="*/ 350859 h 1679000"/>
              <a:gd name="connsiteX9" fmla="*/ 5784423 w 7011450"/>
              <a:gd name="connsiteY9" fmla="*/ 811288 h 1679000"/>
              <a:gd name="connsiteX10" fmla="*/ 6437411 w 7011450"/>
              <a:gd name="connsiteY10" fmla="*/ 578150 h 1679000"/>
              <a:gd name="connsiteX11" fmla="*/ 7011450 w 7011450"/>
              <a:gd name="connsiteY11" fmla="*/ 407583 h 1679000"/>
              <a:gd name="connsiteX0" fmla="*/ 0 w 7128868"/>
              <a:gd name="connsiteY0" fmla="*/ 24210559 h 24210559"/>
              <a:gd name="connsiteX1" fmla="*/ 898974 w 7128868"/>
              <a:gd name="connsiteY1" fmla="*/ 1679097 h 24210559"/>
              <a:gd name="connsiteX2" fmla="*/ 1492459 w 7128868"/>
              <a:gd name="connsiteY2" fmla="*/ 1588620 h 24210559"/>
              <a:gd name="connsiteX3" fmla="*/ 2102936 w 7128868"/>
              <a:gd name="connsiteY3" fmla="*/ 1136973 h 24210559"/>
              <a:gd name="connsiteX4" fmla="*/ 2754188 w 7128868"/>
              <a:gd name="connsiteY4" fmla="*/ 1330761 h 24210559"/>
              <a:gd name="connsiteX5" fmla="*/ 3415073 w 7128868"/>
              <a:gd name="connsiteY5" fmla="*/ 2463577 h 24210559"/>
              <a:gd name="connsiteX6" fmla="*/ 4047567 w 7128868"/>
              <a:gd name="connsiteY6" fmla="*/ 988976 h 24210559"/>
              <a:gd name="connsiteX7" fmla="*/ 4608997 w 7128868"/>
              <a:gd name="connsiteY7" fmla="*/ 1885917 h 24210559"/>
              <a:gd name="connsiteX8" fmla="*/ 5253972 w 7128868"/>
              <a:gd name="connsiteY8" fmla="*/ 1333212 h 24210559"/>
              <a:gd name="connsiteX9" fmla="*/ 5901841 w 7128868"/>
              <a:gd name="connsiteY9" fmla="*/ 1793641 h 24210559"/>
              <a:gd name="connsiteX10" fmla="*/ 6554829 w 7128868"/>
              <a:gd name="connsiteY10" fmla="*/ 1560503 h 24210559"/>
              <a:gd name="connsiteX11" fmla="*/ 7128868 w 7128868"/>
              <a:gd name="connsiteY11" fmla="*/ 1389936 h 24210559"/>
              <a:gd name="connsiteX0" fmla="*/ 0 w 7128868"/>
              <a:gd name="connsiteY0" fmla="*/ 24375718 h 25385938"/>
              <a:gd name="connsiteX1" fmla="*/ 704978 w 7128868"/>
              <a:gd name="connsiteY1" fmla="*/ 23424080 h 25385938"/>
              <a:gd name="connsiteX2" fmla="*/ 1492459 w 7128868"/>
              <a:gd name="connsiteY2" fmla="*/ 1753779 h 25385938"/>
              <a:gd name="connsiteX3" fmla="*/ 2102936 w 7128868"/>
              <a:gd name="connsiteY3" fmla="*/ 1302132 h 25385938"/>
              <a:gd name="connsiteX4" fmla="*/ 2754188 w 7128868"/>
              <a:gd name="connsiteY4" fmla="*/ 1495920 h 25385938"/>
              <a:gd name="connsiteX5" fmla="*/ 3415073 w 7128868"/>
              <a:gd name="connsiteY5" fmla="*/ 2628736 h 25385938"/>
              <a:gd name="connsiteX6" fmla="*/ 4047567 w 7128868"/>
              <a:gd name="connsiteY6" fmla="*/ 1154135 h 25385938"/>
              <a:gd name="connsiteX7" fmla="*/ 4608997 w 7128868"/>
              <a:gd name="connsiteY7" fmla="*/ 2051076 h 25385938"/>
              <a:gd name="connsiteX8" fmla="*/ 5253972 w 7128868"/>
              <a:gd name="connsiteY8" fmla="*/ 1498371 h 25385938"/>
              <a:gd name="connsiteX9" fmla="*/ 5901841 w 7128868"/>
              <a:gd name="connsiteY9" fmla="*/ 1958800 h 25385938"/>
              <a:gd name="connsiteX10" fmla="*/ 6554829 w 7128868"/>
              <a:gd name="connsiteY10" fmla="*/ 1725662 h 25385938"/>
              <a:gd name="connsiteX11" fmla="*/ 7128868 w 7128868"/>
              <a:gd name="connsiteY11" fmla="*/ 1555095 h 25385938"/>
              <a:gd name="connsiteX0" fmla="*/ 0 w 7128868"/>
              <a:gd name="connsiteY0" fmla="*/ 24375718 h 24375718"/>
              <a:gd name="connsiteX1" fmla="*/ 704978 w 7128868"/>
              <a:gd name="connsiteY1" fmla="*/ 23424080 h 24375718"/>
              <a:gd name="connsiteX2" fmla="*/ 1492459 w 7128868"/>
              <a:gd name="connsiteY2" fmla="*/ 1753779 h 24375718"/>
              <a:gd name="connsiteX3" fmla="*/ 2102936 w 7128868"/>
              <a:gd name="connsiteY3" fmla="*/ 1302132 h 24375718"/>
              <a:gd name="connsiteX4" fmla="*/ 2754188 w 7128868"/>
              <a:gd name="connsiteY4" fmla="*/ 1495920 h 24375718"/>
              <a:gd name="connsiteX5" fmla="*/ 3415073 w 7128868"/>
              <a:gd name="connsiteY5" fmla="*/ 2628736 h 24375718"/>
              <a:gd name="connsiteX6" fmla="*/ 4047567 w 7128868"/>
              <a:gd name="connsiteY6" fmla="*/ 1154135 h 24375718"/>
              <a:gd name="connsiteX7" fmla="*/ 4608997 w 7128868"/>
              <a:gd name="connsiteY7" fmla="*/ 2051076 h 24375718"/>
              <a:gd name="connsiteX8" fmla="*/ 5253972 w 7128868"/>
              <a:gd name="connsiteY8" fmla="*/ 1498371 h 24375718"/>
              <a:gd name="connsiteX9" fmla="*/ 5901841 w 7128868"/>
              <a:gd name="connsiteY9" fmla="*/ 1958800 h 24375718"/>
              <a:gd name="connsiteX10" fmla="*/ 6554829 w 7128868"/>
              <a:gd name="connsiteY10" fmla="*/ 1725662 h 24375718"/>
              <a:gd name="connsiteX11" fmla="*/ 7128868 w 7128868"/>
              <a:gd name="connsiteY11" fmla="*/ 1555095 h 24375718"/>
              <a:gd name="connsiteX0" fmla="*/ 0 w 7128868"/>
              <a:gd name="connsiteY0" fmla="*/ 24417776 h 24571299"/>
              <a:gd name="connsiteX1" fmla="*/ 628400 w 7128868"/>
              <a:gd name="connsiteY1" fmla="*/ 24036758 h 24571299"/>
              <a:gd name="connsiteX2" fmla="*/ 1492459 w 7128868"/>
              <a:gd name="connsiteY2" fmla="*/ 1795837 h 24571299"/>
              <a:gd name="connsiteX3" fmla="*/ 2102936 w 7128868"/>
              <a:gd name="connsiteY3" fmla="*/ 1344190 h 24571299"/>
              <a:gd name="connsiteX4" fmla="*/ 2754188 w 7128868"/>
              <a:gd name="connsiteY4" fmla="*/ 1537978 h 24571299"/>
              <a:gd name="connsiteX5" fmla="*/ 3415073 w 7128868"/>
              <a:gd name="connsiteY5" fmla="*/ 2670794 h 24571299"/>
              <a:gd name="connsiteX6" fmla="*/ 4047567 w 7128868"/>
              <a:gd name="connsiteY6" fmla="*/ 1196193 h 24571299"/>
              <a:gd name="connsiteX7" fmla="*/ 4608997 w 7128868"/>
              <a:gd name="connsiteY7" fmla="*/ 2093134 h 24571299"/>
              <a:gd name="connsiteX8" fmla="*/ 5253972 w 7128868"/>
              <a:gd name="connsiteY8" fmla="*/ 1540429 h 24571299"/>
              <a:gd name="connsiteX9" fmla="*/ 5901841 w 7128868"/>
              <a:gd name="connsiteY9" fmla="*/ 2000858 h 24571299"/>
              <a:gd name="connsiteX10" fmla="*/ 6554829 w 7128868"/>
              <a:gd name="connsiteY10" fmla="*/ 1767720 h 24571299"/>
              <a:gd name="connsiteX11" fmla="*/ 7128868 w 7128868"/>
              <a:gd name="connsiteY11" fmla="*/ 1597153 h 24571299"/>
              <a:gd name="connsiteX0" fmla="*/ 0 w 7128868"/>
              <a:gd name="connsiteY0" fmla="*/ 23715069 h 24448660"/>
              <a:gd name="connsiteX1" fmla="*/ 628400 w 7128868"/>
              <a:gd name="connsiteY1" fmla="*/ 23334051 h 24448660"/>
              <a:gd name="connsiteX2" fmla="*/ 1283148 w 7128868"/>
              <a:gd name="connsiteY2" fmla="*/ 10119301 h 24448660"/>
              <a:gd name="connsiteX3" fmla="*/ 2102936 w 7128868"/>
              <a:gd name="connsiteY3" fmla="*/ 641483 h 24448660"/>
              <a:gd name="connsiteX4" fmla="*/ 2754188 w 7128868"/>
              <a:gd name="connsiteY4" fmla="*/ 835271 h 24448660"/>
              <a:gd name="connsiteX5" fmla="*/ 3415073 w 7128868"/>
              <a:gd name="connsiteY5" fmla="*/ 1968087 h 24448660"/>
              <a:gd name="connsiteX6" fmla="*/ 4047567 w 7128868"/>
              <a:gd name="connsiteY6" fmla="*/ 493486 h 24448660"/>
              <a:gd name="connsiteX7" fmla="*/ 4608997 w 7128868"/>
              <a:gd name="connsiteY7" fmla="*/ 1390427 h 24448660"/>
              <a:gd name="connsiteX8" fmla="*/ 5253972 w 7128868"/>
              <a:gd name="connsiteY8" fmla="*/ 837722 h 24448660"/>
              <a:gd name="connsiteX9" fmla="*/ 5901841 w 7128868"/>
              <a:gd name="connsiteY9" fmla="*/ 1298151 h 24448660"/>
              <a:gd name="connsiteX10" fmla="*/ 6554829 w 7128868"/>
              <a:gd name="connsiteY10" fmla="*/ 1065013 h 24448660"/>
              <a:gd name="connsiteX11" fmla="*/ 7128868 w 7128868"/>
              <a:gd name="connsiteY11" fmla="*/ 894446 h 24448660"/>
              <a:gd name="connsiteX0" fmla="*/ 0 w 7128868"/>
              <a:gd name="connsiteY0" fmla="*/ 23228200 h 23961783"/>
              <a:gd name="connsiteX1" fmla="*/ 628400 w 7128868"/>
              <a:gd name="connsiteY1" fmla="*/ 22847182 h 23961783"/>
              <a:gd name="connsiteX2" fmla="*/ 1283148 w 7128868"/>
              <a:gd name="connsiteY2" fmla="*/ 9632432 h 23961783"/>
              <a:gd name="connsiteX3" fmla="*/ 1949781 w 7128868"/>
              <a:gd name="connsiteY3" fmla="*/ 14005124 h 23961783"/>
              <a:gd name="connsiteX4" fmla="*/ 2754188 w 7128868"/>
              <a:gd name="connsiteY4" fmla="*/ 348402 h 23961783"/>
              <a:gd name="connsiteX5" fmla="*/ 3415073 w 7128868"/>
              <a:gd name="connsiteY5" fmla="*/ 1481218 h 23961783"/>
              <a:gd name="connsiteX6" fmla="*/ 4047567 w 7128868"/>
              <a:gd name="connsiteY6" fmla="*/ 6617 h 23961783"/>
              <a:gd name="connsiteX7" fmla="*/ 4608997 w 7128868"/>
              <a:gd name="connsiteY7" fmla="*/ 903558 h 23961783"/>
              <a:gd name="connsiteX8" fmla="*/ 5253972 w 7128868"/>
              <a:gd name="connsiteY8" fmla="*/ 350853 h 23961783"/>
              <a:gd name="connsiteX9" fmla="*/ 5901841 w 7128868"/>
              <a:gd name="connsiteY9" fmla="*/ 811282 h 23961783"/>
              <a:gd name="connsiteX10" fmla="*/ 6554829 w 7128868"/>
              <a:gd name="connsiteY10" fmla="*/ 578144 h 23961783"/>
              <a:gd name="connsiteX11" fmla="*/ 7128868 w 7128868"/>
              <a:gd name="connsiteY11" fmla="*/ 407577 h 23961783"/>
              <a:gd name="connsiteX0" fmla="*/ 0 w 7128868"/>
              <a:gd name="connsiteY0" fmla="*/ 23228200 h 23961790"/>
              <a:gd name="connsiteX1" fmla="*/ 628400 w 7128868"/>
              <a:gd name="connsiteY1" fmla="*/ 22847182 h 23961790"/>
              <a:gd name="connsiteX2" fmla="*/ 1283148 w 7128868"/>
              <a:gd name="connsiteY2" fmla="*/ 9632432 h 23961790"/>
              <a:gd name="connsiteX3" fmla="*/ 1949781 w 7128868"/>
              <a:gd name="connsiteY3" fmla="*/ 14005124 h 23961790"/>
              <a:gd name="connsiteX4" fmla="*/ 2754188 w 7128868"/>
              <a:gd name="connsiteY4" fmla="*/ 348402 h 23961790"/>
              <a:gd name="connsiteX5" fmla="*/ 3415073 w 7128868"/>
              <a:gd name="connsiteY5" fmla="*/ 1481218 h 23961790"/>
              <a:gd name="connsiteX6" fmla="*/ 4047567 w 7128868"/>
              <a:gd name="connsiteY6" fmla="*/ 6617 h 23961790"/>
              <a:gd name="connsiteX7" fmla="*/ 4608997 w 7128868"/>
              <a:gd name="connsiteY7" fmla="*/ 903558 h 23961790"/>
              <a:gd name="connsiteX8" fmla="*/ 5253972 w 7128868"/>
              <a:gd name="connsiteY8" fmla="*/ 350853 h 23961790"/>
              <a:gd name="connsiteX9" fmla="*/ 5901841 w 7128868"/>
              <a:gd name="connsiteY9" fmla="*/ 811282 h 23961790"/>
              <a:gd name="connsiteX10" fmla="*/ 6554829 w 7128868"/>
              <a:gd name="connsiteY10" fmla="*/ 578144 h 23961790"/>
              <a:gd name="connsiteX11" fmla="*/ 7128868 w 7128868"/>
              <a:gd name="connsiteY11" fmla="*/ 407577 h 23961790"/>
              <a:gd name="connsiteX0" fmla="*/ 0 w 7128868"/>
              <a:gd name="connsiteY0" fmla="*/ 23228200 h 23961790"/>
              <a:gd name="connsiteX1" fmla="*/ 628400 w 7128868"/>
              <a:gd name="connsiteY1" fmla="*/ 22847182 h 23961790"/>
              <a:gd name="connsiteX2" fmla="*/ 1283148 w 7128868"/>
              <a:gd name="connsiteY2" fmla="*/ 9632432 h 23961790"/>
              <a:gd name="connsiteX3" fmla="*/ 1914046 w 7128868"/>
              <a:gd name="connsiteY3" fmla="*/ 14005123 h 23961790"/>
              <a:gd name="connsiteX4" fmla="*/ 2754188 w 7128868"/>
              <a:gd name="connsiteY4" fmla="*/ 348402 h 23961790"/>
              <a:gd name="connsiteX5" fmla="*/ 3415073 w 7128868"/>
              <a:gd name="connsiteY5" fmla="*/ 1481218 h 23961790"/>
              <a:gd name="connsiteX6" fmla="*/ 4047567 w 7128868"/>
              <a:gd name="connsiteY6" fmla="*/ 6617 h 23961790"/>
              <a:gd name="connsiteX7" fmla="*/ 4608997 w 7128868"/>
              <a:gd name="connsiteY7" fmla="*/ 903558 h 23961790"/>
              <a:gd name="connsiteX8" fmla="*/ 5253972 w 7128868"/>
              <a:gd name="connsiteY8" fmla="*/ 350853 h 23961790"/>
              <a:gd name="connsiteX9" fmla="*/ 5901841 w 7128868"/>
              <a:gd name="connsiteY9" fmla="*/ 811282 h 23961790"/>
              <a:gd name="connsiteX10" fmla="*/ 6554829 w 7128868"/>
              <a:gd name="connsiteY10" fmla="*/ 578144 h 23961790"/>
              <a:gd name="connsiteX11" fmla="*/ 7128868 w 7128868"/>
              <a:gd name="connsiteY11" fmla="*/ 407577 h 23961790"/>
              <a:gd name="connsiteX0" fmla="*/ 0 w 7128868"/>
              <a:gd name="connsiteY0" fmla="*/ 23228200 h 28879422"/>
              <a:gd name="connsiteX1" fmla="*/ 628400 w 7128868"/>
              <a:gd name="connsiteY1" fmla="*/ 22847182 h 28879422"/>
              <a:gd name="connsiteX2" fmla="*/ 1283148 w 7128868"/>
              <a:gd name="connsiteY2" fmla="*/ 9632432 h 28879422"/>
              <a:gd name="connsiteX3" fmla="*/ 1914046 w 7128868"/>
              <a:gd name="connsiteY3" fmla="*/ 14005123 h 28879422"/>
              <a:gd name="connsiteX4" fmla="*/ 2534666 w 7128868"/>
              <a:gd name="connsiteY4" fmla="*/ 28879422 h 28879422"/>
              <a:gd name="connsiteX5" fmla="*/ 3415073 w 7128868"/>
              <a:gd name="connsiteY5" fmla="*/ 1481218 h 28879422"/>
              <a:gd name="connsiteX6" fmla="*/ 4047567 w 7128868"/>
              <a:gd name="connsiteY6" fmla="*/ 6617 h 28879422"/>
              <a:gd name="connsiteX7" fmla="*/ 4608997 w 7128868"/>
              <a:gd name="connsiteY7" fmla="*/ 903558 h 28879422"/>
              <a:gd name="connsiteX8" fmla="*/ 5253972 w 7128868"/>
              <a:gd name="connsiteY8" fmla="*/ 350853 h 28879422"/>
              <a:gd name="connsiteX9" fmla="*/ 5901841 w 7128868"/>
              <a:gd name="connsiteY9" fmla="*/ 811282 h 28879422"/>
              <a:gd name="connsiteX10" fmla="*/ 6554829 w 7128868"/>
              <a:gd name="connsiteY10" fmla="*/ 578144 h 28879422"/>
              <a:gd name="connsiteX11" fmla="*/ 7128868 w 7128868"/>
              <a:gd name="connsiteY11" fmla="*/ 407577 h 28879422"/>
              <a:gd name="connsiteX0" fmla="*/ 0 w 7128868"/>
              <a:gd name="connsiteY0" fmla="*/ 24467409 h 30118631"/>
              <a:gd name="connsiteX1" fmla="*/ 628400 w 7128868"/>
              <a:gd name="connsiteY1" fmla="*/ 24086391 h 30118631"/>
              <a:gd name="connsiteX2" fmla="*/ 1283148 w 7128868"/>
              <a:gd name="connsiteY2" fmla="*/ 10871641 h 30118631"/>
              <a:gd name="connsiteX3" fmla="*/ 1914046 w 7128868"/>
              <a:gd name="connsiteY3" fmla="*/ 15244332 h 30118631"/>
              <a:gd name="connsiteX4" fmla="*/ 2534666 w 7128868"/>
              <a:gd name="connsiteY4" fmla="*/ 30118631 h 30118631"/>
              <a:gd name="connsiteX5" fmla="*/ 3164919 w 7128868"/>
              <a:gd name="connsiteY5" fmla="*/ 21654641 h 30118631"/>
              <a:gd name="connsiteX6" fmla="*/ 4047567 w 7128868"/>
              <a:gd name="connsiteY6" fmla="*/ 1245826 h 30118631"/>
              <a:gd name="connsiteX7" fmla="*/ 4608997 w 7128868"/>
              <a:gd name="connsiteY7" fmla="*/ 2142767 h 30118631"/>
              <a:gd name="connsiteX8" fmla="*/ 5253972 w 7128868"/>
              <a:gd name="connsiteY8" fmla="*/ 1590062 h 30118631"/>
              <a:gd name="connsiteX9" fmla="*/ 5901841 w 7128868"/>
              <a:gd name="connsiteY9" fmla="*/ 2050491 h 30118631"/>
              <a:gd name="connsiteX10" fmla="*/ 6554829 w 7128868"/>
              <a:gd name="connsiteY10" fmla="*/ 1817353 h 30118631"/>
              <a:gd name="connsiteX11" fmla="*/ 7128868 w 7128868"/>
              <a:gd name="connsiteY11" fmla="*/ 1646786 h 30118631"/>
              <a:gd name="connsiteX0" fmla="*/ 0 w 7128868"/>
              <a:gd name="connsiteY0" fmla="*/ 24467409 h 30118631"/>
              <a:gd name="connsiteX1" fmla="*/ 628400 w 7128868"/>
              <a:gd name="connsiteY1" fmla="*/ 24086391 h 30118631"/>
              <a:gd name="connsiteX2" fmla="*/ 1283148 w 7128868"/>
              <a:gd name="connsiteY2" fmla="*/ 10871641 h 30118631"/>
              <a:gd name="connsiteX3" fmla="*/ 1914046 w 7128868"/>
              <a:gd name="connsiteY3" fmla="*/ 15244332 h 30118631"/>
              <a:gd name="connsiteX4" fmla="*/ 2534666 w 7128868"/>
              <a:gd name="connsiteY4" fmla="*/ 30118631 h 30118631"/>
              <a:gd name="connsiteX5" fmla="*/ 3164919 w 7128868"/>
              <a:gd name="connsiteY5" fmla="*/ 21654641 h 30118631"/>
              <a:gd name="connsiteX6" fmla="*/ 4047567 w 7128868"/>
              <a:gd name="connsiteY6" fmla="*/ 1245826 h 30118631"/>
              <a:gd name="connsiteX7" fmla="*/ 4608997 w 7128868"/>
              <a:gd name="connsiteY7" fmla="*/ 2142767 h 30118631"/>
              <a:gd name="connsiteX8" fmla="*/ 5253972 w 7128868"/>
              <a:gd name="connsiteY8" fmla="*/ 1590062 h 30118631"/>
              <a:gd name="connsiteX9" fmla="*/ 5901841 w 7128868"/>
              <a:gd name="connsiteY9" fmla="*/ 2050491 h 30118631"/>
              <a:gd name="connsiteX10" fmla="*/ 6554829 w 7128868"/>
              <a:gd name="connsiteY10" fmla="*/ 1817353 h 30118631"/>
              <a:gd name="connsiteX11" fmla="*/ 7128868 w 7128868"/>
              <a:gd name="connsiteY11" fmla="*/ 1646786 h 30118631"/>
              <a:gd name="connsiteX0" fmla="*/ 0 w 7128868"/>
              <a:gd name="connsiteY0" fmla="*/ 24467409 h 30118631"/>
              <a:gd name="connsiteX1" fmla="*/ 628400 w 7128868"/>
              <a:gd name="connsiteY1" fmla="*/ 24086391 h 30118631"/>
              <a:gd name="connsiteX2" fmla="*/ 1283148 w 7128868"/>
              <a:gd name="connsiteY2" fmla="*/ 10871641 h 30118631"/>
              <a:gd name="connsiteX3" fmla="*/ 1914046 w 7128868"/>
              <a:gd name="connsiteY3" fmla="*/ 15244332 h 30118631"/>
              <a:gd name="connsiteX4" fmla="*/ 2534666 w 7128868"/>
              <a:gd name="connsiteY4" fmla="*/ 30118631 h 30118631"/>
              <a:gd name="connsiteX5" fmla="*/ 3164919 w 7128868"/>
              <a:gd name="connsiteY5" fmla="*/ 21654641 h 30118631"/>
              <a:gd name="connsiteX6" fmla="*/ 4047567 w 7128868"/>
              <a:gd name="connsiteY6" fmla="*/ 1245826 h 30118631"/>
              <a:gd name="connsiteX7" fmla="*/ 4608997 w 7128868"/>
              <a:gd name="connsiteY7" fmla="*/ 2142767 h 30118631"/>
              <a:gd name="connsiteX8" fmla="*/ 5253972 w 7128868"/>
              <a:gd name="connsiteY8" fmla="*/ 1590062 h 30118631"/>
              <a:gd name="connsiteX9" fmla="*/ 5901841 w 7128868"/>
              <a:gd name="connsiteY9" fmla="*/ 2050491 h 30118631"/>
              <a:gd name="connsiteX10" fmla="*/ 6554829 w 7128868"/>
              <a:gd name="connsiteY10" fmla="*/ 1817353 h 30118631"/>
              <a:gd name="connsiteX11" fmla="*/ 7128868 w 7128868"/>
              <a:gd name="connsiteY11" fmla="*/ 1646786 h 30118631"/>
              <a:gd name="connsiteX0" fmla="*/ 0 w 7128868"/>
              <a:gd name="connsiteY0" fmla="*/ 24467409 h 30118631"/>
              <a:gd name="connsiteX1" fmla="*/ 628400 w 7128868"/>
              <a:gd name="connsiteY1" fmla="*/ 24086391 h 30118631"/>
              <a:gd name="connsiteX2" fmla="*/ 1283148 w 7128868"/>
              <a:gd name="connsiteY2" fmla="*/ 10871641 h 30118631"/>
              <a:gd name="connsiteX3" fmla="*/ 1914046 w 7128868"/>
              <a:gd name="connsiteY3" fmla="*/ 15244332 h 30118631"/>
              <a:gd name="connsiteX4" fmla="*/ 2534666 w 7128868"/>
              <a:gd name="connsiteY4" fmla="*/ 30118631 h 30118631"/>
              <a:gd name="connsiteX5" fmla="*/ 3164919 w 7128868"/>
              <a:gd name="connsiteY5" fmla="*/ 21654641 h 30118631"/>
              <a:gd name="connsiteX6" fmla="*/ 4047567 w 7128868"/>
              <a:gd name="connsiteY6" fmla="*/ 1245826 h 30118631"/>
              <a:gd name="connsiteX7" fmla="*/ 4608997 w 7128868"/>
              <a:gd name="connsiteY7" fmla="*/ 2142767 h 30118631"/>
              <a:gd name="connsiteX8" fmla="*/ 5253972 w 7128868"/>
              <a:gd name="connsiteY8" fmla="*/ 1590062 h 30118631"/>
              <a:gd name="connsiteX9" fmla="*/ 5901841 w 7128868"/>
              <a:gd name="connsiteY9" fmla="*/ 2050491 h 30118631"/>
              <a:gd name="connsiteX10" fmla="*/ 6554829 w 7128868"/>
              <a:gd name="connsiteY10" fmla="*/ 1817353 h 30118631"/>
              <a:gd name="connsiteX11" fmla="*/ 7128868 w 7128868"/>
              <a:gd name="connsiteY11" fmla="*/ 1646786 h 30118631"/>
              <a:gd name="connsiteX0" fmla="*/ 0 w 7128868"/>
              <a:gd name="connsiteY0" fmla="*/ 24467409 h 30118631"/>
              <a:gd name="connsiteX1" fmla="*/ 628400 w 7128868"/>
              <a:gd name="connsiteY1" fmla="*/ 24086391 h 30118631"/>
              <a:gd name="connsiteX2" fmla="*/ 1283148 w 7128868"/>
              <a:gd name="connsiteY2" fmla="*/ 10871641 h 30118631"/>
              <a:gd name="connsiteX3" fmla="*/ 1914046 w 7128868"/>
              <a:gd name="connsiteY3" fmla="*/ 15244332 h 30118631"/>
              <a:gd name="connsiteX4" fmla="*/ 2534666 w 7128868"/>
              <a:gd name="connsiteY4" fmla="*/ 30118631 h 30118631"/>
              <a:gd name="connsiteX5" fmla="*/ 3164919 w 7128868"/>
              <a:gd name="connsiteY5" fmla="*/ 21654641 h 30118631"/>
              <a:gd name="connsiteX6" fmla="*/ 4047567 w 7128868"/>
              <a:gd name="connsiteY6" fmla="*/ 1245826 h 30118631"/>
              <a:gd name="connsiteX7" fmla="*/ 4608997 w 7128868"/>
              <a:gd name="connsiteY7" fmla="*/ 2142767 h 30118631"/>
              <a:gd name="connsiteX8" fmla="*/ 5253972 w 7128868"/>
              <a:gd name="connsiteY8" fmla="*/ 1590062 h 30118631"/>
              <a:gd name="connsiteX9" fmla="*/ 5901841 w 7128868"/>
              <a:gd name="connsiteY9" fmla="*/ 2050491 h 30118631"/>
              <a:gd name="connsiteX10" fmla="*/ 6554829 w 7128868"/>
              <a:gd name="connsiteY10" fmla="*/ 1817353 h 30118631"/>
              <a:gd name="connsiteX11" fmla="*/ 7128868 w 7128868"/>
              <a:gd name="connsiteY11" fmla="*/ 1646786 h 30118631"/>
              <a:gd name="connsiteX0" fmla="*/ 0 w 7128868"/>
              <a:gd name="connsiteY0" fmla="*/ 24418421 h 30069643"/>
              <a:gd name="connsiteX1" fmla="*/ 628400 w 7128868"/>
              <a:gd name="connsiteY1" fmla="*/ 24037403 h 30069643"/>
              <a:gd name="connsiteX2" fmla="*/ 1283148 w 7128868"/>
              <a:gd name="connsiteY2" fmla="*/ 10822653 h 30069643"/>
              <a:gd name="connsiteX3" fmla="*/ 1914046 w 7128868"/>
              <a:gd name="connsiteY3" fmla="*/ 15195344 h 30069643"/>
              <a:gd name="connsiteX4" fmla="*/ 2534666 w 7128868"/>
              <a:gd name="connsiteY4" fmla="*/ 30069643 h 30069643"/>
              <a:gd name="connsiteX5" fmla="*/ 3164919 w 7128868"/>
              <a:gd name="connsiteY5" fmla="*/ 20931283 h 30069643"/>
              <a:gd name="connsiteX6" fmla="*/ 4047567 w 7128868"/>
              <a:gd name="connsiteY6" fmla="*/ 1196838 h 30069643"/>
              <a:gd name="connsiteX7" fmla="*/ 4608997 w 7128868"/>
              <a:gd name="connsiteY7" fmla="*/ 2093779 h 30069643"/>
              <a:gd name="connsiteX8" fmla="*/ 5253972 w 7128868"/>
              <a:gd name="connsiteY8" fmla="*/ 1541074 h 30069643"/>
              <a:gd name="connsiteX9" fmla="*/ 5901841 w 7128868"/>
              <a:gd name="connsiteY9" fmla="*/ 2001503 h 30069643"/>
              <a:gd name="connsiteX10" fmla="*/ 6554829 w 7128868"/>
              <a:gd name="connsiteY10" fmla="*/ 1768365 h 30069643"/>
              <a:gd name="connsiteX11" fmla="*/ 7128868 w 7128868"/>
              <a:gd name="connsiteY11" fmla="*/ 1597798 h 30069643"/>
              <a:gd name="connsiteX0" fmla="*/ 0 w 7128868"/>
              <a:gd name="connsiteY0" fmla="*/ 22877743 h 28528965"/>
              <a:gd name="connsiteX1" fmla="*/ 628400 w 7128868"/>
              <a:gd name="connsiteY1" fmla="*/ 22496725 h 28528965"/>
              <a:gd name="connsiteX2" fmla="*/ 1283148 w 7128868"/>
              <a:gd name="connsiteY2" fmla="*/ 9281975 h 28528965"/>
              <a:gd name="connsiteX3" fmla="*/ 1914046 w 7128868"/>
              <a:gd name="connsiteY3" fmla="*/ 13654666 h 28528965"/>
              <a:gd name="connsiteX4" fmla="*/ 2534666 w 7128868"/>
              <a:gd name="connsiteY4" fmla="*/ 28528965 h 28528965"/>
              <a:gd name="connsiteX5" fmla="*/ 3164919 w 7128868"/>
              <a:gd name="connsiteY5" fmla="*/ 19390605 h 28528965"/>
              <a:gd name="connsiteX6" fmla="*/ 3848466 w 7128868"/>
              <a:gd name="connsiteY6" fmla="*/ 24763455 h 28528965"/>
              <a:gd name="connsiteX7" fmla="*/ 4608997 w 7128868"/>
              <a:gd name="connsiteY7" fmla="*/ 553101 h 28528965"/>
              <a:gd name="connsiteX8" fmla="*/ 5253972 w 7128868"/>
              <a:gd name="connsiteY8" fmla="*/ 396 h 28528965"/>
              <a:gd name="connsiteX9" fmla="*/ 5901841 w 7128868"/>
              <a:gd name="connsiteY9" fmla="*/ 460825 h 28528965"/>
              <a:gd name="connsiteX10" fmla="*/ 6554829 w 7128868"/>
              <a:gd name="connsiteY10" fmla="*/ 227687 h 28528965"/>
              <a:gd name="connsiteX11" fmla="*/ 7128868 w 7128868"/>
              <a:gd name="connsiteY11" fmla="*/ 57120 h 28528965"/>
              <a:gd name="connsiteX0" fmla="*/ 0 w 7128868"/>
              <a:gd name="connsiteY0" fmla="*/ 22877743 h 28528965"/>
              <a:gd name="connsiteX1" fmla="*/ 628400 w 7128868"/>
              <a:gd name="connsiteY1" fmla="*/ 22496725 h 28528965"/>
              <a:gd name="connsiteX2" fmla="*/ 1283148 w 7128868"/>
              <a:gd name="connsiteY2" fmla="*/ 9281975 h 28528965"/>
              <a:gd name="connsiteX3" fmla="*/ 1914046 w 7128868"/>
              <a:gd name="connsiteY3" fmla="*/ 13654666 h 28528965"/>
              <a:gd name="connsiteX4" fmla="*/ 2534666 w 7128868"/>
              <a:gd name="connsiteY4" fmla="*/ 28528965 h 28528965"/>
              <a:gd name="connsiteX5" fmla="*/ 3164919 w 7128868"/>
              <a:gd name="connsiteY5" fmla="*/ 19390605 h 28528965"/>
              <a:gd name="connsiteX6" fmla="*/ 3848466 w 7128868"/>
              <a:gd name="connsiteY6" fmla="*/ 24763455 h 28528965"/>
              <a:gd name="connsiteX7" fmla="*/ 4608997 w 7128868"/>
              <a:gd name="connsiteY7" fmla="*/ 553101 h 28528965"/>
              <a:gd name="connsiteX8" fmla="*/ 5253972 w 7128868"/>
              <a:gd name="connsiteY8" fmla="*/ 396 h 28528965"/>
              <a:gd name="connsiteX9" fmla="*/ 5901841 w 7128868"/>
              <a:gd name="connsiteY9" fmla="*/ 460825 h 28528965"/>
              <a:gd name="connsiteX10" fmla="*/ 6554829 w 7128868"/>
              <a:gd name="connsiteY10" fmla="*/ 227687 h 28528965"/>
              <a:gd name="connsiteX11" fmla="*/ 7128868 w 7128868"/>
              <a:gd name="connsiteY11" fmla="*/ 57120 h 28528965"/>
              <a:gd name="connsiteX0" fmla="*/ 0 w 7128868"/>
              <a:gd name="connsiteY0" fmla="*/ 22877743 h 28528965"/>
              <a:gd name="connsiteX1" fmla="*/ 628400 w 7128868"/>
              <a:gd name="connsiteY1" fmla="*/ 22496725 h 28528965"/>
              <a:gd name="connsiteX2" fmla="*/ 1283148 w 7128868"/>
              <a:gd name="connsiteY2" fmla="*/ 9281975 h 28528965"/>
              <a:gd name="connsiteX3" fmla="*/ 1914046 w 7128868"/>
              <a:gd name="connsiteY3" fmla="*/ 13654666 h 28528965"/>
              <a:gd name="connsiteX4" fmla="*/ 2534666 w 7128868"/>
              <a:gd name="connsiteY4" fmla="*/ 28528965 h 28528965"/>
              <a:gd name="connsiteX5" fmla="*/ 3164919 w 7128868"/>
              <a:gd name="connsiteY5" fmla="*/ 19390605 h 28528965"/>
              <a:gd name="connsiteX6" fmla="*/ 3848466 w 7128868"/>
              <a:gd name="connsiteY6" fmla="*/ 24763455 h 28528965"/>
              <a:gd name="connsiteX7" fmla="*/ 4608997 w 7128868"/>
              <a:gd name="connsiteY7" fmla="*/ 553101 h 28528965"/>
              <a:gd name="connsiteX8" fmla="*/ 5253972 w 7128868"/>
              <a:gd name="connsiteY8" fmla="*/ 396 h 28528965"/>
              <a:gd name="connsiteX9" fmla="*/ 5901841 w 7128868"/>
              <a:gd name="connsiteY9" fmla="*/ 460825 h 28528965"/>
              <a:gd name="connsiteX10" fmla="*/ 6554829 w 7128868"/>
              <a:gd name="connsiteY10" fmla="*/ 227687 h 28528965"/>
              <a:gd name="connsiteX11" fmla="*/ 7128868 w 7128868"/>
              <a:gd name="connsiteY11" fmla="*/ 57120 h 28528965"/>
              <a:gd name="connsiteX0" fmla="*/ 0 w 7128868"/>
              <a:gd name="connsiteY0" fmla="*/ 22877743 h 28528965"/>
              <a:gd name="connsiteX1" fmla="*/ 628400 w 7128868"/>
              <a:gd name="connsiteY1" fmla="*/ 22496725 h 28528965"/>
              <a:gd name="connsiteX2" fmla="*/ 1283148 w 7128868"/>
              <a:gd name="connsiteY2" fmla="*/ 9281975 h 28528965"/>
              <a:gd name="connsiteX3" fmla="*/ 1914046 w 7128868"/>
              <a:gd name="connsiteY3" fmla="*/ 13654666 h 28528965"/>
              <a:gd name="connsiteX4" fmla="*/ 2534666 w 7128868"/>
              <a:gd name="connsiteY4" fmla="*/ 28528965 h 28528965"/>
              <a:gd name="connsiteX5" fmla="*/ 3164919 w 7128868"/>
              <a:gd name="connsiteY5" fmla="*/ 19390605 h 28528965"/>
              <a:gd name="connsiteX6" fmla="*/ 3817835 w 7128868"/>
              <a:gd name="connsiteY6" fmla="*/ 24711575 h 28528965"/>
              <a:gd name="connsiteX7" fmla="*/ 4608997 w 7128868"/>
              <a:gd name="connsiteY7" fmla="*/ 553101 h 28528965"/>
              <a:gd name="connsiteX8" fmla="*/ 5253972 w 7128868"/>
              <a:gd name="connsiteY8" fmla="*/ 396 h 28528965"/>
              <a:gd name="connsiteX9" fmla="*/ 5901841 w 7128868"/>
              <a:gd name="connsiteY9" fmla="*/ 460825 h 28528965"/>
              <a:gd name="connsiteX10" fmla="*/ 6554829 w 7128868"/>
              <a:gd name="connsiteY10" fmla="*/ 227687 h 28528965"/>
              <a:gd name="connsiteX11" fmla="*/ 7128868 w 7128868"/>
              <a:gd name="connsiteY11" fmla="*/ 57120 h 28528965"/>
              <a:gd name="connsiteX0" fmla="*/ 0 w 7128868"/>
              <a:gd name="connsiteY0" fmla="*/ 24903643 h 31265645"/>
              <a:gd name="connsiteX1" fmla="*/ 628400 w 7128868"/>
              <a:gd name="connsiteY1" fmla="*/ 24522625 h 31265645"/>
              <a:gd name="connsiteX2" fmla="*/ 1283148 w 7128868"/>
              <a:gd name="connsiteY2" fmla="*/ 11307875 h 31265645"/>
              <a:gd name="connsiteX3" fmla="*/ 1914046 w 7128868"/>
              <a:gd name="connsiteY3" fmla="*/ 15680566 h 31265645"/>
              <a:gd name="connsiteX4" fmla="*/ 2534666 w 7128868"/>
              <a:gd name="connsiteY4" fmla="*/ 30554865 h 31265645"/>
              <a:gd name="connsiteX5" fmla="*/ 3164919 w 7128868"/>
              <a:gd name="connsiteY5" fmla="*/ 21416505 h 31265645"/>
              <a:gd name="connsiteX6" fmla="*/ 3817835 w 7128868"/>
              <a:gd name="connsiteY6" fmla="*/ 26737475 h 31265645"/>
              <a:gd name="connsiteX7" fmla="*/ 4440527 w 7128868"/>
              <a:gd name="connsiteY7" fmla="*/ 31265644 h 31265645"/>
              <a:gd name="connsiteX8" fmla="*/ 5253972 w 7128868"/>
              <a:gd name="connsiteY8" fmla="*/ 2026296 h 31265645"/>
              <a:gd name="connsiteX9" fmla="*/ 5901841 w 7128868"/>
              <a:gd name="connsiteY9" fmla="*/ 2486725 h 31265645"/>
              <a:gd name="connsiteX10" fmla="*/ 6554829 w 7128868"/>
              <a:gd name="connsiteY10" fmla="*/ 2253587 h 31265645"/>
              <a:gd name="connsiteX11" fmla="*/ 7128868 w 7128868"/>
              <a:gd name="connsiteY11" fmla="*/ 2083020 h 31265645"/>
              <a:gd name="connsiteX0" fmla="*/ 0 w 7128868"/>
              <a:gd name="connsiteY0" fmla="*/ 24140414 h 30502416"/>
              <a:gd name="connsiteX1" fmla="*/ 628400 w 7128868"/>
              <a:gd name="connsiteY1" fmla="*/ 23759396 h 30502416"/>
              <a:gd name="connsiteX2" fmla="*/ 1283148 w 7128868"/>
              <a:gd name="connsiteY2" fmla="*/ 10544646 h 30502416"/>
              <a:gd name="connsiteX3" fmla="*/ 1914046 w 7128868"/>
              <a:gd name="connsiteY3" fmla="*/ 14917337 h 30502416"/>
              <a:gd name="connsiteX4" fmla="*/ 2534666 w 7128868"/>
              <a:gd name="connsiteY4" fmla="*/ 29791636 h 30502416"/>
              <a:gd name="connsiteX5" fmla="*/ 3164919 w 7128868"/>
              <a:gd name="connsiteY5" fmla="*/ 20653276 h 30502416"/>
              <a:gd name="connsiteX6" fmla="*/ 3817835 w 7128868"/>
              <a:gd name="connsiteY6" fmla="*/ 25974246 h 30502416"/>
              <a:gd name="connsiteX7" fmla="*/ 4440527 w 7128868"/>
              <a:gd name="connsiteY7" fmla="*/ 30502415 h 30502416"/>
              <a:gd name="connsiteX8" fmla="*/ 5024239 w 7128868"/>
              <a:gd name="connsiteY8" fmla="*/ 23880382 h 30502416"/>
              <a:gd name="connsiteX9" fmla="*/ 5901841 w 7128868"/>
              <a:gd name="connsiteY9" fmla="*/ 1723496 h 30502416"/>
              <a:gd name="connsiteX10" fmla="*/ 6554829 w 7128868"/>
              <a:gd name="connsiteY10" fmla="*/ 1490358 h 30502416"/>
              <a:gd name="connsiteX11" fmla="*/ 7128868 w 7128868"/>
              <a:gd name="connsiteY11" fmla="*/ 1319791 h 30502416"/>
              <a:gd name="connsiteX0" fmla="*/ 0 w 7128868"/>
              <a:gd name="connsiteY0" fmla="*/ 22821187 h 29183189"/>
              <a:gd name="connsiteX1" fmla="*/ 628400 w 7128868"/>
              <a:gd name="connsiteY1" fmla="*/ 22440169 h 29183189"/>
              <a:gd name="connsiteX2" fmla="*/ 1283148 w 7128868"/>
              <a:gd name="connsiteY2" fmla="*/ 9225419 h 29183189"/>
              <a:gd name="connsiteX3" fmla="*/ 1914046 w 7128868"/>
              <a:gd name="connsiteY3" fmla="*/ 13598110 h 29183189"/>
              <a:gd name="connsiteX4" fmla="*/ 2534666 w 7128868"/>
              <a:gd name="connsiteY4" fmla="*/ 28472409 h 29183189"/>
              <a:gd name="connsiteX5" fmla="*/ 3164919 w 7128868"/>
              <a:gd name="connsiteY5" fmla="*/ 19334049 h 29183189"/>
              <a:gd name="connsiteX6" fmla="*/ 3817835 w 7128868"/>
              <a:gd name="connsiteY6" fmla="*/ 24655019 h 29183189"/>
              <a:gd name="connsiteX7" fmla="*/ 4440527 w 7128868"/>
              <a:gd name="connsiteY7" fmla="*/ 29183188 h 29183189"/>
              <a:gd name="connsiteX8" fmla="*/ 5024239 w 7128868"/>
              <a:gd name="connsiteY8" fmla="*/ 22561155 h 29183189"/>
              <a:gd name="connsiteX9" fmla="*/ 5661899 w 7128868"/>
              <a:gd name="connsiteY9" fmla="*/ 7407335 h 29183189"/>
              <a:gd name="connsiteX10" fmla="*/ 6554829 w 7128868"/>
              <a:gd name="connsiteY10" fmla="*/ 171131 h 29183189"/>
              <a:gd name="connsiteX11" fmla="*/ 7128868 w 7128868"/>
              <a:gd name="connsiteY11" fmla="*/ 564 h 29183189"/>
              <a:gd name="connsiteX0" fmla="*/ 0 w 7128868"/>
              <a:gd name="connsiteY0" fmla="*/ 22821187 h 29183189"/>
              <a:gd name="connsiteX1" fmla="*/ 628400 w 7128868"/>
              <a:gd name="connsiteY1" fmla="*/ 22440169 h 29183189"/>
              <a:gd name="connsiteX2" fmla="*/ 1283148 w 7128868"/>
              <a:gd name="connsiteY2" fmla="*/ 9225419 h 29183189"/>
              <a:gd name="connsiteX3" fmla="*/ 1914046 w 7128868"/>
              <a:gd name="connsiteY3" fmla="*/ 13598110 h 29183189"/>
              <a:gd name="connsiteX4" fmla="*/ 2534666 w 7128868"/>
              <a:gd name="connsiteY4" fmla="*/ 28472409 h 29183189"/>
              <a:gd name="connsiteX5" fmla="*/ 3164919 w 7128868"/>
              <a:gd name="connsiteY5" fmla="*/ 19334049 h 29183189"/>
              <a:gd name="connsiteX6" fmla="*/ 3817835 w 7128868"/>
              <a:gd name="connsiteY6" fmla="*/ 24655019 h 29183189"/>
              <a:gd name="connsiteX7" fmla="*/ 4440527 w 7128868"/>
              <a:gd name="connsiteY7" fmla="*/ 29183188 h 29183189"/>
              <a:gd name="connsiteX8" fmla="*/ 5024239 w 7128868"/>
              <a:gd name="connsiteY8" fmla="*/ 22561155 h 29183189"/>
              <a:gd name="connsiteX9" fmla="*/ 5646584 w 7128868"/>
              <a:gd name="connsiteY9" fmla="*/ 6940466 h 29183189"/>
              <a:gd name="connsiteX10" fmla="*/ 6554829 w 7128868"/>
              <a:gd name="connsiteY10" fmla="*/ 171131 h 29183189"/>
              <a:gd name="connsiteX11" fmla="*/ 7128868 w 7128868"/>
              <a:gd name="connsiteY11" fmla="*/ 564 h 29183189"/>
              <a:gd name="connsiteX0" fmla="*/ 0 w 7128868"/>
              <a:gd name="connsiteY0" fmla="*/ 22821187 h 29183189"/>
              <a:gd name="connsiteX1" fmla="*/ 628400 w 7128868"/>
              <a:gd name="connsiteY1" fmla="*/ 22440169 h 29183189"/>
              <a:gd name="connsiteX2" fmla="*/ 1283148 w 7128868"/>
              <a:gd name="connsiteY2" fmla="*/ 9225419 h 29183189"/>
              <a:gd name="connsiteX3" fmla="*/ 1914046 w 7128868"/>
              <a:gd name="connsiteY3" fmla="*/ 13598110 h 29183189"/>
              <a:gd name="connsiteX4" fmla="*/ 2534666 w 7128868"/>
              <a:gd name="connsiteY4" fmla="*/ 28472409 h 29183189"/>
              <a:gd name="connsiteX5" fmla="*/ 3164919 w 7128868"/>
              <a:gd name="connsiteY5" fmla="*/ 19334049 h 29183189"/>
              <a:gd name="connsiteX6" fmla="*/ 3817835 w 7128868"/>
              <a:gd name="connsiteY6" fmla="*/ 24655019 h 29183189"/>
              <a:gd name="connsiteX7" fmla="*/ 4440527 w 7128868"/>
              <a:gd name="connsiteY7" fmla="*/ 29183188 h 29183189"/>
              <a:gd name="connsiteX8" fmla="*/ 5024239 w 7128868"/>
              <a:gd name="connsiteY8" fmla="*/ 22561155 h 29183189"/>
              <a:gd name="connsiteX9" fmla="*/ 5661899 w 7128868"/>
              <a:gd name="connsiteY9" fmla="*/ 7199840 h 29183189"/>
              <a:gd name="connsiteX10" fmla="*/ 6554829 w 7128868"/>
              <a:gd name="connsiteY10" fmla="*/ 171131 h 29183189"/>
              <a:gd name="connsiteX11" fmla="*/ 7128868 w 7128868"/>
              <a:gd name="connsiteY11" fmla="*/ 564 h 29183189"/>
              <a:gd name="connsiteX0" fmla="*/ 0 w 7128868"/>
              <a:gd name="connsiteY0" fmla="*/ 22820631 h 29182633"/>
              <a:gd name="connsiteX1" fmla="*/ 628400 w 7128868"/>
              <a:gd name="connsiteY1" fmla="*/ 22439613 h 29182633"/>
              <a:gd name="connsiteX2" fmla="*/ 1283148 w 7128868"/>
              <a:gd name="connsiteY2" fmla="*/ 9224863 h 29182633"/>
              <a:gd name="connsiteX3" fmla="*/ 1914046 w 7128868"/>
              <a:gd name="connsiteY3" fmla="*/ 13597554 h 29182633"/>
              <a:gd name="connsiteX4" fmla="*/ 2534666 w 7128868"/>
              <a:gd name="connsiteY4" fmla="*/ 28471853 h 29182633"/>
              <a:gd name="connsiteX5" fmla="*/ 3164919 w 7128868"/>
              <a:gd name="connsiteY5" fmla="*/ 19333493 h 29182633"/>
              <a:gd name="connsiteX6" fmla="*/ 3817835 w 7128868"/>
              <a:gd name="connsiteY6" fmla="*/ 24654463 h 29182633"/>
              <a:gd name="connsiteX7" fmla="*/ 4440527 w 7128868"/>
              <a:gd name="connsiteY7" fmla="*/ 29182632 h 29182633"/>
              <a:gd name="connsiteX8" fmla="*/ 5024239 w 7128868"/>
              <a:gd name="connsiteY8" fmla="*/ 22560599 h 29182633"/>
              <a:gd name="connsiteX9" fmla="*/ 5661899 w 7128868"/>
              <a:gd name="connsiteY9" fmla="*/ 7199284 h 29182633"/>
              <a:gd name="connsiteX10" fmla="*/ 6319991 w 7128868"/>
              <a:gd name="connsiteY10" fmla="*/ 15162331 h 29182633"/>
              <a:gd name="connsiteX11" fmla="*/ 7128868 w 7128868"/>
              <a:gd name="connsiteY11" fmla="*/ 8 h 29182633"/>
              <a:gd name="connsiteX0" fmla="*/ 0 w 7016554"/>
              <a:gd name="connsiteY0" fmla="*/ 15735226 h 22097228"/>
              <a:gd name="connsiteX1" fmla="*/ 628400 w 7016554"/>
              <a:gd name="connsiteY1" fmla="*/ 15354208 h 22097228"/>
              <a:gd name="connsiteX2" fmla="*/ 1283148 w 7016554"/>
              <a:gd name="connsiteY2" fmla="*/ 2139458 h 22097228"/>
              <a:gd name="connsiteX3" fmla="*/ 1914046 w 7016554"/>
              <a:gd name="connsiteY3" fmla="*/ 6512149 h 22097228"/>
              <a:gd name="connsiteX4" fmla="*/ 2534666 w 7016554"/>
              <a:gd name="connsiteY4" fmla="*/ 21386448 h 22097228"/>
              <a:gd name="connsiteX5" fmla="*/ 3164919 w 7016554"/>
              <a:gd name="connsiteY5" fmla="*/ 12248088 h 22097228"/>
              <a:gd name="connsiteX6" fmla="*/ 3817835 w 7016554"/>
              <a:gd name="connsiteY6" fmla="*/ 17569058 h 22097228"/>
              <a:gd name="connsiteX7" fmla="*/ 4440527 w 7016554"/>
              <a:gd name="connsiteY7" fmla="*/ 22097227 h 22097228"/>
              <a:gd name="connsiteX8" fmla="*/ 5024239 w 7016554"/>
              <a:gd name="connsiteY8" fmla="*/ 15475194 h 22097228"/>
              <a:gd name="connsiteX9" fmla="*/ 5661899 w 7016554"/>
              <a:gd name="connsiteY9" fmla="*/ 113879 h 22097228"/>
              <a:gd name="connsiteX10" fmla="*/ 6319991 w 7016554"/>
              <a:gd name="connsiteY10" fmla="*/ 8076926 h 22097228"/>
              <a:gd name="connsiteX11" fmla="*/ 7016554 w 7016554"/>
              <a:gd name="connsiteY11" fmla="*/ 5883247 h 2209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16554" h="22097228">
                <a:moveTo>
                  <a:pt x="0" y="15735226"/>
                </a:moveTo>
                <a:cubicBezTo>
                  <a:pt x="541990" y="15728647"/>
                  <a:pt x="414542" y="17620169"/>
                  <a:pt x="628400" y="15354208"/>
                </a:cubicBezTo>
                <a:cubicBezTo>
                  <a:pt x="842258" y="13088247"/>
                  <a:pt x="1068874" y="3613134"/>
                  <a:pt x="1283148" y="2139458"/>
                </a:cubicBezTo>
                <a:cubicBezTo>
                  <a:pt x="1497422" y="665782"/>
                  <a:pt x="1705460" y="3304317"/>
                  <a:pt x="1914046" y="6512149"/>
                </a:cubicBezTo>
                <a:cubicBezTo>
                  <a:pt x="2122632" y="9719981"/>
                  <a:pt x="2318590" y="21383096"/>
                  <a:pt x="2534666" y="21386448"/>
                </a:cubicBezTo>
                <a:cubicBezTo>
                  <a:pt x="2743985" y="21169228"/>
                  <a:pt x="2911475" y="15955719"/>
                  <a:pt x="3164919" y="12248088"/>
                </a:cubicBezTo>
                <a:cubicBezTo>
                  <a:pt x="3393458" y="8213559"/>
                  <a:pt x="3605234" y="15927535"/>
                  <a:pt x="3817835" y="17569058"/>
                </a:cubicBezTo>
                <a:cubicBezTo>
                  <a:pt x="4030436" y="19210581"/>
                  <a:pt x="4174823" y="22089732"/>
                  <a:pt x="4440527" y="22097227"/>
                </a:cubicBezTo>
                <a:cubicBezTo>
                  <a:pt x="4786393" y="22097256"/>
                  <a:pt x="4820677" y="19139085"/>
                  <a:pt x="5024239" y="15475194"/>
                </a:cubicBezTo>
                <a:cubicBezTo>
                  <a:pt x="5227801" y="11811303"/>
                  <a:pt x="5445940" y="1346924"/>
                  <a:pt x="5661899" y="113879"/>
                </a:cubicBezTo>
                <a:cubicBezTo>
                  <a:pt x="5877858" y="-1119166"/>
                  <a:pt x="6118641" y="8067240"/>
                  <a:pt x="6319991" y="8076926"/>
                </a:cubicBezTo>
                <a:cubicBezTo>
                  <a:pt x="6492559" y="8083281"/>
                  <a:pt x="6764083" y="5871083"/>
                  <a:pt x="7016554" y="5883247"/>
                </a:cubicBezTo>
              </a:path>
            </a:pathLst>
          </a:custGeom>
          <a:noFill/>
          <a:ln w="136525" cap="rnd" cmpd="sng" algn="ctr">
            <a:solidFill>
              <a:srgbClr val="32E9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0859327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Group 29"/>
          <p:cNvGraphicFramePr>
            <a:graphicFrameLocks noGrp="1"/>
          </p:cNvGraphicFramePr>
          <p:nvPr>
            <p:extLst>
              <p:ext uri="{D42A27DB-BD31-4B8C-83A1-F6EECF244321}">
                <p14:modId xmlns:p14="http://schemas.microsoft.com/office/powerpoint/2010/main" val="909297330"/>
              </p:ext>
            </p:extLst>
          </p:nvPr>
        </p:nvGraphicFramePr>
        <p:xfrm>
          <a:off x="373085" y="965772"/>
          <a:ext cx="11445832" cy="5671507"/>
        </p:xfrm>
        <a:graphic>
          <a:graphicData uri="http://schemas.openxmlformats.org/drawingml/2006/table">
            <a:tbl>
              <a:tblPr/>
              <a:tblGrid>
                <a:gridCol w="1923228">
                  <a:extLst>
                    <a:ext uri="{9D8B030D-6E8A-4147-A177-3AD203B41FA5}">
                      <a16:colId xmlns:a16="http://schemas.microsoft.com/office/drawing/2014/main" val="20000"/>
                    </a:ext>
                  </a:extLst>
                </a:gridCol>
                <a:gridCol w="4761302">
                  <a:extLst>
                    <a:ext uri="{9D8B030D-6E8A-4147-A177-3AD203B41FA5}">
                      <a16:colId xmlns:a16="http://schemas.microsoft.com/office/drawing/2014/main" val="20001"/>
                    </a:ext>
                  </a:extLst>
                </a:gridCol>
                <a:gridCol w="4761302">
                  <a:extLst>
                    <a:ext uri="{9D8B030D-6E8A-4147-A177-3AD203B41FA5}">
                      <a16:colId xmlns:a16="http://schemas.microsoft.com/office/drawing/2014/main" val="20002"/>
                    </a:ext>
                  </a:extLst>
                </a:gridCol>
              </a:tblGrid>
              <a:tr h="35269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900" b="1" i="0" u="none" strike="noStrike" cap="none" normalizeH="0" baseline="0" dirty="0">
                        <a:ln>
                          <a:noFill/>
                        </a:ln>
                        <a:solidFill>
                          <a:srgbClr val="002776"/>
                        </a:solidFill>
                        <a:effectLst/>
                        <a:latin typeface="+mj-lt"/>
                        <a:cs typeface="Arial" pitchFamily="34" charset="0"/>
                      </a:endParaRPr>
                    </a:p>
                  </a:txBody>
                  <a:tcPr marL="54864" marR="54864" marT="36576" marB="3657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eaLnBrk="0" hangingPunct="0">
                        <a:lnSpc>
                          <a:spcPct val="90000"/>
                        </a:lnSpc>
                        <a:buSzPct val="100000"/>
                        <a:buFont typeface="Wingdings 2" pitchFamily="18" charset="2"/>
                        <a:buNone/>
                      </a:pPr>
                      <a:r>
                        <a:rPr lang="en-US" altLang="en-US" sz="900" b="1" kern="1200" dirty="0">
                          <a:solidFill>
                            <a:schemeClr val="bg1"/>
                          </a:solidFill>
                          <a:latin typeface="+mn-lt"/>
                          <a:ea typeface="+mn-ea"/>
                          <a:cs typeface="+mn-cs"/>
                        </a:rPr>
                        <a:t>Key</a:t>
                      </a:r>
                      <a:r>
                        <a:rPr lang="en-US" altLang="en-US" sz="900" b="1" kern="1200" baseline="0" dirty="0">
                          <a:solidFill>
                            <a:schemeClr val="bg1"/>
                          </a:solidFill>
                          <a:latin typeface="+mn-lt"/>
                          <a:ea typeface="+mn-ea"/>
                          <a:cs typeface="+mn-cs"/>
                        </a:rPr>
                        <a:t> Observations</a:t>
                      </a:r>
                      <a:endParaRPr lang="en-US" altLang="en-US" sz="900" b="1" kern="1200" dirty="0">
                        <a:solidFill>
                          <a:schemeClr val="bg1"/>
                        </a:solidFill>
                        <a:latin typeface="+mn-lt"/>
                        <a:ea typeface="+mn-ea"/>
                        <a:cs typeface="+mn-cs"/>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algn="ctr" eaLnBrk="0" hangingPunct="0">
                        <a:lnSpc>
                          <a:spcPct val="90000"/>
                        </a:lnSpc>
                        <a:buSzPct val="100000"/>
                        <a:buFont typeface="Wingdings 2" pitchFamily="18" charset="2"/>
                        <a:buNone/>
                      </a:pPr>
                      <a:r>
                        <a:rPr lang="en-US" altLang="en-US" sz="900" b="1" kern="1200" dirty="0">
                          <a:solidFill>
                            <a:schemeClr val="bg1"/>
                          </a:solidFill>
                          <a:latin typeface="+mn-lt"/>
                          <a:ea typeface="+mn-ea"/>
                          <a:cs typeface="+mn-cs"/>
                        </a:rPr>
                        <a:t>Business Implica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627088">
                <a:tc>
                  <a:txBody>
                    <a:bodyPr/>
                    <a:lstStyle/>
                    <a:p>
                      <a:pPr algn="l"/>
                      <a:r>
                        <a:rPr kumimoji="0" lang="en-US" sz="900" b="1" i="0" u="none" strike="noStrike" kern="1200" cap="none" spc="0" normalizeH="0" baseline="0" noProof="0" dirty="0">
                          <a:ln>
                            <a:noFill/>
                          </a:ln>
                          <a:solidFill>
                            <a:prstClr val="white"/>
                          </a:solidFill>
                          <a:effectLst/>
                          <a:uLnTx/>
                          <a:uFillTx/>
                          <a:latin typeface="+mn-lt"/>
                          <a:ea typeface="+mn-ea"/>
                          <a:cs typeface="Arial" pitchFamily="34" charset="0"/>
                        </a:rPr>
                        <a:t>Marketplace</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dirty="0">
                          <a:solidFill>
                            <a:schemeClr val="tx1"/>
                          </a:solidFill>
                        </a:rPr>
                        <a:t>PSBU:</a:t>
                      </a:r>
                      <a:r>
                        <a:rPr lang="en-US" sz="900" baseline="0" dirty="0">
                          <a:solidFill>
                            <a:schemeClr val="tx1"/>
                          </a:solidFill>
                        </a:rPr>
                        <a:t> With select partners a collaborative relationship has been developed</a:t>
                      </a:r>
                    </a:p>
                    <a:p>
                      <a:pPr marL="171450" indent="-171450">
                        <a:lnSpc>
                          <a:spcPct val="100000"/>
                        </a:lnSpc>
                        <a:spcBef>
                          <a:spcPts val="0"/>
                        </a:spcBef>
                        <a:buFont typeface="Arial" panose="020B0604020202020204" pitchFamily="34" charset="0"/>
                        <a:buChar char="•"/>
                      </a:pPr>
                      <a:r>
                        <a:rPr lang="en-US" sz="900" baseline="0" dirty="0">
                          <a:solidFill>
                            <a:schemeClr val="tx1"/>
                          </a:solidFill>
                        </a:rPr>
                        <a:t>MSBU: Highly customer specific products forcing strong marketplace collaboration</a:t>
                      </a:r>
                      <a:endParaRPr lang="en-US" sz="90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900" dirty="0">
                          <a:solidFill>
                            <a:schemeClr val="tx1"/>
                          </a:solidFill>
                        </a:rPr>
                        <a:t>Design for the marketplace will</a:t>
                      </a:r>
                      <a:r>
                        <a:rPr lang="en-US" altLang="ja-JP" sz="900" baseline="0" dirty="0">
                          <a:solidFill>
                            <a:schemeClr val="tx1"/>
                          </a:solidFill>
                        </a:rPr>
                        <a:t> allow Molex to different and incrase value created for customers</a:t>
                      </a:r>
                      <a:endParaRPr lang="ja-JP" altLang="en-US" sz="90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52697">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Mfg.</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PSBU:</a:t>
                      </a:r>
                    </a:p>
                    <a:p>
                      <a:pPr marL="171450" indent="-171450">
                        <a:lnSpc>
                          <a:spcPct val="100000"/>
                        </a:lnSpc>
                        <a:spcBef>
                          <a:spcPts val="0"/>
                        </a:spcBef>
                        <a:buFont typeface="Arial" panose="020B0604020202020204" pitchFamily="34" charset="0"/>
                        <a:buChar char="•"/>
                      </a:pPr>
                      <a:r>
                        <a:rPr lang="en-US" sz="900" b="0" baseline="0" dirty="0">
                          <a:solidFill>
                            <a:schemeClr val="tx1"/>
                          </a:solidFill>
                        </a:rPr>
                        <a:t>M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dirty="0">
                          <a:solidFill>
                            <a:schemeClr val="tx1"/>
                          </a:solidFill>
                        </a:rPr>
                        <a:t>Connecting the bridge between design and manfactur9ing is paramount</a:t>
                      </a:r>
                      <a:r>
                        <a:rPr lang="en-US" altLang="ja-JP" sz="900" baseline="0" dirty="0">
                          <a:solidFill>
                            <a:schemeClr val="tx1"/>
                          </a:solidFill>
                        </a:rPr>
                        <a:t> to increase speed to get it right</a:t>
                      </a:r>
                      <a:endParaRPr lang="en-US" altLang="ja-JP" sz="90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52697">
                <a:tc>
                  <a:txBody>
                    <a:bodyPr/>
                    <a:lstStyle/>
                    <a:p>
                      <a:r>
                        <a:rPr lang="en-US" sz="900" b="1" dirty="0">
                          <a:solidFill>
                            <a:schemeClr val="bg1"/>
                          </a:solidFill>
                          <a:latin typeface="+mn-lt"/>
                          <a:cs typeface="Arial" pitchFamily="34" charset="0"/>
                        </a:rPr>
                        <a:t>Sourcing &amp; Logistics</a:t>
                      </a:r>
                      <a:endParaRPr kumimoji="0" lang="en-US" sz="900" b="1" i="0" u="none" strike="noStrike" kern="1200" cap="none" spc="0" normalizeH="0" baseline="0" dirty="0">
                        <a:ln>
                          <a:noFill/>
                        </a:ln>
                        <a:solidFill>
                          <a:prstClr val="white"/>
                        </a:solidFill>
                        <a:effectLst/>
                        <a:uLnTx/>
                        <a:uFillTx/>
                        <a:latin typeface="+mn-lt"/>
                        <a:ea typeface="+mn-ea"/>
                        <a:cs typeface="Arial" pitchFamily="34" charset="0"/>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PSBU: Not frequently involved in the process unless require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MSBU: Same as above </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endParaRPr lang="en-US" sz="90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52697">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Serviceability /Reparability</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PSBU:</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M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aseline="0" dirty="0">
                          <a:solidFill>
                            <a:schemeClr val="tx1"/>
                          </a:solidFill>
                        </a:rPr>
                        <a:t>Not applicable based on the product portfolio within CC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96658287"/>
                  </a:ext>
                </a:extLst>
              </a:tr>
              <a:tr h="487113">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Compliance</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PSBU: legal and compliance requirements are consolidated and maintained in one space that all engineers can leverag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MSBU: Same as above</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As Molex transition's to solutions our customers / market will require addiontal capability around adhering to compliance</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3551714"/>
                  </a:ext>
                </a:extLst>
              </a:tr>
              <a:tr h="627088">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20" normalizeH="0" noProof="0" dirty="0">
                          <a:ln>
                            <a:noFill/>
                          </a:ln>
                          <a:solidFill>
                            <a:schemeClr val="bg1"/>
                          </a:solidFill>
                          <a:effectLst/>
                          <a:uLnTx/>
                          <a:uFillTx/>
                          <a:latin typeface="+mn-lt"/>
                          <a:ea typeface="+mn-ea"/>
                          <a:cs typeface="Arial" pitchFamily="34" charset="0"/>
                        </a:rPr>
                        <a:t>Quality</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PSBU: Rely on checkpoints throughout the PDP process but not a standard format or methodology across the different group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MSBU: Quality issue is always documented and shared but is not always proactively built into the design </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Product functionality is prioritized over the compressive quality of the product (e.g. manufacturing, sourcing, etc.)</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86354471"/>
                  </a:ext>
                </a:extLst>
              </a:tr>
              <a:tr h="487113">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Tes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PSBU:</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MSBU: Test for every functional aspect of the product but not developed early in the proces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aseline="0" dirty="0">
                          <a:solidFill>
                            <a:schemeClr val="tx1"/>
                          </a:solidFill>
                        </a:rPr>
                        <a:t>As Molex moves into FW / SW a test strategy must be designed very early to ensure customer reqts are met </a:t>
                      </a:r>
                    </a:p>
                    <a:p>
                      <a:pPr marL="171450" indent="-171450">
                        <a:lnSpc>
                          <a:spcPct val="100000"/>
                        </a:lnSpc>
                        <a:spcBef>
                          <a:spcPts val="0"/>
                        </a:spcBef>
                        <a:buFont typeface="Arial" panose="020B0604020202020204" pitchFamily="34" charset="0"/>
                        <a:buChar char="•"/>
                      </a:pPr>
                      <a:r>
                        <a:rPr lang="en-US" sz="900" baseline="0" dirty="0">
                          <a:solidFill>
                            <a:schemeClr val="tx1"/>
                          </a:solidFill>
                        </a:rPr>
                        <a:t>While important there is limited upside in this capability </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46147242"/>
                  </a:ext>
                </a:extLst>
              </a:tr>
              <a:tr h="487113">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Environment, Health, Safety</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PSBU: Currently ensuring EHS but could include in the PDP earlier to ensure no major issues are misse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MSBU: </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a:solidFill>
                            <a:schemeClr val="tx1"/>
                          </a:solidFill>
                        </a:rPr>
                        <a:t>Greater speed / efficiency will be extremely important </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9054611"/>
                  </a:ext>
                </a:extLst>
              </a:tr>
              <a:tr h="487113">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Cost / Weigh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PSBU: Balance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M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Quality and timing are more important for the group than cost / weight </a:t>
                      </a:r>
                    </a:p>
                    <a:p>
                      <a:pPr marL="171450" indent="-171450">
                        <a:lnSpc>
                          <a:spcPct val="100000"/>
                        </a:lnSpc>
                        <a:spcBef>
                          <a:spcPts val="0"/>
                        </a:spcBef>
                        <a:buFont typeface="Arial" panose="020B0604020202020204" pitchFamily="34" charset="0"/>
                        <a:buChar char="•"/>
                      </a:pPr>
                      <a:r>
                        <a:rPr lang="en-US" sz="900" b="0" baseline="0" dirty="0">
                          <a:solidFill>
                            <a:schemeClr val="tx1"/>
                          </a:solidFill>
                        </a:rPr>
                        <a:t>Innovation leading focused company</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4600831"/>
                  </a:ext>
                </a:extLst>
              </a:tr>
              <a:tr h="352697">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Connectivity</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PSBU:</a:t>
                      </a:r>
                      <a:r>
                        <a:rPr kumimoji="0" lang="ja-JP" altLang="en-US" sz="900" b="0" i="0" u="none" strike="noStrike" kern="1200" cap="none" spc="0" normalizeH="0" baseline="0" noProof="0" dirty="0">
                          <a:ln>
                            <a:noFill/>
                          </a:ln>
                          <a:solidFill>
                            <a:prstClr val="black"/>
                          </a:solidFill>
                          <a:effectLst/>
                          <a:uLnTx/>
                          <a:uFillTx/>
                          <a:latin typeface="Verdana"/>
                          <a:ea typeface="+mn-ea"/>
                          <a:cs typeface="+mn-cs"/>
                        </a:rPr>
                        <a:t>　</a:t>
                      </a: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N/A</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MSBU:</a:t>
                      </a:r>
                      <a:r>
                        <a:rPr kumimoji="0" lang="ja-JP" altLang="en-US" sz="900" b="0" i="0" u="none" strike="noStrike" kern="1200" cap="none" spc="0" normalizeH="0" baseline="0" noProof="0" dirty="0">
                          <a:ln>
                            <a:noFill/>
                          </a:ln>
                          <a:solidFill>
                            <a:prstClr val="black"/>
                          </a:solidFill>
                          <a:effectLst/>
                          <a:uLnTx/>
                          <a:uFillTx/>
                          <a:latin typeface="Verdana"/>
                          <a:ea typeface="+mn-ea"/>
                          <a:cs typeface="+mn-cs"/>
                        </a:rPr>
                        <a:t>　</a:t>
                      </a: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N/A</a:t>
                      </a:r>
                      <a:r>
                        <a:rPr kumimoji="0" lang="ja-JP" altLang="en-US" sz="900" b="0" i="0" u="none" strike="noStrike" kern="1200" cap="none" spc="0" normalizeH="0" baseline="0" noProof="0" dirty="0">
                          <a:ln>
                            <a:noFill/>
                          </a:ln>
                          <a:solidFill>
                            <a:prstClr val="black"/>
                          </a:solidFill>
                          <a:effectLst/>
                          <a:uLnTx/>
                          <a:uFillTx/>
                          <a:latin typeface="Verdana"/>
                          <a:ea typeface="+mn-ea"/>
                          <a:cs typeface="+mn-cs"/>
                        </a:rPr>
                        <a:t> </a:t>
                      </a:r>
                      <a:endParaRPr kumimoji="0" lang="en-US" altLang="ja-JP" sz="900" b="0" i="0" u="none" strike="noStrike" kern="1200" cap="none" spc="0" normalizeH="0" baseline="0" noProof="0" dirty="0">
                        <a:ln>
                          <a:noFill/>
                        </a:ln>
                        <a:solidFill>
                          <a:prstClr val="black"/>
                        </a:solidFill>
                        <a:effectLst/>
                        <a:uLnTx/>
                        <a:uFillTx/>
                        <a:latin typeface="Verdana"/>
                        <a:ea typeface="+mn-ea"/>
                        <a:cs typeface="+mn-cs"/>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aseline="0" dirty="0">
                          <a:solidFill>
                            <a:schemeClr val="tx1"/>
                          </a:solidFill>
                        </a:rPr>
                        <a:t>No connected products currently but could be applicable in the future</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572184056"/>
                  </a:ext>
                </a:extLst>
              </a:tr>
              <a:tr h="352697">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Customer Experience</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PSBU:</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M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endParaRPr lang="en-US" sz="900" b="1"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751795117"/>
                  </a:ext>
                </a:extLst>
              </a:tr>
              <a:tr h="352697">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Mfg. Innovation</a:t>
                      </a:r>
                    </a:p>
                    <a:p>
                      <a:endParaRPr kumimoji="0" lang="en-US" sz="900" b="1" i="0" u="none" strike="noStrike" kern="1200" cap="none" spc="0" normalizeH="0" baseline="0" dirty="0">
                        <a:ln>
                          <a:noFill/>
                        </a:ln>
                        <a:solidFill>
                          <a:prstClr val="white"/>
                        </a:solidFill>
                        <a:effectLst/>
                        <a:uLnTx/>
                        <a:uFillTx/>
                        <a:latin typeface="+mn-lt"/>
                        <a:ea typeface="+mn-ea"/>
                        <a:cs typeface="Arial" pitchFamily="34" charset="0"/>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PSBU:</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900" b="0" i="0" u="none" strike="noStrike" kern="1200" cap="none" spc="0" normalizeH="0" baseline="0" noProof="0" dirty="0">
                          <a:ln>
                            <a:noFill/>
                          </a:ln>
                          <a:solidFill>
                            <a:prstClr val="black"/>
                          </a:solidFill>
                          <a:effectLst/>
                          <a:uLnTx/>
                          <a:uFillTx/>
                          <a:latin typeface="Verdana"/>
                          <a:ea typeface="+mn-ea"/>
                          <a:cs typeface="+mn-cs"/>
                        </a:rPr>
                        <a:t>M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endParaRPr lang="en-US" sz="900" b="1"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684300654"/>
                  </a:ext>
                </a:extLst>
              </a:tr>
            </a:tbl>
          </a:graphicData>
        </a:graphic>
      </p:graphicFrame>
      <p:sp>
        <p:nvSpPr>
          <p:cNvPr id="4" name="Title 3">
            <a:extLst>
              <a:ext uri="{FF2B5EF4-FFF2-40B4-BE49-F238E27FC236}">
                <a16:creationId xmlns:a16="http://schemas.microsoft.com/office/drawing/2014/main" id="{026705D2-9A1E-4A1F-80F4-6BC1AE8E4025}"/>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lvl="0" defTabSz="914400">
              <a:defRPr/>
            </a:pPr>
            <a:r>
              <a:rPr lang="en-US" sz="2400" b="1" dirty="0">
                <a:solidFill>
                  <a:prstClr val="black"/>
                </a:solidFill>
              </a:rPr>
              <a:t>Design for X</a:t>
            </a:r>
          </a:p>
        </p:txBody>
      </p:sp>
    </p:spTree>
    <p:extLst>
      <p:ext uri="{BB962C8B-B14F-4D97-AF65-F5344CB8AC3E}">
        <p14:creationId xmlns:p14="http://schemas.microsoft.com/office/powerpoint/2010/main" val="4230970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en-US" dirty="0"/>
              <a:t>Current-State Capability Product Development Collaboration (Big Bet. A New New.)</a:t>
            </a:r>
          </a:p>
        </p:txBody>
      </p:sp>
      <p:sp>
        <p:nvSpPr>
          <p:cNvPr id="7" name="Rectangle 6">
            <a:extLst>
              <a:ext uri="{FF2B5EF4-FFF2-40B4-BE49-F238E27FC236}">
                <a16:creationId xmlns:a16="http://schemas.microsoft.com/office/drawing/2014/main" id="{1617907B-D8E2-4123-ACEC-F245D7D4077D}"/>
              </a:ext>
            </a:extLst>
          </p:cNvPr>
          <p:cNvSpPr>
            <a:spLocks noChangeArrowheads="1"/>
          </p:cNvSpPr>
          <p:nvPr/>
        </p:nvSpPr>
        <p:spPr bwMode="gray">
          <a:xfrm>
            <a:off x="1263928" y="1812899"/>
            <a:ext cx="3085363" cy="215444"/>
          </a:xfrm>
          <a:prstGeom prst="rect">
            <a:avLst/>
          </a:prstGeom>
          <a:solidFill>
            <a:schemeClr val="bg1"/>
          </a:solidFill>
          <a:ln w="12700" cap="rnd" algn="ctr">
            <a:noFill/>
            <a:miter lim="800000"/>
            <a:headEnd/>
            <a:tailEnd/>
          </a:ln>
        </p:spPr>
        <p:txBody>
          <a:bodyPr wrap="square" lIns="71966" tIns="0" rIns="71966" bIns="0" anchor="ctr" anchorCtr="1">
            <a:spAutoFit/>
          </a:bodyPr>
          <a:lstStyle/>
          <a:p>
            <a:pPr defTabSz="913961" fontAlgn="base">
              <a:spcBef>
                <a:spcPct val="20000"/>
              </a:spcBef>
              <a:spcAft>
                <a:spcPct val="0"/>
              </a:spcAft>
            </a:pPr>
            <a:r>
              <a:rPr lang="en-US" sz="1400" b="1" dirty="0">
                <a:solidFill>
                  <a:srgbClr val="92D400"/>
                </a:solidFill>
                <a:latin typeface="+mj-lt"/>
                <a:cs typeface="Arial" pitchFamily="34" charset="0"/>
              </a:rPr>
              <a:t>Current State Journey</a:t>
            </a:r>
          </a:p>
        </p:txBody>
      </p:sp>
      <p:pic>
        <p:nvPicPr>
          <p:cNvPr id="8" name="Picture 7">
            <a:extLst>
              <a:ext uri="{FF2B5EF4-FFF2-40B4-BE49-F238E27FC236}">
                <a16:creationId xmlns:a16="http://schemas.microsoft.com/office/drawing/2014/main" id="{F58A16F7-C5FE-4FA0-95B9-317D632AC5C9}"/>
              </a:ext>
            </a:extLst>
          </p:cNvPr>
          <p:cNvPicPr>
            <a:picLocks noChangeAspect="1" noChangeArrowheads="1"/>
          </p:cNvPicPr>
          <p:nvPr/>
        </p:nvPicPr>
        <p:blipFill>
          <a:blip r:embed="rId2">
            <a:lum contrast="22000"/>
            <a:extLst>
              <a:ext uri="{28A0092B-C50C-407E-A947-70E740481C1C}">
                <a14:useLocalDpi xmlns:a14="http://schemas.microsoft.com/office/drawing/2010/main" val="0"/>
              </a:ext>
            </a:extLst>
          </a:blip>
          <a:srcRect/>
          <a:stretch>
            <a:fillRect/>
          </a:stretch>
        </p:blipFill>
        <p:spPr bwMode="auto">
          <a:xfrm>
            <a:off x="1197632" y="2240043"/>
            <a:ext cx="9311976" cy="2749079"/>
          </a:xfrm>
          <a:prstGeom prst="rect">
            <a:avLst/>
          </a:prstGeom>
          <a:solidFill>
            <a:schemeClr val="accent1">
              <a:lumMod val="20000"/>
              <a:lumOff val="80000"/>
            </a:schemeClr>
          </a:solidFill>
          <a:ln>
            <a:noFill/>
          </a:ln>
          <a:effectLst/>
        </p:spPr>
      </p:pic>
      <p:sp>
        <p:nvSpPr>
          <p:cNvPr id="9" name="Rectangle 8">
            <a:extLst>
              <a:ext uri="{FF2B5EF4-FFF2-40B4-BE49-F238E27FC236}">
                <a16:creationId xmlns:a16="http://schemas.microsoft.com/office/drawing/2014/main" id="{7B1A2920-D963-46D7-9BBE-A417E9448C54}"/>
              </a:ext>
            </a:extLst>
          </p:cNvPr>
          <p:cNvSpPr/>
          <p:nvPr/>
        </p:nvSpPr>
        <p:spPr bwMode="invGray">
          <a:xfrm>
            <a:off x="7302495" y="2611651"/>
            <a:ext cx="1354655" cy="230832"/>
          </a:xfrm>
          <a:prstGeom prst="rect">
            <a:avLst/>
          </a:prstGeom>
          <a:scene3d>
            <a:camera prst="orthographicFront">
              <a:rot lat="0" lon="0" rev="0"/>
            </a:camera>
            <a:lightRig rig="threePt" dir="t"/>
          </a:scene3d>
        </p:spPr>
        <p:txBody>
          <a:bodyPr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900" dirty="0">
              <a:solidFill>
                <a:prstClr val="white"/>
              </a:solidFill>
              <a:latin typeface="+mj-lt"/>
            </a:endParaRPr>
          </a:p>
        </p:txBody>
      </p:sp>
      <p:sp>
        <p:nvSpPr>
          <p:cNvPr id="10" name="Text Box 24">
            <a:extLst>
              <a:ext uri="{FF2B5EF4-FFF2-40B4-BE49-F238E27FC236}">
                <a16:creationId xmlns:a16="http://schemas.microsoft.com/office/drawing/2014/main" id="{EE00105A-566B-47B3-A87C-CAE93F806529}"/>
              </a:ext>
            </a:extLst>
          </p:cNvPr>
          <p:cNvSpPr txBox="1">
            <a:spLocks noChangeArrowheads="1"/>
          </p:cNvSpPr>
          <p:nvPr/>
        </p:nvSpPr>
        <p:spPr bwMode="auto">
          <a:xfrm>
            <a:off x="3620122" y="4305588"/>
            <a:ext cx="2095323" cy="34414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Internalization within teams. </a:t>
            </a:r>
          </a:p>
        </p:txBody>
      </p:sp>
      <p:sp>
        <p:nvSpPr>
          <p:cNvPr id="11" name="Text Box 24">
            <a:extLst>
              <a:ext uri="{FF2B5EF4-FFF2-40B4-BE49-F238E27FC236}">
                <a16:creationId xmlns:a16="http://schemas.microsoft.com/office/drawing/2014/main" id="{FEC057F0-58B4-4B1B-BE17-B6AD277A3863}"/>
              </a:ext>
            </a:extLst>
          </p:cNvPr>
          <p:cNvSpPr txBox="1">
            <a:spLocks noChangeArrowheads="1"/>
          </p:cNvSpPr>
          <p:nvPr/>
        </p:nvSpPr>
        <p:spPr bwMode="auto">
          <a:xfrm>
            <a:off x="4297191" y="2599727"/>
            <a:ext cx="1889780" cy="33237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Individual conceptualization</a:t>
            </a:r>
          </a:p>
        </p:txBody>
      </p:sp>
      <p:sp>
        <p:nvSpPr>
          <p:cNvPr id="12" name="Text Box 9">
            <a:extLst>
              <a:ext uri="{FF2B5EF4-FFF2-40B4-BE49-F238E27FC236}">
                <a16:creationId xmlns:a16="http://schemas.microsoft.com/office/drawing/2014/main" id="{C8A41943-F33A-4533-A39B-9CD8C84306AD}"/>
              </a:ext>
            </a:extLst>
          </p:cNvPr>
          <p:cNvSpPr txBox="1">
            <a:spLocks noChangeArrowheads="1"/>
          </p:cNvSpPr>
          <p:nvPr/>
        </p:nvSpPr>
        <p:spPr bwMode="gray">
          <a:xfrm>
            <a:off x="2156323" y="2643498"/>
            <a:ext cx="855935" cy="176095"/>
          </a:xfrm>
          <a:prstGeom prst="rect">
            <a:avLst/>
          </a:prstGeom>
          <a:noFill/>
          <a:ln w="12700" algn="ctr">
            <a:noFill/>
            <a:miter lim="800000"/>
            <a:headEnd/>
            <a:tailEnd/>
          </a:ln>
          <a:effectLst/>
        </p:spPr>
        <p:txBody>
          <a:bodyPr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1</a:t>
            </a:r>
          </a:p>
        </p:txBody>
      </p:sp>
      <p:sp>
        <p:nvSpPr>
          <p:cNvPr id="13" name="Oval 12">
            <a:extLst>
              <a:ext uri="{FF2B5EF4-FFF2-40B4-BE49-F238E27FC236}">
                <a16:creationId xmlns:a16="http://schemas.microsoft.com/office/drawing/2014/main" id="{032AF74C-4888-4BB8-A919-D966CF10B213}"/>
              </a:ext>
            </a:extLst>
          </p:cNvPr>
          <p:cNvSpPr>
            <a:spLocks noChangeArrowheads="1"/>
          </p:cNvSpPr>
          <p:nvPr/>
        </p:nvSpPr>
        <p:spPr bwMode="gray">
          <a:xfrm>
            <a:off x="1686199" y="2596105"/>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1</a:t>
            </a:r>
          </a:p>
        </p:txBody>
      </p:sp>
      <p:sp>
        <p:nvSpPr>
          <p:cNvPr id="14" name="Text Box 10">
            <a:extLst>
              <a:ext uri="{FF2B5EF4-FFF2-40B4-BE49-F238E27FC236}">
                <a16:creationId xmlns:a16="http://schemas.microsoft.com/office/drawing/2014/main" id="{9AB60634-0756-4848-9686-A7E0E572378C}"/>
              </a:ext>
            </a:extLst>
          </p:cNvPr>
          <p:cNvSpPr txBox="1">
            <a:spLocks noChangeArrowheads="1"/>
          </p:cNvSpPr>
          <p:nvPr/>
        </p:nvSpPr>
        <p:spPr bwMode="gray">
          <a:xfrm>
            <a:off x="3630604" y="4088230"/>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2</a:t>
            </a:r>
          </a:p>
        </p:txBody>
      </p:sp>
      <p:sp>
        <p:nvSpPr>
          <p:cNvPr id="15" name="Line 28">
            <a:extLst>
              <a:ext uri="{FF2B5EF4-FFF2-40B4-BE49-F238E27FC236}">
                <a16:creationId xmlns:a16="http://schemas.microsoft.com/office/drawing/2014/main" id="{888E09D3-4434-4D5C-8407-D2929B50A26B}"/>
              </a:ext>
            </a:extLst>
          </p:cNvPr>
          <p:cNvSpPr>
            <a:spLocks noChangeShapeType="1"/>
          </p:cNvSpPr>
          <p:nvPr/>
        </p:nvSpPr>
        <p:spPr bwMode="auto">
          <a:xfrm flipV="1">
            <a:off x="3377117" y="3874998"/>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16" name="Text Box 11">
            <a:extLst>
              <a:ext uri="{FF2B5EF4-FFF2-40B4-BE49-F238E27FC236}">
                <a16:creationId xmlns:a16="http://schemas.microsoft.com/office/drawing/2014/main" id="{46B996A9-99E3-4826-B6E1-B3F9341EA480}"/>
              </a:ext>
            </a:extLst>
          </p:cNvPr>
          <p:cNvSpPr txBox="1">
            <a:spLocks noChangeArrowheads="1"/>
          </p:cNvSpPr>
          <p:nvPr/>
        </p:nvSpPr>
        <p:spPr bwMode="gray">
          <a:xfrm>
            <a:off x="4297193" y="2385155"/>
            <a:ext cx="1477186" cy="177539"/>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3</a:t>
            </a:r>
          </a:p>
        </p:txBody>
      </p:sp>
      <p:sp>
        <p:nvSpPr>
          <p:cNvPr id="17" name="Rectangle 16">
            <a:extLst>
              <a:ext uri="{FF2B5EF4-FFF2-40B4-BE49-F238E27FC236}">
                <a16:creationId xmlns:a16="http://schemas.microsoft.com/office/drawing/2014/main" id="{9EB41562-1EC8-4C34-977A-A1ADF53BCBD8}"/>
              </a:ext>
            </a:extLst>
          </p:cNvPr>
          <p:cNvSpPr/>
          <p:nvPr/>
        </p:nvSpPr>
        <p:spPr bwMode="auto">
          <a:xfrm>
            <a:off x="1185243" y="1719587"/>
            <a:ext cx="9313296" cy="326953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defPPr>
              <a:defRPr lang="en-US"/>
            </a:defPPr>
            <a:lvl1pPr algn="ctr" rtl="0" fontAlgn="base">
              <a:spcBef>
                <a:spcPct val="20000"/>
              </a:spcBef>
              <a:spcAft>
                <a:spcPct val="0"/>
              </a:spcAft>
              <a:defRPr sz="1100" b="1" kern="1200">
                <a:solidFill>
                  <a:schemeClr val="lt1"/>
                </a:solidFill>
                <a:latin typeface="+mn-lt"/>
                <a:ea typeface="+mn-ea"/>
                <a:cs typeface="+mn-cs"/>
              </a:defRPr>
            </a:lvl1pPr>
            <a:lvl2pPr marL="457200" algn="ctr" rtl="0" fontAlgn="base">
              <a:spcBef>
                <a:spcPct val="20000"/>
              </a:spcBef>
              <a:spcAft>
                <a:spcPct val="0"/>
              </a:spcAft>
              <a:defRPr sz="1100" b="1" kern="1200">
                <a:solidFill>
                  <a:schemeClr val="lt1"/>
                </a:solidFill>
                <a:latin typeface="+mn-lt"/>
                <a:ea typeface="+mn-ea"/>
                <a:cs typeface="+mn-cs"/>
              </a:defRPr>
            </a:lvl2pPr>
            <a:lvl3pPr marL="914400" algn="ctr" rtl="0" fontAlgn="base">
              <a:spcBef>
                <a:spcPct val="20000"/>
              </a:spcBef>
              <a:spcAft>
                <a:spcPct val="0"/>
              </a:spcAft>
              <a:defRPr sz="1100" b="1" kern="1200">
                <a:solidFill>
                  <a:schemeClr val="lt1"/>
                </a:solidFill>
                <a:latin typeface="+mn-lt"/>
                <a:ea typeface="+mn-ea"/>
                <a:cs typeface="+mn-cs"/>
              </a:defRPr>
            </a:lvl3pPr>
            <a:lvl4pPr marL="1371600" algn="ctr" rtl="0" fontAlgn="base">
              <a:spcBef>
                <a:spcPct val="20000"/>
              </a:spcBef>
              <a:spcAft>
                <a:spcPct val="0"/>
              </a:spcAft>
              <a:defRPr sz="1100" b="1" kern="1200">
                <a:solidFill>
                  <a:schemeClr val="lt1"/>
                </a:solidFill>
                <a:latin typeface="+mn-lt"/>
                <a:ea typeface="+mn-ea"/>
                <a:cs typeface="+mn-cs"/>
              </a:defRPr>
            </a:lvl4pPr>
            <a:lvl5pPr marL="1828800" algn="ctr" rtl="0" fontAlgn="base">
              <a:spcBef>
                <a:spcPct val="20000"/>
              </a:spcBef>
              <a:spcAft>
                <a:spcPct val="0"/>
              </a:spcAft>
              <a:defRPr sz="1100" b="1" kern="1200">
                <a:solidFill>
                  <a:schemeClr val="lt1"/>
                </a:solidFill>
                <a:latin typeface="+mn-lt"/>
                <a:ea typeface="+mn-ea"/>
                <a:cs typeface="+mn-cs"/>
              </a:defRPr>
            </a:lvl5pPr>
            <a:lvl6pPr marL="2286000" algn="l" defTabSz="914400" rtl="0" eaLnBrk="1" latinLnBrk="0" hangingPunct="1">
              <a:defRPr sz="1100" b="1" kern="1200">
                <a:solidFill>
                  <a:schemeClr val="lt1"/>
                </a:solidFill>
                <a:latin typeface="+mn-lt"/>
                <a:ea typeface="+mn-ea"/>
                <a:cs typeface="+mn-cs"/>
              </a:defRPr>
            </a:lvl6pPr>
            <a:lvl7pPr marL="2743200" algn="l" defTabSz="914400" rtl="0" eaLnBrk="1" latinLnBrk="0" hangingPunct="1">
              <a:defRPr sz="1100" b="1" kern="1200">
                <a:solidFill>
                  <a:schemeClr val="lt1"/>
                </a:solidFill>
                <a:latin typeface="+mn-lt"/>
                <a:ea typeface="+mn-ea"/>
                <a:cs typeface="+mn-cs"/>
              </a:defRPr>
            </a:lvl7pPr>
            <a:lvl8pPr marL="3200400" algn="l" defTabSz="914400" rtl="0" eaLnBrk="1" latinLnBrk="0" hangingPunct="1">
              <a:defRPr sz="1100" b="1" kern="1200">
                <a:solidFill>
                  <a:schemeClr val="lt1"/>
                </a:solidFill>
                <a:latin typeface="+mn-lt"/>
                <a:ea typeface="+mn-ea"/>
                <a:cs typeface="+mn-cs"/>
              </a:defRPr>
            </a:lvl8pPr>
            <a:lvl9pPr marL="3657600" algn="l" defTabSz="914400" rtl="0" eaLnBrk="1" latinLnBrk="0" hangingPunct="1">
              <a:defRPr sz="1100" b="1" kern="1200">
                <a:solidFill>
                  <a:schemeClr val="lt1"/>
                </a:solidFill>
                <a:latin typeface="+mn-lt"/>
                <a:ea typeface="+mn-ea"/>
                <a:cs typeface="+mn-cs"/>
              </a:defRPr>
            </a:lvl9pPr>
          </a:lstStyle>
          <a:p>
            <a:pPr defTabSz="913961" fontAlgn="auto">
              <a:spcBef>
                <a:spcPts val="0"/>
              </a:spcBef>
              <a:spcAft>
                <a:spcPts val="0"/>
              </a:spcAft>
              <a:defRPr/>
            </a:pPr>
            <a:endParaRPr lang="en-US" sz="1050" dirty="0">
              <a:solidFill>
                <a:prstClr val="white"/>
              </a:solidFill>
              <a:latin typeface="+mj-lt"/>
            </a:endParaRPr>
          </a:p>
        </p:txBody>
      </p:sp>
      <p:sp>
        <p:nvSpPr>
          <p:cNvPr id="18" name="Text Box 24">
            <a:extLst>
              <a:ext uri="{FF2B5EF4-FFF2-40B4-BE49-F238E27FC236}">
                <a16:creationId xmlns:a16="http://schemas.microsoft.com/office/drawing/2014/main" id="{FFC98F6A-C43A-4D2B-AF2D-DF855F9BFC67}"/>
              </a:ext>
            </a:extLst>
          </p:cNvPr>
          <p:cNvSpPr txBox="1">
            <a:spLocks noChangeArrowheads="1"/>
          </p:cNvSpPr>
          <p:nvPr/>
        </p:nvSpPr>
        <p:spPr bwMode="auto">
          <a:xfrm>
            <a:off x="2156323" y="2888641"/>
            <a:ext cx="1621347" cy="293726"/>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Technical discussion with customer</a:t>
            </a:r>
          </a:p>
        </p:txBody>
      </p:sp>
      <p:sp>
        <p:nvSpPr>
          <p:cNvPr id="19" name="Text Box 24">
            <a:extLst>
              <a:ext uri="{FF2B5EF4-FFF2-40B4-BE49-F238E27FC236}">
                <a16:creationId xmlns:a16="http://schemas.microsoft.com/office/drawing/2014/main" id="{FE7CF495-07E0-40DF-B5B1-35D4E6592281}"/>
              </a:ext>
            </a:extLst>
          </p:cNvPr>
          <p:cNvSpPr txBox="1">
            <a:spLocks noChangeArrowheads="1"/>
          </p:cNvSpPr>
          <p:nvPr/>
        </p:nvSpPr>
        <p:spPr bwMode="auto">
          <a:xfrm>
            <a:off x="6232861" y="2209420"/>
            <a:ext cx="2174050" cy="625361"/>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spc="-20" dirty="0">
                <a:solidFill>
                  <a:srgbClr val="002776"/>
                </a:solidFill>
                <a:latin typeface="+mj-lt"/>
              </a:rPr>
              <a:t>Sourcing activities</a:t>
            </a:r>
          </a:p>
        </p:txBody>
      </p:sp>
      <p:sp>
        <p:nvSpPr>
          <p:cNvPr id="20" name="Text Box 11">
            <a:extLst>
              <a:ext uri="{FF2B5EF4-FFF2-40B4-BE49-F238E27FC236}">
                <a16:creationId xmlns:a16="http://schemas.microsoft.com/office/drawing/2014/main" id="{D580D44A-823E-476D-8183-36AB135B8253}"/>
              </a:ext>
            </a:extLst>
          </p:cNvPr>
          <p:cNvSpPr txBox="1">
            <a:spLocks noChangeArrowheads="1"/>
          </p:cNvSpPr>
          <p:nvPr/>
        </p:nvSpPr>
        <p:spPr bwMode="gray">
          <a:xfrm>
            <a:off x="6232860" y="2014062"/>
            <a:ext cx="1341777"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5</a:t>
            </a:r>
          </a:p>
        </p:txBody>
      </p:sp>
      <p:sp>
        <p:nvSpPr>
          <p:cNvPr id="21" name="Text Box 24">
            <a:extLst>
              <a:ext uri="{FF2B5EF4-FFF2-40B4-BE49-F238E27FC236}">
                <a16:creationId xmlns:a16="http://schemas.microsoft.com/office/drawing/2014/main" id="{97A0FE0F-77A4-4B69-ABDE-A9988C3C23AA}"/>
              </a:ext>
            </a:extLst>
          </p:cNvPr>
          <p:cNvSpPr txBox="1">
            <a:spLocks noChangeArrowheads="1"/>
          </p:cNvSpPr>
          <p:nvPr/>
        </p:nvSpPr>
        <p:spPr bwMode="auto">
          <a:xfrm>
            <a:off x="6072154" y="4024161"/>
            <a:ext cx="2174050" cy="480337"/>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Combine and optimize concepts.</a:t>
            </a:r>
          </a:p>
          <a:p>
            <a:pPr algn="l" defTabSz="913961" fontAlgn="auto">
              <a:spcBef>
                <a:spcPts val="0"/>
              </a:spcBef>
              <a:spcAft>
                <a:spcPts val="0"/>
              </a:spcAft>
              <a:defRPr/>
            </a:pPr>
            <a:r>
              <a:rPr lang="en-US" kern="0" dirty="0">
                <a:solidFill>
                  <a:srgbClr val="002776"/>
                </a:solidFill>
                <a:latin typeface="+mj-lt"/>
              </a:rPr>
              <a:t>Design review</a:t>
            </a:r>
          </a:p>
        </p:txBody>
      </p:sp>
      <p:sp>
        <p:nvSpPr>
          <p:cNvPr id="22" name="Text Box 14">
            <a:extLst>
              <a:ext uri="{FF2B5EF4-FFF2-40B4-BE49-F238E27FC236}">
                <a16:creationId xmlns:a16="http://schemas.microsoft.com/office/drawing/2014/main" id="{957A023C-F13B-4843-A681-19BADC0F0BE1}"/>
              </a:ext>
            </a:extLst>
          </p:cNvPr>
          <p:cNvSpPr txBox="1">
            <a:spLocks noChangeArrowheads="1"/>
          </p:cNvSpPr>
          <p:nvPr/>
        </p:nvSpPr>
        <p:spPr bwMode="gray">
          <a:xfrm>
            <a:off x="6072153" y="3793742"/>
            <a:ext cx="1151165" cy="176095"/>
          </a:xfrm>
          <a:prstGeom prst="rect">
            <a:avLst/>
          </a:prstGeom>
          <a:noFill/>
          <a:ln w="12700" algn="ctr">
            <a:noFill/>
            <a:miter lim="800000"/>
            <a:headEnd/>
            <a:tailEnd/>
          </a:ln>
          <a:effectLst/>
        </p:spPr>
        <p:txBody>
          <a:bodyPr wrap="non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4</a:t>
            </a:r>
          </a:p>
        </p:txBody>
      </p:sp>
      <p:sp>
        <p:nvSpPr>
          <p:cNvPr id="23" name="Text Box 24">
            <a:extLst>
              <a:ext uri="{FF2B5EF4-FFF2-40B4-BE49-F238E27FC236}">
                <a16:creationId xmlns:a16="http://schemas.microsoft.com/office/drawing/2014/main" id="{FF7A872D-426A-4D46-A4A4-DABD2E0C69F0}"/>
              </a:ext>
            </a:extLst>
          </p:cNvPr>
          <p:cNvSpPr txBox="1">
            <a:spLocks noChangeArrowheads="1"/>
          </p:cNvSpPr>
          <p:nvPr/>
        </p:nvSpPr>
        <p:spPr bwMode="auto">
          <a:xfrm>
            <a:off x="8284653" y="3720359"/>
            <a:ext cx="2213886" cy="501152"/>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Cost feedback and further adjustment</a:t>
            </a:r>
          </a:p>
        </p:txBody>
      </p:sp>
      <p:sp>
        <p:nvSpPr>
          <p:cNvPr id="24" name="Text Box 10">
            <a:extLst>
              <a:ext uri="{FF2B5EF4-FFF2-40B4-BE49-F238E27FC236}">
                <a16:creationId xmlns:a16="http://schemas.microsoft.com/office/drawing/2014/main" id="{9CFBC63D-CE03-4161-9C29-FAB75D09F3AC}"/>
              </a:ext>
            </a:extLst>
          </p:cNvPr>
          <p:cNvSpPr txBox="1">
            <a:spLocks noChangeArrowheads="1"/>
          </p:cNvSpPr>
          <p:nvPr/>
        </p:nvSpPr>
        <p:spPr bwMode="gray">
          <a:xfrm>
            <a:off x="8284653" y="3499115"/>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6</a:t>
            </a:r>
          </a:p>
        </p:txBody>
      </p:sp>
      <p:sp>
        <p:nvSpPr>
          <p:cNvPr id="25" name="Oval 24">
            <a:extLst>
              <a:ext uri="{FF2B5EF4-FFF2-40B4-BE49-F238E27FC236}">
                <a16:creationId xmlns:a16="http://schemas.microsoft.com/office/drawing/2014/main" id="{562825D5-3D20-41DE-A3D7-832BE944793B}"/>
              </a:ext>
            </a:extLst>
          </p:cNvPr>
          <p:cNvSpPr>
            <a:spLocks noChangeArrowheads="1"/>
          </p:cNvSpPr>
          <p:nvPr/>
        </p:nvSpPr>
        <p:spPr bwMode="gray">
          <a:xfrm>
            <a:off x="3211331" y="4176276"/>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2</a:t>
            </a:r>
          </a:p>
        </p:txBody>
      </p:sp>
      <p:sp>
        <p:nvSpPr>
          <p:cNvPr id="26" name="Oval 25">
            <a:extLst>
              <a:ext uri="{FF2B5EF4-FFF2-40B4-BE49-F238E27FC236}">
                <a16:creationId xmlns:a16="http://schemas.microsoft.com/office/drawing/2014/main" id="{2955288C-C806-4891-9240-DFB031C3690C}"/>
              </a:ext>
            </a:extLst>
          </p:cNvPr>
          <p:cNvSpPr>
            <a:spLocks noChangeArrowheads="1"/>
          </p:cNvSpPr>
          <p:nvPr/>
        </p:nvSpPr>
        <p:spPr bwMode="gray">
          <a:xfrm>
            <a:off x="3916575" y="2300638"/>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3</a:t>
            </a:r>
          </a:p>
        </p:txBody>
      </p:sp>
      <p:sp>
        <p:nvSpPr>
          <p:cNvPr id="27" name="Oval 26">
            <a:extLst>
              <a:ext uri="{FF2B5EF4-FFF2-40B4-BE49-F238E27FC236}">
                <a16:creationId xmlns:a16="http://schemas.microsoft.com/office/drawing/2014/main" id="{6EABAB19-C5C1-49C9-8BC5-5F7CA5E9D95E}"/>
              </a:ext>
            </a:extLst>
          </p:cNvPr>
          <p:cNvSpPr>
            <a:spLocks noChangeArrowheads="1"/>
          </p:cNvSpPr>
          <p:nvPr/>
        </p:nvSpPr>
        <p:spPr bwMode="gray">
          <a:xfrm>
            <a:off x="7316378" y="3736294"/>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4</a:t>
            </a:r>
          </a:p>
        </p:txBody>
      </p:sp>
      <p:sp>
        <p:nvSpPr>
          <p:cNvPr id="28" name="Oval 27">
            <a:extLst>
              <a:ext uri="{FF2B5EF4-FFF2-40B4-BE49-F238E27FC236}">
                <a16:creationId xmlns:a16="http://schemas.microsoft.com/office/drawing/2014/main" id="{2E12D42A-ECC4-48E8-9A65-F5076BFE4749}"/>
              </a:ext>
            </a:extLst>
          </p:cNvPr>
          <p:cNvSpPr>
            <a:spLocks noChangeArrowheads="1"/>
          </p:cNvSpPr>
          <p:nvPr/>
        </p:nvSpPr>
        <p:spPr bwMode="gray">
          <a:xfrm>
            <a:off x="8280541" y="1965128"/>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5</a:t>
            </a:r>
          </a:p>
        </p:txBody>
      </p:sp>
      <p:sp>
        <p:nvSpPr>
          <p:cNvPr id="29" name="Line 28">
            <a:extLst>
              <a:ext uri="{FF2B5EF4-FFF2-40B4-BE49-F238E27FC236}">
                <a16:creationId xmlns:a16="http://schemas.microsoft.com/office/drawing/2014/main" id="{E47B6F27-9413-4D13-9C97-7C4233E36561}"/>
              </a:ext>
            </a:extLst>
          </p:cNvPr>
          <p:cNvSpPr>
            <a:spLocks noChangeShapeType="1"/>
          </p:cNvSpPr>
          <p:nvPr/>
        </p:nvSpPr>
        <p:spPr bwMode="auto">
          <a:xfrm flipH="1">
            <a:off x="8438503" y="2360554"/>
            <a:ext cx="0" cy="708058"/>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0" name="Oval 29">
            <a:extLst>
              <a:ext uri="{FF2B5EF4-FFF2-40B4-BE49-F238E27FC236}">
                <a16:creationId xmlns:a16="http://schemas.microsoft.com/office/drawing/2014/main" id="{1F289621-C8DD-44CC-94E4-CCBBE5737121}"/>
              </a:ext>
            </a:extLst>
          </p:cNvPr>
          <p:cNvSpPr>
            <a:spLocks noChangeArrowheads="1"/>
          </p:cNvSpPr>
          <p:nvPr/>
        </p:nvSpPr>
        <p:spPr bwMode="gray">
          <a:xfrm>
            <a:off x="9721613" y="3438451"/>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6</a:t>
            </a:r>
          </a:p>
        </p:txBody>
      </p:sp>
      <p:sp>
        <p:nvSpPr>
          <p:cNvPr id="33" name="Line 28">
            <a:extLst>
              <a:ext uri="{FF2B5EF4-FFF2-40B4-BE49-F238E27FC236}">
                <a16:creationId xmlns:a16="http://schemas.microsoft.com/office/drawing/2014/main" id="{312CD55C-5FB0-4E6D-A463-1F16AF8532D2}"/>
              </a:ext>
            </a:extLst>
          </p:cNvPr>
          <p:cNvSpPr>
            <a:spLocks noChangeShapeType="1"/>
          </p:cNvSpPr>
          <p:nvPr/>
        </p:nvSpPr>
        <p:spPr bwMode="auto">
          <a:xfrm flipH="1">
            <a:off x="4074538" y="2673990"/>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4" name="Line 28">
            <a:extLst>
              <a:ext uri="{FF2B5EF4-FFF2-40B4-BE49-F238E27FC236}">
                <a16:creationId xmlns:a16="http://schemas.microsoft.com/office/drawing/2014/main" id="{3751E61F-80AC-4F1D-A479-3A6E82BAF3B1}"/>
              </a:ext>
            </a:extLst>
          </p:cNvPr>
          <p:cNvSpPr>
            <a:spLocks noChangeShapeType="1"/>
          </p:cNvSpPr>
          <p:nvPr/>
        </p:nvSpPr>
        <p:spPr bwMode="auto">
          <a:xfrm flipH="1">
            <a:off x="1844162" y="2952413"/>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5" name="Line 28">
            <a:extLst>
              <a:ext uri="{FF2B5EF4-FFF2-40B4-BE49-F238E27FC236}">
                <a16:creationId xmlns:a16="http://schemas.microsoft.com/office/drawing/2014/main" id="{68083D47-6964-4128-A1EE-ED0743EC6C88}"/>
              </a:ext>
            </a:extLst>
          </p:cNvPr>
          <p:cNvSpPr>
            <a:spLocks noChangeShapeType="1"/>
          </p:cNvSpPr>
          <p:nvPr/>
        </p:nvSpPr>
        <p:spPr bwMode="auto">
          <a:xfrm flipV="1">
            <a:off x="6890552" y="3380733"/>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6" name="Line 28">
            <a:extLst>
              <a:ext uri="{FF2B5EF4-FFF2-40B4-BE49-F238E27FC236}">
                <a16:creationId xmlns:a16="http://schemas.microsoft.com/office/drawing/2014/main" id="{46D2E657-231D-4CAB-8C61-68DEC1453E60}"/>
              </a:ext>
            </a:extLst>
          </p:cNvPr>
          <p:cNvSpPr>
            <a:spLocks noChangeShapeType="1"/>
          </p:cNvSpPr>
          <p:nvPr/>
        </p:nvSpPr>
        <p:spPr bwMode="auto">
          <a:xfrm flipV="1">
            <a:off x="9877736" y="3039741"/>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Tree>
    <p:extLst>
      <p:ext uri="{BB962C8B-B14F-4D97-AF65-F5344CB8AC3E}">
        <p14:creationId xmlns:p14="http://schemas.microsoft.com/office/powerpoint/2010/main" val="135975019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en-US" dirty="0"/>
              <a:t>Current-State </a:t>
            </a:r>
            <a:r>
              <a:rPr lang="en-US" altLang="ja-JP" dirty="0"/>
              <a:t>Requirements management and simulation</a:t>
            </a:r>
            <a:endParaRPr lang="en-US" dirty="0"/>
          </a:p>
        </p:txBody>
      </p:sp>
      <p:grpSp>
        <p:nvGrpSpPr>
          <p:cNvPr id="2" name="Group 1">
            <a:extLst>
              <a:ext uri="{FF2B5EF4-FFF2-40B4-BE49-F238E27FC236}">
                <a16:creationId xmlns:a16="http://schemas.microsoft.com/office/drawing/2014/main" id="{E7A21B8F-4ED2-46A4-8680-2EDCE3257591}"/>
              </a:ext>
            </a:extLst>
          </p:cNvPr>
          <p:cNvGrpSpPr/>
          <p:nvPr/>
        </p:nvGrpSpPr>
        <p:grpSpPr>
          <a:xfrm>
            <a:off x="469899" y="1391393"/>
            <a:ext cx="11039795" cy="4271176"/>
            <a:chOff x="649252" y="4827052"/>
            <a:chExt cx="10923052" cy="1485306"/>
          </a:xfrm>
        </p:grpSpPr>
        <p:sp>
          <p:nvSpPr>
            <p:cNvPr id="5" name="Content Placeholder 2">
              <a:extLst>
                <a:ext uri="{FF2B5EF4-FFF2-40B4-BE49-F238E27FC236}">
                  <a16:creationId xmlns:a16="http://schemas.microsoft.com/office/drawing/2014/main" id="{D105B340-91FE-4713-91F6-44138599D7D9}"/>
                </a:ext>
              </a:extLst>
            </p:cNvPr>
            <p:cNvSpPr txBox="1">
              <a:spLocks/>
            </p:cNvSpPr>
            <p:nvPr/>
          </p:nvSpPr>
          <p:spPr>
            <a:xfrm>
              <a:off x="649252" y="4827052"/>
              <a:ext cx="3797300" cy="1485306"/>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Pain Points </a:t>
              </a:r>
            </a:p>
            <a:p>
              <a:pPr marL="344487" lvl="1" indent="-342900">
                <a:buFont typeface="Arial" panose="020B0604020202020204" pitchFamily="34" charset="0"/>
                <a:buAutoNum type="arabicPeriod"/>
              </a:pPr>
              <a:r>
                <a:rPr lang="en-US" sz="1400" dirty="0">
                  <a:latin typeface="+mj-lt"/>
                </a:rPr>
                <a:t>Requirements information came too late, may impact the lead time of the project</a:t>
              </a:r>
            </a:p>
            <a:p>
              <a:pPr marL="344487" lvl="1" indent="-342900">
                <a:buFont typeface="Arial" panose="020B0604020202020204" pitchFamily="34" charset="0"/>
                <a:buAutoNum type="arabicPeriod"/>
              </a:pPr>
              <a:r>
                <a:rPr lang="en-US" sz="1400" dirty="0">
                  <a:latin typeface="+mj-lt"/>
                </a:rPr>
                <a:t>Requirements changes many times.</a:t>
              </a:r>
            </a:p>
            <a:p>
              <a:pPr marL="344487" lvl="1" indent="-342900">
                <a:buFont typeface="Arial" panose="020B0604020202020204" pitchFamily="34" charset="0"/>
                <a:buAutoNum type="arabicPeriod"/>
              </a:pPr>
              <a:r>
                <a:rPr lang="en-US" sz="1400" dirty="0">
                  <a:latin typeface="+mj-lt"/>
                </a:rPr>
                <a:t>Requirements change causes cost change might impact the project. </a:t>
              </a:r>
            </a:p>
            <a:p>
              <a:pPr marL="344487" lvl="1" indent="-342900">
                <a:buFont typeface="Arial" panose="020B0604020202020204" pitchFamily="34" charset="0"/>
                <a:buAutoNum type="arabicPeriod"/>
              </a:pPr>
              <a:r>
                <a:rPr lang="en-US" sz="1400" dirty="0">
                  <a:latin typeface="+mj-lt"/>
                </a:rPr>
                <a:t>Requirements sharing is not enough sometimes and it is manual.</a:t>
              </a:r>
            </a:p>
            <a:p>
              <a:pPr marL="1587" lvl="1" indent="0">
                <a:buNone/>
              </a:pPr>
              <a:endParaRPr lang="en-US" dirty="0">
                <a:latin typeface="+mj-lt"/>
              </a:endParaRPr>
            </a:p>
            <a:p>
              <a:pPr lvl="1"/>
              <a:endParaRPr lang="en-US" dirty="0">
                <a:latin typeface="+mj-lt"/>
              </a:endParaRPr>
            </a:p>
            <a:p>
              <a:pPr lvl="1"/>
              <a:endParaRPr lang="en-US" dirty="0">
                <a:latin typeface="+mj-lt"/>
              </a:endParaRPr>
            </a:p>
          </p:txBody>
        </p:sp>
        <p:sp>
          <p:nvSpPr>
            <p:cNvPr id="38" name="Content Placeholder 2">
              <a:extLst>
                <a:ext uri="{FF2B5EF4-FFF2-40B4-BE49-F238E27FC236}">
                  <a16:creationId xmlns:a16="http://schemas.microsoft.com/office/drawing/2014/main" id="{1CC05C0C-D496-46EE-A944-9B2BB98AFC14}"/>
                </a:ext>
              </a:extLst>
            </p:cNvPr>
            <p:cNvSpPr txBox="1">
              <a:spLocks/>
            </p:cNvSpPr>
            <p:nvPr/>
          </p:nvSpPr>
          <p:spPr>
            <a:xfrm>
              <a:off x="4573552" y="4827052"/>
              <a:ext cx="3530602" cy="1485306"/>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Improvement Opportunities  </a:t>
              </a:r>
            </a:p>
            <a:p>
              <a:pPr marL="344487" lvl="1" indent="-342900">
                <a:buFont typeface="Arial" panose="020B0604020202020204" pitchFamily="34" charset="0"/>
                <a:buAutoNum type="arabicPeriod"/>
              </a:pPr>
              <a:r>
                <a:rPr lang="en-US" sz="1400" dirty="0">
                  <a:latin typeface="+mj-lt"/>
                </a:rPr>
                <a:t>Share all requirements among the team</a:t>
              </a:r>
            </a:p>
            <a:p>
              <a:pPr marL="344487" lvl="1" indent="-342900">
                <a:buFont typeface="Arial" panose="020B0604020202020204" pitchFamily="34" charset="0"/>
                <a:buAutoNum type="arabicPeriod"/>
              </a:pPr>
              <a:r>
                <a:rPr lang="en-US" sz="1400" dirty="0">
                  <a:latin typeface="+mj-lt"/>
                </a:rPr>
                <a:t>Try to get All stakeholder agreements on fix product design</a:t>
              </a:r>
            </a:p>
            <a:p>
              <a:pPr lvl="1"/>
              <a:endParaRPr lang="en-US" dirty="0">
                <a:latin typeface="+mj-lt"/>
              </a:endParaRPr>
            </a:p>
            <a:p>
              <a:pPr lvl="1"/>
              <a:endParaRPr lang="en-US" dirty="0">
                <a:latin typeface="+mj-lt"/>
              </a:endParaRPr>
            </a:p>
            <a:p>
              <a:pPr lvl="1"/>
              <a:endParaRPr lang="en-US" dirty="0">
                <a:latin typeface="+mj-lt"/>
              </a:endParaRPr>
            </a:p>
          </p:txBody>
        </p:sp>
        <p:sp>
          <p:nvSpPr>
            <p:cNvPr id="37" name="Content Placeholder 2">
              <a:extLst>
                <a:ext uri="{FF2B5EF4-FFF2-40B4-BE49-F238E27FC236}">
                  <a16:creationId xmlns:a16="http://schemas.microsoft.com/office/drawing/2014/main" id="{1368719C-95CF-444F-8171-A5A2E1569750}"/>
                </a:ext>
              </a:extLst>
            </p:cNvPr>
            <p:cNvSpPr txBox="1">
              <a:spLocks/>
            </p:cNvSpPr>
            <p:nvPr/>
          </p:nvSpPr>
          <p:spPr>
            <a:xfrm>
              <a:off x="8231154" y="4827052"/>
              <a:ext cx="3341150" cy="1485306"/>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Technology / Data Utilized   </a:t>
              </a:r>
            </a:p>
            <a:p>
              <a:pPr marL="344487" lvl="1" indent="-342900">
                <a:buFont typeface="Arial" panose="020B0604020202020204" pitchFamily="34" charset="0"/>
                <a:buAutoNum type="arabicPeriod"/>
              </a:pPr>
              <a:r>
                <a:rPr lang="en-US" sz="1400" dirty="0">
                  <a:latin typeface="+mj-lt"/>
                </a:rPr>
                <a:t>Microsoft team</a:t>
              </a:r>
            </a:p>
            <a:p>
              <a:pPr marL="344487" lvl="1" indent="-342900">
                <a:buFont typeface="Arial" panose="020B0604020202020204" pitchFamily="34" charset="0"/>
                <a:buAutoNum type="arabicPeriod"/>
              </a:pPr>
              <a:r>
                <a:rPr lang="en-US" sz="1400" dirty="0">
                  <a:latin typeface="+mj-lt"/>
                </a:rPr>
                <a:t>ECTR</a:t>
              </a:r>
            </a:p>
            <a:p>
              <a:pPr marL="344487" lvl="1" indent="-342900">
                <a:buFont typeface="Arial" panose="020B0604020202020204" pitchFamily="34" charset="0"/>
                <a:buAutoNum type="arabicPeriod"/>
              </a:pPr>
              <a:r>
                <a:rPr lang="en-US" sz="1400" dirty="0">
                  <a:latin typeface="+mj-lt"/>
                </a:rPr>
                <a:t>NX</a:t>
              </a:r>
            </a:p>
            <a:p>
              <a:pPr marL="344487" lvl="1" indent="-342900">
                <a:buFont typeface="Arial" panose="020B0604020202020204" pitchFamily="34" charset="0"/>
                <a:buAutoNum type="arabicPeriod"/>
              </a:pPr>
              <a:r>
                <a:rPr lang="en-US" sz="1400" dirty="0">
                  <a:latin typeface="+mj-lt"/>
                </a:rPr>
                <a:t>Simulation software</a:t>
              </a:r>
              <a:endParaRPr lang="en-US" dirty="0">
                <a:latin typeface="+mj-lt"/>
              </a:endParaRPr>
            </a:p>
            <a:p>
              <a:pPr lvl="3"/>
              <a:r>
                <a:rPr lang="en-US" dirty="0">
                  <a:latin typeface="+mj-lt"/>
                </a:rPr>
                <a:t>Material mechanics</a:t>
              </a:r>
            </a:p>
            <a:p>
              <a:pPr lvl="3"/>
              <a:r>
                <a:rPr lang="en-US" dirty="0">
                  <a:latin typeface="+mj-lt"/>
                </a:rPr>
                <a:t>Structural analysis</a:t>
              </a:r>
            </a:p>
            <a:p>
              <a:pPr lvl="3"/>
              <a:r>
                <a:rPr lang="en-US" dirty="0">
                  <a:latin typeface="+mj-lt"/>
                </a:rPr>
                <a:t>Thermal analysis</a:t>
              </a:r>
            </a:p>
            <a:p>
              <a:pPr lvl="3"/>
              <a:r>
                <a:rPr lang="en-US" dirty="0">
                  <a:latin typeface="+mj-lt"/>
                </a:rPr>
                <a:t>Mold flow</a:t>
              </a:r>
            </a:p>
            <a:p>
              <a:pPr lvl="3"/>
              <a:r>
                <a:rPr lang="en-US" dirty="0">
                  <a:latin typeface="+mj-lt"/>
                </a:rPr>
                <a:t>High frequency wave</a:t>
              </a:r>
            </a:p>
            <a:p>
              <a:pPr lvl="1"/>
              <a:endParaRPr lang="en-US" dirty="0">
                <a:latin typeface="+mj-lt"/>
              </a:endParaRPr>
            </a:p>
          </p:txBody>
        </p:sp>
      </p:grpSp>
    </p:spTree>
    <p:extLst>
      <p:ext uri="{BB962C8B-B14F-4D97-AF65-F5344CB8AC3E}">
        <p14:creationId xmlns:p14="http://schemas.microsoft.com/office/powerpoint/2010/main" val="210025483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en-US" dirty="0"/>
              <a:t>Current-State Capability Product Development Collaboration (Big Bet. A New New.)</a:t>
            </a:r>
          </a:p>
        </p:txBody>
      </p:sp>
      <p:grpSp>
        <p:nvGrpSpPr>
          <p:cNvPr id="2" name="Group 1">
            <a:extLst>
              <a:ext uri="{FF2B5EF4-FFF2-40B4-BE49-F238E27FC236}">
                <a16:creationId xmlns:a16="http://schemas.microsoft.com/office/drawing/2014/main" id="{E7A21B8F-4ED2-46A4-8680-2EDCE3257591}"/>
              </a:ext>
            </a:extLst>
          </p:cNvPr>
          <p:cNvGrpSpPr/>
          <p:nvPr/>
        </p:nvGrpSpPr>
        <p:grpSpPr>
          <a:xfrm>
            <a:off x="469900" y="1385551"/>
            <a:ext cx="11422157" cy="4261264"/>
            <a:chOff x="649252" y="4824103"/>
            <a:chExt cx="11422157" cy="2152151"/>
          </a:xfrm>
        </p:grpSpPr>
        <p:sp>
          <p:nvSpPr>
            <p:cNvPr id="5" name="Content Placeholder 2">
              <a:extLst>
                <a:ext uri="{FF2B5EF4-FFF2-40B4-BE49-F238E27FC236}">
                  <a16:creationId xmlns:a16="http://schemas.microsoft.com/office/drawing/2014/main" id="{D105B340-91FE-4713-91F6-44138599D7D9}"/>
                </a:ext>
              </a:extLst>
            </p:cNvPr>
            <p:cNvSpPr txBox="1">
              <a:spLocks/>
            </p:cNvSpPr>
            <p:nvPr/>
          </p:nvSpPr>
          <p:spPr>
            <a:xfrm>
              <a:off x="649252" y="4827052"/>
              <a:ext cx="3417506" cy="2149202"/>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Pain Points </a:t>
              </a:r>
            </a:p>
            <a:p>
              <a:pPr marL="344487" lvl="1" indent="-342900">
                <a:buFont typeface="Arial" panose="020B0604020202020204" pitchFamily="34" charset="0"/>
                <a:buAutoNum type="arabicPeriod"/>
              </a:pPr>
              <a:r>
                <a:rPr lang="en-US" sz="1400" dirty="0">
                  <a:latin typeface="+mj-lt"/>
                </a:rPr>
                <a:t>Time Zone</a:t>
              </a:r>
            </a:p>
            <a:p>
              <a:pPr marL="344487" lvl="1" indent="-342900">
                <a:buFont typeface="Arial" panose="020B0604020202020204" pitchFamily="34" charset="0"/>
                <a:buAutoNum type="arabicPeriod"/>
              </a:pPr>
              <a:r>
                <a:rPr lang="en-US" sz="1400" dirty="0">
                  <a:latin typeface="+mj-lt"/>
                </a:rPr>
                <a:t>Language</a:t>
              </a:r>
            </a:p>
            <a:p>
              <a:pPr marL="344487" lvl="1" indent="-342900">
                <a:buFont typeface="Arial" panose="020B0604020202020204" pitchFamily="34" charset="0"/>
                <a:buAutoNum type="arabicPeriod"/>
              </a:pPr>
              <a:r>
                <a:rPr lang="en-US" sz="1400" dirty="0">
                  <a:latin typeface="+mj-lt"/>
                </a:rPr>
                <a:t>Cost (Travel and BOM)</a:t>
              </a:r>
            </a:p>
            <a:p>
              <a:pPr marL="344487" lvl="1" indent="-342900">
                <a:buFont typeface="Arial" panose="020B0604020202020204" pitchFamily="34" charset="0"/>
                <a:buAutoNum type="arabicPeriod"/>
              </a:pPr>
              <a:r>
                <a:rPr lang="en-US" sz="1400" dirty="0">
                  <a:latin typeface="+mj-lt"/>
                </a:rPr>
                <a:t>Speed</a:t>
              </a:r>
            </a:p>
            <a:p>
              <a:pPr marL="344487" lvl="1" indent="-342900">
                <a:buFont typeface="Arial" panose="020B0604020202020204" pitchFamily="34" charset="0"/>
                <a:buAutoNum type="arabicPeriod"/>
              </a:pPr>
              <a:r>
                <a:rPr lang="en-US" sz="1400" dirty="0">
                  <a:latin typeface="+mj-lt"/>
                </a:rPr>
                <a:t>Unknowns</a:t>
              </a:r>
            </a:p>
            <a:p>
              <a:pPr marL="801687" lvl="4" indent="-342900"/>
              <a:r>
                <a:rPr lang="en-US" sz="1400" i="1" dirty="0"/>
                <a:t>“Are you sure it will work?”</a:t>
              </a:r>
            </a:p>
            <a:p>
              <a:pPr marL="801687" lvl="4" indent="-342900"/>
              <a:r>
                <a:rPr lang="en-US" sz="1400" i="1" dirty="0"/>
                <a:t>“How much it will cost?”</a:t>
              </a:r>
            </a:p>
            <a:p>
              <a:pPr marL="344487" lvl="1" indent="-342900">
                <a:buFont typeface="Arial" panose="020B0604020202020204" pitchFamily="34" charset="0"/>
                <a:buAutoNum type="arabicPeriod"/>
              </a:pPr>
              <a:endParaRPr lang="en-US" sz="1400" dirty="0">
                <a:latin typeface="+mj-lt"/>
              </a:endParaRPr>
            </a:p>
            <a:p>
              <a:pPr marL="496887" lvl="2" indent="-342900">
                <a:buFont typeface="Arial" panose="020B0604020202020204" pitchFamily="34" charset="0"/>
                <a:buAutoNum type="arabicPeriod"/>
              </a:pPr>
              <a:endParaRPr lang="en-US" sz="1400" dirty="0">
                <a:latin typeface="+mj-lt"/>
              </a:endParaRPr>
            </a:p>
            <a:p>
              <a:pPr lvl="1"/>
              <a:endParaRPr lang="en-US" dirty="0">
                <a:latin typeface="+mj-lt"/>
              </a:endParaRPr>
            </a:p>
            <a:p>
              <a:pPr lvl="1"/>
              <a:endParaRPr lang="en-US" dirty="0">
                <a:latin typeface="+mj-lt"/>
              </a:endParaRPr>
            </a:p>
            <a:p>
              <a:pPr lvl="1"/>
              <a:endParaRPr lang="en-US" dirty="0">
                <a:latin typeface="+mj-lt"/>
              </a:endParaRPr>
            </a:p>
          </p:txBody>
        </p:sp>
        <p:sp>
          <p:nvSpPr>
            <p:cNvPr id="38" name="Content Placeholder 2">
              <a:extLst>
                <a:ext uri="{FF2B5EF4-FFF2-40B4-BE49-F238E27FC236}">
                  <a16:creationId xmlns:a16="http://schemas.microsoft.com/office/drawing/2014/main" id="{1CC05C0C-D496-46EE-A944-9B2BB98AFC14}"/>
                </a:ext>
              </a:extLst>
            </p:cNvPr>
            <p:cNvSpPr txBox="1">
              <a:spLocks/>
            </p:cNvSpPr>
            <p:nvPr/>
          </p:nvSpPr>
          <p:spPr>
            <a:xfrm>
              <a:off x="4166538" y="4824103"/>
              <a:ext cx="4387584" cy="2149204"/>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Improvement Opportunities  </a:t>
              </a:r>
            </a:p>
            <a:p>
              <a:pPr marL="344487" lvl="1" indent="-342900">
                <a:buFont typeface="Arial" panose="020B0604020202020204" pitchFamily="34" charset="0"/>
                <a:buAutoNum type="arabicPeriod"/>
              </a:pPr>
              <a:r>
                <a:rPr lang="en-US" sz="1400" dirty="0">
                  <a:latin typeface="+mj-lt"/>
                </a:rPr>
                <a:t>Allow one to communicate in native language so that team members feel more comfortable</a:t>
              </a:r>
            </a:p>
            <a:p>
              <a:pPr marL="344487" lvl="1" indent="-342900">
                <a:buFont typeface="Arial" panose="020B0604020202020204" pitchFamily="34" charset="0"/>
                <a:buAutoNum type="arabicPeriod"/>
              </a:pPr>
              <a:r>
                <a:rPr lang="en-US" sz="1400" dirty="0">
                  <a:latin typeface="+mj-lt"/>
                </a:rPr>
                <a:t>Generative designs and machine learning (AI) to predict behavior</a:t>
              </a:r>
            </a:p>
            <a:p>
              <a:pPr marL="344487" lvl="1" indent="-342900">
                <a:buFont typeface="Arial" panose="020B0604020202020204" pitchFamily="34" charset="0"/>
                <a:buAutoNum type="arabicPeriod"/>
              </a:pPr>
              <a:r>
                <a:rPr lang="en-US" sz="1400" dirty="0">
                  <a:latin typeface="+mj-lt"/>
                </a:rPr>
                <a:t>Quick sourcing of unknown technology</a:t>
              </a:r>
            </a:p>
            <a:p>
              <a:pPr marL="344487" lvl="1" indent="-342900">
                <a:buFont typeface="Arial" panose="020B0604020202020204" pitchFamily="34" charset="0"/>
                <a:buAutoNum type="arabicPeriod"/>
              </a:pPr>
              <a:r>
                <a:rPr lang="en-US" sz="1400" dirty="0">
                  <a:latin typeface="+mj-lt"/>
                </a:rPr>
                <a:t>A library of subject matter experts to reach out to.</a:t>
              </a:r>
            </a:p>
            <a:p>
              <a:pPr marL="344487" lvl="1" indent="-342900">
                <a:buFont typeface="Arial" panose="020B0604020202020204" pitchFamily="34" charset="0"/>
                <a:buAutoNum type="arabicPeriod"/>
              </a:pPr>
              <a:r>
                <a:rPr lang="en-US" sz="1400" dirty="0">
                  <a:latin typeface="+mj-lt"/>
                </a:rPr>
                <a:t>A common international app?</a:t>
              </a:r>
            </a:p>
            <a:p>
              <a:pPr lvl="1"/>
              <a:endParaRPr lang="en-US" dirty="0">
                <a:latin typeface="+mj-lt"/>
              </a:endParaRPr>
            </a:p>
            <a:p>
              <a:pPr lvl="1"/>
              <a:endParaRPr lang="en-US" dirty="0">
                <a:latin typeface="+mj-lt"/>
              </a:endParaRPr>
            </a:p>
            <a:p>
              <a:pPr lvl="1"/>
              <a:endParaRPr lang="en-US" dirty="0">
                <a:latin typeface="+mj-lt"/>
              </a:endParaRPr>
            </a:p>
          </p:txBody>
        </p:sp>
        <p:sp>
          <p:nvSpPr>
            <p:cNvPr id="37" name="Content Placeholder 2">
              <a:extLst>
                <a:ext uri="{FF2B5EF4-FFF2-40B4-BE49-F238E27FC236}">
                  <a16:creationId xmlns:a16="http://schemas.microsoft.com/office/drawing/2014/main" id="{1368719C-95CF-444F-8171-A5A2E1569750}"/>
                </a:ext>
              </a:extLst>
            </p:cNvPr>
            <p:cNvSpPr txBox="1">
              <a:spLocks/>
            </p:cNvSpPr>
            <p:nvPr/>
          </p:nvSpPr>
          <p:spPr>
            <a:xfrm>
              <a:off x="8653903" y="4824104"/>
              <a:ext cx="3417506" cy="2149204"/>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Technology / Data Utilized   </a:t>
              </a:r>
            </a:p>
            <a:p>
              <a:pPr marL="344487" lvl="1" indent="-342900">
                <a:buFont typeface="Arial" panose="020B0604020202020204" pitchFamily="34" charset="0"/>
                <a:buAutoNum type="arabicPeriod"/>
              </a:pPr>
              <a:r>
                <a:rPr lang="en-US" sz="1400" dirty="0">
                  <a:latin typeface="+mj-lt"/>
                </a:rPr>
                <a:t>Weekly con calls (Skype)</a:t>
              </a:r>
            </a:p>
            <a:p>
              <a:pPr marL="344487" lvl="1" indent="-342900">
                <a:buFont typeface="Arial" panose="020B0604020202020204" pitchFamily="34" charset="0"/>
                <a:buAutoNum type="arabicPeriod"/>
              </a:pPr>
              <a:r>
                <a:rPr lang="en-US" sz="1400" dirty="0">
                  <a:latin typeface="+mj-lt"/>
                </a:rPr>
                <a:t>Google Translate. </a:t>
              </a:r>
            </a:p>
            <a:p>
              <a:pPr marL="344487" lvl="1" indent="-342900">
                <a:buFont typeface="Arial" panose="020B0604020202020204" pitchFamily="34" charset="0"/>
                <a:buAutoNum type="arabicPeriod"/>
              </a:pPr>
              <a:r>
                <a:rPr lang="en-US" sz="1400" dirty="0">
                  <a:latin typeface="+mj-lt"/>
                </a:rPr>
                <a:t>PowerPoints, Spreadsheets: More illustrations with less talking</a:t>
              </a:r>
            </a:p>
            <a:p>
              <a:pPr marL="344487" lvl="1" indent="-342900">
                <a:buFont typeface="Arial" panose="020B0604020202020204" pitchFamily="34" charset="0"/>
                <a:buAutoNum type="arabicPeriod"/>
              </a:pPr>
              <a:r>
                <a:rPr lang="en-US" sz="1400" dirty="0">
                  <a:latin typeface="+mj-lt"/>
                </a:rPr>
                <a:t>NX/ECTR</a:t>
              </a:r>
            </a:p>
            <a:p>
              <a:pPr marL="344487" lvl="1" indent="-342900">
                <a:buFont typeface="Arial" panose="020B0604020202020204" pitchFamily="34" charset="0"/>
                <a:buAutoNum type="arabicPeriod"/>
              </a:pPr>
              <a:r>
                <a:rPr lang="en-US" sz="1400" dirty="0">
                  <a:latin typeface="+mj-lt"/>
                </a:rPr>
                <a:t>Search Engines (Google, Youtube, Baidu)</a:t>
              </a:r>
            </a:p>
            <a:p>
              <a:pPr marL="344487" lvl="1" indent="-342900">
                <a:buFont typeface="Arial" panose="020B0604020202020204" pitchFamily="34" charset="0"/>
                <a:buAutoNum type="arabicPeriod"/>
              </a:pPr>
              <a:r>
                <a:rPr lang="en-US" sz="1400" dirty="0"/>
                <a:t>SharePoints, emails </a:t>
              </a:r>
            </a:p>
            <a:p>
              <a:pPr marL="344487" lvl="1" indent="-342900">
                <a:buFont typeface="Arial" panose="020B0604020202020204" pitchFamily="34" charset="0"/>
                <a:buAutoNum type="arabicPeriod"/>
              </a:pPr>
              <a:r>
                <a:rPr lang="en-US" sz="1400" dirty="0"/>
                <a:t>Apps: WhatsApp/WeChat/ Line.</a:t>
              </a:r>
            </a:p>
            <a:p>
              <a:pPr marL="344487" lvl="1" indent="-342900">
                <a:buFont typeface="Arial" panose="020B0604020202020204" pitchFamily="34" charset="0"/>
                <a:buAutoNum type="arabicPeriod"/>
              </a:pPr>
              <a:endParaRPr lang="en-US" sz="1400" dirty="0">
                <a:latin typeface="+mj-lt"/>
              </a:endParaRPr>
            </a:p>
            <a:p>
              <a:pPr marL="344487" lvl="1" indent="-342900">
                <a:buFont typeface="Arial" panose="020B0604020202020204" pitchFamily="34" charset="0"/>
                <a:buAutoNum type="arabicPeriod"/>
              </a:pPr>
              <a:endParaRPr lang="en-US" sz="1400" dirty="0">
                <a:latin typeface="+mj-lt"/>
              </a:endParaRPr>
            </a:p>
            <a:p>
              <a:pPr lvl="1"/>
              <a:endParaRPr lang="en-US" dirty="0">
                <a:latin typeface="+mj-lt"/>
              </a:endParaRPr>
            </a:p>
            <a:p>
              <a:pPr lvl="1"/>
              <a:endParaRPr lang="en-US" dirty="0">
                <a:latin typeface="+mj-lt"/>
              </a:endParaRPr>
            </a:p>
            <a:p>
              <a:pPr lvl="1"/>
              <a:endParaRPr lang="en-US" dirty="0">
                <a:latin typeface="+mj-lt"/>
              </a:endParaRPr>
            </a:p>
          </p:txBody>
        </p:sp>
      </p:grpSp>
      <p:pic>
        <p:nvPicPr>
          <p:cNvPr id="3" name="Picture 2">
            <a:extLst>
              <a:ext uri="{FF2B5EF4-FFF2-40B4-BE49-F238E27FC236}">
                <a16:creationId xmlns:a16="http://schemas.microsoft.com/office/drawing/2014/main" id="{BA8E059F-2F80-4D61-B7F3-469899EDE675}"/>
              </a:ext>
            </a:extLst>
          </p:cNvPr>
          <p:cNvPicPr>
            <a:picLocks noChangeAspect="1"/>
          </p:cNvPicPr>
          <p:nvPr/>
        </p:nvPicPr>
        <p:blipFill>
          <a:blip r:embed="rId2"/>
          <a:stretch>
            <a:fillRect/>
          </a:stretch>
        </p:blipFill>
        <p:spPr>
          <a:xfrm>
            <a:off x="9873285" y="5023990"/>
            <a:ext cx="457636" cy="448457"/>
          </a:xfrm>
          <a:prstGeom prst="rect">
            <a:avLst/>
          </a:prstGeom>
        </p:spPr>
      </p:pic>
      <p:pic>
        <p:nvPicPr>
          <p:cNvPr id="6" name="Picture 5">
            <a:extLst>
              <a:ext uri="{FF2B5EF4-FFF2-40B4-BE49-F238E27FC236}">
                <a16:creationId xmlns:a16="http://schemas.microsoft.com/office/drawing/2014/main" id="{BBEE8BA9-500E-40D6-9B67-FC8C722D8067}"/>
              </a:ext>
            </a:extLst>
          </p:cNvPr>
          <p:cNvPicPr>
            <a:picLocks noChangeAspect="1"/>
          </p:cNvPicPr>
          <p:nvPr/>
        </p:nvPicPr>
        <p:blipFill>
          <a:blip r:embed="rId3"/>
          <a:stretch>
            <a:fillRect/>
          </a:stretch>
        </p:blipFill>
        <p:spPr>
          <a:xfrm>
            <a:off x="10568535" y="5023990"/>
            <a:ext cx="452258" cy="448457"/>
          </a:xfrm>
          <a:prstGeom prst="rect">
            <a:avLst/>
          </a:prstGeom>
        </p:spPr>
      </p:pic>
      <p:pic>
        <p:nvPicPr>
          <p:cNvPr id="7" name="Picture 6">
            <a:extLst>
              <a:ext uri="{FF2B5EF4-FFF2-40B4-BE49-F238E27FC236}">
                <a16:creationId xmlns:a16="http://schemas.microsoft.com/office/drawing/2014/main" id="{0DF067CA-0AA1-4839-BE6B-942B8AA41A9E}"/>
              </a:ext>
            </a:extLst>
          </p:cNvPr>
          <p:cNvPicPr>
            <a:picLocks noChangeAspect="1"/>
          </p:cNvPicPr>
          <p:nvPr/>
        </p:nvPicPr>
        <p:blipFill>
          <a:blip r:embed="rId4"/>
          <a:stretch>
            <a:fillRect/>
          </a:stretch>
        </p:blipFill>
        <p:spPr>
          <a:xfrm>
            <a:off x="11258407" y="5000724"/>
            <a:ext cx="463693" cy="471723"/>
          </a:xfrm>
          <a:prstGeom prst="rect">
            <a:avLst/>
          </a:prstGeom>
        </p:spPr>
      </p:pic>
    </p:spTree>
    <p:extLst>
      <p:ext uri="{BB962C8B-B14F-4D97-AF65-F5344CB8AC3E}">
        <p14:creationId xmlns:p14="http://schemas.microsoft.com/office/powerpoint/2010/main" val="50150994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A229EC7-AEBD-4F06-A044-53C9CAE5D336}"/>
              </a:ext>
            </a:extLst>
          </p:cNvPr>
          <p:cNvSpPr>
            <a:spLocks noGrp="1"/>
          </p:cNvSpPr>
          <p:nvPr>
            <p:ph type="sldNum" sz="quarter" idx="4"/>
          </p:nvPr>
        </p:nvSpPr>
        <p:spPr>
          <a:xfrm>
            <a:off x="11184565" y="6358098"/>
            <a:ext cx="609600"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04F2263D-2B56-3241-AE08-5B72161B4332}" type="slidenum">
              <a:rPr kumimoji="0" lang="it-IT" sz="1080" b="0" i="0" u="none" strike="noStrike" kern="1200" cap="none" spc="0" normalizeH="0" baseline="0" noProof="0" smtClean="0">
                <a:ln>
                  <a:noFill/>
                </a:ln>
                <a:solidFill>
                  <a:prstClr val="white"/>
                </a:solidFill>
                <a:effectLst/>
                <a:uLnTx/>
                <a:uFillTx/>
                <a:latin typeface="Arial"/>
                <a:ea typeface="+mn-ea"/>
                <a:cs typeface="Arial"/>
              </a:rPr>
              <a:pPr marL="0" marR="0" lvl="0" indent="0" algn="l" defTabSz="1219170" rtl="0" eaLnBrk="1" fontAlgn="auto" latinLnBrk="0" hangingPunct="1">
                <a:lnSpc>
                  <a:spcPct val="100000"/>
                </a:lnSpc>
                <a:spcBef>
                  <a:spcPts val="0"/>
                </a:spcBef>
                <a:spcAft>
                  <a:spcPts val="0"/>
                </a:spcAft>
                <a:buClrTx/>
                <a:buSzTx/>
                <a:buFontTx/>
                <a:buNone/>
                <a:tabLst/>
                <a:defRPr/>
              </a:pPr>
              <a:t>51</a:t>
            </a:fld>
            <a:endParaRPr kumimoji="0" lang="it-IT" sz="1080" b="0" i="0" u="none" strike="noStrike" kern="1200" cap="none" spc="0" normalizeH="0" baseline="0" noProof="0">
              <a:ln>
                <a:noFill/>
              </a:ln>
              <a:solidFill>
                <a:prstClr val="white"/>
              </a:solidFill>
              <a:effectLst/>
              <a:uLnTx/>
              <a:uFillTx/>
              <a:latin typeface="Arial"/>
              <a:ea typeface="+mn-ea"/>
              <a:cs typeface="Arial"/>
            </a:endParaRPr>
          </a:p>
        </p:txBody>
      </p:sp>
      <p:sp>
        <p:nvSpPr>
          <p:cNvPr id="29" name="Text Box 28">
            <a:extLst>
              <a:ext uri="{FF2B5EF4-FFF2-40B4-BE49-F238E27FC236}">
                <a16:creationId xmlns:a16="http://schemas.microsoft.com/office/drawing/2014/main" id="{26B8E5F8-3072-411A-A2D3-4348718EA661}"/>
              </a:ext>
            </a:extLst>
          </p:cNvPr>
          <p:cNvSpPr txBox="1">
            <a:spLocks noChangeArrowheads="1"/>
          </p:cNvSpPr>
          <p:nvPr/>
        </p:nvSpPr>
        <p:spPr bwMode="gray">
          <a:xfrm>
            <a:off x="912181" y="1349960"/>
            <a:ext cx="964397" cy="134988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algn="ctr" eaLnBrk="0" hangingPunct="0">
              <a:lnSpc>
                <a:spcPct val="80000"/>
              </a:lnSpc>
              <a:spcBef>
                <a:spcPct val="50000"/>
              </a:spcBef>
              <a:buClr>
                <a:srgbClr val="8099CC"/>
              </a:buClr>
              <a:buSzPct val="100000"/>
              <a:buFont typeface="Monotype Sorts" pitchFamily="2" charset="2"/>
              <a:buNone/>
              <a:defRPr sz="900">
                <a:solidFill>
                  <a:srgbClr val="FFFFFF"/>
                </a:solidFill>
                <a:latin typeface="+mn-lt"/>
                <a:ea typeface="Tahoma" pitchFamily="34" charset="0"/>
                <a:cs typeface="Tahoma" pitchFamily="34" charset="0"/>
              </a:defRPr>
            </a:lvl1pPr>
          </a:lstStyle>
          <a:p>
            <a:pPr marL="0" marR="0" lvl="0" indent="0" algn="ctr" defTabSz="548640" rtl="0" eaLnBrk="1" fontAlgn="auto" latinLnBrk="0" hangingPunct="1">
              <a:lnSpc>
                <a:spcPct val="80000"/>
              </a:lnSpc>
              <a:spcBef>
                <a:spcPct val="40000"/>
              </a:spcBef>
              <a:spcAft>
                <a:spcPts val="0"/>
              </a:spcAft>
              <a:buClr>
                <a:prstClr val="black"/>
              </a:buClr>
              <a:buSzPct val="80000"/>
              <a:buFont typeface="Monotype Sorts" pitchFamily="2" charset="2"/>
              <a:buNone/>
              <a:tabLst/>
              <a:defRPr/>
            </a:pPr>
            <a:r>
              <a:rPr kumimoji="0" lang="en-US" sz="700" b="0" i="0" u="none" strike="noStrike" kern="0" cap="none" spc="0" normalizeH="0" baseline="0" noProof="0" dirty="0">
                <a:ln>
                  <a:noFill/>
                </a:ln>
                <a:solidFill>
                  <a:prstClr val="black"/>
                </a:solidFill>
                <a:effectLst/>
                <a:uLnTx/>
                <a:uFillTx/>
                <a:latin typeface="Verdana"/>
                <a:ea typeface="Tahoma" pitchFamily="34" charset="0"/>
                <a:cs typeface="Tahoma" pitchFamily="34" charset="0"/>
              </a:rPr>
              <a:t>Clear process for </a:t>
            </a:r>
            <a:r>
              <a:rPr lang="en-US" sz="700" kern="0" dirty="0">
                <a:solidFill>
                  <a:prstClr val="black"/>
                </a:solidFill>
              </a:rPr>
              <a:t>contracting exists and considers multiple criteria (e.g., capability, cost, risk etc.) Contractors are used for specific requirements and are well-integrated in the development process</a:t>
            </a:r>
          </a:p>
        </p:txBody>
      </p:sp>
      <p:sp>
        <p:nvSpPr>
          <p:cNvPr id="30" name="Text Box 29">
            <a:extLst>
              <a:ext uri="{FF2B5EF4-FFF2-40B4-BE49-F238E27FC236}">
                <a16:creationId xmlns:a16="http://schemas.microsoft.com/office/drawing/2014/main" id="{96E8DD27-D31B-4F7B-B570-58D70A80B761}"/>
              </a:ext>
            </a:extLst>
          </p:cNvPr>
          <p:cNvSpPr txBox="1">
            <a:spLocks noChangeArrowheads="1"/>
          </p:cNvSpPr>
          <p:nvPr/>
        </p:nvSpPr>
        <p:spPr bwMode="gray">
          <a:xfrm>
            <a:off x="939882" y="2890965"/>
            <a:ext cx="964397" cy="124605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marL="0" marR="0" lvl="0" indent="0" algn="ctr" defTabSz="548640" rtl="0" eaLnBrk="1" fontAlgn="auto" latinLnBrk="0" hangingPunct="1">
              <a:lnSpc>
                <a:spcPct val="80000"/>
              </a:lnSpc>
              <a:spcBef>
                <a:spcPct val="40000"/>
              </a:spcBef>
              <a:spcAft>
                <a:spcPts val="0"/>
              </a:spcAft>
              <a:buClr>
                <a:prstClr val="black"/>
              </a:buClr>
              <a:buSzPct val="80000"/>
              <a:buFontTx/>
              <a:buNone/>
              <a:tabLst/>
              <a:defRPr/>
            </a:pPr>
            <a:r>
              <a:rPr kumimoji="0" lang="en-US" sz="700" b="0" i="0" u="none" strike="noStrike" kern="0" cap="none" spc="0" normalizeH="0" baseline="0" noProof="0" dirty="0">
                <a:ln>
                  <a:noFill/>
                </a:ln>
                <a:solidFill>
                  <a:prstClr val="black"/>
                </a:solidFill>
                <a:effectLst/>
                <a:uLnTx/>
                <a:uFillTx/>
                <a:latin typeface="Verdana"/>
                <a:ea typeface="+mn-ea"/>
                <a:cs typeface="Tahoma" pitchFamily="34" charset="0"/>
              </a:rPr>
              <a:t>Contracting is driven largely by the short and medium-term needs of the business.  Contractors are mainly used to reduce cost or augment capacity</a:t>
            </a:r>
          </a:p>
        </p:txBody>
      </p:sp>
      <p:sp>
        <p:nvSpPr>
          <p:cNvPr id="31" name="Text Box 27">
            <a:extLst>
              <a:ext uri="{FF2B5EF4-FFF2-40B4-BE49-F238E27FC236}">
                <a16:creationId xmlns:a16="http://schemas.microsoft.com/office/drawing/2014/main" id="{F182356F-A88C-481F-82A4-E0532068B7D2}"/>
              </a:ext>
            </a:extLst>
          </p:cNvPr>
          <p:cNvSpPr txBox="1">
            <a:spLocks noChangeArrowheads="1"/>
          </p:cNvSpPr>
          <p:nvPr/>
        </p:nvSpPr>
        <p:spPr bwMode="gray">
          <a:xfrm>
            <a:off x="939457" y="4313957"/>
            <a:ext cx="964397" cy="1038376"/>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marL="0" marR="0" lvl="0" indent="0" algn="ctr" defTabSz="548640" rtl="0" eaLnBrk="1" fontAlgn="auto" latinLnBrk="0" hangingPunct="1">
              <a:lnSpc>
                <a:spcPct val="80000"/>
              </a:lnSpc>
              <a:spcBef>
                <a:spcPct val="40000"/>
              </a:spcBef>
              <a:spcAft>
                <a:spcPts val="0"/>
              </a:spcAft>
              <a:buClr>
                <a:prstClr val="black"/>
              </a:buClr>
              <a:buSzPct val="80000"/>
              <a:buFontTx/>
              <a:buNone/>
              <a:tabLst/>
              <a:defRPr/>
            </a:pPr>
            <a:r>
              <a:rPr kumimoji="0" lang="en-US" sz="700" b="0" i="0" u="none" strike="noStrike" kern="0" cap="none" spc="0" normalizeH="0" baseline="0" noProof="0" dirty="0">
                <a:ln>
                  <a:noFill/>
                </a:ln>
                <a:solidFill>
                  <a:prstClr val="black"/>
                </a:solidFill>
                <a:effectLst/>
                <a:uLnTx/>
                <a:uFillTx/>
                <a:latin typeface="Verdana"/>
                <a:ea typeface="+mn-ea"/>
                <a:cs typeface="Tahoma" pitchFamily="34" charset="0"/>
              </a:rPr>
              <a:t>There is no clear contracting strategy or formal process to identify and prioritize contractors</a:t>
            </a:r>
          </a:p>
        </p:txBody>
      </p:sp>
      <p:sp>
        <p:nvSpPr>
          <p:cNvPr id="58" name="Text Box 26">
            <a:extLst>
              <a:ext uri="{FF2B5EF4-FFF2-40B4-BE49-F238E27FC236}">
                <a16:creationId xmlns:a16="http://schemas.microsoft.com/office/drawing/2014/main" id="{12F674EE-EEC1-43E8-9A6B-68F526F1AC92}"/>
              </a:ext>
            </a:extLst>
          </p:cNvPr>
          <p:cNvSpPr txBox="1">
            <a:spLocks noChangeArrowheads="1"/>
          </p:cNvSpPr>
          <p:nvPr/>
        </p:nvSpPr>
        <p:spPr bwMode="gray">
          <a:xfrm>
            <a:off x="934352" y="5564421"/>
            <a:ext cx="969927" cy="494959"/>
          </a:xfrm>
          <a:prstGeom prst="roundRect">
            <a:avLst/>
          </a:prstGeom>
          <a:solidFill>
            <a:srgbClr val="336699"/>
          </a:solidFill>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marL="0" marR="0" lvl="0" indent="0" algn="ctr" defTabSz="548640" rtl="0" eaLnBrk="0" fontAlgn="auto" latinLnBrk="0" hangingPunct="0">
              <a:lnSpc>
                <a:spcPct val="90000"/>
              </a:lnSpc>
              <a:spcBef>
                <a:spcPts val="0"/>
              </a:spcBef>
              <a:spcAft>
                <a:spcPts val="0"/>
              </a:spcAft>
              <a:buClrTx/>
              <a:buSzPct val="100000"/>
              <a:buFontTx/>
              <a:buNone/>
              <a:tabLst/>
              <a:defRPr/>
            </a:pPr>
            <a:r>
              <a:rPr kumimoji="0" lang="en-US" sz="800" b="1" i="0" u="none" strike="noStrike" kern="0" cap="none" spc="0" normalizeH="0" baseline="0" noProof="0" dirty="0">
                <a:ln>
                  <a:noFill/>
                </a:ln>
                <a:solidFill>
                  <a:schemeClr val="bg1"/>
                </a:solidFill>
                <a:effectLst/>
                <a:uLnTx/>
                <a:uFillTx/>
                <a:latin typeface="Verdana"/>
                <a:ea typeface="Tahoma" pitchFamily="34" charset="0"/>
                <a:cs typeface="Tahoma" pitchFamily="34" charset="0"/>
              </a:rPr>
              <a:t>Contracting &amp; Sourcing Strategy</a:t>
            </a:r>
          </a:p>
        </p:txBody>
      </p:sp>
      <p:sp>
        <p:nvSpPr>
          <p:cNvPr id="59" name="Text Box 11">
            <a:extLst>
              <a:ext uri="{FF2B5EF4-FFF2-40B4-BE49-F238E27FC236}">
                <a16:creationId xmlns:a16="http://schemas.microsoft.com/office/drawing/2014/main" id="{B703F1DB-7B19-4344-BB08-DCCDAFB7C07D}"/>
              </a:ext>
            </a:extLst>
          </p:cNvPr>
          <p:cNvSpPr txBox="1">
            <a:spLocks noChangeArrowheads="1"/>
          </p:cNvSpPr>
          <p:nvPr/>
        </p:nvSpPr>
        <p:spPr bwMode="auto">
          <a:xfrm rot="16200000">
            <a:off x="275199" y="4661930"/>
            <a:ext cx="574558" cy="312420"/>
          </a:xfrm>
          <a:prstGeom prst="rect">
            <a:avLst/>
          </a:prstGeom>
          <a:noFill/>
          <a:ln w="12700" algn="ctr">
            <a:noFill/>
            <a:miter lim="800000"/>
            <a:headEnd/>
            <a:tailEnd/>
          </a:ln>
        </p:spPr>
        <p:txBody>
          <a:bodyPr lIns="0" tIns="0" rIns="0" bIns="0" anchor="b"/>
          <a:lstStyle/>
          <a:p>
            <a:pPr marL="0" marR="0" lvl="0" indent="0" algn="ctr" defTabSz="1082040" rtl="0" eaLnBrk="0" fontAlgn="base" latinLnBrk="0" hangingPunct="0">
              <a:lnSpc>
                <a:spcPct val="90000"/>
              </a:lnSpc>
              <a:spcBef>
                <a:spcPct val="50000"/>
              </a:spcBef>
              <a:spcAft>
                <a:spcPct val="0"/>
              </a:spcAft>
              <a:buClr>
                <a:srgbClr val="8099CC"/>
              </a:buClr>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Low</a:t>
            </a:r>
          </a:p>
        </p:txBody>
      </p:sp>
      <p:sp>
        <p:nvSpPr>
          <p:cNvPr id="60" name="Text Box 12">
            <a:extLst>
              <a:ext uri="{FF2B5EF4-FFF2-40B4-BE49-F238E27FC236}">
                <a16:creationId xmlns:a16="http://schemas.microsoft.com/office/drawing/2014/main" id="{91FDCAFC-0E7D-490C-B9D3-B66BF02A540F}"/>
              </a:ext>
            </a:extLst>
          </p:cNvPr>
          <p:cNvSpPr txBox="1">
            <a:spLocks noChangeArrowheads="1"/>
          </p:cNvSpPr>
          <p:nvPr/>
        </p:nvSpPr>
        <p:spPr bwMode="auto">
          <a:xfrm rot="16200000">
            <a:off x="271913" y="1837814"/>
            <a:ext cx="748448" cy="255455"/>
          </a:xfrm>
          <a:prstGeom prst="rect">
            <a:avLst/>
          </a:prstGeom>
          <a:noFill/>
          <a:ln w="12700" algn="ctr">
            <a:noFill/>
            <a:miter lim="800000"/>
            <a:headEnd/>
            <a:tailEnd/>
          </a:ln>
        </p:spPr>
        <p:txBody>
          <a:bodyPr wrap="square" lIns="0" rIns="0" anchor="b">
            <a:spAutoFit/>
          </a:bodyPr>
          <a:lstStyle/>
          <a:p>
            <a:pPr marL="0" marR="0" lvl="0" indent="0" algn="ctr" defTabSz="1097280" rtl="0" eaLnBrk="0" fontAlgn="base" latinLnBrk="0" hangingPunct="0">
              <a:lnSpc>
                <a:spcPct val="106000"/>
              </a:lnSpc>
              <a:spcBef>
                <a:spcPct val="50000"/>
              </a:spcBef>
              <a:spcAft>
                <a:spcPct val="0"/>
              </a:spcAft>
              <a:buClrTx/>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Advanced</a:t>
            </a:r>
          </a:p>
        </p:txBody>
      </p:sp>
      <p:sp>
        <p:nvSpPr>
          <p:cNvPr id="61" name="Text Box 13">
            <a:extLst>
              <a:ext uri="{FF2B5EF4-FFF2-40B4-BE49-F238E27FC236}">
                <a16:creationId xmlns:a16="http://schemas.microsoft.com/office/drawing/2014/main" id="{332668CF-025F-4C93-BE22-F205DE99A478}"/>
              </a:ext>
            </a:extLst>
          </p:cNvPr>
          <p:cNvSpPr txBox="1">
            <a:spLocks noChangeArrowheads="1"/>
          </p:cNvSpPr>
          <p:nvPr/>
        </p:nvSpPr>
        <p:spPr bwMode="auto">
          <a:xfrm rot="16200000">
            <a:off x="377859" y="3273924"/>
            <a:ext cx="544176" cy="239168"/>
          </a:xfrm>
          <a:prstGeom prst="rect">
            <a:avLst/>
          </a:prstGeom>
          <a:noFill/>
          <a:ln w="12700" algn="ctr">
            <a:noFill/>
            <a:miter lim="800000"/>
            <a:headEnd/>
            <a:tailEnd/>
          </a:ln>
        </p:spPr>
        <p:txBody>
          <a:bodyPr wrap="square" lIns="0" rIns="0" anchor="b">
            <a:spAutoFit/>
          </a:bodyPr>
          <a:lstStyle/>
          <a:p>
            <a:pPr marL="0" marR="0" lvl="0" indent="0" algn="ctr" defTabSz="1097280" rtl="0" eaLnBrk="0" fontAlgn="base" latinLnBrk="0" hangingPunct="0">
              <a:lnSpc>
                <a:spcPct val="106000"/>
              </a:lnSpc>
              <a:spcBef>
                <a:spcPct val="50000"/>
              </a:spcBef>
              <a:spcAft>
                <a:spcPct val="0"/>
              </a:spcAft>
              <a:buClrTx/>
              <a:buSzPct val="100000"/>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Arial" charset="0"/>
              </a:rPr>
              <a:t>Basic</a:t>
            </a:r>
          </a:p>
        </p:txBody>
      </p:sp>
      <p:sp>
        <p:nvSpPr>
          <p:cNvPr id="62" name="Text Box 28">
            <a:extLst>
              <a:ext uri="{FF2B5EF4-FFF2-40B4-BE49-F238E27FC236}">
                <a16:creationId xmlns:a16="http://schemas.microsoft.com/office/drawing/2014/main" id="{C9585E01-3FE2-4C4F-8666-ADCA41536385}"/>
              </a:ext>
            </a:extLst>
          </p:cNvPr>
          <p:cNvSpPr txBox="1">
            <a:spLocks noChangeArrowheads="1"/>
          </p:cNvSpPr>
          <p:nvPr/>
        </p:nvSpPr>
        <p:spPr bwMode="auto">
          <a:xfrm>
            <a:off x="513985" y="1074490"/>
            <a:ext cx="822946" cy="241595"/>
          </a:xfrm>
          <a:prstGeom prst="rect">
            <a:avLst/>
          </a:prstGeom>
          <a:noFill/>
          <a:ln w="25400">
            <a:noFill/>
            <a:miter lim="800000"/>
            <a:headEnd/>
            <a:tailEnd type="none" w="med" len="lg"/>
          </a:ln>
        </p:spPr>
        <p:txBody>
          <a:bodyPr wrap="square" lIns="0" tIns="54859" rIns="109718" bIns="54859">
            <a:spAutoFit/>
          </a:bodyPr>
          <a:lstStyle/>
          <a:p>
            <a:pPr marL="274320" marR="0" lvl="0" indent="-274320" algn="r" defTabSz="1082040" rtl="0" eaLnBrk="0" fontAlgn="base" latinLnBrk="0" hangingPunct="0">
              <a:lnSpc>
                <a:spcPct val="85000"/>
              </a:lnSpc>
              <a:spcBef>
                <a:spcPct val="0"/>
              </a:spcBef>
              <a:spcAft>
                <a:spcPct val="0"/>
              </a:spcAft>
              <a:buClr>
                <a:srgbClr val="8099CC"/>
              </a:buClr>
              <a:buSzTx/>
              <a:buFontTx/>
              <a:buNone/>
              <a:tabLst/>
              <a:defRPr/>
            </a:pPr>
            <a:r>
              <a:rPr kumimoji="0" lang="en-US" altLang="en-US" sz="1000" b="1" i="0" u="none" strike="noStrike" kern="1200" cap="none" spc="0" normalizeH="0" baseline="0" noProof="0" dirty="0">
                <a:ln>
                  <a:noFill/>
                </a:ln>
                <a:solidFill>
                  <a:prstClr val="black"/>
                </a:solidFill>
                <a:effectLst/>
                <a:uLnTx/>
                <a:uFillTx/>
                <a:latin typeface="Verdana"/>
                <a:ea typeface="+mn-ea"/>
                <a:cs typeface="Arial" charset="0"/>
              </a:rPr>
              <a:t>Maturity</a:t>
            </a:r>
          </a:p>
        </p:txBody>
      </p:sp>
      <p:sp>
        <p:nvSpPr>
          <p:cNvPr id="63" name="Line 15">
            <a:extLst>
              <a:ext uri="{FF2B5EF4-FFF2-40B4-BE49-F238E27FC236}">
                <a16:creationId xmlns:a16="http://schemas.microsoft.com/office/drawing/2014/main" id="{9811225E-4A25-467B-A401-28AB6CDF54DA}"/>
              </a:ext>
            </a:extLst>
          </p:cNvPr>
          <p:cNvSpPr>
            <a:spLocks noChangeShapeType="1"/>
          </p:cNvSpPr>
          <p:nvPr/>
        </p:nvSpPr>
        <p:spPr bwMode="auto">
          <a:xfrm flipV="1">
            <a:off x="815434" y="1363725"/>
            <a:ext cx="0" cy="4031776"/>
          </a:xfrm>
          <a:prstGeom prst="line">
            <a:avLst/>
          </a:prstGeom>
          <a:noFill/>
          <a:ln w="38100">
            <a:solidFill>
              <a:schemeClr val="tx1"/>
            </a:solidFill>
            <a:round/>
            <a:headEnd/>
            <a:tailEnd type="triangle" w="med" len="med"/>
          </a:ln>
        </p:spPr>
        <p:txBody>
          <a:bodyPr/>
          <a:lstStyle/>
          <a:p>
            <a:pPr marL="0" marR="0" lvl="0" indent="0" algn="l" defTabSz="1097280" rtl="0" eaLnBrk="0" fontAlgn="auto" latinLnBrk="0" hangingPunct="0">
              <a:lnSpc>
                <a:spcPct val="106000"/>
              </a:lnSpc>
              <a:spcBef>
                <a:spcPct val="50000"/>
              </a:spcBef>
              <a:spcAft>
                <a:spcPts val="0"/>
              </a:spcAft>
              <a:buClrTx/>
              <a:buSzPct val="100000"/>
              <a:buFontTx/>
              <a:buNone/>
              <a:tabLst/>
              <a:defRPr/>
            </a:pPr>
            <a:endParaRPr kumimoji="0" lang="en-US" sz="800" b="0" i="0" u="none" strike="noStrike" kern="0" cap="none" spc="0" normalizeH="0" baseline="0" noProof="0" dirty="0">
              <a:ln>
                <a:noFill/>
              </a:ln>
              <a:solidFill>
                <a:prstClr val="black"/>
              </a:solidFill>
              <a:effectLst/>
              <a:uLnTx/>
              <a:uFillTx/>
              <a:latin typeface="Verdana"/>
              <a:ea typeface="+mn-ea"/>
              <a:cs typeface="Arial" charset="0"/>
            </a:endParaRPr>
          </a:p>
        </p:txBody>
      </p:sp>
      <p:sp>
        <p:nvSpPr>
          <p:cNvPr id="64" name="Line 16">
            <a:extLst>
              <a:ext uri="{FF2B5EF4-FFF2-40B4-BE49-F238E27FC236}">
                <a16:creationId xmlns:a16="http://schemas.microsoft.com/office/drawing/2014/main" id="{1EC38A50-4175-4CB2-B458-439DF8472259}"/>
              </a:ext>
            </a:extLst>
          </p:cNvPr>
          <p:cNvSpPr>
            <a:spLocks noChangeShapeType="1"/>
          </p:cNvSpPr>
          <p:nvPr/>
        </p:nvSpPr>
        <p:spPr bwMode="auto">
          <a:xfrm flipV="1">
            <a:off x="796616" y="5395500"/>
            <a:ext cx="10384037" cy="1"/>
          </a:xfrm>
          <a:prstGeom prst="line">
            <a:avLst/>
          </a:prstGeom>
          <a:noFill/>
          <a:ln w="38100">
            <a:solidFill>
              <a:schemeClr val="tx1"/>
            </a:solidFill>
            <a:round/>
            <a:headEnd/>
            <a:tailEnd/>
          </a:ln>
        </p:spPr>
        <p:txBody>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Verdana"/>
              <a:ea typeface="+mn-ea"/>
              <a:cs typeface="Arial" charset="0"/>
            </a:endParaRPr>
          </a:p>
        </p:txBody>
      </p:sp>
      <p:cxnSp>
        <p:nvCxnSpPr>
          <p:cNvPr id="73" name="Straight Arrow Connector 72">
            <a:extLst>
              <a:ext uri="{FF2B5EF4-FFF2-40B4-BE49-F238E27FC236}">
                <a16:creationId xmlns:a16="http://schemas.microsoft.com/office/drawing/2014/main" id="{AD659305-2C7A-4D3F-95A3-936EF74FB560}"/>
              </a:ext>
            </a:extLst>
          </p:cNvPr>
          <p:cNvCxnSpPr>
            <a:cxnSpLocks/>
          </p:cNvCxnSpPr>
          <p:nvPr/>
        </p:nvCxnSpPr>
        <p:spPr>
          <a:xfrm flipV="1">
            <a:off x="1378436" y="2679924"/>
            <a:ext cx="0" cy="21726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5" name="Straight Arrow Connector 74">
            <a:extLst>
              <a:ext uri="{FF2B5EF4-FFF2-40B4-BE49-F238E27FC236}">
                <a16:creationId xmlns:a16="http://schemas.microsoft.com/office/drawing/2014/main" id="{485128CB-DDBE-4B0A-8002-7E359C67297B}"/>
              </a:ext>
            </a:extLst>
          </p:cNvPr>
          <p:cNvCxnSpPr>
            <a:cxnSpLocks/>
          </p:cNvCxnSpPr>
          <p:nvPr/>
        </p:nvCxnSpPr>
        <p:spPr>
          <a:xfrm flipV="1">
            <a:off x="1387863" y="4125215"/>
            <a:ext cx="0" cy="19321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68" name="Title 1">
            <a:extLst>
              <a:ext uri="{FF2B5EF4-FFF2-40B4-BE49-F238E27FC236}">
                <a16:creationId xmlns:a16="http://schemas.microsoft.com/office/drawing/2014/main" id="{2086DEEF-A7EC-44D1-B77B-DF5636C3C913}"/>
              </a:ext>
            </a:extLst>
          </p:cNvPr>
          <p:cNvSpPr txBox="1">
            <a:spLocks/>
          </p:cNvSpPr>
          <p:nvPr/>
        </p:nvSpPr>
        <p:spPr>
          <a:xfrm>
            <a:off x="513985" y="506497"/>
            <a:ext cx="8397735" cy="717944"/>
          </a:xfrm>
          <a:prstGeom prst="rect">
            <a:avLst/>
          </a:prstGeom>
        </p:spPr>
        <p:txBody>
          <a:bodyPr/>
          <a:lstStyle>
            <a:lvl1pPr algn="l" defTabSz="914400" rtl="0" eaLnBrk="1" latinLnBrk="0" hangingPunct="1">
              <a:spcBef>
                <a:spcPct val="0"/>
              </a:spcBef>
              <a:buNone/>
              <a:defRPr lang="en-CA" sz="2000" kern="1200" cap="none" baseline="0" noProof="0" dirty="0">
                <a:solidFill>
                  <a:srgbClr val="8996A0"/>
                </a:solidFill>
                <a:latin typeface="Arial Black" pitchFamily="34" charset="0"/>
                <a:ea typeface="+mj-ea"/>
                <a:cs typeface="+mj-cs"/>
              </a:defRPr>
            </a:lvl1pPr>
          </a:lstStyle>
          <a:p>
            <a:pPr lvl="0">
              <a:defRPr/>
            </a:pPr>
            <a:r>
              <a:rPr lang="en-US" sz="2400" b="1" dirty="0">
                <a:solidFill>
                  <a:prstClr val="black"/>
                </a:solidFill>
                <a:latin typeface="+mj-lt"/>
              </a:rPr>
              <a:t>Product Development Collaboration </a:t>
            </a:r>
            <a:endParaRPr kumimoji="0" lang="en-US" sz="2400" b="1" i="0" u="none" strike="noStrike" kern="1200" cap="none" spc="0" normalizeH="0" baseline="0" noProof="0" dirty="0">
              <a:ln>
                <a:noFill/>
              </a:ln>
              <a:solidFill>
                <a:prstClr val="black"/>
              </a:solidFill>
              <a:effectLst/>
              <a:uLnTx/>
              <a:uFillTx/>
              <a:latin typeface="+mj-lt"/>
              <a:ea typeface="+mj-ea"/>
              <a:cs typeface="+mj-cs"/>
            </a:endParaRPr>
          </a:p>
        </p:txBody>
      </p:sp>
      <p:sp>
        <p:nvSpPr>
          <p:cNvPr id="146" name="Text Box 26">
            <a:extLst>
              <a:ext uri="{FF2B5EF4-FFF2-40B4-BE49-F238E27FC236}">
                <a16:creationId xmlns:a16="http://schemas.microsoft.com/office/drawing/2014/main" id="{37CFAC99-BD75-405A-A606-E3F5125780DE}"/>
              </a:ext>
            </a:extLst>
          </p:cNvPr>
          <p:cNvSpPr txBox="1">
            <a:spLocks noChangeArrowheads="1"/>
          </p:cNvSpPr>
          <p:nvPr/>
        </p:nvSpPr>
        <p:spPr bwMode="gray">
          <a:xfrm>
            <a:off x="1961549" y="5581041"/>
            <a:ext cx="969927" cy="494959"/>
          </a:xfrm>
          <a:prstGeom prst="roundRect">
            <a:avLst/>
          </a:prstGeom>
          <a:solidFill>
            <a:srgbClr val="336699"/>
          </a:solidFill>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0" algn="ctr" defTabSz="548640" eaLnBrk="0" hangingPunct="0">
              <a:lnSpc>
                <a:spcPct val="90000"/>
              </a:lnSpc>
              <a:buSzPct val="100000"/>
              <a:defRPr/>
            </a:pPr>
            <a:r>
              <a:rPr lang="en-US" sz="800" b="1" kern="0" dirty="0">
                <a:solidFill>
                  <a:schemeClr val="bg1"/>
                </a:solidFill>
                <a:ea typeface="Tahoma" pitchFamily="34" charset="0"/>
                <a:cs typeface="Tahoma" pitchFamily="34" charset="0"/>
              </a:rPr>
              <a:t>Operating Model</a:t>
            </a:r>
          </a:p>
        </p:txBody>
      </p:sp>
      <p:sp>
        <p:nvSpPr>
          <p:cNvPr id="152" name="Text Box 26">
            <a:extLst>
              <a:ext uri="{FF2B5EF4-FFF2-40B4-BE49-F238E27FC236}">
                <a16:creationId xmlns:a16="http://schemas.microsoft.com/office/drawing/2014/main" id="{E71D1906-8298-49E6-BDB3-75ED5DC89231}"/>
              </a:ext>
            </a:extLst>
          </p:cNvPr>
          <p:cNvSpPr txBox="1">
            <a:spLocks noChangeArrowheads="1"/>
          </p:cNvSpPr>
          <p:nvPr/>
        </p:nvSpPr>
        <p:spPr bwMode="gray">
          <a:xfrm>
            <a:off x="2988746" y="5581041"/>
            <a:ext cx="969927" cy="494959"/>
          </a:xfrm>
          <a:prstGeom prst="roundRect">
            <a:avLst/>
          </a:prstGeom>
          <a:solidFill>
            <a:srgbClr val="336699"/>
          </a:solidFill>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0" algn="ctr" defTabSz="548640" eaLnBrk="0" hangingPunct="0">
              <a:lnSpc>
                <a:spcPct val="90000"/>
              </a:lnSpc>
              <a:buSzPct val="100000"/>
              <a:defRPr/>
            </a:pPr>
            <a:r>
              <a:rPr lang="en-US" sz="800" b="1" kern="0" dirty="0">
                <a:solidFill>
                  <a:schemeClr val="bg1"/>
                </a:solidFill>
                <a:ea typeface="Tahoma" pitchFamily="34" charset="0"/>
                <a:cs typeface="Tahoma" pitchFamily="34" charset="0"/>
              </a:rPr>
              <a:t>Governance</a:t>
            </a:r>
          </a:p>
        </p:txBody>
      </p:sp>
      <p:sp>
        <p:nvSpPr>
          <p:cNvPr id="158" name="Text Box 26">
            <a:extLst>
              <a:ext uri="{FF2B5EF4-FFF2-40B4-BE49-F238E27FC236}">
                <a16:creationId xmlns:a16="http://schemas.microsoft.com/office/drawing/2014/main" id="{E329F317-7CAA-4B98-9E6B-8B507E0386BA}"/>
              </a:ext>
            </a:extLst>
          </p:cNvPr>
          <p:cNvSpPr txBox="1">
            <a:spLocks noChangeArrowheads="1"/>
          </p:cNvSpPr>
          <p:nvPr/>
        </p:nvSpPr>
        <p:spPr bwMode="gray">
          <a:xfrm>
            <a:off x="4015943" y="5576911"/>
            <a:ext cx="969927" cy="494959"/>
          </a:xfrm>
          <a:prstGeom prst="roundRect">
            <a:avLst/>
          </a:prstGeom>
          <a:solidFill>
            <a:srgbClr val="336699"/>
          </a:solidFill>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0" algn="ctr" defTabSz="548640" eaLnBrk="0" hangingPunct="0">
              <a:lnSpc>
                <a:spcPct val="90000"/>
              </a:lnSpc>
              <a:buSzPct val="100000"/>
              <a:defRPr/>
            </a:pPr>
            <a:r>
              <a:rPr lang="en-US" sz="800" b="1" kern="0" dirty="0">
                <a:solidFill>
                  <a:schemeClr val="bg1"/>
                </a:solidFill>
                <a:ea typeface="Tahoma" pitchFamily="34" charset="0"/>
                <a:cs typeface="Tahoma" pitchFamily="34" charset="0"/>
              </a:rPr>
              <a:t>Contract Development and Compliance</a:t>
            </a:r>
          </a:p>
        </p:txBody>
      </p:sp>
      <p:sp>
        <p:nvSpPr>
          <p:cNvPr id="161" name="Text Box 26">
            <a:extLst>
              <a:ext uri="{FF2B5EF4-FFF2-40B4-BE49-F238E27FC236}">
                <a16:creationId xmlns:a16="http://schemas.microsoft.com/office/drawing/2014/main" id="{7FFA2331-D128-432F-A441-A59244753161}"/>
              </a:ext>
            </a:extLst>
          </p:cNvPr>
          <p:cNvSpPr txBox="1">
            <a:spLocks noChangeArrowheads="1"/>
          </p:cNvSpPr>
          <p:nvPr/>
        </p:nvSpPr>
        <p:spPr bwMode="gray">
          <a:xfrm>
            <a:off x="5041864" y="5576911"/>
            <a:ext cx="969927" cy="494959"/>
          </a:xfrm>
          <a:prstGeom prst="roundRect">
            <a:avLst/>
          </a:prstGeom>
          <a:solidFill>
            <a:srgbClr val="336699"/>
          </a:solidFill>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0" algn="ctr" defTabSz="548640" eaLnBrk="0" hangingPunct="0">
              <a:lnSpc>
                <a:spcPct val="90000"/>
              </a:lnSpc>
              <a:buSzPct val="100000"/>
              <a:defRPr/>
            </a:pPr>
            <a:r>
              <a:rPr lang="en-US" sz="800" b="1" kern="0" dirty="0">
                <a:solidFill>
                  <a:schemeClr val="bg1"/>
                </a:solidFill>
                <a:ea typeface="Tahoma" pitchFamily="34" charset="0"/>
                <a:cs typeface="Tahoma" pitchFamily="34" charset="0"/>
              </a:rPr>
              <a:t>Performance</a:t>
            </a:r>
          </a:p>
          <a:p>
            <a:pPr lvl="0" algn="ctr" defTabSz="548640" eaLnBrk="0" hangingPunct="0">
              <a:lnSpc>
                <a:spcPct val="90000"/>
              </a:lnSpc>
              <a:buSzPct val="100000"/>
              <a:defRPr/>
            </a:pPr>
            <a:r>
              <a:rPr lang="en-US" sz="800" b="1" kern="0" dirty="0">
                <a:solidFill>
                  <a:schemeClr val="bg1"/>
                </a:solidFill>
                <a:ea typeface="Tahoma" pitchFamily="34" charset="0"/>
                <a:cs typeface="Tahoma" pitchFamily="34" charset="0"/>
              </a:rPr>
              <a:t>Metrics</a:t>
            </a:r>
          </a:p>
        </p:txBody>
      </p:sp>
      <p:sp>
        <p:nvSpPr>
          <p:cNvPr id="162" name="Text Box 26">
            <a:extLst>
              <a:ext uri="{FF2B5EF4-FFF2-40B4-BE49-F238E27FC236}">
                <a16:creationId xmlns:a16="http://schemas.microsoft.com/office/drawing/2014/main" id="{4E384A30-429A-45E2-B023-A99480788149}"/>
              </a:ext>
            </a:extLst>
          </p:cNvPr>
          <p:cNvSpPr txBox="1">
            <a:spLocks noChangeArrowheads="1"/>
          </p:cNvSpPr>
          <p:nvPr/>
        </p:nvSpPr>
        <p:spPr bwMode="gray">
          <a:xfrm>
            <a:off x="6067785" y="5576911"/>
            <a:ext cx="969927" cy="494959"/>
          </a:xfrm>
          <a:prstGeom prst="roundRect">
            <a:avLst/>
          </a:prstGeom>
          <a:solidFill>
            <a:srgbClr val="336699"/>
          </a:solidFill>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0" algn="ctr" defTabSz="548640" eaLnBrk="0" hangingPunct="0">
              <a:lnSpc>
                <a:spcPct val="90000"/>
              </a:lnSpc>
              <a:buSzPct val="100000"/>
              <a:defRPr/>
            </a:pPr>
            <a:r>
              <a:rPr lang="en-US" sz="800" b="1" kern="0" dirty="0">
                <a:solidFill>
                  <a:schemeClr val="bg1"/>
                </a:solidFill>
                <a:ea typeface="Tahoma" pitchFamily="34" charset="0"/>
                <a:cs typeface="Tahoma" pitchFamily="34" charset="0"/>
              </a:rPr>
              <a:t>Review Process</a:t>
            </a:r>
          </a:p>
        </p:txBody>
      </p:sp>
      <p:sp>
        <p:nvSpPr>
          <p:cNvPr id="163" name="Text Box 26">
            <a:extLst>
              <a:ext uri="{FF2B5EF4-FFF2-40B4-BE49-F238E27FC236}">
                <a16:creationId xmlns:a16="http://schemas.microsoft.com/office/drawing/2014/main" id="{838C0D11-52CC-49CA-85ED-385ED292D14F}"/>
              </a:ext>
            </a:extLst>
          </p:cNvPr>
          <p:cNvSpPr txBox="1">
            <a:spLocks noChangeArrowheads="1"/>
          </p:cNvSpPr>
          <p:nvPr/>
        </p:nvSpPr>
        <p:spPr bwMode="gray">
          <a:xfrm>
            <a:off x="7093706" y="5581772"/>
            <a:ext cx="969927" cy="494959"/>
          </a:xfrm>
          <a:prstGeom prst="roundRect">
            <a:avLst/>
          </a:prstGeom>
          <a:solidFill>
            <a:srgbClr val="336699"/>
          </a:solidFill>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0" algn="ctr" defTabSz="548640" eaLnBrk="0" hangingPunct="0">
              <a:lnSpc>
                <a:spcPct val="90000"/>
              </a:lnSpc>
              <a:buSzPct val="100000"/>
              <a:defRPr/>
            </a:pPr>
            <a:r>
              <a:rPr lang="en-US" sz="800" b="1" kern="0" dirty="0">
                <a:solidFill>
                  <a:schemeClr val="bg1"/>
                </a:solidFill>
                <a:ea typeface="Tahoma" pitchFamily="34" charset="0"/>
                <a:cs typeface="Tahoma" pitchFamily="34" charset="0"/>
              </a:rPr>
              <a:t>Issue and Dispute Resolution Mechanism</a:t>
            </a:r>
          </a:p>
        </p:txBody>
      </p:sp>
      <p:sp>
        <p:nvSpPr>
          <p:cNvPr id="164" name="Text Box 26">
            <a:extLst>
              <a:ext uri="{FF2B5EF4-FFF2-40B4-BE49-F238E27FC236}">
                <a16:creationId xmlns:a16="http://schemas.microsoft.com/office/drawing/2014/main" id="{EEEF2A4F-7003-42CA-9439-BF11676C0DE4}"/>
              </a:ext>
            </a:extLst>
          </p:cNvPr>
          <p:cNvSpPr txBox="1">
            <a:spLocks noChangeArrowheads="1"/>
          </p:cNvSpPr>
          <p:nvPr/>
        </p:nvSpPr>
        <p:spPr bwMode="gray">
          <a:xfrm>
            <a:off x="8119627" y="5584836"/>
            <a:ext cx="969927" cy="494959"/>
          </a:xfrm>
          <a:prstGeom prst="roundRect">
            <a:avLst/>
          </a:prstGeom>
          <a:solidFill>
            <a:srgbClr val="336699"/>
          </a:solidFill>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0" algn="ctr" defTabSz="548640" eaLnBrk="0" hangingPunct="0">
              <a:lnSpc>
                <a:spcPct val="90000"/>
              </a:lnSpc>
              <a:buSzPct val="100000"/>
              <a:defRPr/>
            </a:pPr>
            <a:r>
              <a:rPr lang="en-US" sz="800" b="1" kern="0" dirty="0">
                <a:solidFill>
                  <a:schemeClr val="bg1"/>
                </a:solidFill>
                <a:ea typeface="Tahoma" pitchFamily="34" charset="0"/>
                <a:cs typeface="Tahoma" pitchFamily="34" charset="0"/>
              </a:rPr>
              <a:t>Tools &amp; Document Collaboration</a:t>
            </a:r>
          </a:p>
        </p:txBody>
      </p:sp>
      <p:sp>
        <p:nvSpPr>
          <p:cNvPr id="165" name="Text Box 26">
            <a:extLst>
              <a:ext uri="{FF2B5EF4-FFF2-40B4-BE49-F238E27FC236}">
                <a16:creationId xmlns:a16="http://schemas.microsoft.com/office/drawing/2014/main" id="{C2E765BD-3257-4543-B80A-1227D796E870}"/>
              </a:ext>
            </a:extLst>
          </p:cNvPr>
          <p:cNvSpPr txBox="1">
            <a:spLocks noChangeArrowheads="1"/>
          </p:cNvSpPr>
          <p:nvPr/>
        </p:nvSpPr>
        <p:spPr bwMode="gray">
          <a:xfrm>
            <a:off x="9145548" y="5584836"/>
            <a:ext cx="969927" cy="494959"/>
          </a:xfrm>
          <a:prstGeom prst="roundRect">
            <a:avLst/>
          </a:prstGeom>
          <a:solidFill>
            <a:srgbClr val="336699"/>
          </a:solidFill>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0" algn="ctr" eaLnBrk="0" hangingPunct="0">
              <a:lnSpc>
                <a:spcPct val="90000"/>
              </a:lnSpc>
              <a:buSzPct val="100000"/>
              <a:defRPr/>
            </a:pPr>
            <a:r>
              <a:rPr lang="en-US" sz="800" b="1" kern="0" dirty="0">
                <a:solidFill>
                  <a:schemeClr val="bg1"/>
                </a:solidFill>
                <a:ea typeface="Tahoma" pitchFamily="34" charset="0"/>
                <a:cs typeface="Tahoma" pitchFamily="34" charset="0"/>
              </a:rPr>
              <a:t>Strategic Sourcing</a:t>
            </a:r>
          </a:p>
        </p:txBody>
      </p:sp>
      <p:sp>
        <p:nvSpPr>
          <p:cNvPr id="166" name="Text Box 26">
            <a:extLst>
              <a:ext uri="{FF2B5EF4-FFF2-40B4-BE49-F238E27FC236}">
                <a16:creationId xmlns:a16="http://schemas.microsoft.com/office/drawing/2014/main" id="{0D999C2A-4746-45F9-AD52-8E10421C7234}"/>
              </a:ext>
            </a:extLst>
          </p:cNvPr>
          <p:cNvSpPr txBox="1">
            <a:spLocks noChangeArrowheads="1"/>
          </p:cNvSpPr>
          <p:nvPr/>
        </p:nvSpPr>
        <p:spPr bwMode="gray">
          <a:xfrm>
            <a:off x="10171469" y="5594262"/>
            <a:ext cx="969927" cy="494959"/>
          </a:xfrm>
          <a:prstGeom prst="roundRect">
            <a:avLst/>
          </a:prstGeom>
          <a:solidFill>
            <a:srgbClr val="336699"/>
          </a:solidFill>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0" algn="ctr" eaLnBrk="0" hangingPunct="0">
              <a:lnSpc>
                <a:spcPct val="90000"/>
              </a:lnSpc>
              <a:buSzPct val="100000"/>
              <a:defRPr/>
            </a:pPr>
            <a:r>
              <a:rPr lang="en-US" sz="800" b="1" kern="0" dirty="0">
                <a:solidFill>
                  <a:schemeClr val="bg1"/>
                </a:solidFill>
                <a:ea typeface="Tahoma" pitchFamily="34" charset="0"/>
                <a:cs typeface="Tahoma" pitchFamily="34" charset="0"/>
              </a:rPr>
              <a:t>Re-Sourcing</a:t>
            </a:r>
          </a:p>
          <a:p>
            <a:pPr lvl="0" algn="ctr" eaLnBrk="0" hangingPunct="0">
              <a:lnSpc>
                <a:spcPct val="90000"/>
              </a:lnSpc>
              <a:buSzPct val="100000"/>
              <a:defRPr/>
            </a:pPr>
            <a:r>
              <a:rPr lang="en-US" sz="800" b="1" kern="0" dirty="0">
                <a:solidFill>
                  <a:schemeClr val="bg1"/>
                </a:solidFill>
                <a:ea typeface="Tahoma" pitchFamily="34" charset="0"/>
                <a:cs typeface="Tahoma" pitchFamily="34" charset="0"/>
              </a:rPr>
              <a:t>(Changing Suppliers)</a:t>
            </a:r>
          </a:p>
        </p:txBody>
      </p:sp>
      <p:sp>
        <p:nvSpPr>
          <p:cNvPr id="172" name="Text Box 28">
            <a:extLst>
              <a:ext uri="{FF2B5EF4-FFF2-40B4-BE49-F238E27FC236}">
                <a16:creationId xmlns:a16="http://schemas.microsoft.com/office/drawing/2014/main" id="{8A577A19-49CD-48CC-9031-501CDFAEC1F7}"/>
              </a:ext>
            </a:extLst>
          </p:cNvPr>
          <p:cNvSpPr txBox="1">
            <a:spLocks noChangeArrowheads="1"/>
          </p:cNvSpPr>
          <p:nvPr/>
        </p:nvSpPr>
        <p:spPr bwMode="gray">
          <a:xfrm>
            <a:off x="1957380" y="1345137"/>
            <a:ext cx="964397" cy="134988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algn="ctr" eaLnBrk="0" hangingPunct="0">
              <a:lnSpc>
                <a:spcPct val="80000"/>
              </a:lnSpc>
              <a:spcBef>
                <a:spcPct val="50000"/>
              </a:spcBef>
              <a:buClr>
                <a:srgbClr val="8099CC"/>
              </a:buClr>
              <a:buSzPct val="100000"/>
              <a:buFont typeface="Monotype Sorts" pitchFamily="2" charset="2"/>
              <a:buNone/>
              <a:defRPr sz="900">
                <a:solidFill>
                  <a:srgbClr val="FFFFFF"/>
                </a:solidFill>
                <a:latin typeface="+mn-lt"/>
                <a:ea typeface="Tahoma" pitchFamily="34" charset="0"/>
                <a:cs typeface="Tahoma" pitchFamily="34" charset="0"/>
              </a:defRPr>
            </a:lvl1pPr>
          </a:lstStyle>
          <a:p>
            <a:pPr lvl="0" defTabSz="548640">
              <a:defRPr/>
            </a:pPr>
            <a:r>
              <a:rPr lang="en-US" altLang="en-US" sz="700" kern="0" dirty="0">
                <a:solidFill>
                  <a:prstClr val="black"/>
                </a:solidFill>
              </a:rPr>
              <a:t>Well-understood operating model that identifies competencies for outsourcing based on cost, capacity and competency. Partners are segmented based on operating model requirements</a:t>
            </a:r>
          </a:p>
        </p:txBody>
      </p:sp>
      <p:sp>
        <p:nvSpPr>
          <p:cNvPr id="173" name="Text Box 29">
            <a:extLst>
              <a:ext uri="{FF2B5EF4-FFF2-40B4-BE49-F238E27FC236}">
                <a16:creationId xmlns:a16="http://schemas.microsoft.com/office/drawing/2014/main" id="{48613AFB-62EE-44C9-B9B9-CC386C403F1C}"/>
              </a:ext>
            </a:extLst>
          </p:cNvPr>
          <p:cNvSpPr txBox="1">
            <a:spLocks noChangeArrowheads="1"/>
          </p:cNvSpPr>
          <p:nvPr/>
        </p:nvSpPr>
        <p:spPr bwMode="gray">
          <a:xfrm>
            <a:off x="1985081" y="2886142"/>
            <a:ext cx="964397" cy="124605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108586" defTabSz="548640">
              <a:defRPr/>
            </a:pPr>
            <a:r>
              <a:rPr lang="en-US" altLang="en-US" sz="700" dirty="0">
                <a:solidFill>
                  <a:prstClr val="black"/>
                </a:solidFill>
              </a:rPr>
              <a:t>Operating model is loosely defined.  Partners are used for capability enhancement at the business unit level</a:t>
            </a:r>
          </a:p>
        </p:txBody>
      </p:sp>
      <p:sp>
        <p:nvSpPr>
          <p:cNvPr id="174" name="Text Box 27">
            <a:extLst>
              <a:ext uri="{FF2B5EF4-FFF2-40B4-BE49-F238E27FC236}">
                <a16:creationId xmlns:a16="http://schemas.microsoft.com/office/drawing/2014/main" id="{ABE141DC-5E3A-475B-ABD9-5423A19D975D}"/>
              </a:ext>
            </a:extLst>
          </p:cNvPr>
          <p:cNvSpPr txBox="1">
            <a:spLocks noChangeArrowheads="1"/>
          </p:cNvSpPr>
          <p:nvPr/>
        </p:nvSpPr>
        <p:spPr bwMode="gray">
          <a:xfrm>
            <a:off x="1983821" y="4318426"/>
            <a:ext cx="964397" cy="1038376"/>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108586" defTabSz="548640">
              <a:defRPr/>
            </a:pPr>
            <a:r>
              <a:rPr lang="en-US" altLang="en-US" sz="700" dirty="0">
                <a:solidFill>
                  <a:prstClr val="black"/>
                </a:solidFill>
              </a:rPr>
              <a:t>A clear operating model for engaging with partner is not defined. Partnerships are typically transactional</a:t>
            </a:r>
          </a:p>
        </p:txBody>
      </p:sp>
      <p:cxnSp>
        <p:nvCxnSpPr>
          <p:cNvPr id="175" name="Straight Arrow Connector 174">
            <a:extLst>
              <a:ext uri="{FF2B5EF4-FFF2-40B4-BE49-F238E27FC236}">
                <a16:creationId xmlns:a16="http://schemas.microsoft.com/office/drawing/2014/main" id="{95983E5B-2CDA-4351-B3AF-6685EDDEEEAD}"/>
              </a:ext>
            </a:extLst>
          </p:cNvPr>
          <p:cNvCxnSpPr>
            <a:cxnSpLocks/>
          </p:cNvCxnSpPr>
          <p:nvPr/>
        </p:nvCxnSpPr>
        <p:spPr>
          <a:xfrm flipV="1">
            <a:off x="2423635" y="2675101"/>
            <a:ext cx="0" cy="21726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76" name="Straight Arrow Connector 175">
            <a:extLst>
              <a:ext uri="{FF2B5EF4-FFF2-40B4-BE49-F238E27FC236}">
                <a16:creationId xmlns:a16="http://schemas.microsoft.com/office/drawing/2014/main" id="{2470B847-2A9F-4569-950C-546FF86CEDA1}"/>
              </a:ext>
            </a:extLst>
          </p:cNvPr>
          <p:cNvCxnSpPr>
            <a:cxnSpLocks/>
          </p:cNvCxnSpPr>
          <p:nvPr/>
        </p:nvCxnSpPr>
        <p:spPr>
          <a:xfrm flipV="1">
            <a:off x="2433062" y="4120392"/>
            <a:ext cx="0" cy="19321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77" name="Text Box 28">
            <a:extLst>
              <a:ext uri="{FF2B5EF4-FFF2-40B4-BE49-F238E27FC236}">
                <a16:creationId xmlns:a16="http://schemas.microsoft.com/office/drawing/2014/main" id="{CAA73000-D5DE-473B-94DD-1E0396EB35DB}"/>
              </a:ext>
            </a:extLst>
          </p:cNvPr>
          <p:cNvSpPr txBox="1">
            <a:spLocks noChangeArrowheads="1"/>
          </p:cNvSpPr>
          <p:nvPr/>
        </p:nvSpPr>
        <p:spPr bwMode="gray">
          <a:xfrm>
            <a:off x="2985566" y="1345137"/>
            <a:ext cx="964397" cy="134988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algn="ctr" eaLnBrk="0" hangingPunct="0">
              <a:lnSpc>
                <a:spcPct val="80000"/>
              </a:lnSpc>
              <a:spcBef>
                <a:spcPct val="50000"/>
              </a:spcBef>
              <a:buClr>
                <a:srgbClr val="8099CC"/>
              </a:buClr>
              <a:buSzPct val="100000"/>
              <a:buFont typeface="Monotype Sorts" pitchFamily="2" charset="2"/>
              <a:buNone/>
              <a:defRPr sz="900">
                <a:solidFill>
                  <a:srgbClr val="FFFFFF"/>
                </a:solidFill>
                <a:latin typeface="+mn-lt"/>
                <a:ea typeface="Tahoma" pitchFamily="34" charset="0"/>
                <a:cs typeface="Tahoma" pitchFamily="34" charset="0"/>
              </a:defRPr>
            </a:lvl1pPr>
          </a:lstStyle>
          <a:p>
            <a:pPr lvl="0" indent="-108586" defTabSz="548640">
              <a:defRPr/>
            </a:pPr>
            <a:r>
              <a:rPr lang="en-US" altLang="en-US" sz="700" kern="0" dirty="0">
                <a:solidFill>
                  <a:prstClr val="black"/>
                </a:solidFill>
              </a:rPr>
              <a:t>Well-defined joint accountability for partnership in place. E</a:t>
            </a:r>
            <a:r>
              <a:rPr lang="en-US" sz="700" kern="0" dirty="0">
                <a:solidFill>
                  <a:prstClr val="black"/>
                </a:solidFill>
              </a:rPr>
              <a:t>xtensive risk analysis is performed and complexity, technological risks, team experience, IP and cash flow risks are evaluated</a:t>
            </a:r>
          </a:p>
        </p:txBody>
      </p:sp>
      <p:sp>
        <p:nvSpPr>
          <p:cNvPr id="178" name="Text Box 29">
            <a:extLst>
              <a:ext uri="{FF2B5EF4-FFF2-40B4-BE49-F238E27FC236}">
                <a16:creationId xmlns:a16="http://schemas.microsoft.com/office/drawing/2014/main" id="{5C0DB400-90B9-4DB2-9C6C-C6AA00DAB616}"/>
              </a:ext>
            </a:extLst>
          </p:cNvPr>
          <p:cNvSpPr txBox="1">
            <a:spLocks noChangeArrowheads="1"/>
          </p:cNvSpPr>
          <p:nvPr/>
        </p:nvSpPr>
        <p:spPr bwMode="gray">
          <a:xfrm>
            <a:off x="3013267" y="2886142"/>
            <a:ext cx="964397" cy="124605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108586" defTabSz="548640">
              <a:defRPr/>
            </a:pPr>
            <a:r>
              <a:rPr lang="en-US" sz="700" kern="0" dirty="0">
                <a:solidFill>
                  <a:prstClr val="black"/>
                </a:solidFill>
              </a:rPr>
              <a:t>Occasionally have top management involved in partner selection and management.  Risks are mainly focused on cash flow/financials, schedule and effort</a:t>
            </a:r>
          </a:p>
        </p:txBody>
      </p:sp>
      <p:sp>
        <p:nvSpPr>
          <p:cNvPr id="179" name="Text Box 27">
            <a:extLst>
              <a:ext uri="{FF2B5EF4-FFF2-40B4-BE49-F238E27FC236}">
                <a16:creationId xmlns:a16="http://schemas.microsoft.com/office/drawing/2014/main" id="{E230445D-CC7F-427C-8B91-98E02C987945}"/>
              </a:ext>
            </a:extLst>
          </p:cNvPr>
          <p:cNvSpPr txBox="1">
            <a:spLocks noChangeArrowheads="1"/>
          </p:cNvSpPr>
          <p:nvPr/>
        </p:nvSpPr>
        <p:spPr bwMode="gray">
          <a:xfrm>
            <a:off x="3013213" y="4318421"/>
            <a:ext cx="964397" cy="1038376"/>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108586" defTabSz="548640">
              <a:defRPr/>
            </a:pPr>
            <a:r>
              <a:rPr lang="en-US" altLang="en-US" sz="700" dirty="0">
                <a:solidFill>
                  <a:prstClr val="black"/>
                </a:solidFill>
              </a:rPr>
              <a:t>Product line leadership is not involved in partner selection. Risks and uncertainty not considered explicitly</a:t>
            </a:r>
          </a:p>
        </p:txBody>
      </p:sp>
      <p:cxnSp>
        <p:nvCxnSpPr>
          <p:cNvPr id="180" name="Straight Arrow Connector 179">
            <a:extLst>
              <a:ext uri="{FF2B5EF4-FFF2-40B4-BE49-F238E27FC236}">
                <a16:creationId xmlns:a16="http://schemas.microsoft.com/office/drawing/2014/main" id="{396F6F5F-707B-4F5A-889A-02C3C283D927}"/>
              </a:ext>
            </a:extLst>
          </p:cNvPr>
          <p:cNvCxnSpPr>
            <a:cxnSpLocks/>
          </p:cNvCxnSpPr>
          <p:nvPr/>
        </p:nvCxnSpPr>
        <p:spPr>
          <a:xfrm flipV="1">
            <a:off x="3451821" y="2675101"/>
            <a:ext cx="0" cy="21726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81" name="Straight Arrow Connector 180">
            <a:extLst>
              <a:ext uri="{FF2B5EF4-FFF2-40B4-BE49-F238E27FC236}">
                <a16:creationId xmlns:a16="http://schemas.microsoft.com/office/drawing/2014/main" id="{BB95D2ED-427E-41B6-83A4-55A665DC796E}"/>
              </a:ext>
            </a:extLst>
          </p:cNvPr>
          <p:cNvCxnSpPr>
            <a:cxnSpLocks/>
          </p:cNvCxnSpPr>
          <p:nvPr/>
        </p:nvCxnSpPr>
        <p:spPr>
          <a:xfrm flipV="1">
            <a:off x="3461248" y="4120392"/>
            <a:ext cx="0" cy="19321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82" name="Text Box 28">
            <a:extLst>
              <a:ext uri="{FF2B5EF4-FFF2-40B4-BE49-F238E27FC236}">
                <a16:creationId xmlns:a16="http://schemas.microsoft.com/office/drawing/2014/main" id="{8F0FEE99-A058-4745-929A-D1DEF9058115}"/>
              </a:ext>
            </a:extLst>
          </p:cNvPr>
          <p:cNvSpPr txBox="1">
            <a:spLocks noChangeArrowheads="1"/>
          </p:cNvSpPr>
          <p:nvPr/>
        </p:nvSpPr>
        <p:spPr bwMode="gray">
          <a:xfrm>
            <a:off x="4013752" y="1340314"/>
            <a:ext cx="964397" cy="134988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algn="ctr" eaLnBrk="0" hangingPunct="0">
              <a:lnSpc>
                <a:spcPct val="80000"/>
              </a:lnSpc>
              <a:spcBef>
                <a:spcPct val="50000"/>
              </a:spcBef>
              <a:buClr>
                <a:srgbClr val="8099CC"/>
              </a:buClr>
              <a:buSzPct val="100000"/>
              <a:buFont typeface="Monotype Sorts" pitchFamily="2" charset="2"/>
              <a:buNone/>
              <a:defRPr sz="900">
                <a:solidFill>
                  <a:srgbClr val="FFFFFF"/>
                </a:solidFill>
                <a:latin typeface="+mn-lt"/>
                <a:ea typeface="Tahoma" pitchFamily="34" charset="0"/>
                <a:cs typeface="Tahoma" pitchFamily="34" charset="0"/>
              </a:defRPr>
            </a:lvl1pPr>
          </a:lstStyle>
          <a:p>
            <a:pPr lvl="0" defTabSz="548640">
              <a:defRPr/>
            </a:pPr>
            <a:r>
              <a:rPr lang="en-US" sz="700" dirty="0">
                <a:solidFill>
                  <a:prstClr val="black"/>
                </a:solidFill>
              </a:rPr>
              <a:t>Contracting processes are standardized throughout the company. Proactive compliance enforcement is done. Formal templates established and enforced</a:t>
            </a:r>
          </a:p>
        </p:txBody>
      </p:sp>
      <p:sp>
        <p:nvSpPr>
          <p:cNvPr id="183" name="Text Box 29">
            <a:extLst>
              <a:ext uri="{FF2B5EF4-FFF2-40B4-BE49-F238E27FC236}">
                <a16:creationId xmlns:a16="http://schemas.microsoft.com/office/drawing/2014/main" id="{A1F41A8C-00EA-4695-B656-32C95A229F2B}"/>
              </a:ext>
            </a:extLst>
          </p:cNvPr>
          <p:cNvSpPr txBox="1">
            <a:spLocks noChangeArrowheads="1"/>
          </p:cNvSpPr>
          <p:nvPr/>
        </p:nvSpPr>
        <p:spPr bwMode="gray">
          <a:xfrm>
            <a:off x="4041453" y="2881319"/>
            <a:ext cx="964397" cy="124605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0" defTabSz="548640">
              <a:defRPr/>
            </a:pPr>
            <a:r>
              <a:rPr lang="en-US" sz="700" dirty="0">
                <a:solidFill>
                  <a:prstClr val="black"/>
                </a:solidFill>
              </a:rPr>
              <a:t>Contracting processes are defined by the BUs, but not vigorously enforced.  Ad hoc compliance enforcement exists. Some templates exist but are not consistently used </a:t>
            </a:r>
          </a:p>
        </p:txBody>
      </p:sp>
      <p:sp>
        <p:nvSpPr>
          <p:cNvPr id="184" name="Text Box 27">
            <a:extLst>
              <a:ext uri="{FF2B5EF4-FFF2-40B4-BE49-F238E27FC236}">
                <a16:creationId xmlns:a16="http://schemas.microsoft.com/office/drawing/2014/main" id="{1E07FF6B-6AB0-4A0E-AB2D-F520CD294ED6}"/>
              </a:ext>
            </a:extLst>
          </p:cNvPr>
          <p:cNvSpPr txBox="1">
            <a:spLocks noChangeArrowheads="1"/>
          </p:cNvSpPr>
          <p:nvPr/>
        </p:nvSpPr>
        <p:spPr bwMode="gray">
          <a:xfrm>
            <a:off x="4040559" y="4313603"/>
            <a:ext cx="964397" cy="1038376"/>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0" defTabSz="548640">
              <a:spcBef>
                <a:spcPct val="80000"/>
              </a:spcBef>
              <a:buClr>
                <a:prstClr val="black"/>
              </a:buClr>
              <a:buSzPct val="80000"/>
              <a:defRPr/>
            </a:pPr>
            <a:r>
              <a:rPr lang="en-US" sz="700" kern="0" dirty="0">
                <a:solidFill>
                  <a:prstClr val="black"/>
                </a:solidFill>
              </a:rPr>
              <a:t>Lack of standard contracting or compliance management procedures. Contract development is a cumbersome processes</a:t>
            </a:r>
          </a:p>
        </p:txBody>
      </p:sp>
      <p:cxnSp>
        <p:nvCxnSpPr>
          <p:cNvPr id="185" name="Straight Arrow Connector 184">
            <a:extLst>
              <a:ext uri="{FF2B5EF4-FFF2-40B4-BE49-F238E27FC236}">
                <a16:creationId xmlns:a16="http://schemas.microsoft.com/office/drawing/2014/main" id="{F1D03915-03A8-4041-9382-25FD4661CC65}"/>
              </a:ext>
            </a:extLst>
          </p:cNvPr>
          <p:cNvCxnSpPr>
            <a:cxnSpLocks/>
          </p:cNvCxnSpPr>
          <p:nvPr/>
        </p:nvCxnSpPr>
        <p:spPr>
          <a:xfrm flipV="1">
            <a:off x="4480007" y="2670278"/>
            <a:ext cx="0" cy="21726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86" name="Straight Arrow Connector 185">
            <a:extLst>
              <a:ext uri="{FF2B5EF4-FFF2-40B4-BE49-F238E27FC236}">
                <a16:creationId xmlns:a16="http://schemas.microsoft.com/office/drawing/2014/main" id="{5C543367-189C-493E-B9F2-5933A323B27E}"/>
              </a:ext>
            </a:extLst>
          </p:cNvPr>
          <p:cNvCxnSpPr>
            <a:cxnSpLocks/>
          </p:cNvCxnSpPr>
          <p:nvPr/>
        </p:nvCxnSpPr>
        <p:spPr>
          <a:xfrm flipV="1">
            <a:off x="4489434" y="4115569"/>
            <a:ext cx="0" cy="19321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87" name="Text Box 28">
            <a:extLst>
              <a:ext uri="{FF2B5EF4-FFF2-40B4-BE49-F238E27FC236}">
                <a16:creationId xmlns:a16="http://schemas.microsoft.com/office/drawing/2014/main" id="{4A524A69-8902-4601-9D30-708A783A5CD6}"/>
              </a:ext>
            </a:extLst>
          </p:cNvPr>
          <p:cNvSpPr txBox="1">
            <a:spLocks noChangeArrowheads="1"/>
          </p:cNvSpPr>
          <p:nvPr/>
        </p:nvSpPr>
        <p:spPr bwMode="gray">
          <a:xfrm>
            <a:off x="5054060" y="1352809"/>
            <a:ext cx="964397" cy="134988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algn="ctr" eaLnBrk="0" hangingPunct="0">
              <a:lnSpc>
                <a:spcPct val="80000"/>
              </a:lnSpc>
              <a:spcBef>
                <a:spcPct val="50000"/>
              </a:spcBef>
              <a:buClr>
                <a:srgbClr val="8099CC"/>
              </a:buClr>
              <a:buSzPct val="100000"/>
              <a:buFont typeface="Monotype Sorts" pitchFamily="2" charset="2"/>
              <a:buNone/>
              <a:defRPr sz="900">
                <a:solidFill>
                  <a:srgbClr val="FFFFFF"/>
                </a:solidFill>
                <a:latin typeface="+mn-lt"/>
                <a:ea typeface="Tahoma" pitchFamily="34" charset="0"/>
                <a:cs typeface="Tahoma" pitchFamily="34" charset="0"/>
              </a:defRPr>
            </a:lvl1pPr>
          </a:lstStyle>
          <a:p>
            <a:pPr lvl="0" indent="-108583" defTabSz="548640">
              <a:defRPr/>
            </a:pPr>
            <a:r>
              <a:rPr lang="en-US" altLang="en-US" sz="700" dirty="0">
                <a:solidFill>
                  <a:prstClr val="black"/>
                </a:solidFill>
              </a:rPr>
              <a:t>Partner metrics are standardized and consider overall value creation, total cost of ownership (TCO), service levels, schedule adherence, performance improvements and innovation</a:t>
            </a:r>
          </a:p>
        </p:txBody>
      </p:sp>
      <p:sp>
        <p:nvSpPr>
          <p:cNvPr id="188" name="Text Box 29">
            <a:extLst>
              <a:ext uri="{FF2B5EF4-FFF2-40B4-BE49-F238E27FC236}">
                <a16:creationId xmlns:a16="http://schemas.microsoft.com/office/drawing/2014/main" id="{FD4B5B63-D7B3-4046-99B2-8C7EB200E8F5}"/>
              </a:ext>
            </a:extLst>
          </p:cNvPr>
          <p:cNvSpPr txBox="1">
            <a:spLocks noChangeArrowheads="1"/>
          </p:cNvSpPr>
          <p:nvPr/>
        </p:nvSpPr>
        <p:spPr bwMode="gray">
          <a:xfrm>
            <a:off x="5081761" y="2893814"/>
            <a:ext cx="964397" cy="124605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108586" defTabSz="548640">
              <a:defRPr/>
            </a:pPr>
            <a:r>
              <a:rPr lang="en-US" altLang="en-US" sz="700" dirty="0">
                <a:solidFill>
                  <a:prstClr val="black"/>
                </a:solidFill>
              </a:rPr>
              <a:t>Partner metrics are  tailored by business unit need and performance is measured periodically against these metrics</a:t>
            </a:r>
          </a:p>
        </p:txBody>
      </p:sp>
      <p:sp>
        <p:nvSpPr>
          <p:cNvPr id="189" name="Text Box 27">
            <a:extLst>
              <a:ext uri="{FF2B5EF4-FFF2-40B4-BE49-F238E27FC236}">
                <a16:creationId xmlns:a16="http://schemas.microsoft.com/office/drawing/2014/main" id="{EEE73E08-561B-4092-BCE0-98EE2DE22886}"/>
              </a:ext>
            </a:extLst>
          </p:cNvPr>
          <p:cNvSpPr txBox="1">
            <a:spLocks noChangeArrowheads="1"/>
          </p:cNvSpPr>
          <p:nvPr/>
        </p:nvSpPr>
        <p:spPr bwMode="gray">
          <a:xfrm>
            <a:off x="5090159" y="4316932"/>
            <a:ext cx="964397" cy="1038376"/>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108586" defTabSz="548640">
              <a:defRPr/>
            </a:pPr>
            <a:r>
              <a:rPr lang="en-US" altLang="en-US" sz="700" dirty="0">
                <a:solidFill>
                  <a:prstClr val="black"/>
                </a:solidFill>
              </a:rPr>
              <a:t>Partner metrics are not clearly defined.  Performance is largely driven by the project manager’s experience</a:t>
            </a:r>
          </a:p>
        </p:txBody>
      </p:sp>
      <p:cxnSp>
        <p:nvCxnSpPr>
          <p:cNvPr id="190" name="Straight Arrow Connector 189">
            <a:extLst>
              <a:ext uri="{FF2B5EF4-FFF2-40B4-BE49-F238E27FC236}">
                <a16:creationId xmlns:a16="http://schemas.microsoft.com/office/drawing/2014/main" id="{5FD07E3D-F4CF-422C-A148-3FC43334C8A2}"/>
              </a:ext>
            </a:extLst>
          </p:cNvPr>
          <p:cNvCxnSpPr>
            <a:cxnSpLocks/>
          </p:cNvCxnSpPr>
          <p:nvPr/>
        </p:nvCxnSpPr>
        <p:spPr>
          <a:xfrm flipV="1">
            <a:off x="5520315" y="2682773"/>
            <a:ext cx="0" cy="21726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91" name="Straight Arrow Connector 190">
            <a:extLst>
              <a:ext uri="{FF2B5EF4-FFF2-40B4-BE49-F238E27FC236}">
                <a16:creationId xmlns:a16="http://schemas.microsoft.com/office/drawing/2014/main" id="{AA7ED666-0AD6-4DFF-9EF3-566BEFD072F2}"/>
              </a:ext>
            </a:extLst>
          </p:cNvPr>
          <p:cNvCxnSpPr>
            <a:cxnSpLocks/>
          </p:cNvCxnSpPr>
          <p:nvPr/>
        </p:nvCxnSpPr>
        <p:spPr>
          <a:xfrm flipV="1">
            <a:off x="5529742" y="4128064"/>
            <a:ext cx="0" cy="19321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92" name="Text Box 28">
            <a:extLst>
              <a:ext uri="{FF2B5EF4-FFF2-40B4-BE49-F238E27FC236}">
                <a16:creationId xmlns:a16="http://schemas.microsoft.com/office/drawing/2014/main" id="{238BAE7F-18AE-40B8-8CFE-5985DE0A55CA}"/>
              </a:ext>
            </a:extLst>
          </p:cNvPr>
          <p:cNvSpPr txBox="1">
            <a:spLocks noChangeArrowheads="1"/>
          </p:cNvSpPr>
          <p:nvPr/>
        </p:nvSpPr>
        <p:spPr bwMode="gray">
          <a:xfrm>
            <a:off x="6079526" y="1349960"/>
            <a:ext cx="964397" cy="134988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algn="ctr" eaLnBrk="0" hangingPunct="0">
              <a:lnSpc>
                <a:spcPct val="80000"/>
              </a:lnSpc>
              <a:spcBef>
                <a:spcPct val="50000"/>
              </a:spcBef>
              <a:buClr>
                <a:srgbClr val="8099CC"/>
              </a:buClr>
              <a:buSzPct val="100000"/>
              <a:buFont typeface="Monotype Sorts" pitchFamily="2" charset="2"/>
              <a:buNone/>
              <a:defRPr sz="900">
                <a:solidFill>
                  <a:srgbClr val="FFFFFF"/>
                </a:solidFill>
                <a:latin typeface="+mn-lt"/>
                <a:ea typeface="Tahoma" pitchFamily="34" charset="0"/>
                <a:cs typeface="Tahoma" pitchFamily="34" charset="0"/>
              </a:defRPr>
            </a:lvl1pPr>
          </a:lstStyle>
          <a:p>
            <a:pPr lvl="0" defTabSz="548640" eaLnBrk="1" hangingPunct="1">
              <a:spcBef>
                <a:spcPct val="40000"/>
              </a:spcBef>
              <a:buClr>
                <a:prstClr val="black"/>
              </a:buClr>
              <a:buSzPct val="80000"/>
              <a:defRPr/>
            </a:pPr>
            <a:r>
              <a:rPr lang="en-US" sz="700" dirty="0">
                <a:solidFill>
                  <a:prstClr val="black"/>
                </a:solidFill>
              </a:rPr>
              <a:t>Partnership reviews are formal and include cross functional  teams and executive input. Design and deliverable reviews are supported by standardized processes and tools</a:t>
            </a:r>
          </a:p>
        </p:txBody>
      </p:sp>
      <p:sp>
        <p:nvSpPr>
          <p:cNvPr id="193" name="Text Box 29">
            <a:extLst>
              <a:ext uri="{FF2B5EF4-FFF2-40B4-BE49-F238E27FC236}">
                <a16:creationId xmlns:a16="http://schemas.microsoft.com/office/drawing/2014/main" id="{2AF09C76-656B-4CC5-8A2B-7D4C55A5F066}"/>
              </a:ext>
            </a:extLst>
          </p:cNvPr>
          <p:cNvSpPr txBox="1">
            <a:spLocks noChangeArrowheads="1"/>
          </p:cNvSpPr>
          <p:nvPr/>
        </p:nvSpPr>
        <p:spPr bwMode="gray">
          <a:xfrm>
            <a:off x="6107227" y="2890965"/>
            <a:ext cx="964397" cy="124605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0" defTabSz="548640">
              <a:defRPr/>
            </a:pPr>
            <a:r>
              <a:rPr lang="en-US" sz="700" dirty="0">
                <a:solidFill>
                  <a:prstClr val="black"/>
                </a:solidFill>
              </a:rPr>
              <a:t>There is a contractor performance review process and reviews are a standard part of the procurement process. Design and deliverable reviews are well-structured </a:t>
            </a:r>
          </a:p>
        </p:txBody>
      </p:sp>
      <p:sp>
        <p:nvSpPr>
          <p:cNvPr id="194" name="Text Box 27">
            <a:extLst>
              <a:ext uri="{FF2B5EF4-FFF2-40B4-BE49-F238E27FC236}">
                <a16:creationId xmlns:a16="http://schemas.microsoft.com/office/drawing/2014/main" id="{9A09E961-4A93-457F-B3A0-B91444195C87}"/>
              </a:ext>
            </a:extLst>
          </p:cNvPr>
          <p:cNvSpPr txBox="1">
            <a:spLocks noChangeArrowheads="1"/>
          </p:cNvSpPr>
          <p:nvPr/>
        </p:nvSpPr>
        <p:spPr bwMode="gray">
          <a:xfrm>
            <a:off x="6114315" y="4313603"/>
            <a:ext cx="964397" cy="1038376"/>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0" defTabSz="548640" eaLnBrk="1" hangingPunct="1">
              <a:spcBef>
                <a:spcPts val="0"/>
              </a:spcBef>
              <a:buClr>
                <a:prstClr val="black"/>
              </a:buClr>
              <a:buSzPct val="80000"/>
              <a:defRPr/>
            </a:pPr>
            <a:r>
              <a:rPr lang="en-US" sz="700" dirty="0">
                <a:solidFill>
                  <a:prstClr val="black"/>
                </a:solidFill>
              </a:rPr>
              <a:t>There are very few reviews overall.  Design and deliverable reviews are reactive and focus on resolving specific issues </a:t>
            </a:r>
          </a:p>
        </p:txBody>
      </p:sp>
      <p:cxnSp>
        <p:nvCxnSpPr>
          <p:cNvPr id="195" name="Straight Arrow Connector 194">
            <a:extLst>
              <a:ext uri="{FF2B5EF4-FFF2-40B4-BE49-F238E27FC236}">
                <a16:creationId xmlns:a16="http://schemas.microsoft.com/office/drawing/2014/main" id="{5FFB0355-E953-4C9A-99FF-A0F3F7E981C9}"/>
              </a:ext>
            </a:extLst>
          </p:cNvPr>
          <p:cNvCxnSpPr>
            <a:cxnSpLocks/>
          </p:cNvCxnSpPr>
          <p:nvPr/>
        </p:nvCxnSpPr>
        <p:spPr>
          <a:xfrm flipV="1">
            <a:off x="6545781" y="2679924"/>
            <a:ext cx="0" cy="21726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96" name="Straight Arrow Connector 195">
            <a:extLst>
              <a:ext uri="{FF2B5EF4-FFF2-40B4-BE49-F238E27FC236}">
                <a16:creationId xmlns:a16="http://schemas.microsoft.com/office/drawing/2014/main" id="{BC855F8B-F362-46AF-A380-E0067107FADF}"/>
              </a:ext>
            </a:extLst>
          </p:cNvPr>
          <p:cNvCxnSpPr>
            <a:cxnSpLocks/>
          </p:cNvCxnSpPr>
          <p:nvPr/>
        </p:nvCxnSpPr>
        <p:spPr>
          <a:xfrm flipV="1">
            <a:off x="6555208" y="4125215"/>
            <a:ext cx="0" cy="19321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97" name="Text Box 28">
            <a:extLst>
              <a:ext uri="{FF2B5EF4-FFF2-40B4-BE49-F238E27FC236}">
                <a16:creationId xmlns:a16="http://schemas.microsoft.com/office/drawing/2014/main" id="{C1BB1E7D-0451-42E0-B960-7A288843F2F4}"/>
              </a:ext>
            </a:extLst>
          </p:cNvPr>
          <p:cNvSpPr txBox="1">
            <a:spLocks noChangeArrowheads="1"/>
          </p:cNvSpPr>
          <p:nvPr/>
        </p:nvSpPr>
        <p:spPr bwMode="gray">
          <a:xfrm>
            <a:off x="7117890" y="1345137"/>
            <a:ext cx="964397" cy="134988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algn="ctr" eaLnBrk="0" hangingPunct="0">
              <a:lnSpc>
                <a:spcPct val="80000"/>
              </a:lnSpc>
              <a:spcBef>
                <a:spcPct val="50000"/>
              </a:spcBef>
              <a:buClr>
                <a:srgbClr val="8099CC"/>
              </a:buClr>
              <a:buSzPct val="100000"/>
              <a:buFont typeface="Monotype Sorts" pitchFamily="2" charset="2"/>
              <a:buNone/>
              <a:defRPr sz="900">
                <a:solidFill>
                  <a:srgbClr val="FFFFFF"/>
                </a:solidFill>
                <a:latin typeface="+mn-lt"/>
                <a:ea typeface="Tahoma" pitchFamily="34" charset="0"/>
                <a:cs typeface="Tahoma" pitchFamily="34" charset="0"/>
              </a:defRPr>
            </a:lvl1pPr>
          </a:lstStyle>
          <a:p>
            <a:pPr lvl="0" defTabSz="548640">
              <a:defRPr/>
            </a:pPr>
            <a:r>
              <a:rPr lang="en-US" sz="700" dirty="0">
                <a:solidFill>
                  <a:prstClr val="black"/>
                </a:solidFill>
              </a:rPr>
              <a:t>Dispute resolution mechanism is included in the contract. Clear escalation process beyond the liaison exists through the  management hierarchy</a:t>
            </a:r>
          </a:p>
        </p:txBody>
      </p:sp>
      <p:sp>
        <p:nvSpPr>
          <p:cNvPr id="198" name="Text Box 29">
            <a:extLst>
              <a:ext uri="{FF2B5EF4-FFF2-40B4-BE49-F238E27FC236}">
                <a16:creationId xmlns:a16="http://schemas.microsoft.com/office/drawing/2014/main" id="{F4E41A3F-3952-4E18-AC40-854F2BBCAFE8}"/>
              </a:ext>
            </a:extLst>
          </p:cNvPr>
          <p:cNvSpPr txBox="1">
            <a:spLocks noChangeArrowheads="1"/>
          </p:cNvSpPr>
          <p:nvPr/>
        </p:nvSpPr>
        <p:spPr bwMode="gray">
          <a:xfrm>
            <a:off x="7145591" y="2886142"/>
            <a:ext cx="964397" cy="124605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0" defTabSz="548640">
              <a:defRPr/>
            </a:pPr>
            <a:r>
              <a:rPr lang="en-US" sz="700" dirty="0">
                <a:solidFill>
                  <a:prstClr val="black"/>
                </a:solidFill>
              </a:rPr>
              <a:t>A formal liaison is appointed for engaging with the partner who enables resolution of disputes and issues. The issue resolution process is defined at the Business unit level</a:t>
            </a:r>
          </a:p>
        </p:txBody>
      </p:sp>
      <p:sp>
        <p:nvSpPr>
          <p:cNvPr id="199" name="Text Box 27">
            <a:extLst>
              <a:ext uri="{FF2B5EF4-FFF2-40B4-BE49-F238E27FC236}">
                <a16:creationId xmlns:a16="http://schemas.microsoft.com/office/drawing/2014/main" id="{7CE6824C-3068-4246-8803-07F9A5AC3907}"/>
              </a:ext>
            </a:extLst>
          </p:cNvPr>
          <p:cNvSpPr txBox="1">
            <a:spLocks noChangeArrowheads="1"/>
          </p:cNvSpPr>
          <p:nvPr/>
        </p:nvSpPr>
        <p:spPr bwMode="gray">
          <a:xfrm>
            <a:off x="7145591" y="4308780"/>
            <a:ext cx="964397" cy="1038376"/>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0" defTabSz="548640">
              <a:defRPr/>
            </a:pPr>
            <a:r>
              <a:rPr lang="en-US" sz="700" dirty="0">
                <a:solidFill>
                  <a:prstClr val="black"/>
                </a:solidFill>
              </a:rPr>
              <a:t>No formal issue resolution mechanism exists. Issues and disputes are resolved by teams informally</a:t>
            </a:r>
          </a:p>
        </p:txBody>
      </p:sp>
      <p:cxnSp>
        <p:nvCxnSpPr>
          <p:cNvPr id="200" name="Straight Arrow Connector 199">
            <a:extLst>
              <a:ext uri="{FF2B5EF4-FFF2-40B4-BE49-F238E27FC236}">
                <a16:creationId xmlns:a16="http://schemas.microsoft.com/office/drawing/2014/main" id="{B215A1AC-691E-4DE4-96DD-BA45EE5EC36C}"/>
              </a:ext>
            </a:extLst>
          </p:cNvPr>
          <p:cNvCxnSpPr>
            <a:cxnSpLocks/>
          </p:cNvCxnSpPr>
          <p:nvPr/>
        </p:nvCxnSpPr>
        <p:spPr>
          <a:xfrm flipV="1">
            <a:off x="7584145" y="2675101"/>
            <a:ext cx="0" cy="21726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01" name="Straight Arrow Connector 200">
            <a:extLst>
              <a:ext uri="{FF2B5EF4-FFF2-40B4-BE49-F238E27FC236}">
                <a16:creationId xmlns:a16="http://schemas.microsoft.com/office/drawing/2014/main" id="{AEBAFFA6-82AE-4161-ACD4-F4595B431112}"/>
              </a:ext>
            </a:extLst>
          </p:cNvPr>
          <p:cNvCxnSpPr>
            <a:cxnSpLocks/>
          </p:cNvCxnSpPr>
          <p:nvPr/>
        </p:nvCxnSpPr>
        <p:spPr>
          <a:xfrm flipV="1">
            <a:off x="7593572" y="4120392"/>
            <a:ext cx="0" cy="19321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02" name="Text Box 28">
            <a:extLst>
              <a:ext uri="{FF2B5EF4-FFF2-40B4-BE49-F238E27FC236}">
                <a16:creationId xmlns:a16="http://schemas.microsoft.com/office/drawing/2014/main" id="{A695C9B6-137E-42D8-AE21-92AFBFA26C95}"/>
              </a:ext>
            </a:extLst>
          </p:cNvPr>
          <p:cNvSpPr txBox="1">
            <a:spLocks noChangeArrowheads="1"/>
          </p:cNvSpPr>
          <p:nvPr/>
        </p:nvSpPr>
        <p:spPr bwMode="gray">
          <a:xfrm>
            <a:off x="8152427" y="1335491"/>
            <a:ext cx="964397" cy="134988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algn="ctr" eaLnBrk="0" hangingPunct="0">
              <a:lnSpc>
                <a:spcPct val="80000"/>
              </a:lnSpc>
              <a:spcBef>
                <a:spcPct val="50000"/>
              </a:spcBef>
              <a:buClr>
                <a:srgbClr val="8099CC"/>
              </a:buClr>
              <a:buSzPct val="100000"/>
              <a:buFont typeface="Monotype Sorts" pitchFamily="2" charset="2"/>
              <a:buNone/>
              <a:defRPr sz="900">
                <a:solidFill>
                  <a:srgbClr val="FFFFFF"/>
                </a:solidFill>
                <a:latin typeface="+mn-lt"/>
                <a:ea typeface="Tahoma" pitchFamily="34" charset="0"/>
                <a:cs typeface="Tahoma" pitchFamily="34" charset="0"/>
              </a:defRPr>
            </a:lvl1pPr>
          </a:lstStyle>
          <a:p>
            <a:pPr lvl="0" defTabSz="548640">
              <a:defRPr/>
            </a:pPr>
            <a:r>
              <a:rPr lang="en-US" sz="700" dirty="0">
                <a:solidFill>
                  <a:prstClr val="black"/>
                </a:solidFill>
              </a:rPr>
              <a:t>Partner team is seamlessly integrated and uses common processes and tools to collaborate</a:t>
            </a:r>
          </a:p>
        </p:txBody>
      </p:sp>
      <p:sp>
        <p:nvSpPr>
          <p:cNvPr id="203" name="Text Box 29">
            <a:extLst>
              <a:ext uri="{FF2B5EF4-FFF2-40B4-BE49-F238E27FC236}">
                <a16:creationId xmlns:a16="http://schemas.microsoft.com/office/drawing/2014/main" id="{B014D171-77F6-46DF-AB05-AF79F8E6A343}"/>
              </a:ext>
            </a:extLst>
          </p:cNvPr>
          <p:cNvSpPr txBox="1">
            <a:spLocks noChangeArrowheads="1"/>
          </p:cNvSpPr>
          <p:nvPr/>
        </p:nvSpPr>
        <p:spPr bwMode="gray">
          <a:xfrm>
            <a:off x="8180128" y="2876496"/>
            <a:ext cx="964397" cy="124605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0" defTabSz="548640">
              <a:defRPr/>
            </a:pPr>
            <a:r>
              <a:rPr lang="en-US" sz="700" dirty="0">
                <a:solidFill>
                  <a:prstClr val="black"/>
                </a:solidFill>
              </a:rPr>
              <a:t>Collaboration tools exist but vary by project teams and business units  </a:t>
            </a:r>
          </a:p>
        </p:txBody>
      </p:sp>
      <p:sp>
        <p:nvSpPr>
          <p:cNvPr id="204" name="Text Box 27">
            <a:extLst>
              <a:ext uri="{FF2B5EF4-FFF2-40B4-BE49-F238E27FC236}">
                <a16:creationId xmlns:a16="http://schemas.microsoft.com/office/drawing/2014/main" id="{495AB9EE-C9F4-41C4-9BFF-DAE8D9CD150B}"/>
              </a:ext>
            </a:extLst>
          </p:cNvPr>
          <p:cNvSpPr txBox="1">
            <a:spLocks noChangeArrowheads="1"/>
          </p:cNvSpPr>
          <p:nvPr/>
        </p:nvSpPr>
        <p:spPr bwMode="gray">
          <a:xfrm>
            <a:off x="8173795" y="4308780"/>
            <a:ext cx="964397" cy="1038376"/>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0" defTabSz="548640">
              <a:defRPr/>
            </a:pPr>
            <a:r>
              <a:rPr lang="en-US" sz="700" dirty="0">
                <a:solidFill>
                  <a:prstClr val="black"/>
                </a:solidFill>
              </a:rPr>
              <a:t>Lack of formal document management, collaboration process and tools</a:t>
            </a:r>
          </a:p>
        </p:txBody>
      </p:sp>
      <p:cxnSp>
        <p:nvCxnSpPr>
          <p:cNvPr id="205" name="Straight Arrow Connector 204">
            <a:extLst>
              <a:ext uri="{FF2B5EF4-FFF2-40B4-BE49-F238E27FC236}">
                <a16:creationId xmlns:a16="http://schemas.microsoft.com/office/drawing/2014/main" id="{3D8F372F-BBD2-4EF7-9E6B-D2C8C75F2D19}"/>
              </a:ext>
            </a:extLst>
          </p:cNvPr>
          <p:cNvCxnSpPr>
            <a:cxnSpLocks/>
          </p:cNvCxnSpPr>
          <p:nvPr/>
        </p:nvCxnSpPr>
        <p:spPr>
          <a:xfrm flipV="1">
            <a:off x="8618682" y="2665455"/>
            <a:ext cx="0" cy="21726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06" name="Straight Arrow Connector 205">
            <a:extLst>
              <a:ext uri="{FF2B5EF4-FFF2-40B4-BE49-F238E27FC236}">
                <a16:creationId xmlns:a16="http://schemas.microsoft.com/office/drawing/2014/main" id="{805819E6-8A40-4327-A337-59035F6F3411}"/>
              </a:ext>
            </a:extLst>
          </p:cNvPr>
          <p:cNvCxnSpPr>
            <a:cxnSpLocks/>
          </p:cNvCxnSpPr>
          <p:nvPr/>
        </p:nvCxnSpPr>
        <p:spPr>
          <a:xfrm flipV="1">
            <a:off x="8628109" y="4110746"/>
            <a:ext cx="0" cy="19321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12" name="Text Box 28">
            <a:extLst>
              <a:ext uri="{FF2B5EF4-FFF2-40B4-BE49-F238E27FC236}">
                <a16:creationId xmlns:a16="http://schemas.microsoft.com/office/drawing/2014/main" id="{FB542464-8934-4414-BF06-196FD03AAF5D}"/>
              </a:ext>
            </a:extLst>
          </p:cNvPr>
          <p:cNvSpPr txBox="1">
            <a:spLocks noChangeArrowheads="1"/>
          </p:cNvSpPr>
          <p:nvPr/>
        </p:nvSpPr>
        <p:spPr bwMode="gray">
          <a:xfrm>
            <a:off x="9180632" y="1335491"/>
            <a:ext cx="964397" cy="134988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algn="ctr" eaLnBrk="0" hangingPunct="0">
              <a:lnSpc>
                <a:spcPct val="80000"/>
              </a:lnSpc>
              <a:spcBef>
                <a:spcPct val="50000"/>
              </a:spcBef>
              <a:buClr>
                <a:srgbClr val="8099CC"/>
              </a:buClr>
              <a:buSzPct val="100000"/>
              <a:buFont typeface="Monotype Sorts" pitchFamily="2" charset="2"/>
              <a:buNone/>
              <a:defRPr sz="900">
                <a:solidFill>
                  <a:srgbClr val="FFFFFF"/>
                </a:solidFill>
                <a:latin typeface="+mn-lt"/>
                <a:ea typeface="Tahoma" pitchFamily="34" charset="0"/>
                <a:cs typeface="Tahoma" pitchFamily="34" charset="0"/>
              </a:defRPr>
            </a:lvl1pPr>
          </a:lstStyle>
          <a:p>
            <a:pPr lvl="0">
              <a:defRPr/>
            </a:pPr>
            <a:r>
              <a:rPr lang="en-US" sz="700" dirty="0">
                <a:solidFill>
                  <a:prstClr val="black"/>
                </a:solidFill>
              </a:rPr>
              <a:t>Sourcing strategy is an integrated part of new product development, operations planning, and corporate strategy. Sourcing strategy is flexible and applied both in centralized and decentralized environments</a:t>
            </a:r>
          </a:p>
        </p:txBody>
      </p:sp>
      <p:sp>
        <p:nvSpPr>
          <p:cNvPr id="213" name="Text Box 29">
            <a:extLst>
              <a:ext uri="{FF2B5EF4-FFF2-40B4-BE49-F238E27FC236}">
                <a16:creationId xmlns:a16="http://schemas.microsoft.com/office/drawing/2014/main" id="{A5BAB7A5-F622-465A-9728-3536BA8EB2DB}"/>
              </a:ext>
            </a:extLst>
          </p:cNvPr>
          <p:cNvSpPr txBox="1">
            <a:spLocks noChangeArrowheads="1"/>
          </p:cNvSpPr>
          <p:nvPr/>
        </p:nvSpPr>
        <p:spPr bwMode="gray">
          <a:xfrm>
            <a:off x="9208333" y="2876496"/>
            <a:ext cx="964397" cy="124605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0">
              <a:defRPr/>
            </a:pPr>
            <a:r>
              <a:rPr lang="en-US" sz="700" dirty="0">
                <a:solidFill>
                  <a:prstClr val="black"/>
                </a:solidFill>
              </a:rPr>
              <a:t>Sourcing strategy exists, but has limited input from other departments. Procurement policies exist for most categories.  Policies are communicated in an ad hoc fashion by email</a:t>
            </a:r>
          </a:p>
        </p:txBody>
      </p:sp>
      <p:sp>
        <p:nvSpPr>
          <p:cNvPr id="214" name="Text Box 27">
            <a:extLst>
              <a:ext uri="{FF2B5EF4-FFF2-40B4-BE49-F238E27FC236}">
                <a16:creationId xmlns:a16="http://schemas.microsoft.com/office/drawing/2014/main" id="{CC84B671-24A5-41BE-9DFF-F8D6ED583E6B}"/>
              </a:ext>
            </a:extLst>
          </p:cNvPr>
          <p:cNvSpPr txBox="1">
            <a:spLocks noChangeArrowheads="1"/>
          </p:cNvSpPr>
          <p:nvPr/>
        </p:nvSpPr>
        <p:spPr bwMode="gray">
          <a:xfrm>
            <a:off x="9207072" y="4308780"/>
            <a:ext cx="964397" cy="1038376"/>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0">
              <a:defRPr/>
            </a:pPr>
            <a:r>
              <a:rPr lang="en-US" sz="700" dirty="0">
                <a:solidFill>
                  <a:prstClr val="black"/>
                </a:solidFill>
              </a:rPr>
              <a:t>Sourcing strategy is only applicable to procurement-owned categories, and is outsourced or decentralized. No links across business units. </a:t>
            </a:r>
          </a:p>
        </p:txBody>
      </p:sp>
      <p:cxnSp>
        <p:nvCxnSpPr>
          <p:cNvPr id="215" name="Straight Arrow Connector 214">
            <a:extLst>
              <a:ext uri="{FF2B5EF4-FFF2-40B4-BE49-F238E27FC236}">
                <a16:creationId xmlns:a16="http://schemas.microsoft.com/office/drawing/2014/main" id="{B6E5494D-CB78-47FE-B4B4-1305AFEAF163}"/>
              </a:ext>
            </a:extLst>
          </p:cNvPr>
          <p:cNvCxnSpPr>
            <a:cxnSpLocks/>
          </p:cNvCxnSpPr>
          <p:nvPr/>
        </p:nvCxnSpPr>
        <p:spPr>
          <a:xfrm flipV="1">
            <a:off x="9646887" y="2665455"/>
            <a:ext cx="0" cy="21726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16" name="Straight Arrow Connector 215">
            <a:extLst>
              <a:ext uri="{FF2B5EF4-FFF2-40B4-BE49-F238E27FC236}">
                <a16:creationId xmlns:a16="http://schemas.microsoft.com/office/drawing/2014/main" id="{D25A9CC4-95C6-43E7-B6BF-213A263C0B5F}"/>
              </a:ext>
            </a:extLst>
          </p:cNvPr>
          <p:cNvCxnSpPr>
            <a:cxnSpLocks/>
          </p:cNvCxnSpPr>
          <p:nvPr/>
        </p:nvCxnSpPr>
        <p:spPr>
          <a:xfrm flipV="1">
            <a:off x="9656314" y="4110746"/>
            <a:ext cx="0" cy="19321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17" name="Text Box 28">
            <a:extLst>
              <a:ext uri="{FF2B5EF4-FFF2-40B4-BE49-F238E27FC236}">
                <a16:creationId xmlns:a16="http://schemas.microsoft.com/office/drawing/2014/main" id="{9DB9B88F-AC1F-4E60-99B6-A21F16466421}"/>
              </a:ext>
            </a:extLst>
          </p:cNvPr>
          <p:cNvSpPr txBox="1">
            <a:spLocks noChangeArrowheads="1"/>
          </p:cNvSpPr>
          <p:nvPr/>
        </p:nvSpPr>
        <p:spPr bwMode="gray">
          <a:xfrm>
            <a:off x="10189817" y="1325663"/>
            <a:ext cx="964397" cy="1349889"/>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algn="ctr" eaLnBrk="0" hangingPunct="0">
              <a:lnSpc>
                <a:spcPct val="80000"/>
              </a:lnSpc>
              <a:spcBef>
                <a:spcPct val="50000"/>
              </a:spcBef>
              <a:buClr>
                <a:srgbClr val="8099CC"/>
              </a:buClr>
              <a:buSzPct val="100000"/>
              <a:buFont typeface="Monotype Sorts" pitchFamily="2" charset="2"/>
              <a:buNone/>
              <a:defRPr sz="900">
                <a:solidFill>
                  <a:srgbClr val="FFFFFF"/>
                </a:solidFill>
                <a:latin typeface="+mn-lt"/>
                <a:ea typeface="Tahoma" pitchFamily="34" charset="0"/>
                <a:cs typeface="Tahoma" pitchFamily="34" charset="0"/>
              </a:defRPr>
            </a:lvl1pPr>
          </a:lstStyle>
          <a:p>
            <a:pPr lvl="0">
              <a:defRPr/>
            </a:pPr>
            <a:r>
              <a:rPr lang="en-US" sz="700" dirty="0">
                <a:solidFill>
                  <a:prstClr val="black"/>
                </a:solidFill>
              </a:rPr>
              <a:t>Process is fully integrated across functions. Data driven decision-making</a:t>
            </a:r>
          </a:p>
        </p:txBody>
      </p:sp>
      <p:sp>
        <p:nvSpPr>
          <p:cNvPr id="218" name="Text Box 29">
            <a:extLst>
              <a:ext uri="{FF2B5EF4-FFF2-40B4-BE49-F238E27FC236}">
                <a16:creationId xmlns:a16="http://schemas.microsoft.com/office/drawing/2014/main" id="{2EA503A4-1A0F-4D4E-98A9-9979B76F93EF}"/>
              </a:ext>
            </a:extLst>
          </p:cNvPr>
          <p:cNvSpPr txBox="1">
            <a:spLocks noChangeArrowheads="1"/>
          </p:cNvSpPr>
          <p:nvPr/>
        </p:nvSpPr>
        <p:spPr bwMode="gray">
          <a:xfrm>
            <a:off x="10217518" y="2866668"/>
            <a:ext cx="964397" cy="1246051"/>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0">
              <a:defRPr/>
            </a:pPr>
            <a:r>
              <a:rPr lang="en-US" sz="700" dirty="0">
                <a:solidFill>
                  <a:prstClr val="black"/>
                </a:solidFill>
              </a:rPr>
              <a:t>Product family for suppliers reviewed. Decisions based on capability and quality</a:t>
            </a:r>
          </a:p>
        </p:txBody>
      </p:sp>
      <p:sp>
        <p:nvSpPr>
          <p:cNvPr id="219" name="Text Box 27">
            <a:extLst>
              <a:ext uri="{FF2B5EF4-FFF2-40B4-BE49-F238E27FC236}">
                <a16:creationId xmlns:a16="http://schemas.microsoft.com/office/drawing/2014/main" id="{C87A8836-7A86-43E7-9693-ED4865C41084}"/>
              </a:ext>
            </a:extLst>
          </p:cNvPr>
          <p:cNvSpPr txBox="1">
            <a:spLocks noChangeArrowheads="1"/>
          </p:cNvSpPr>
          <p:nvPr/>
        </p:nvSpPr>
        <p:spPr bwMode="gray">
          <a:xfrm>
            <a:off x="10216257" y="4298952"/>
            <a:ext cx="964397" cy="1038376"/>
          </a:xfrm>
          <a:prstGeom prst="roundRect">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lvl="0" indent="0">
              <a:defRPr/>
            </a:pPr>
            <a:r>
              <a:rPr lang="en-US" sz="700" dirty="0">
                <a:solidFill>
                  <a:prstClr val="black"/>
                </a:solidFill>
              </a:rPr>
              <a:t>Ad-hoc decision making based on knowledge, experience, and prior history</a:t>
            </a:r>
          </a:p>
        </p:txBody>
      </p:sp>
      <p:cxnSp>
        <p:nvCxnSpPr>
          <p:cNvPr id="220" name="Straight Arrow Connector 219">
            <a:extLst>
              <a:ext uri="{FF2B5EF4-FFF2-40B4-BE49-F238E27FC236}">
                <a16:creationId xmlns:a16="http://schemas.microsoft.com/office/drawing/2014/main" id="{297909CF-F9BA-4D9A-93AA-E7F681138D7B}"/>
              </a:ext>
            </a:extLst>
          </p:cNvPr>
          <p:cNvCxnSpPr>
            <a:cxnSpLocks/>
          </p:cNvCxnSpPr>
          <p:nvPr/>
        </p:nvCxnSpPr>
        <p:spPr>
          <a:xfrm flipV="1">
            <a:off x="10656072" y="2655627"/>
            <a:ext cx="0" cy="21726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1" name="Straight Arrow Connector 220">
            <a:extLst>
              <a:ext uri="{FF2B5EF4-FFF2-40B4-BE49-F238E27FC236}">
                <a16:creationId xmlns:a16="http://schemas.microsoft.com/office/drawing/2014/main" id="{C2F39EE8-C0FF-4D0F-979D-D15E4CB81176}"/>
              </a:ext>
            </a:extLst>
          </p:cNvPr>
          <p:cNvCxnSpPr>
            <a:cxnSpLocks/>
          </p:cNvCxnSpPr>
          <p:nvPr/>
        </p:nvCxnSpPr>
        <p:spPr>
          <a:xfrm flipV="1">
            <a:off x="10665499" y="4100918"/>
            <a:ext cx="0" cy="19321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nvGrpSpPr>
          <p:cNvPr id="91" name="Group 90"/>
          <p:cNvGrpSpPr/>
          <p:nvPr/>
        </p:nvGrpSpPr>
        <p:grpSpPr>
          <a:xfrm>
            <a:off x="8960144" y="237259"/>
            <a:ext cx="2430508" cy="289004"/>
            <a:chOff x="9447824" y="732559"/>
            <a:chExt cx="2430508" cy="289004"/>
          </a:xfrm>
        </p:grpSpPr>
        <p:grpSp>
          <p:nvGrpSpPr>
            <p:cNvPr id="95"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109"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110"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96"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107"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108"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97"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98"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99"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sp>
        <p:nvSpPr>
          <p:cNvPr id="83" name="Freeform 42">
            <a:extLst>
              <a:ext uri="{FF2B5EF4-FFF2-40B4-BE49-F238E27FC236}">
                <a16:creationId xmlns:a16="http://schemas.microsoft.com/office/drawing/2014/main" id="{6CFC7E9D-2B2E-435F-A499-E2A799F58D03}"/>
              </a:ext>
            </a:extLst>
          </p:cNvPr>
          <p:cNvSpPr/>
          <p:nvPr/>
        </p:nvSpPr>
        <p:spPr bwMode="auto">
          <a:xfrm>
            <a:off x="1348527" y="1576299"/>
            <a:ext cx="9379559" cy="1422986"/>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1114078 w 7136640"/>
              <a:gd name="connsiteY1" fmla="*/ 212128 h 308134"/>
              <a:gd name="connsiteX2" fmla="*/ 1317807 w 7136640"/>
              <a:gd name="connsiteY2" fmla="*/ 54363 h 308134"/>
              <a:gd name="connsiteX3" fmla="*/ 1992056 w 7136640"/>
              <a:gd name="connsiteY3" fmla="*/ 307577 h 308134"/>
              <a:gd name="connsiteX4" fmla="*/ 2642777 w 7136640"/>
              <a:gd name="connsiteY4" fmla="*/ 124402 h 308134"/>
              <a:gd name="connsiteX5" fmla="*/ 3302093 w 7136640"/>
              <a:gd name="connsiteY5" fmla="*/ 189711 h 308134"/>
              <a:gd name="connsiteX6" fmla="*/ 3964644 w 7136640"/>
              <a:gd name="connsiteY6" fmla="*/ 417 h 308134"/>
              <a:gd name="connsiteX7" fmla="*/ 4578995 w 7136640"/>
              <a:gd name="connsiteY7" fmla="*/ 255894 h 308134"/>
              <a:gd name="connsiteX8" fmla="*/ 5236906 w 7136640"/>
              <a:gd name="connsiteY8" fmla="*/ 128120 h 308134"/>
              <a:gd name="connsiteX9" fmla="*/ 5843222 w 7136640"/>
              <a:gd name="connsiteY9" fmla="*/ 271154 h 308134"/>
              <a:gd name="connsiteX10" fmla="*/ 6486411 w 7136640"/>
              <a:gd name="connsiteY10" fmla="*/ 18281 h 308134"/>
              <a:gd name="connsiteX11" fmla="*/ 7136640 w 7136640"/>
              <a:gd name="connsiteY11" fmla="*/ 141032 h 308134"/>
              <a:gd name="connsiteX0" fmla="*/ 0 w 7136640"/>
              <a:gd name="connsiteY0" fmla="*/ 50651 h 307628"/>
              <a:gd name="connsiteX1" fmla="*/ 1114078 w 7136640"/>
              <a:gd name="connsiteY1" fmla="*/ 212128 h 307628"/>
              <a:gd name="connsiteX2" fmla="*/ 1762391 w 7136640"/>
              <a:gd name="connsiteY2" fmla="*/ 103912 h 307628"/>
              <a:gd name="connsiteX3" fmla="*/ 1992056 w 7136640"/>
              <a:gd name="connsiteY3" fmla="*/ 307577 h 307628"/>
              <a:gd name="connsiteX4" fmla="*/ 2642777 w 7136640"/>
              <a:gd name="connsiteY4" fmla="*/ 124402 h 307628"/>
              <a:gd name="connsiteX5" fmla="*/ 3302093 w 7136640"/>
              <a:gd name="connsiteY5" fmla="*/ 189711 h 307628"/>
              <a:gd name="connsiteX6" fmla="*/ 3964644 w 7136640"/>
              <a:gd name="connsiteY6" fmla="*/ 417 h 307628"/>
              <a:gd name="connsiteX7" fmla="*/ 4578995 w 7136640"/>
              <a:gd name="connsiteY7" fmla="*/ 255894 h 307628"/>
              <a:gd name="connsiteX8" fmla="*/ 5236906 w 7136640"/>
              <a:gd name="connsiteY8" fmla="*/ 128120 h 307628"/>
              <a:gd name="connsiteX9" fmla="*/ 5843222 w 7136640"/>
              <a:gd name="connsiteY9" fmla="*/ 271154 h 307628"/>
              <a:gd name="connsiteX10" fmla="*/ 6486411 w 7136640"/>
              <a:gd name="connsiteY10" fmla="*/ 18281 h 307628"/>
              <a:gd name="connsiteX11" fmla="*/ 7136640 w 7136640"/>
              <a:gd name="connsiteY11" fmla="*/ 141032 h 307628"/>
              <a:gd name="connsiteX0" fmla="*/ 0 w 7136640"/>
              <a:gd name="connsiteY0" fmla="*/ 50651 h 309088"/>
              <a:gd name="connsiteX1" fmla="*/ 1114078 w 7136640"/>
              <a:gd name="connsiteY1" fmla="*/ 212128 h 309088"/>
              <a:gd name="connsiteX2" fmla="*/ 1743606 w 7136640"/>
              <a:gd name="connsiteY2" fmla="*/ 4813 h 309088"/>
              <a:gd name="connsiteX3" fmla="*/ 1992056 w 7136640"/>
              <a:gd name="connsiteY3" fmla="*/ 307577 h 309088"/>
              <a:gd name="connsiteX4" fmla="*/ 2642777 w 7136640"/>
              <a:gd name="connsiteY4" fmla="*/ 124402 h 309088"/>
              <a:gd name="connsiteX5" fmla="*/ 3302093 w 7136640"/>
              <a:gd name="connsiteY5" fmla="*/ 189711 h 309088"/>
              <a:gd name="connsiteX6" fmla="*/ 3964644 w 7136640"/>
              <a:gd name="connsiteY6" fmla="*/ 417 h 309088"/>
              <a:gd name="connsiteX7" fmla="*/ 4578995 w 7136640"/>
              <a:gd name="connsiteY7" fmla="*/ 255894 h 309088"/>
              <a:gd name="connsiteX8" fmla="*/ 5236906 w 7136640"/>
              <a:gd name="connsiteY8" fmla="*/ 128120 h 309088"/>
              <a:gd name="connsiteX9" fmla="*/ 5843222 w 7136640"/>
              <a:gd name="connsiteY9" fmla="*/ 271154 h 309088"/>
              <a:gd name="connsiteX10" fmla="*/ 6486411 w 7136640"/>
              <a:gd name="connsiteY10" fmla="*/ 18281 h 309088"/>
              <a:gd name="connsiteX11" fmla="*/ 7136640 w 7136640"/>
              <a:gd name="connsiteY11" fmla="*/ 141032 h 309088"/>
              <a:gd name="connsiteX0" fmla="*/ 0 w 7136640"/>
              <a:gd name="connsiteY0" fmla="*/ 50651 h 272623"/>
              <a:gd name="connsiteX1" fmla="*/ 1114078 w 7136640"/>
              <a:gd name="connsiteY1" fmla="*/ 212128 h 272623"/>
              <a:gd name="connsiteX2" fmla="*/ 1743606 w 7136640"/>
              <a:gd name="connsiteY2" fmla="*/ 4813 h 272623"/>
              <a:gd name="connsiteX3" fmla="*/ 2642777 w 7136640"/>
              <a:gd name="connsiteY3" fmla="*/ 124402 h 272623"/>
              <a:gd name="connsiteX4" fmla="*/ 3302093 w 7136640"/>
              <a:gd name="connsiteY4" fmla="*/ 189711 h 272623"/>
              <a:gd name="connsiteX5" fmla="*/ 3964644 w 7136640"/>
              <a:gd name="connsiteY5" fmla="*/ 417 h 272623"/>
              <a:gd name="connsiteX6" fmla="*/ 4578995 w 7136640"/>
              <a:gd name="connsiteY6" fmla="*/ 255894 h 272623"/>
              <a:gd name="connsiteX7" fmla="*/ 5236906 w 7136640"/>
              <a:gd name="connsiteY7" fmla="*/ 128120 h 272623"/>
              <a:gd name="connsiteX8" fmla="*/ 5843222 w 7136640"/>
              <a:gd name="connsiteY8" fmla="*/ 271154 h 272623"/>
              <a:gd name="connsiteX9" fmla="*/ 6486411 w 7136640"/>
              <a:gd name="connsiteY9" fmla="*/ 18281 h 272623"/>
              <a:gd name="connsiteX10" fmla="*/ 7136640 w 7136640"/>
              <a:gd name="connsiteY10" fmla="*/ 141032 h 272623"/>
              <a:gd name="connsiteX0" fmla="*/ 0 w 7136640"/>
              <a:gd name="connsiteY0" fmla="*/ 50567 h 272549"/>
              <a:gd name="connsiteX1" fmla="*/ 1114078 w 7136640"/>
              <a:gd name="connsiteY1" fmla="*/ 212044 h 272549"/>
              <a:gd name="connsiteX2" fmla="*/ 1743606 w 7136640"/>
              <a:gd name="connsiteY2" fmla="*/ 4729 h 272549"/>
              <a:gd name="connsiteX3" fmla="*/ 2642777 w 7136640"/>
              <a:gd name="connsiteY3" fmla="*/ 124318 h 272549"/>
              <a:gd name="connsiteX4" fmla="*/ 3302093 w 7136640"/>
              <a:gd name="connsiteY4" fmla="*/ 189627 h 272549"/>
              <a:gd name="connsiteX5" fmla="*/ 3964644 w 7136640"/>
              <a:gd name="connsiteY5" fmla="*/ 333 h 272549"/>
              <a:gd name="connsiteX6" fmla="*/ 4723015 w 7136640"/>
              <a:gd name="connsiteY6" fmla="*/ 248469 h 272549"/>
              <a:gd name="connsiteX7" fmla="*/ 5236906 w 7136640"/>
              <a:gd name="connsiteY7" fmla="*/ 128036 h 272549"/>
              <a:gd name="connsiteX8" fmla="*/ 5843222 w 7136640"/>
              <a:gd name="connsiteY8" fmla="*/ 271070 h 272549"/>
              <a:gd name="connsiteX9" fmla="*/ 6486411 w 7136640"/>
              <a:gd name="connsiteY9" fmla="*/ 18197 h 272549"/>
              <a:gd name="connsiteX10" fmla="*/ 7136640 w 7136640"/>
              <a:gd name="connsiteY10" fmla="*/ 140948 h 272549"/>
              <a:gd name="connsiteX0" fmla="*/ 0 w 7136640"/>
              <a:gd name="connsiteY0" fmla="*/ 50567 h 292707"/>
              <a:gd name="connsiteX1" fmla="*/ 1114078 w 7136640"/>
              <a:gd name="connsiteY1" fmla="*/ 212044 h 292707"/>
              <a:gd name="connsiteX2" fmla="*/ 1743606 w 7136640"/>
              <a:gd name="connsiteY2" fmla="*/ 4729 h 292707"/>
              <a:gd name="connsiteX3" fmla="*/ 2642777 w 7136640"/>
              <a:gd name="connsiteY3" fmla="*/ 124318 h 292707"/>
              <a:gd name="connsiteX4" fmla="*/ 3302093 w 7136640"/>
              <a:gd name="connsiteY4" fmla="*/ 189627 h 292707"/>
              <a:gd name="connsiteX5" fmla="*/ 3964644 w 7136640"/>
              <a:gd name="connsiteY5" fmla="*/ 333 h 292707"/>
              <a:gd name="connsiteX6" fmla="*/ 4723015 w 7136640"/>
              <a:gd name="connsiteY6" fmla="*/ 248469 h 292707"/>
              <a:gd name="connsiteX7" fmla="*/ 5843222 w 7136640"/>
              <a:gd name="connsiteY7" fmla="*/ 271070 h 292707"/>
              <a:gd name="connsiteX8" fmla="*/ 6486411 w 7136640"/>
              <a:gd name="connsiteY8" fmla="*/ 18197 h 292707"/>
              <a:gd name="connsiteX9" fmla="*/ 7136640 w 7136640"/>
              <a:gd name="connsiteY9" fmla="*/ 140948 h 292707"/>
              <a:gd name="connsiteX0" fmla="*/ 0 w 7136640"/>
              <a:gd name="connsiteY0" fmla="*/ 50567 h 291500"/>
              <a:gd name="connsiteX1" fmla="*/ 1114078 w 7136640"/>
              <a:gd name="connsiteY1" fmla="*/ 212044 h 291500"/>
              <a:gd name="connsiteX2" fmla="*/ 1743606 w 7136640"/>
              <a:gd name="connsiteY2" fmla="*/ 4729 h 291500"/>
              <a:gd name="connsiteX3" fmla="*/ 2642777 w 7136640"/>
              <a:gd name="connsiteY3" fmla="*/ 124318 h 291500"/>
              <a:gd name="connsiteX4" fmla="*/ 3302093 w 7136640"/>
              <a:gd name="connsiteY4" fmla="*/ 189627 h 291500"/>
              <a:gd name="connsiteX5" fmla="*/ 3964644 w 7136640"/>
              <a:gd name="connsiteY5" fmla="*/ 333 h 291500"/>
              <a:gd name="connsiteX6" fmla="*/ 4723015 w 7136640"/>
              <a:gd name="connsiteY6" fmla="*/ 248469 h 291500"/>
              <a:gd name="connsiteX7" fmla="*/ 5555182 w 7136640"/>
              <a:gd name="connsiteY7" fmla="*/ 269235 h 291500"/>
              <a:gd name="connsiteX8" fmla="*/ 6486411 w 7136640"/>
              <a:gd name="connsiteY8" fmla="*/ 18197 h 291500"/>
              <a:gd name="connsiteX9" fmla="*/ 7136640 w 7136640"/>
              <a:gd name="connsiteY9" fmla="*/ 140948 h 291500"/>
              <a:gd name="connsiteX0" fmla="*/ 0 w 7136640"/>
              <a:gd name="connsiteY0" fmla="*/ 47246 h 288179"/>
              <a:gd name="connsiteX1" fmla="*/ 1114078 w 7136640"/>
              <a:gd name="connsiteY1" fmla="*/ 208723 h 288179"/>
              <a:gd name="connsiteX2" fmla="*/ 1743606 w 7136640"/>
              <a:gd name="connsiteY2" fmla="*/ 1408 h 288179"/>
              <a:gd name="connsiteX3" fmla="*/ 2642777 w 7136640"/>
              <a:gd name="connsiteY3" fmla="*/ 120997 h 288179"/>
              <a:gd name="connsiteX4" fmla="*/ 3302093 w 7136640"/>
              <a:gd name="connsiteY4" fmla="*/ 186306 h 288179"/>
              <a:gd name="connsiteX5" fmla="*/ 3964644 w 7136640"/>
              <a:gd name="connsiteY5" fmla="*/ 78036 h 288179"/>
              <a:gd name="connsiteX6" fmla="*/ 4723015 w 7136640"/>
              <a:gd name="connsiteY6" fmla="*/ 245148 h 288179"/>
              <a:gd name="connsiteX7" fmla="*/ 5555182 w 7136640"/>
              <a:gd name="connsiteY7" fmla="*/ 265914 h 288179"/>
              <a:gd name="connsiteX8" fmla="*/ 6486411 w 7136640"/>
              <a:gd name="connsiteY8" fmla="*/ 14876 h 288179"/>
              <a:gd name="connsiteX9" fmla="*/ 7136640 w 7136640"/>
              <a:gd name="connsiteY9" fmla="*/ 137627 h 288179"/>
              <a:gd name="connsiteX0" fmla="*/ 0 w 7136640"/>
              <a:gd name="connsiteY0" fmla="*/ 47246 h 245148"/>
              <a:gd name="connsiteX1" fmla="*/ 1114078 w 7136640"/>
              <a:gd name="connsiteY1" fmla="*/ 208723 h 245148"/>
              <a:gd name="connsiteX2" fmla="*/ 1743606 w 7136640"/>
              <a:gd name="connsiteY2" fmla="*/ 1408 h 245148"/>
              <a:gd name="connsiteX3" fmla="*/ 2642777 w 7136640"/>
              <a:gd name="connsiteY3" fmla="*/ 120997 h 245148"/>
              <a:gd name="connsiteX4" fmla="*/ 3302093 w 7136640"/>
              <a:gd name="connsiteY4" fmla="*/ 186306 h 245148"/>
              <a:gd name="connsiteX5" fmla="*/ 3964644 w 7136640"/>
              <a:gd name="connsiteY5" fmla="*/ 78036 h 245148"/>
              <a:gd name="connsiteX6" fmla="*/ 4723015 w 7136640"/>
              <a:gd name="connsiteY6" fmla="*/ 245148 h 245148"/>
              <a:gd name="connsiteX7" fmla="*/ 5569100 w 7136640"/>
              <a:gd name="connsiteY7" fmla="*/ 130871 h 245148"/>
              <a:gd name="connsiteX8" fmla="*/ 6486411 w 7136640"/>
              <a:gd name="connsiteY8" fmla="*/ 14876 h 245148"/>
              <a:gd name="connsiteX9" fmla="*/ 7136640 w 7136640"/>
              <a:gd name="connsiteY9" fmla="*/ 137627 h 245148"/>
              <a:gd name="connsiteX0" fmla="*/ 0 w 7136640"/>
              <a:gd name="connsiteY0" fmla="*/ 46561 h 244463"/>
              <a:gd name="connsiteX1" fmla="*/ 891393 w 7136640"/>
              <a:gd name="connsiteY1" fmla="*/ 181033 h 244463"/>
              <a:gd name="connsiteX2" fmla="*/ 1743606 w 7136640"/>
              <a:gd name="connsiteY2" fmla="*/ 723 h 244463"/>
              <a:gd name="connsiteX3" fmla="*/ 2642777 w 7136640"/>
              <a:gd name="connsiteY3" fmla="*/ 120312 h 244463"/>
              <a:gd name="connsiteX4" fmla="*/ 3302093 w 7136640"/>
              <a:gd name="connsiteY4" fmla="*/ 185621 h 244463"/>
              <a:gd name="connsiteX5" fmla="*/ 3964644 w 7136640"/>
              <a:gd name="connsiteY5" fmla="*/ 77351 h 244463"/>
              <a:gd name="connsiteX6" fmla="*/ 4723015 w 7136640"/>
              <a:gd name="connsiteY6" fmla="*/ 244463 h 244463"/>
              <a:gd name="connsiteX7" fmla="*/ 5569100 w 7136640"/>
              <a:gd name="connsiteY7" fmla="*/ 130186 h 244463"/>
              <a:gd name="connsiteX8" fmla="*/ 6486411 w 7136640"/>
              <a:gd name="connsiteY8" fmla="*/ 14191 h 244463"/>
              <a:gd name="connsiteX9" fmla="*/ 7136640 w 7136640"/>
              <a:gd name="connsiteY9" fmla="*/ 136942 h 244463"/>
              <a:gd name="connsiteX0" fmla="*/ 0 w 7122723"/>
              <a:gd name="connsiteY0" fmla="*/ 181603 h 244463"/>
              <a:gd name="connsiteX1" fmla="*/ 877476 w 7122723"/>
              <a:gd name="connsiteY1" fmla="*/ 181033 h 244463"/>
              <a:gd name="connsiteX2" fmla="*/ 1729689 w 7122723"/>
              <a:gd name="connsiteY2" fmla="*/ 723 h 244463"/>
              <a:gd name="connsiteX3" fmla="*/ 2628860 w 7122723"/>
              <a:gd name="connsiteY3" fmla="*/ 120312 h 244463"/>
              <a:gd name="connsiteX4" fmla="*/ 3288176 w 7122723"/>
              <a:gd name="connsiteY4" fmla="*/ 185621 h 244463"/>
              <a:gd name="connsiteX5" fmla="*/ 3950727 w 7122723"/>
              <a:gd name="connsiteY5" fmla="*/ 77351 h 244463"/>
              <a:gd name="connsiteX6" fmla="*/ 4709098 w 7122723"/>
              <a:gd name="connsiteY6" fmla="*/ 244463 h 244463"/>
              <a:gd name="connsiteX7" fmla="*/ 5555183 w 7122723"/>
              <a:gd name="connsiteY7" fmla="*/ 130186 h 244463"/>
              <a:gd name="connsiteX8" fmla="*/ 6472494 w 7122723"/>
              <a:gd name="connsiteY8" fmla="*/ 14191 h 244463"/>
              <a:gd name="connsiteX9" fmla="*/ 7122723 w 7122723"/>
              <a:gd name="connsiteY9" fmla="*/ 136942 h 244463"/>
              <a:gd name="connsiteX0" fmla="*/ 0 w 7122723"/>
              <a:gd name="connsiteY0" fmla="*/ 168028 h 230888"/>
              <a:gd name="connsiteX1" fmla="*/ 877476 w 7122723"/>
              <a:gd name="connsiteY1" fmla="*/ 167458 h 230888"/>
              <a:gd name="connsiteX2" fmla="*/ 1743606 w 7122723"/>
              <a:gd name="connsiteY2" fmla="*/ 95181 h 230888"/>
              <a:gd name="connsiteX3" fmla="*/ 2628860 w 7122723"/>
              <a:gd name="connsiteY3" fmla="*/ 106737 h 230888"/>
              <a:gd name="connsiteX4" fmla="*/ 3288176 w 7122723"/>
              <a:gd name="connsiteY4" fmla="*/ 172046 h 230888"/>
              <a:gd name="connsiteX5" fmla="*/ 3950727 w 7122723"/>
              <a:gd name="connsiteY5" fmla="*/ 63776 h 230888"/>
              <a:gd name="connsiteX6" fmla="*/ 4709098 w 7122723"/>
              <a:gd name="connsiteY6" fmla="*/ 230888 h 230888"/>
              <a:gd name="connsiteX7" fmla="*/ 5555183 w 7122723"/>
              <a:gd name="connsiteY7" fmla="*/ 116611 h 230888"/>
              <a:gd name="connsiteX8" fmla="*/ 6472494 w 7122723"/>
              <a:gd name="connsiteY8" fmla="*/ 616 h 230888"/>
              <a:gd name="connsiteX9" fmla="*/ 7122723 w 7122723"/>
              <a:gd name="connsiteY9" fmla="*/ 123367 h 230888"/>
              <a:gd name="connsiteX0" fmla="*/ 0 w 7122723"/>
              <a:gd name="connsiteY0" fmla="*/ 168028 h 230888"/>
              <a:gd name="connsiteX1" fmla="*/ 877476 w 7122723"/>
              <a:gd name="connsiteY1" fmla="*/ 167458 h 230888"/>
              <a:gd name="connsiteX2" fmla="*/ 1750564 w 7122723"/>
              <a:gd name="connsiteY2" fmla="*/ 203217 h 230888"/>
              <a:gd name="connsiteX3" fmla="*/ 2628860 w 7122723"/>
              <a:gd name="connsiteY3" fmla="*/ 106737 h 230888"/>
              <a:gd name="connsiteX4" fmla="*/ 3288176 w 7122723"/>
              <a:gd name="connsiteY4" fmla="*/ 172046 h 230888"/>
              <a:gd name="connsiteX5" fmla="*/ 3950727 w 7122723"/>
              <a:gd name="connsiteY5" fmla="*/ 63776 h 230888"/>
              <a:gd name="connsiteX6" fmla="*/ 4709098 w 7122723"/>
              <a:gd name="connsiteY6" fmla="*/ 230888 h 230888"/>
              <a:gd name="connsiteX7" fmla="*/ 5555183 w 7122723"/>
              <a:gd name="connsiteY7" fmla="*/ 116611 h 230888"/>
              <a:gd name="connsiteX8" fmla="*/ 6472494 w 7122723"/>
              <a:gd name="connsiteY8" fmla="*/ 616 h 230888"/>
              <a:gd name="connsiteX9" fmla="*/ 7122723 w 7122723"/>
              <a:gd name="connsiteY9" fmla="*/ 123367 h 230888"/>
              <a:gd name="connsiteX0" fmla="*/ 0 w 7122723"/>
              <a:gd name="connsiteY0" fmla="*/ 168028 h 230888"/>
              <a:gd name="connsiteX1" fmla="*/ 877476 w 7122723"/>
              <a:gd name="connsiteY1" fmla="*/ 167458 h 230888"/>
              <a:gd name="connsiteX2" fmla="*/ 1750564 w 7122723"/>
              <a:gd name="connsiteY2" fmla="*/ 203217 h 230888"/>
              <a:gd name="connsiteX3" fmla="*/ 2580147 w 7122723"/>
              <a:gd name="connsiteY3" fmla="*/ 160751 h 230888"/>
              <a:gd name="connsiteX4" fmla="*/ 3288176 w 7122723"/>
              <a:gd name="connsiteY4" fmla="*/ 172046 h 230888"/>
              <a:gd name="connsiteX5" fmla="*/ 3950727 w 7122723"/>
              <a:gd name="connsiteY5" fmla="*/ 63776 h 230888"/>
              <a:gd name="connsiteX6" fmla="*/ 4709098 w 7122723"/>
              <a:gd name="connsiteY6" fmla="*/ 230888 h 230888"/>
              <a:gd name="connsiteX7" fmla="*/ 5555183 w 7122723"/>
              <a:gd name="connsiteY7" fmla="*/ 116611 h 230888"/>
              <a:gd name="connsiteX8" fmla="*/ 6472494 w 7122723"/>
              <a:gd name="connsiteY8" fmla="*/ 616 h 230888"/>
              <a:gd name="connsiteX9" fmla="*/ 7122723 w 7122723"/>
              <a:gd name="connsiteY9" fmla="*/ 123367 h 230888"/>
              <a:gd name="connsiteX0" fmla="*/ 0 w 7122723"/>
              <a:gd name="connsiteY0" fmla="*/ 168028 h 268787"/>
              <a:gd name="connsiteX1" fmla="*/ 877476 w 7122723"/>
              <a:gd name="connsiteY1" fmla="*/ 167458 h 268787"/>
              <a:gd name="connsiteX2" fmla="*/ 1750564 w 7122723"/>
              <a:gd name="connsiteY2" fmla="*/ 203217 h 268787"/>
              <a:gd name="connsiteX3" fmla="*/ 2489682 w 7122723"/>
              <a:gd name="connsiteY3" fmla="*/ 268787 h 268787"/>
              <a:gd name="connsiteX4" fmla="*/ 3288176 w 7122723"/>
              <a:gd name="connsiteY4" fmla="*/ 172046 h 268787"/>
              <a:gd name="connsiteX5" fmla="*/ 3950727 w 7122723"/>
              <a:gd name="connsiteY5" fmla="*/ 63776 h 268787"/>
              <a:gd name="connsiteX6" fmla="*/ 4709098 w 7122723"/>
              <a:gd name="connsiteY6" fmla="*/ 230888 h 268787"/>
              <a:gd name="connsiteX7" fmla="*/ 5555183 w 7122723"/>
              <a:gd name="connsiteY7" fmla="*/ 116611 h 268787"/>
              <a:gd name="connsiteX8" fmla="*/ 6472494 w 7122723"/>
              <a:gd name="connsiteY8" fmla="*/ 616 h 268787"/>
              <a:gd name="connsiteX9" fmla="*/ 7122723 w 7122723"/>
              <a:gd name="connsiteY9" fmla="*/ 123367 h 268787"/>
              <a:gd name="connsiteX0" fmla="*/ 0 w 7122723"/>
              <a:gd name="connsiteY0" fmla="*/ 168028 h 281032"/>
              <a:gd name="connsiteX1" fmla="*/ 877476 w 7122723"/>
              <a:gd name="connsiteY1" fmla="*/ 167458 h 281032"/>
              <a:gd name="connsiteX2" fmla="*/ 1750564 w 7122723"/>
              <a:gd name="connsiteY2" fmla="*/ 203217 h 281032"/>
              <a:gd name="connsiteX3" fmla="*/ 2489682 w 7122723"/>
              <a:gd name="connsiteY3" fmla="*/ 268787 h 281032"/>
              <a:gd name="connsiteX4" fmla="*/ 3288176 w 7122723"/>
              <a:gd name="connsiteY4" fmla="*/ 280078 h 281032"/>
              <a:gd name="connsiteX5" fmla="*/ 3950727 w 7122723"/>
              <a:gd name="connsiteY5" fmla="*/ 63776 h 281032"/>
              <a:gd name="connsiteX6" fmla="*/ 4709098 w 7122723"/>
              <a:gd name="connsiteY6" fmla="*/ 230888 h 281032"/>
              <a:gd name="connsiteX7" fmla="*/ 5555183 w 7122723"/>
              <a:gd name="connsiteY7" fmla="*/ 116611 h 281032"/>
              <a:gd name="connsiteX8" fmla="*/ 6472494 w 7122723"/>
              <a:gd name="connsiteY8" fmla="*/ 616 h 281032"/>
              <a:gd name="connsiteX9" fmla="*/ 7122723 w 7122723"/>
              <a:gd name="connsiteY9" fmla="*/ 123367 h 281032"/>
              <a:gd name="connsiteX0" fmla="*/ 0 w 7122723"/>
              <a:gd name="connsiteY0" fmla="*/ 168028 h 469167"/>
              <a:gd name="connsiteX1" fmla="*/ 877476 w 7122723"/>
              <a:gd name="connsiteY1" fmla="*/ 167458 h 469167"/>
              <a:gd name="connsiteX2" fmla="*/ 1750564 w 7122723"/>
              <a:gd name="connsiteY2" fmla="*/ 203217 h 469167"/>
              <a:gd name="connsiteX3" fmla="*/ 2489682 w 7122723"/>
              <a:gd name="connsiteY3" fmla="*/ 268787 h 469167"/>
              <a:gd name="connsiteX4" fmla="*/ 3288176 w 7122723"/>
              <a:gd name="connsiteY4" fmla="*/ 280078 h 469167"/>
              <a:gd name="connsiteX5" fmla="*/ 3999440 w 7122723"/>
              <a:gd name="connsiteY5" fmla="*/ 468903 h 469167"/>
              <a:gd name="connsiteX6" fmla="*/ 4709098 w 7122723"/>
              <a:gd name="connsiteY6" fmla="*/ 230888 h 469167"/>
              <a:gd name="connsiteX7" fmla="*/ 5555183 w 7122723"/>
              <a:gd name="connsiteY7" fmla="*/ 116611 h 469167"/>
              <a:gd name="connsiteX8" fmla="*/ 6472494 w 7122723"/>
              <a:gd name="connsiteY8" fmla="*/ 616 h 469167"/>
              <a:gd name="connsiteX9" fmla="*/ 7122723 w 7122723"/>
              <a:gd name="connsiteY9" fmla="*/ 123367 h 469167"/>
              <a:gd name="connsiteX0" fmla="*/ 0 w 7122723"/>
              <a:gd name="connsiteY0" fmla="*/ 168028 h 287490"/>
              <a:gd name="connsiteX1" fmla="*/ 877476 w 7122723"/>
              <a:gd name="connsiteY1" fmla="*/ 167458 h 287490"/>
              <a:gd name="connsiteX2" fmla="*/ 1750564 w 7122723"/>
              <a:gd name="connsiteY2" fmla="*/ 203217 h 287490"/>
              <a:gd name="connsiteX3" fmla="*/ 2489682 w 7122723"/>
              <a:gd name="connsiteY3" fmla="*/ 268787 h 287490"/>
              <a:gd name="connsiteX4" fmla="*/ 3288176 w 7122723"/>
              <a:gd name="connsiteY4" fmla="*/ 280078 h 287490"/>
              <a:gd name="connsiteX5" fmla="*/ 4006399 w 7122723"/>
              <a:gd name="connsiteY5" fmla="*/ 279846 h 287490"/>
              <a:gd name="connsiteX6" fmla="*/ 4709098 w 7122723"/>
              <a:gd name="connsiteY6" fmla="*/ 230888 h 287490"/>
              <a:gd name="connsiteX7" fmla="*/ 5555183 w 7122723"/>
              <a:gd name="connsiteY7" fmla="*/ 116611 h 287490"/>
              <a:gd name="connsiteX8" fmla="*/ 6472494 w 7122723"/>
              <a:gd name="connsiteY8" fmla="*/ 616 h 287490"/>
              <a:gd name="connsiteX9" fmla="*/ 7122723 w 7122723"/>
              <a:gd name="connsiteY9" fmla="*/ 123367 h 287490"/>
              <a:gd name="connsiteX0" fmla="*/ 0 w 7122723"/>
              <a:gd name="connsiteY0" fmla="*/ 168028 h 289109"/>
              <a:gd name="connsiteX1" fmla="*/ 877476 w 7122723"/>
              <a:gd name="connsiteY1" fmla="*/ 167458 h 289109"/>
              <a:gd name="connsiteX2" fmla="*/ 1750564 w 7122723"/>
              <a:gd name="connsiteY2" fmla="*/ 203217 h 289109"/>
              <a:gd name="connsiteX3" fmla="*/ 2489682 w 7122723"/>
              <a:gd name="connsiteY3" fmla="*/ 268787 h 289109"/>
              <a:gd name="connsiteX4" fmla="*/ 3288176 w 7122723"/>
              <a:gd name="connsiteY4" fmla="*/ 280078 h 289109"/>
              <a:gd name="connsiteX5" fmla="*/ 4006399 w 7122723"/>
              <a:gd name="connsiteY5" fmla="*/ 279846 h 289109"/>
              <a:gd name="connsiteX6" fmla="*/ 4723016 w 7122723"/>
              <a:gd name="connsiteY6" fmla="*/ 203879 h 289109"/>
              <a:gd name="connsiteX7" fmla="*/ 5555183 w 7122723"/>
              <a:gd name="connsiteY7" fmla="*/ 116611 h 289109"/>
              <a:gd name="connsiteX8" fmla="*/ 6472494 w 7122723"/>
              <a:gd name="connsiteY8" fmla="*/ 616 h 289109"/>
              <a:gd name="connsiteX9" fmla="*/ 7122723 w 7122723"/>
              <a:gd name="connsiteY9" fmla="*/ 123367 h 289109"/>
              <a:gd name="connsiteX0" fmla="*/ 0 w 7122723"/>
              <a:gd name="connsiteY0" fmla="*/ 168028 h 285041"/>
              <a:gd name="connsiteX1" fmla="*/ 877476 w 7122723"/>
              <a:gd name="connsiteY1" fmla="*/ 167458 h 285041"/>
              <a:gd name="connsiteX2" fmla="*/ 1750564 w 7122723"/>
              <a:gd name="connsiteY2" fmla="*/ 203217 h 285041"/>
              <a:gd name="connsiteX3" fmla="*/ 2489682 w 7122723"/>
              <a:gd name="connsiteY3" fmla="*/ 268787 h 285041"/>
              <a:gd name="connsiteX4" fmla="*/ 3288176 w 7122723"/>
              <a:gd name="connsiteY4" fmla="*/ 280078 h 285041"/>
              <a:gd name="connsiteX5" fmla="*/ 4006399 w 7122723"/>
              <a:gd name="connsiteY5" fmla="*/ 279846 h 285041"/>
              <a:gd name="connsiteX6" fmla="*/ 4729975 w 7122723"/>
              <a:gd name="connsiteY6" fmla="*/ 284906 h 285041"/>
              <a:gd name="connsiteX7" fmla="*/ 5555183 w 7122723"/>
              <a:gd name="connsiteY7" fmla="*/ 116611 h 285041"/>
              <a:gd name="connsiteX8" fmla="*/ 6472494 w 7122723"/>
              <a:gd name="connsiteY8" fmla="*/ 616 h 285041"/>
              <a:gd name="connsiteX9" fmla="*/ 7122723 w 7122723"/>
              <a:gd name="connsiteY9" fmla="*/ 123367 h 285041"/>
              <a:gd name="connsiteX0" fmla="*/ 0 w 7122723"/>
              <a:gd name="connsiteY0" fmla="*/ 167667 h 284680"/>
              <a:gd name="connsiteX1" fmla="*/ 877476 w 7122723"/>
              <a:gd name="connsiteY1" fmla="*/ 167097 h 284680"/>
              <a:gd name="connsiteX2" fmla="*/ 1750564 w 7122723"/>
              <a:gd name="connsiteY2" fmla="*/ 202856 h 284680"/>
              <a:gd name="connsiteX3" fmla="*/ 2489682 w 7122723"/>
              <a:gd name="connsiteY3" fmla="*/ 268426 h 284680"/>
              <a:gd name="connsiteX4" fmla="*/ 3288176 w 7122723"/>
              <a:gd name="connsiteY4" fmla="*/ 279717 h 284680"/>
              <a:gd name="connsiteX5" fmla="*/ 4006399 w 7122723"/>
              <a:gd name="connsiteY5" fmla="*/ 279485 h 284680"/>
              <a:gd name="connsiteX6" fmla="*/ 4729975 w 7122723"/>
              <a:gd name="connsiteY6" fmla="*/ 284545 h 284680"/>
              <a:gd name="connsiteX7" fmla="*/ 5583019 w 7122723"/>
              <a:gd name="connsiteY7" fmla="*/ 278302 h 284680"/>
              <a:gd name="connsiteX8" fmla="*/ 6472494 w 7122723"/>
              <a:gd name="connsiteY8" fmla="*/ 255 h 284680"/>
              <a:gd name="connsiteX9" fmla="*/ 7122723 w 7122723"/>
              <a:gd name="connsiteY9" fmla="*/ 123006 h 284680"/>
              <a:gd name="connsiteX0" fmla="*/ 0 w 7122723"/>
              <a:gd name="connsiteY0" fmla="*/ 45417 h 162430"/>
              <a:gd name="connsiteX1" fmla="*/ 877476 w 7122723"/>
              <a:gd name="connsiteY1" fmla="*/ 44847 h 162430"/>
              <a:gd name="connsiteX2" fmla="*/ 1750564 w 7122723"/>
              <a:gd name="connsiteY2" fmla="*/ 80606 h 162430"/>
              <a:gd name="connsiteX3" fmla="*/ 2489682 w 7122723"/>
              <a:gd name="connsiteY3" fmla="*/ 146176 h 162430"/>
              <a:gd name="connsiteX4" fmla="*/ 3288176 w 7122723"/>
              <a:gd name="connsiteY4" fmla="*/ 157467 h 162430"/>
              <a:gd name="connsiteX5" fmla="*/ 4006399 w 7122723"/>
              <a:gd name="connsiteY5" fmla="*/ 157235 h 162430"/>
              <a:gd name="connsiteX6" fmla="*/ 4729975 w 7122723"/>
              <a:gd name="connsiteY6" fmla="*/ 162295 h 162430"/>
              <a:gd name="connsiteX7" fmla="*/ 5583019 w 7122723"/>
              <a:gd name="connsiteY7" fmla="*/ 156052 h 162430"/>
              <a:gd name="connsiteX8" fmla="*/ 6416822 w 7122723"/>
              <a:gd name="connsiteY8" fmla="*/ 121081 h 162430"/>
              <a:gd name="connsiteX9" fmla="*/ 7122723 w 7122723"/>
              <a:gd name="connsiteY9" fmla="*/ 756 h 162430"/>
              <a:gd name="connsiteX0" fmla="*/ 0 w 7122723"/>
              <a:gd name="connsiteY0" fmla="*/ 45300 h 162313"/>
              <a:gd name="connsiteX1" fmla="*/ 877476 w 7122723"/>
              <a:gd name="connsiteY1" fmla="*/ 44730 h 162313"/>
              <a:gd name="connsiteX2" fmla="*/ 1750564 w 7122723"/>
              <a:gd name="connsiteY2" fmla="*/ 80489 h 162313"/>
              <a:gd name="connsiteX3" fmla="*/ 2489682 w 7122723"/>
              <a:gd name="connsiteY3" fmla="*/ 146059 h 162313"/>
              <a:gd name="connsiteX4" fmla="*/ 3288176 w 7122723"/>
              <a:gd name="connsiteY4" fmla="*/ 157350 h 162313"/>
              <a:gd name="connsiteX5" fmla="*/ 4006399 w 7122723"/>
              <a:gd name="connsiteY5" fmla="*/ 157118 h 162313"/>
              <a:gd name="connsiteX6" fmla="*/ 4729975 w 7122723"/>
              <a:gd name="connsiteY6" fmla="*/ 162178 h 162313"/>
              <a:gd name="connsiteX7" fmla="*/ 5583019 w 7122723"/>
              <a:gd name="connsiteY7" fmla="*/ 155935 h 162313"/>
              <a:gd name="connsiteX8" fmla="*/ 6361151 w 7122723"/>
              <a:gd name="connsiteY8" fmla="*/ 147973 h 162313"/>
              <a:gd name="connsiteX9" fmla="*/ 7122723 w 7122723"/>
              <a:gd name="connsiteY9" fmla="*/ 639 h 162313"/>
              <a:gd name="connsiteX0" fmla="*/ 0 w 7129682"/>
              <a:gd name="connsiteY0" fmla="*/ 4954 h 149354"/>
              <a:gd name="connsiteX1" fmla="*/ 877476 w 7129682"/>
              <a:gd name="connsiteY1" fmla="*/ 4384 h 149354"/>
              <a:gd name="connsiteX2" fmla="*/ 1750564 w 7129682"/>
              <a:gd name="connsiteY2" fmla="*/ 40143 h 149354"/>
              <a:gd name="connsiteX3" fmla="*/ 2489682 w 7129682"/>
              <a:gd name="connsiteY3" fmla="*/ 105713 h 149354"/>
              <a:gd name="connsiteX4" fmla="*/ 3288176 w 7129682"/>
              <a:gd name="connsiteY4" fmla="*/ 117004 h 149354"/>
              <a:gd name="connsiteX5" fmla="*/ 4006399 w 7129682"/>
              <a:gd name="connsiteY5" fmla="*/ 116772 h 149354"/>
              <a:gd name="connsiteX6" fmla="*/ 4729975 w 7129682"/>
              <a:gd name="connsiteY6" fmla="*/ 121832 h 149354"/>
              <a:gd name="connsiteX7" fmla="*/ 5583019 w 7129682"/>
              <a:gd name="connsiteY7" fmla="*/ 115589 h 149354"/>
              <a:gd name="connsiteX8" fmla="*/ 6361151 w 7129682"/>
              <a:gd name="connsiteY8" fmla="*/ 107627 h 149354"/>
              <a:gd name="connsiteX9" fmla="*/ 7129682 w 7129682"/>
              <a:gd name="connsiteY9" fmla="*/ 149354 h 149354"/>
              <a:gd name="connsiteX0" fmla="*/ 0 w 7122723"/>
              <a:gd name="connsiteY0" fmla="*/ 168639 h 168639"/>
              <a:gd name="connsiteX1" fmla="*/ 870517 w 7122723"/>
              <a:gd name="connsiteY1" fmla="*/ 6020 h 168639"/>
              <a:gd name="connsiteX2" fmla="*/ 1743605 w 7122723"/>
              <a:gd name="connsiteY2" fmla="*/ 41779 h 168639"/>
              <a:gd name="connsiteX3" fmla="*/ 2482723 w 7122723"/>
              <a:gd name="connsiteY3" fmla="*/ 107349 h 168639"/>
              <a:gd name="connsiteX4" fmla="*/ 3281217 w 7122723"/>
              <a:gd name="connsiteY4" fmla="*/ 118640 h 168639"/>
              <a:gd name="connsiteX5" fmla="*/ 3999440 w 7122723"/>
              <a:gd name="connsiteY5" fmla="*/ 118408 h 168639"/>
              <a:gd name="connsiteX6" fmla="*/ 4723016 w 7122723"/>
              <a:gd name="connsiteY6" fmla="*/ 123468 h 168639"/>
              <a:gd name="connsiteX7" fmla="*/ 5576060 w 7122723"/>
              <a:gd name="connsiteY7" fmla="*/ 117225 h 168639"/>
              <a:gd name="connsiteX8" fmla="*/ 6354192 w 7122723"/>
              <a:gd name="connsiteY8" fmla="*/ 109263 h 168639"/>
              <a:gd name="connsiteX9" fmla="*/ 7122723 w 7122723"/>
              <a:gd name="connsiteY9" fmla="*/ 150990 h 168639"/>
              <a:gd name="connsiteX0" fmla="*/ 0 w 7122723"/>
              <a:gd name="connsiteY0" fmla="*/ 126886 h 126886"/>
              <a:gd name="connsiteX1" fmla="*/ 877476 w 7122723"/>
              <a:gd name="connsiteY1" fmla="*/ 72300 h 126886"/>
              <a:gd name="connsiteX2" fmla="*/ 1743605 w 7122723"/>
              <a:gd name="connsiteY2" fmla="*/ 26 h 126886"/>
              <a:gd name="connsiteX3" fmla="*/ 2482723 w 7122723"/>
              <a:gd name="connsiteY3" fmla="*/ 65596 h 126886"/>
              <a:gd name="connsiteX4" fmla="*/ 3281217 w 7122723"/>
              <a:gd name="connsiteY4" fmla="*/ 76887 h 126886"/>
              <a:gd name="connsiteX5" fmla="*/ 3999440 w 7122723"/>
              <a:gd name="connsiteY5" fmla="*/ 76655 h 126886"/>
              <a:gd name="connsiteX6" fmla="*/ 4723016 w 7122723"/>
              <a:gd name="connsiteY6" fmla="*/ 81715 h 126886"/>
              <a:gd name="connsiteX7" fmla="*/ 5576060 w 7122723"/>
              <a:gd name="connsiteY7" fmla="*/ 75472 h 126886"/>
              <a:gd name="connsiteX8" fmla="*/ 6354192 w 7122723"/>
              <a:gd name="connsiteY8" fmla="*/ 67510 h 126886"/>
              <a:gd name="connsiteX9" fmla="*/ 7122723 w 7122723"/>
              <a:gd name="connsiteY9" fmla="*/ 109237 h 126886"/>
              <a:gd name="connsiteX0" fmla="*/ 0 w 7122723"/>
              <a:gd name="connsiteY0" fmla="*/ 132350 h 215552"/>
              <a:gd name="connsiteX1" fmla="*/ 877476 w 7122723"/>
              <a:gd name="connsiteY1" fmla="*/ 212807 h 215552"/>
              <a:gd name="connsiteX2" fmla="*/ 1743605 w 7122723"/>
              <a:gd name="connsiteY2" fmla="*/ 5490 h 215552"/>
              <a:gd name="connsiteX3" fmla="*/ 2482723 w 7122723"/>
              <a:gd name="connsiteY3" fmla="*/ 71060 h 215552"/>
              <a:gd name="connsiteX4" fmla="*/ 3281217 w 7122723"/>
              <a:gd name="connsiteY4" fmla="*/ 82351 h 215552"/>
              <a:gd name="connsiteX5" fmla="*/ 3999440 w 7122723"/>
              <a:gd name="connsiteY5" fmla="*/ 82119 h 215552"/>
              <a:gd name="connsiteX6" fmla="*/ 4723016 w 7122723"/>
              <a:gd name="connsiteY6" fmla="*/ 87179 h 215552"/>
              <a:gd name="connsiteX7" fmla="*/ 5576060 w 7122723"/>
              <a:gd name="connsiteY7" fmla="*/ 80936 h 215552"/>
              <a:gd name="connsiteX8" fmla="*/ 6354192 w 7122723"/>
              <a:gd name="connsiteY8" fmla="*/ 72974 h 215552"/>
              <a:gd name="connsiteX9" fmla="*/ 7122723 w 7122723"/>
              <a:gd name="connsiteY9" fmla="*/ 114701 h 215552"/>
              <a:gd name="connsiteX0" fmla="*/ 0 w 7122723"/>
              <a:gd name="connsiteY0" fmla="*/ 127388 h 127388"/>
              <a:gd name="connsiteX1" fmla="*/ 877476 w 7122723"/>
              <a:gd name="connsiteY1" fmla="*/ 99811 h 127388"/>
              <a:gd name="connsiteX2" fmla="*/ 1743605 w 7122723"/>
              <a:gd name="connsiteY2" fmla="*/ 528 h 127388"/>
              <a:gd name="connsiteX3" fmla="*/ 2482723 w 7122723"/>
              <a:gd name="connsiteY3" fmla="*/ 66098 h 127388"/>
              <a:gd name="connsiteX4" fmla="*/ 3281217 w 7122723"/>
              <a:gd name="connsiteY4" fmla="*/ 77389 h 127388"/>
              <a:gd name="connsiteX5" fmla="*/ 3999440 w 7122723"/>
              <a:gd name="connsiteY5" fmla="*/ 77157 h 127388"/>
              <a:gd name="connsiteX6" fmla="*/ 4723016 w 7122723"/>
              <a:gd name="connsiteY6" fmla="*/ 82217 h 127388"/>
              <a:gd name="connsiteX7" fmla="*/ 5576060 w 7122723"/>
              <a:gd name="connsiteY7" fmla="*/ 75974 h 127388"/>
              <a:gd name="connsiteX8" fmla="*/ 6354192 w 7122723"/>
              <a:gd name="connsiteY8" fmla="*/ 68012 h 127388"/>
              <a:gd name="connsiteX9" fmla="*/ 7122723 w 7122723"/>
              <a:gd name="connsiteY9" fmla="*/ 109739 h 127388"/>
              <a:gd name="connsiteX0" fmla="*/ 0 w 7122723"/>
              <a:gd name="connsiteY0" fmla="*/ 80741 h 80741"/>
              <a:gd name="connsiteX1" fmla="*/ 877476 w 7122723"/>
              <a:gd name="connsiteY1" fmla="*/ 53164 h 80741"/>
              <a:gd name="connsiteX2" fmla="*/ 1757523 w 7122723"/>
              <a:gd name="connsiteY2" fmla="*/ 7896 h 80741"/>
              <a:gd name="connsiteX3" fmla="*/ 2482723 w 7122723"/>
              <a:gd name="connsiteY3" fmla="*/ 19451 h 80741"/>
              <a:gd name="connsiteX4" fmla="*/ 3281217 w 7122723"/>
              <a:gd name="connsiteY4" fmla="*/ 30742 h 80741"/>
              <a:gd name="connsiteX5" fmla="*/ 3999440 w 7122723"/>
              <a:gd name="connsiteY5" fmla="*/ 30510 h 80741"/>
              <a:gd name="connsiteX6" fmla="*/ 4723016 w 7122723"/>
              <a:gd name="connsiteY6" fmla="*/ 35570 h 80741"/>
              <a:gd name="connsiteX7" fmla="*/ 5576060 w 7122723"/>
              <a:gd name="connsiteY7" fmla="*/ 29327 h 80741"/>
              <a:gd name="connsiteX8" fmla="*/ 6354192 w 7122723"/>
              <a:gd name="connsiteY8" fmla="*/ 21365 h 80741"/>
              <a:gd name="connsiteX9" fmla="*/ 7122723 w 7122723"/>
              <a:gd name="connsiteY9" fmla="*/ 63092 h 80741"/>
              <a:gd name="connsiteX0" fmla="*/ 0 w 7115764"/>
              <a:gd name="connsiteY0" fmla="*/ 26726 h 63092"/>
              <a:gd name="connsiteX1" fmla="*/ 870517 w 7115764"/>
              <a:gd name="connsiteY1" fmla="*/ 53164 h 63092"/>
              <a:gd name="connsiteX2" fmla="*/ 1750564 w 7115764"/>
              <a:gd name="connsiteY2" fmla="*/ 7896 h 63092"/>
              <a:gd name="connsiteX3" fmla="*/ 2475764 w 7115764"/>
              <a:gd name="connsiteY3" fmla="*/ 19451 h 63092"/>
              <a:gd name="connsiteX4" fmla="*/ 3274258 w 7115764"/>
              <a:gd name="connsiteY4" fmla="*/ 30742 h 63092"/>
              <a:gd name="connsiteX5" fmla="*/ 3992481 w 7115764"/>
              <a:gd name="connsiteY5" fmla="*/ 30510 h 63092"/>
              <a:gd name="connsiteX6" fmla="*/ 4716057 w 7115764"/>
              <a:gd name="connsiteY6" fmla="*/ 35570 h 63092"/>
              <a:gd name="connsiteX7" fmla="*/ 5569101 w 7115764"/>
              <a:gd name="connsiteY7" fmla="*/ 29327 h 63092"/>
              <a:gd name="connsiteX8" fmla="*/ 6347233 w 7115764"/>
              <a:gd name="connsiteY8" fmla="*/ 21365 h 63092"/>
              <a:gd name="connsiteX9" fmla="*/ 7115764 w 7115764"/>
              <a:gd name="connsiteY9" fmla="*/ 63092 h 63092"/>
              <a:gd name="connsiteX0" fmla="*/ 0 w 7122723"/>
              <a:gd name="connsiteY0" fmla="*/ 378 h 90760"/>
              <a:gd name="connsiteX1" fmla="*/ 877476 w 7122723"/>
              <a:gd name="connsiteY1" fmla="*/ 80832 h 90760"/>
              <a:gd name="connsiteX2" fmla="*/ 1757523 w 7122723"/>
              <a:gd name="connsiteY2" fmla="*/ 35564 h 90760"/>
              <a:gd name="connsiteX3" fmla="*/ 2482723 w 7122723"/>
              <a:gd name="connsiteY3" fmla="*/ 47119 h 90760"/>
              <a:gd name="connsiteX4" fmla="*/ 3281217 w 7122723"/>
              <a:gd name="connsiteY4" fmla="*/ 58410 h 90760"/>
              <a:gd name="connsiteX5" fmla="*/ 3999440 w 7122723"/>
              <a:gd name="connsiteY5" fmla="*/ 58178 h 90760"/>
              <a:gd name="connsiteX6" fmla="*/ 4723016 w 7122723"/>
              <a:gd name="connsiteY6" fmla="*/ 63238 h 90760"/>
              <a:gd name="connsiteX7" fmla="*/ 5576060 w 7122723"/>
              <a:gd name="connsiteY7" fmla="*/ 56995 h 90760"/>
              <a:gd name="connsiteX8" fmla="*/ 6354192 w 7122723"/>
              <a:gd name="connsiteY8" fmla="*/ 49033 h 90760"/>
              <a:gd name="connsiteX9" fmla="*/ 7122723 w 7122723"/>
              <a:gd name="connsiteY9" fmla="*/ 90760 h 90760"/>
              <a:gd name="connsiteX0" fmla="*/ 0 w 7022721"/>
              <a:gd name="connsiteY0" fmla="*/ 3 h 9738971"/>
              <a:gd name="connsiteX1" fmla="*/ 777474 w 7022721"/>
              <a:gd name="connsiteY1" fmla="*/ 9080054 h 9738971"/>
              <a:gd name="connsiteX2" fmla="*/ 1657521 w 7022721"/>
              <a:gd name="connsiteY2" fmla="*/ 9034786 h 9738971"/>
              <a:gd name="connsiteX3" fmla="*/ 2382721 w 7022721"/>
              <a:gd name="connsiteY3" fmla="*/ 9046341 h 9738971"/>
              <a:gd name="connsiteX4" fmla="*/ 3181215 w 7022721"/>
              <a:gd name="connsiteY4" fmla="*/ 9057632 h 9738971"/>
              <a:gd name="connsiteX5" fmla="*/ 3899438 w 7022721"/>
              <a:gd name="connsiteY5" fmla="*/ 9057400 h 9738971"/>
              <a:gd name="connsiteX6" fmla="*/ 4623014 w 7022721"/>
              <a:gd name="connsiteY6" fmla="*/ 9062460 h 9738971"/>
              <a:gd name="connsiteX7" fmla="*/ 5476058 w 7022721"/>
              <a:gd name="connsiteY7" fmla="*/ 9056217 h 9738971"/>
              <a:gd name="connsiteX8" fmla="*/ 6254190 w 7022721"/>
              <a:gd name="connsiteY8" fmla="*/ 9048255 h 9738971"/>
              <a:gd name="connsiteX9" fmla="*/ 7022721 w 7022721"/>
              <a:gd name="connsiteY9" fmla="*/ 9089982 h 9738971"/>
              <a:gd name="connsiteX0" fmla="*/ 0 w 6991471"/>
              <a:gd name="connsiteY0" fmla="*/ 6 h 8045465"/>
              <a:gd name="connsiteX1" fmla="*/ 746224 w 6991471"/>
              <a:gd name="connsiteY1" fmla="*/ 7503309 h 8045465"/>
              <a:gd name="connsiteX2" fmla="*/ 1626271 w 6991471"/>
              <a:gd name="connsiteY2" fmla="*/ 7458041 h 8045465"/>
              <a:gd name="connsiteX3" fmla="*/ 2351471 w 6991471"/>
              <a:gd name="connsiteY3" fmla="*/ 7469596 h 8045465"/>
              <a:gd name="connsiteX4" fmla="*/ 3149965 w 6991471"/>
              <a:gd name="connsiteY4" fmla="*/ 7480887 h 8045465"/>
              <a:gd name="connsiteX5" fmla="*/ 3868188 w 6991471"/>
              <a:gd name="connsiteY5" fmla="*/ 7480655 h 8045465"/>
              <a:gd name="connsiteX6" fmla="*/ 4591764 w 6991471"/>
              <a:gd name="connsiteY6" fmla="*/ 7485715 h 8045465"/>
              <a:gd name="connsiteX7" fmla="*/ 5444808 w 6991471"/>
              <a:gd name="connsiteY7" fmla="*/ 7479472 h 8045465"/>
              <a:gd name="connsiteX8" fmla="*/ 6222940 w 6991471"/>
              <a:gd name="connsiteY8" fmla="*/ 7471510 h 8045465"/>
              <a:gd name="connsiteX9" fmla="*/ 6991471 w 6991471"/>
              <a:gd name="connsiteY9" fmla="*/ 7513237 h 8045465"/>
              <a:gd name="connsiteX0" fmla="*/ 0 w 6985221"/>
              <a:gd name="connsiteY0" fmla="*/ 6 h 7993355"/>
              <a:gd name="connsiteX1" fmla="*/ 739974 w 6985221"/>
              <a:gd name="connsiteY1" fmla="*/ 7454792 h 7993355"/>
              <a:gd name="connsiteX2" fmla="*/ 1620021 w 6985221"/>
              <a:gd name="connsiteY2" fmla="*/ 7409524 h 7993355"/>
              <a:gd name="connsiteX3" fmla="*/ 2345221 w 6985221"/>
              <a:gd name="connsiteY3" fmla="*/ 7421079 h 7993355"/>
              <a:gd name="connsiteX4" fmla="*/ 3143715 w 6985221"/>
              <a:gd name="connsiteY4" fmla="*/ 7432370 h 7993355"/>
              <a:gd name="connsiteX5" fmla="*/ 3861938 w 6985221"/>
              <a:gd name="connsiteY5" fmla="*/ 7432138 h 7993355"/>
              <a:gd name="connsiteX6" fmla="*/ 4585514 w 6985221"/>
              <a:gd name="connsiteY6" fmla="*/ 7437198 h 7993355"/>
              <a:gd name="connsiteX7" fmla="*/ 5438558 w 6985221"/>
              <a:gd name="connsiteY7" fmla="*/ 7430955 h 7993355"/>
              <a:gd name="connsiteX8" fmla="*/ 6216690 w 6985221"/>
              <a:gd name="connsiteY8" fmla="*/ 7422993 h 7993355"/>
              <a:gd name="connsiteX9" fmla="*/ 6985221 w 6985221"/>
              <a:gd name="connsiteY9" fmla="*/ 7464720 h 7993355"/>
              <a:gd name="connsiteX0" fmla="*/ 0 w 6985221"/>
              <a:gd name="connsiteY0" fmla="*/ 1994947 h 10075546"/>
              <a:gd name="connsiteX1" fmla="*/ 814976 w 6985221"/>
              <a:gd name="connsiteY1" fmla="*/ 304587 h 10075546"/>
              <a:gd name="connsiteX2" fmla="*/ 1620021 w 6985221"/>
              <a:gd name="connsiteY2" fmla="*/ 9404465 h 10075546"/>
              <a:gd name="connsiteX3" fmla="*/ 2345221 w 6985221"/>
              <a:gd name="connsiteY3" fmla="*/ 9416020 h 10075546"/>
              <a:gd name="connsiteX4" fmla="*/ 3143715 w 6985221"/>
              <a:gd name="connsiteY4" fmla="*/ 9427311 h 10075546"/>
              <a:gd name="connsiteX5" fmla="*/ 3861938 w 6985221"/>
              <a:gd name="connsiteY5" fmla="*/ 9427079 h 10075546"/>
              <a:gd name="connsiteX6" fmla="*/ 4585514 w 6985221"/>
              <a:gd name="connsiteY6" fmla="*/ 9432139 h 10075546"/>
              <a:gd name="connsiteX7" fmla="*/ 5438558 w 6985221"/>
              <a:gd name="connsiteY7" fmla="*/ 9425896 h 10075546"/>
              <a:gd name="connsiteX8" fmla="*/ 6216690 w 6985221"/>
              <a:gd name="connsiteY8" fmla="*/ 9417934 h 10075546"/>
              <a:gd name="connsiteX9" fmla="*/ 6985221 w 6985221"/>
              <a:gd name="connsiteY9" fmla="*/ 9459661 h 10075546"/>
              <a:gd name="connsiteX0" fmla="*/ 0 w 6985221"/>
              <a:gd name="connsiteY0" fmla="*/ 1743605 h 9824204"/>
              <a:gd name="connsiteX1" fmla="*/ 814976 w 6985221"/>
              <a:gd name="connsiteY1" fmla="*/ 53245 h 9824204"/>
              <a:gd name="connsiteX2" fmla="*/ 1620021 w 6985221"/>
              <a:gd name="connsiteY2" fmla="*/ 9153123 h 9824204"/>
              <a:gd name="connsiteX3" fmla="*/ 2345221 w 6985221"/>
              <a:gd name="connsiteY3" fmla="*/ 9164678 h 9824204"/>
              <a:gd name="connsiteX4" fmla="*/ 3143715 w 6985221"/>
              <a:gd name="connsiteY4" fmla="*/ 9175969 h 9824204"/>
              <a:gd name="connsiteX5" fmla="*/ 3861938 w 6985221"/>
              <a:gd name="connsiteY5" fmla="*/ 9175737 h 9824204"/>
              <a:gd name="connsiteX6" fmla="*/ 4585514 w 6985221"/>
              <a:gd name="connsiteY6" fmla="*/ 9180797 h 9824204"/>
              <a:gd name="connsiteX7" fmla="*/ 5438558 w 6985221"/>
              <a:gd name="connsiteY7" fmla="*/ 9174554 h 9824204"/>
              <a:gd name="connsiteX8" fmla="*/ 6216690 w 6985221"/>
              <a:gd name="connsiteY8" fmla="*/ 9166592 h 9824204"/>
              <a:gd name="connsiteX9" fmla="*/ 6985221 w 6985221"/>
              <a:gd name="connsiteY9" fmla="*/ 9208319 h 9824204"/>
              <a:gd name="connsiteX0" fmla="*/ 0 w 6985221"/>
              <a:gd name="connsiteY0" fmla="*/ 1693174 h 9157887"/>
              <a:gd name="connsiteX1" fmla="*/ 814976 w 6985221"/>
              <a:gd name="connsiteY1" fmla="*/ 2814 h 9157887"/>
              <a:gd name="connsiteX2" fmla="*/ 1532519 w 6985221"/>
              <a:gd name="connsiteY2" fmla="*/ 2189253 h 9157887"/>
              <a:gd name="connsiteX3" fmla="*/ 2345221 w 6985221"/>
              <a:gd name="connsiteY3" fmla="*/ 9114247 h 9157887"/>
              <a:gd name="connsiteX4" fmla="*/ 3143715 w 6985221"/>
              <a:gd name="connsiteY4" fmla="*/ 9125538 h 9157887"/>
              <a:gd name="connsiteX5" fmla="*/ 3861938 w 6985221"/>
              <a:gd name="connsiteY5" fmla="*/ 9125306 h 9157887"/>
              <a:gd name="connsiteX6" fmla="*/ 4585514 w 6985221"/>
              <a:gd name="connsiteY6" fmla="*/ 9130366 h 9157887"/>
              <a:gd name="connsiteX7" fmla="*/ 5438558 w 6985221"/>
              <a:gd name="connsiteY7" fmla="*/ 9124123 h 9157887"/>
              <a:gd name="connsiteX8" fmla="*/ 6216690 w 6985221"/>
              <a:gd name="connsiteY8" fmla="*/ 9116161 h 9157887"/>
              <a:gd name="connsiteX9" fmla="*/ 6985221 w 6985221"/>
              <a:gd name="connsiteY9" fmla="*/ 9157888 h 9157887"/>
              <a:gd name="connsiteX0" fmla="*/ 0 w 6985221"/>
              <a:gd name="connsiteY0" fmla="*/ 1690550 h 9155263"/>
              <a:gd name="connsiteX1" fmla="*/ 814976 w 6985221"/>
              <a:gd name="connsiteY1" fmla="*/ 190 h 9155263"/>
              <a:gd name="connsiteX2" fmla="*/ 1520018 w 6985221"/>
              <a:gd name="connsiteY2" fmla="*/ 1652960 h 9155263"/>
              <a:gd name="connsiteX3" fmla="*/ 2345221 w 6985221"/>
              <a:gd name="connsiteY3" fmla="*/ 9111623 h 9155263"/>
              <a:gd name="connsiteX4" fmla="*/ 3143715 w 6985221"/>
              <a:gd name="connsiteY4" fmla="*/ 9122914 h 9155263"/>
              <a:gd name="connsiteX5" fmla="*/ 3861938 w 6985221"/>
              <a:gd name="connsiteY5" fmla="*/ 9122682 h 9155263"/>
              <a:gd name="connsiteX6" fmla="*/ 4585514 w 6985221"/>
              <a:gd name="connsiteY6" fmla="*/ 9127742 h 9155263"/>
              <a:gd name="connsiteX7" fmla="*/ 5438558 w 6985221"/>
              <a:gd name="connsiteY7" fmla="*/ 9121499 h 9155263"/>
              <a:gd name="connsiteX8" fmla="*/ 6216690 w 6985221"/>
              <a:gd name="connsiteY8" fmla="*/ 9113537 h 9155263"/>
              <a:gd name="connsiteX9" fmla="*/ 6985221 w 6985221"/>
              <a:gd name="connsiteY9" fmla="*/ 9155264 h 9155263"/>
              <a:gd name="connsiteX0" fmla="*/ 0 w 6985221"/>
              <a:gd name="connsiteY0" fmla="*/ 1690395 h 9155108"/>
              <a:gd name="connsiteX1" fmla="*/ 814976 w 6985221"/>
              <a:gd name="connsiteY1" fmla="*/ 35 h 9155108"/>
              <a:gd name="connsiteX2" fmla="*/ 1520018 w 6985221"/>
              <a:gd name="connsiteY2" fmla="*/ 1652805 h 9155108"/>
              <a:gd name="connsiteX3" fmla="*/ 2345221 w 6985221"/>
              <a:gd name="connsiteY3" fmla="*/ 9111468 h 9155108"/>
              <a:gd name="connsiteX4" fmla="*/ 3143715 w 6985221"/>
              <a:gd name="connsiteY4" fmla="*/ 9122759 h 9155108"/>
              <a:gd name="connsiteX5" fmla="*/ 3861938 w 6985221"/>
              <a:gd name="connsiteY5" fmla="*/ 9122527 h 9155108"/>
              <a:gd name="connsiteX6" fmla="*/ 4585514 w 6985221"/>
              <a:gd name="connsiteY6" fmla="*/ 9127587 h 9155108"/>
              <a:gd name="connsiteX7" fmla="*/ 5438558 w 6985221"/>
              <a:gd name="connsiteY7" fmla="*/ 9121344 h 9155108"/>
              <a:gd name="connsiteX8" fmla="*/ 6216690 w 6985221"/>
              <a:gd name="connsiteY8" fmla="*/ 9113382 h 9155108"/>
              <a:gd name="connsiteX9" fmla="*/ 6985221 w 6985221"/>
              <a:gd name="connsiteY9" fmla="*/ 9155109 h 9155108"/>
              <a:gd name="connsiteX0" fmla="*/ 0 w 6985221"/>
              <a:gd name="connsiteY0" fmla="*/ 1690375 h 9155088"/>
              <a:gd name="connsiteX1" fmla="*/ 814976 w 6985221"/>
              <a:gd name="connsiteY1" fmla="*/ 15 h 9155088"/>
              <a:gd name="connsiteX2" fmla="*/ 1526268 w 6985221"/>
              <a:gd name="connsiteY2" fmla="*/ 1725557 h 9155088"/>
              <a:gd name="connsiteX3" fmla="*/ 2345221 w 6985221"/>
              <a:gd name="connsiteY3" fmla="*/ 9111448 h 9155088"/>
              <a:gd name="connsiteX4" fmla="*/ 3143715 w 6985221"/>
              <a:gd name="connsiteY4" fmla="*/ 9122739 h 9155088"/>
              <a:gd name="connsiteX5" fmla="*/ 3861938 w 6985221"/>
              <a:gd name="connsiteY5" fmla="*/ 9122507 h 9155088"/>
              <a:gd name="connsiteX6" fmla="*/ 4585514 w 6985221"/>
              <a:gd name="connsiteY6" fmla="*/ 9127567 h 9155088"/>
              <a:gd name="connsiteX7" fmla="*/ 5438558 w 6985221"/>
              <a:gd name="connsiteY7" fmla="*/ 9121324 h 9155088"/>
              <a:gd name="connsiteX8" fmla="*/ 6216690 w 6985221"/>
              <a:gd name="connsiteY8" fmla="*/ 9113362 h 9155088"/>
              <a:gd name="connsiteX9" fmla="*/ 6985221 w 6985221"/>
              <a:gd name="connsiteY9" fmla="*/ 9155089 h 9155088"/>
              <a:gd name="connsiteX0" fmla="*/ 0 w 6985221"/>
              <a:gd name="connsiteY0" fmla="*/ 2061102 h 9525815"/>
              <a:gd name="connsiteX1" fmla="*/ 814976 w 6985221"/>
              <a:gd name="connsiteY1" fmla="*/ 370742 h 9525815"/>
              <a:gd name="connsiteX2" fmla="*/ 1538768 w 6985221"/>
              <a:gd name="connsiteY2" fmla="*/ 446760 h 9525815"/>
              <a:gd name="connsiteX3" fmla="*/ 2345221 w 6985221"/>
              <a:gd name="connsiteY3" fmla="*/ 9482175 h 9525815"/>
              <a:gd name="connsiteX4" fmla="*/ 3143715 w 6985221"/>
              <a:gd name="connsiteY4" fmla="*/ 9493466 h 9525815"/>
              <a:gd name="connsiteX5" fmla="*/ 3861938 w 6985221"/>
              <a:gd name="connsiteY5" fmla="*/ 9493234 h 9525815"/>
              <a:gd name="connsiteX6" fmla="*/ 4585514 w 6985221"/>
              <a:gd name="connsiteY6" fmla="*/ 9498294 h 9525815"/>
              <a:gd name="connsiteX7" fmla="*/ 5438558 w 6985221"/>
              <a:gd name="connsiteY7" fmla="*/ 9492051 h 9525815"/>
              <a:gd name="connsiteX8" fmla="*/ 6216690 w 6985221"/>
              <a:gd name="connsiteY8" fmla="*/ 9484089 h 9525815"/>
              <a:gd name="connsiteX9" fmla="*/ 6985221 w 6985221"/>
              <a:gd name="connsiteY9" fmla="*/ 9525816 h 9525815"/>
              <a:gd name="connsiteX0" fmla="*/ 0 w 6985221"/>
              <a:gd name="connsiteY0" fmla="*/ 1895434 h 9360147"/>
              <a:gd name="connsiteX1" fmla="*/ 814976 w 6985221"/>
              <a:gd name="connsiteY1" fmla="*/ 205074 h 9360147"/>
              <a:gd name="connsiteX2" fmla="*/ 1538768 w 6985221"/>
              <a:gd name="connsiteY2" fmla="*/ 281092 h 9360147"/>
              <a:gd name="connsiteX3" fmla="*/ 2345221 w 6985221"/>
              <a:gd name="connsiteY3" fmla="*/ 9316507 h 9360147"/>
              <a:gd name="connsiteX4" fmla="*/ 3143715 w 6985221"/>
              <a:gd name="connsiteY4" fmla="*/ 9327798 h 9360147"/>
              <a:gd name="connsiteX5" fmla="*/ 3861938 w 6985221"/>
              <a:gd name="connsiteY5" fmla="*/ 9327566 h 9360147"/>
              <a:gd name="connsiteX6" fmla="*/ 4585514 w 6985221"/>
              <a:gd name="connsiteY6" fmla="*/ 9332626 h 9360147"/>
              <a:gd name="connsiteX7" fmla="*/ 5438558 w 6985221"/>
              <a:gd name="connsiteY7" fmla="*/ 9326383 h 9360147"/>
              <a:gd name="connsiteX8" fmla="*/ 6216690 w 6985221"/>
              <a:gd name="connsiteY8" fmla="*/ 9318421 h 9360147"/>
              <a:gd name="connsiteX9" fmla="*/ 6985221 w 6985221"/>
              <a:gd name="connsiteY9" fmla="*/ 9360148 h 9360147"/>
              <a:gd name="connsiteX0" fmla="*/ 0 w 6985221"/>
              <a:gd name="connsiteY0" fmla="*/ 1922767 h 9387480"/>
              <a:gd name="connsiteX1" fmla="*/ 814976 w 6985221"/>
              <a:gd name="connsiteY1" fmla="*/ 232407 h 9387480"/>
              <a:gd name="connsiteX2" fmla="*/ 1551269 w 6985221"/>
              <a:gd name="connsiteY2" fmla="*/ 259909 h 9387480"/>
              <a:gd name="connsiteX3" fmla="*/ 2345221 w 6985221"/>
              <a:gd name="connsiteY3" fmla="*/ 9343840 h 9387480"/>
              <a:gd name="connsiteX4" fmla="*/ 3143715 w 6985221"/>
              <a:gd name="connsiteY4" fmla="*/ 9355131 h 9387480"/>
              <a:gd name="connsiteX5" fmla="*/ 3861938 w 6985221"/>
              <a:gd name="connsiteY5" fmla="*/ 9354899 h 9387480"/>
              <a:gd name="connsiteX6" fmla="*/ 4585514 w 6985221"/>
              <a:gd name="connsiteY6" fmla="*/ 9359959 h 9387480"/>
              <a:gd name="connsiteX7" fmla="*/ 5438558 w 6985221"/>
              <a:gd name="connsiteY7" fmla="*/ 9353716 h 9387480"/>
              <a:gd name="connsiteX8" fmla="*/ 6216690 w 6985221"/>
              <a:gd name="connsiteY8" fmla="*/ 9345754 h 9387480"/>
              <a:gd name="connsiteX9" fmla="*/ 6985221 w 6985221"/>
              <a:gd name="connsiteY9" fmla="*/ 9387481 h 9387480"/>
              <a:gd name="connsiteX0" fmla="*/ 0 w 6985221"/>
              <a:gd name="connsiteY0" fmla="*/ 1949919 h 9414632"/>
              <a:gd name="connsiteX1" fmla="*/ 814976 w 6985221"/>
              <a:gd name="connsiteY1" fmla="*/ 259559 h 9414632"/>
              <a:gd name="connsiteX2" fmla="*/ 1551269 w 6985221"/>
              <a:gd name="connsiteY2" fmla="*/ 287061 h 9414632"/>
              <a:gd name="connsiteX3" fmla="*/ 2307720 w 6985221"/>
              <a:gd name="connsiteY3" fmla="*/ 2942706 h 9414632"/>
              <a:gd name="connsiteX4" fmla="*/ 3143715 w 6985221"/>
              <a:gd name="connsiteY4" fmla="*/ 9382283 h 9414632"/>
              <a:gd name="connsiteX5" fmla="*/ 3861938 w 6985221"/>
              <a:gd name="connsiteY5" fmla="*/ 9382051 h 9414632"/>
              <a:gd name="connsiteX6" fmla="*/ 4585514 w 6985221"/>
              <a:gd name="connsiteY6" fmla="*/ 9387111 h 9414632"/>
              <a:gd name="connsiteX7" fmla="*/ 5438558 w 6985221"/>
              <a:gd name="connsiteY7" fmla="*/ 9380868 h 9414632"/>
              <a:gd name="connsiteX8" fmla="*/ 6216690 w 6985221"/>
              <a:gd name="connsiteY8" fmla="*/ 9372906 h 9414632"/>
              <a:gd name="connsiteX9" fmla="*/ 6985221 w 6985221"/>
              <a:gd name="connsiteY9" fmla="*/ 9414633 h 9414632"/>
              <a:gd name="connsiteX0" fmla="*/ 0 w 6985221"/>
              <a:gd name="connsiteY0" fmla="*/ 1872404 h 9337117"/>
              <a:gd name="connsiteX1" fmla="*/ 814976 w 6985221"/>
              <a:gd name="connsiteY1" fmla="*/ 182044 h 9337117"/>
              <a:gd name="connsiteX2" fmla="*/ 1551269 w 6985221"/>
              <a:gd name="connsiteY2" fmla="*/ 209546 h 9337117"/>
              <a:gd name="connsiteX3" fmla="*/ 2345221 w 6985221"/>
              <a:gd name="connsiteY3" fmla="*/ 1628050 h 9337117"/>
              <a:gd name="connsiteX4" fmla="*/ 3143715 w 6985221"/>
              <a:gd name="connsiteY4" fmla="*/ 9304768 h 9337117"/>
              <a:gd name="connsiteX5" fmla="*/ 3861938 w 6985221"/>
              <a:gd name="connsiteY5" fmla="*/ 9304536 h 9337117"/>
              <a:gd name="connsiteX6" fmla="*/ 4585514 w 6985221"/>
              <a:gd name="connsiteY6" fmla="*/ 9309596 h 9337117"/>
              <a:gd name="connsiteX7" fmla="*/ 5438558 w 6985221"/>
              <a:gd name="connsiteY7" fmla="*/ 9303353 h 9337117"/>
              <a:gd name="connsiteX8" fmla="*/ 6216690 w 6985221"/>
              <a:gd name="connsiteY8" fmla="*/ 9295391 h 9337117"/>
              <a:gd name="connsiteX9" fmla="*/ 6985221 w 6985221"/>
              <a:gd name="connsiteY9" fmla="*/ 9337118 h 9337117"/>
              <a:gd name="connsiteX0" fmla="*/ 0 w 6985221"/>
              <a:gd name="connsiteY0" fmla="*/ 1859061 h 9323774"/>
              <a:gd name="connsiteX1" fmla="*/ 814976 w 6985221"/>
              <a:gd name="connsiteY1" fmla="*/ 168701 h 9323774"/>
              <a:gd name="connsiteX2" fmla="*/ 1551269 w 6985221"/>
              <a:gd name="connsiteY2" fmla="*/ 196203 h 9323774"/>
              <a:gd name="connsiteX3" fmla="*/ 2345221 w 6985221"/>
              <a:gd name="connsiteY3" fmla="*/ 1372129 h 9323774"/>
              <a:gd name="connsiteX4" fmla="*/ 3143715 w 6985221"/>
              <a:gd name="connsiteY4" fmla="*/ 9291425 h 9323774"/>
              <a:gd name="connsiteX5" fmla="*/ 3861938 w 6985221"/>
              <a:gd name="connsiteY5" fmla="*/ 9291193 h 9323774"/>
              <a:gd name="connsiteX6" fmla="*/ 4585514 w 6985221"/>
              <a:gd name="connsiteY6" fmla="*/ 9296253 h 9323774"/>
              <a:gd name="connsiteX7" fmla="*/ 5438558 w 6985221"/>
              <a:gd name="connsiteY7" fmla="*/ 9290010 h 9323774"/>
              <a:gd name="connsiteX8" fmla="*/ 6216690 w 6985221"/>
              <a:gd name="connsiteY8" fmla="*/ 9282048 h 9323774"/>
              <a:gd name="connsiteX9" fmla="*/ 6985221 w 6985221"/>
              <a:gd name="connsiteY9" fmla="*/ 9323775 h 9323774"/>
              <a:gd name="connsiteX0" fmla="*/ 0 w 6985221"/>
              <a:gd name="connsiteY0" fmla="*/ 1866969 h 9331682"/>
              <a:gd name="connsiteX1" fmla="*/ 814976 w 6985221"/>
              <a:gd name="connsiteY1" fmla="*/ 176609 h 9331682"/>
              <a:gd name="connsiteX2" fmla="*/ 1551269 w 6985221"/>
              <a:gd name="connsiteY2" fmla="*/ 204111 h 9331682"/>
              <a:gd name="connsiteX3" fmla="*/ 2326471 w 6985221"/>
              <a:gd name="connsiteY3" fmla="*/ 1525584 h 9331682"/>
              <a:gd name="connsiteX4" fmla="*/ 3143715 w 6985221"/>
              <a:gd name="connsiteY4" fmla="*/ 9299333 h 9331682"/>
              <a:gd name="connsiteX5" fmla="*/ 3861938 w 6985221"/>
              <a:gd name="connsiteY5" fmla="*/ 9299101 h 9331682"/>
              <a:gd name="connsiteX6" fmla="*/ 4585514 w 6985221"/>
              <a:gd name="connsiteY6" fmla="*/ 9304161 h 9331682"/>
              <a:gd name="connsiteX7" fmla="*/ 5438558 w 6985221"/>
              <a:gd name="connsiteY7" fmla="*/ 9297918 h 9331682"/>
              <a:gd name="connsiteX8" fmla="*/ 6216690 w 6985221"/>
              <a:gd name="connsiteY8" fmla="*/ 9289956 h 9331682"/>
              <a:gd name="connsiteX9" fmla="*/ 6985221 w 6985221"/>
              <a:gd name="connsiteY9" fmla="*/ 9331683 h 9331682"/>
              <a:gd name="connsiteX0" fmla="*/ 0 w 6985221"/>
              <a:gd name="connsiteY0" fmla="*/ 1808945 h 9273658"/>
              <a:gd name="connsiteX1" fmla="*/ 814976 w 6985221"/>
              <a:gd name="connsiteY1" fmla="*/ 118585 h 9273658"/>
              <a:gd name="connsiteX2" fmla="*/ 1551269 w 6985221"/>
              <a:gd name="connsiteY2" fmla="*/ 146087 h 9273658"/>
              <a:gd name="connsiteX3" fmla="*/ 2313971 w 6985221"/>
              <a:gd name="connsiteY3" fmla="*/ 181904 h 9273658"/>
              <a:gd name="connsiteX4" fmla="*/ 3143715 w 6985221"/>
              <a:gd name="connsiteY4" fmla="*/ 9241309 h 9273658"/>
              <a:gd name="connsiteX5" fmla="*/ 3861938 w 6985221"/>
              <a:gd name="connsiteY5" fmla="*/ 9241077 h 9273658"/>
              <a:gd name="connsiteX6" fmla="*/ 4585514 w 6985221"/>
              <a:gd name="connsiteY6" fmla="*/ 9246137 h 9273658"/>
              <a:gd name="connsiteX7" fmla="*/ 5438558 w 6985221"/>
              <a:gd name="connsiteY7" fmla="*/ 9239894 h 9273658"/>
              <a:gd name="connsiteX8" fmla="*/ 6216690 w 6985221"/>
              <a:gd name="connsiteY8" fmla="*/ 9231932 h 9273658"/>
              <a:gd name="connsiteX9" fmla="*/ 6985221 w 6985221"/>
              <a:gd name="connsiteY9" fmla="*/ 9273659 h 9273658"/>
              <a:gd name="connsiteX0" fmla="*/ 0 w 6985221"/>
              <a:gd name="connsiteY0" fmla="*/ 2986083 h 10450796"/>
              <a:gd name="connsiteX1" fmla="*/ 814976 w 6985221"/>
              <a:gd name="connsiteY1" fmla="*/ 1295723 h 10450796"/>
              <a:gd name="connsiteX2" fmla="*/ 1551269 w 6985221"/>
              <a:gd name="connsiteY2" fmla="*/ 1323225 h 10450796"/>
              <a:gd name="connsiteX3" fmla="*/ 2332722 w 6985221"/>
              <a:gd name="connsiteY3" fmla="*/ 613 h 10450796"/>
              <a:gd name="connsiteX4" fmla="*/ 3143715 w 6985221"/>
              <a:gd name="connsiteY4" fmla="*/ 10418447 h 10450796"/>
              <a:gd name="connsiteX5" fmla="*/ 3861938 w 6985221"/>
              <a:gd name="connsiteY5" fmla="*/ 10418215 h 10450796"/>
              <a:gd name="connsiteX6" fmla="*/ 4585514 w 6985221"/>
              <a:gd name="connsiteY6" fmla="*/ 10423275 h 10450796"/>
              <a:gd name="connsiteX7" fmla="*/ 5438558 w 6985221"/>
              <a:gd name="connsiteY7" fmla="*/ 10417032 h 10450796"/>
              <a:gd name="connsiteX8" fmla="*/ 6216690 w 6985221"/>
              <a:gd name="connsiteY8" fmla="*/ 10409070 h 10450796"/>
              <a:gd name="connsiteX9" fmla="*/ 6985221 w 6985221"/>
              <a:gd name="connsiteY9" fmla="*/ 10450797 h 10450796"/>
              <a:gd name="connsiteX0" fmla="*/ 0 w 6985221"/>
              <a:gd name="connsiteY0" fmla="*/ 2986083 h 10450796"/>
              <a:gd name="connsiteX1" fmla="*/ 814976 w 6985221"/>
              <a:gd name="connsiteY1" fmla="*/ 1295723 h 10450796"/>
              <a:gd name="connsiteX2" fmla="*/ 1551269 w 6985221"/>
              <a:gd name="connsiteY2" fmla="*/ 1323225 h 10450796"/>
              <a:gd name="connsiteX3" fmla="*/ 2332722 w 6985221"/>
              <a:gd name="connsiteY3" fmla="*/ 613 h 10450796"/>
              <a:gd name="connsiteX4" fmla="*/ 3106215 w 6985221"/>
              <a:gd name="connsiteY4" fmla="*/ 2971340 h 10450796"/>
              <a:gd name="connsiteX5" fmla="*/ 3861938 w 6985221"/>
              <a:gd name="connsiteY5" fmla="*/ 10418215 h 10450796"/>
              <a:gd name="connsiteX6" fmla="*/ 4585514 w 6985221"/>
              <a:gd name="connsiteY6" fmla="*/ 10423275 h 10450796"/>
              <a:gd name="connsiteX7" fmla="*/ 5438558 w 6985221"/>
              <a:gd name="connsiteY7" fmla="*/ 10417032 h 10450796"/>
              <a:gd name="connsiteX8" fmla="*/ 6216690 w 6985221"/>
              <a:gd name="connsiteY8" fmla="*/ 10409070 h 10450796"/>
              <a:gd name="connsiteX9" fmla="*/ 6985221 w 6985221"/>
              <a:gd name="connsiteY9" fmla="*/ 10450797 h 10450796"/>
              <a:gd name="connsiteX0" fmla="*/ 0 w 6985221"/>
              <a:gd name="connsiteY0" fmla="*/ 2986083 h 10450796"/>
              <a:gd name="connsiteX1" fmla="*/ 814976 w 6985221"/>
              <a:gd name="connsiteY1" fmla="*/ 1295723 h 10450796"/>
              <a:gd name="connsiteX2" fmla="*/ 1551269 w 6985221"/>
              <a:gd name="connsiteY2" fmla="*/ 1323225 h 10450796"/>
              <a:gd name="connsiteX3" fmla="*/ 2332722 w 6985221"/>
              <a:gd name="connsiteY3" fmla="*/ 613 h 10450796"/>
              <a:gd name="connsiteX4" fmla="*/ 3106215 w 6985221"/>
              <a:gd name="connsiteY4" fmla="*/ 2971340 h 10450796"/>
              <a:gd name="connsiteX5" fmla="*/ 3799437 w 6985221"/>
              <a:gd name="connsiteY5" fmla="*/ 2849820 h 10450796"/>
              <a:gd name="connsiteX6" fmla="*/ 4585514 w 6985221"/>
              <a:gd name="connsiteY6" fmla="*/ 10423275 h 10450796"/>
              <a:gd name="connsiteX7" fmla="*/ 5438558 w 6985221"/>
              <a:gd name="connsiteY7" fmla="*/ 10417032 h 10450796"/>
              <a:gd name="connsiteX8" fmla="*/ 6216690 w 6985221"/>
              <a:gd name="connsiteY8" fmla="*/ 10409070 h 10450796"/>
              <a:gd name="connsiteX9" fmla="*/ 6985221 w 6985221"/>
              <a:gd name="connsiteY9" fmla="*/ 10450797 h 10450796"/>
              <a:gd name="connsiteX0" fmla="*/ 0 w 6985221"/>
              <a:gd name="connsiteY0" fmla="*/ 2986083 h 10450796"/>
              <a:gd name="connsiteX1" fmla="*/ 814976 w 6985221"/>
              <a:gd name="connsiteY1" fmla="*/ 1295723 h 10450796"/>
              <a:gd name="connsiteX2" fmla="*/ 1551269 w 6985221"/>
              <a:gd name="connsiteY2" fmla="*/ 1323225 h 10450796"/>
              <a:gd name="connsiteX3" fmla="*/ 2332722 w 6985221"/>
              <a:gd name="connsiteY3" fmla="*/ 613 h 10450796"/>
              <a:gd name="connsiteX4" fmla="*/ 3106215 w 6985221"/>
              <a:gd name="connsiteY4" fmla="*/ 2971340 h 10450796"/>
              <a:gd name="connsiteX5" fmla="*/ 3799437 w 6985221"/>
              <a:gd name="connsiteY5" fmla="*/ 2849820 h 10450796"/>
              <a:gd name="connsiteX6" fmla="*/ 4585514 w 6985221"/>
              <a:gd name="connsiteY6" fmla="*/ 10423275 h 10450796"/>
              <a:gd name="connsiteX7" fmla="*/ 5438558 w 6985221"/>
              <a:gd name="connsiteY7" fmla="*/ 10417032 h 10450796"/>
              <a:gd name="connsiteX8" fmla="*/ 6216690 w 6985221"/>
              <a:gd name="connsiteY8" fmla="*/ 10409070 h 10450796"/>
              <a:gd name="connsiteX9" fmla="*/ 6985221 w 6985221"/>
              <a:gd name="connsiteY9" fmla="*/ 10450797 h 10450796"/>
              <a:gd name="connsiteX0" fmla="*/ 0 w 6985221"/>
              <a:gd name="connsiteY0" fmla="*/ 2986083 h 10450796"/>
              <a:gd name="connsiteX1" fmla="*/ 814976 w 6985221"/>
              <a:gd name="connsiteY1" fmla="*/ 1295723 h 10450796"/>
              <a:gd name="connsiteX2" fmla="*/ 1551269 w 6985221"/>
              <a:gd name="connsiteY2" fmla="*/ 1323225 h 10450796"/>
              <a:gd name="connsiteX3" fmla="*/ 2332722 w 6985221"/>
              <a:gd name="connsiteY3" fmla="*/ 613 h 10450796"/>
              <a:gd name="connsiteX4" fmla="*/ 3106215 w 6985221"/>
              <a:gd name="connsiteY4" fmla="*/ 2971340 h 10450796"/>
              <a:gd name="connsiteX5" fmla="*/ 3855689 w 6985221"/>
              <a:gd name="connsiteY5" fmla="*/ 2995366 h 10450796"/>
              <a:gd name="connsiteX6" fmla="*/ 4585514 w 6985221"/>
              <a:gd name="connsiteY6" fmla="*/ 10423275 h 10450796"/>
              <a:gd name="connsiteX7" fmla="*/ 5438558 w 6985221"/>
              <a:gd name="connsiteY7" fmla="*/ 10417032 h 10450796"/>
              <a:gd name="connsiteX8" fmla="*/ 6216690 w 6985221"/>
              <a:gd name="connsiteY8" fmla="*/ 10409070 h 10450796"/>
              <a:gd name="connsiteX9" fmla="*/ 6985221 w 6985221"/>
              <a:gd name="connsiteY9" fmla="*/ 10450797 h 10450796"/>
              <a:gd name="connsiteX0" fmla="*/ 0 w 6985221"/>
              <a:gd name="connsiteY0" fmla="*/ 2986083 h 10450796"/>
              <a:gd name="connsiteX1" fmla="*/ 814976 w 6985221"/>
              <a:gd name="connsiteY1" fmla="*/ 1295723 h 10450796"/>
              <a:gd name="connsiteX2" fmla="*/ 1551269 w 6985221"/>
              <a:gd name="connsiteY2" fmla="*/ 1323225 h 10450796"/>
              <a:gd name="connsiteX3" fmla="*/ 2332722 w 6985221"/>
              <a:gd name="connsiteY3" fmla="*/ 613 h 10450796"/>
              <a:gd name="connsiteX4" fmla="*/ 3106215 w 6985221"/>
              <a:gd name="connsiteY4" fmla="*/ 2971340 h 10450796"/>
              <a:gd name="connsiteX5" fmla="*/ 3855689 w 6985221"/>
              <a:gd name="connsiteY5" fmla="*/ 2995366 h 10450796"/>
              <a:gd name="connsiteX6" fmla="*/ 4610515 w 6985221"/>
              <a:gd name="connsiteY6" fmla="*/ 4989556 h 10450796"/>
              <a:gd name="connsiteX7" fmla="*/ 5438558 w 6985221"/>
              <a:gd name="connsiteY7" fmla="*/ 10417032 h 10450796"/>
              <a:gd name="connsiteX8" fmla="*/ 6216690 w 6985221"/>
              <a:gd name="connsiteY8" fmla="*/ 10409070 h 10450796"/>
              <a:gd name="connsiteX9" fmla="*/ 6985221 w 6985221"/>
              <a:gd name="connsiteY9" fmla="*/ 10450797 h 10450796"/>
              <a:gd name="connsiteX0" fmla="*/ 0 w 6985221"/>
              <a:gd name="connsiteY0" fmla="*/ 2986083 h 10450796"/>
              <a:gd name="connsiteX1" fmla="*/ 814976 w 6985221"/>
              <a:gd name="connsiteY1" fmla="*/ 1295723 h 10450796"/>
              <a:gd name="connsiteX2" fmla="*/ 1551269 w 6985221"/>
              <a:gd name="connsiteY2" fmla="*/ 1323225 h 10450796"/>
              <a:gd name="connsiteX3" fmla="*/ 2332722 w 6985221"/>
              <a:gd name="connsiteY3" fmla="*/ 613 h 10450796"/>
              <a:gd name="connsiteX4" fmla="*/ 3106215 w 6985221"/>
              <a:gd name="connsiteY4" fmla="*/ 2971340 h 10450796"/>
              <a:gd name="connsiteX5" fmla="*/ 3855689 w 6985221"/>
              <a:gd name="connsiteY5" fmla="*/ 2995366 h 10450796"/>
              <a:gd name="connsiteX6" fmla="*/ 4610515 w 6985221"/>
              <a:gd name="connsiteY6" fmla="*/ 4989556 h 10450796"/>
              <a:gd name="connsiteX7" fmla="*/ 5438558 w 6985221"/>
              <a:gd name="connsiteY7" fmla="*/ 10417032 h 10450796"/>
              <a:gd name="connsiteX8" fmla="*/ 6216690 w 6985221"/>
              <a:gd name="connsiteY8" fmla="*/ 10409070 h 10450796"/>
              <a:gd name="connsiteX9" fmla="*/ 6985221 w 6985221"/>
              <a:gd name="connsiteY9" fmla="*/ 10450797 h 10450796"/>
              <a:gd name="connsiteX0" fmla="*/ 0 w 6985221"/>
              <a:gd name="connsiteY0" fmla="*/ 2986083 h 10450796"/>
              <a:gd name="connsiteX1" fmla="*/ 814976 w 6985221"/>
              <a:gd name="connsiteY1" fmla="*/ 1295723 h 10450796"/>
              <a:gd name="connsiteX2" fmla="*/ 1551269 w 6985221"/>
              <a:gd name="connsiteY2" fmla="*/ 1323225 h 10450796"/>
              <a:gd name="connsiteX3" fmla="*/ 2332722 w 6985221"/>
              <a:gd name="connsiteY3" fmla="*/ 613 h 10450796"/>
              <a:gd name="connsiteX4" fmla="*/ 3106215 w 6985221"/>
              <a:gd name="connsiteY4" fmla="*/ 2971340 h 10450796"/>
              <a:gd name="connsiteX5" fmla="*/ 3855689 w 6985221"/>
              <a:gd name="connsiteY5" fmla="*/ 2995366 h 10450796"/>
              <a:gd name="connsiteX6" fmla="*/ 4610515 w 6985221"/>
              <a:gd name="connsiteY6" fmla="*/ 4989556 h 10450796"/>
              <a:gd name="connsiteX7" fmla="*/ 5438558 w 6985221"/>
              <a:gd name="connsiteY7" fmla="*/ 10417032 h 10450796"/>
              <a:gd name="connsiteX8" fmla="*/ 6216690 w 6985221"/>
              <a:gd name="connsiteY8" fmla="*/ 10409070 h 10450796"/>
              <a:gd name="connsiteX9" fmla="*/ 6985221 w 6985221"/>
              <a:gd name="connsiteY9" fmla="*/ 10450797 h 10450796"/>
              <a:gd name="connsiteX0" fmla="*/ 0 w 6866468"/>
              <a:gd name="connsiteY0" fmla="*/ 2986083 h 10417031"/>
              <a:gd name="connsiteX1" fmla="*/ 814976 w 6866468"/>
              <a:gd name="connsiteY1" fmla="*/ 1295723 h 10417031"/>
              <a:gd name="connsiteX2" fmla="*/ 1551269 w 6866468"/>
              <a:gd name="connsiteY2" fmla="*/ 1323225 h 10417031"/>
              <a:gd name="connsiteX3" fmla="*/ 2332722 w 6866468"/>
              <a:gd name="connsiteY3" fmla="*/ 613 h 10417031"/>
              <a:gd name="connsiteX4" fmla="*/ 3106215 w 6866468"/>
              <a:gd name="connsiteY4" fmla="*/ 2971340 h 10417031"/>
              <a:gd name="connsiteX5" fmla="*/ 3855689 w 6866468"/>
              <a:gd name="connsiteY5" fmla="*/ 2995366 h 10417031"/>
              <a:gd name="connsiteX6" fmla="*/ 4610515 w 6866468"/>
              <a:gd name="connsiteY6" fmla="*/ 4989556 h 10417031"/>
              <a:gd name="connsiteX7" fmla="*/ 5438558 w 6866468"/>
              <a:gd name="connsiteY7" fmla="*/ 10417032 h 10417031"/>
              <a:gd name="connsiteX8" fmla="*/ 6216690 w 6866468"/>
              <a:gd name="connsiteY8" fmla="*/ 10409070 h 10417031"/>
              <a:gd name="connsiteX9" fmla="*/ 6866468 w 6866468"/>
              <a:gd name="connsiteY9" fmla="*/ 2809629 h 10417031"/>
              <a:gd name="connsiteX0" fmla="*/ 0 w 6866468"/>
              <a:gd name="connsiteY0" fmla="*/ 2986083 h 10417031"/>
              <a:gd name="connsiteX1" fmla="*/ 814976 w 6866468"/>
              <a:gd name="connsiteY1" fmla="*/ 1295723 h 10417031"/>
              <a:gd name="connsiteX2" fmla="*/ 1551269 w 6866468"/>
              <a:gd name="connsiteY2" fmla="*/ 1323225 h 10417031"/>
              <a:gd name="connsiteX3" fmla="*/ 2332722 w 6866468"/>
              <a:gd name="connsiteY3" fmla="*/ 613 h 10417031"/>
              <a:gd name="connsiteX4" fmla="*/ 3106215 w 6866468"/>
              <a:gd name="connsiteY4" fmla="*/ 2971340 h 10417031"/>
              <a:gd name="connsiteX5" fmla="*/ 3855689 w 6866468"/>
              <a:gd name="connsiteY5" fmla="*/ 2995366 h 10417031"/>
              <a:gd name="connsiteX6" fmla="*/ 4610515 w 6866468"/>
              <a:gd name="connsiteY6" fmla="*/ 4989556 h 10417031"/>
              <a:gd name="connsiteX7" fmla="*/ 5438558 w 6866468"/>
              <a:gd name="connsiteY7" fmla="*/ 10417032 h 10417031"/>
              <a:gd name="connsiteX8" fmla="*/ 6091688 w 6866468"/>
              <a:gd name="connsiteY8" fmla="*/ 3447118 h 10417031"/>
              <a:gd name="connsiteX9" fmla="*/ 6866468 w 6866468"/>
              <a:gd name="connsiteY9" fmla="*/ 2809629 h 10417031"/>
              <a:gd name="connsiteX0" fmla="*/ 0 w 6866468"/>
              <a:gd name="connsiteY0" fmla="*/ 2986083 h 10417031"/>
              <a:gd name="connsiteX1" fmla="*/ 814976 w 6866468"/>
              <a:gd name="connsiteY1" fmla="*/ 1295723 h 10417031"/>
              <a:gd name="connsiteX2" fmla="*/ 1551269 w 6866468"/>
              <a:gd name="connsiteY2" fmla="*/ 1323225 h 10417031"/>
              <a:gd name="connsiteX3" fmla="*/ 2332722 w 6866468"/>
              <a:gd name="connsiteY3" fmla="*/ 613 h 10417031"/>
              <a:gd name="connsiteX4" fmla="*/ 3106215 w 6866468"/>
              <a:gd name="connsiteY4" fmla="*/ 2971340 h 10417031"/>
              <a:gd name="connsiteX5" fmla="*/ 3855689 w 6866468"/>
              <a:gd name="connsiteY5" fmla="*/ 2995366 h 10417031"/>
              <a:gd name="connsiteX6" fmla="*/ 4610515 w 6866468"/>
              <a:gd name="connsiteY6" fmla="*/ 4989556 h 10417031"/>
              <a:gd name="connsiteX7" fmla="*/ 5438558 w 6866468"/>
              <a:gd name="connsiteY7" fmla="*/ 10417032 h 10417031"/>
              <a:gd name="connsiteX8" fmla="*/ 6104188 w 6866468"/>
              <a:gd name="connsiteY8" fmla="*/ 3447118 h 10417031"/>
              <a:gd name="connsiteX9" fmla="*/ 6866468 w 6866468"/>
              <a:gd name="connsiteY9" fmla="*/ 2809629 h 10417031"/>
              <a:gd name="connsiteX0" fmla="*/ 0 w 6866468"/>
              <a:gd name="connsiteY0" fmla="*/ 2986083 h 10417031"/>
              <a:gd name="connsiteX1" fmla="*/ 814976 w 6866468"/>
              <a:gd name="connsiteY1" fmla="*/ 1295723 h 10417031"/>
              <a:gd name="connsiteX2" fmla="*/ 1551269 w 6866468"/>
              <a:gd name="connsiteY2" fmla="*/ 1323225 h 10417031"/>
              <a:gd name="connsiteX3" fmla="*/ 2332722 w 6866468"/>
              <a:gd name="connsiteY3" fmla="*/ 613 h 10417031"/>
              <a:gd name="connsiteX4" fmla="*/ 3106215 w 6866468"/>
              <a:gd name="connsiteY4" fmla="*/ 2971340 h 10417031"/>
              <a:gd name="connsiteX5" fmla="*/ 3855689 w 6866468"/>
              <a:gd name="connsiteY5" fmla="*/ 2995366 h 10417031"/>
              <a:gd name="connsiteX6" fmla="*/ 4610515 w 6866468"/>
              <a:gd name="connsiteY6" fmla="*/ 4989556 h 10417031"/>
              <a:gd name="connsiteX7" fmla="*/ 5438558 w 6866468"/>
              <a:gd name="connsiteY7" fmla="*/ 10417032 h 10417031"/>
              <a:gd name="connsiteX8" fmla="*/ 6116689 w 6866468"/>
              <a:gd name="connsiteY8" fmla="*/ 2889192 h 10417031"/>
              <a:gd name="connsiteX9" fmla="*/ 6866468 w 6866468"/>
              <a:gd name="connsiteY9" fmla="*/ 2809629 h 10417031"/>
              <a:gd name="connsiteX0" fmla="*/ 0 w 6866468"/>
              <a:gd name="connsiteY0" fmla="*/ 2986083 h 10417031"/>
              <a:gd name="connsiteX1" fmla="*/ 814976 w 6866468"/>
              <a:gd name="connsiteY1" fmla="*/ 1295723 h 10417031"/>
              <a:gd name="connsiteX2" fmla="*/ 1551269 w 6866468"/>
              <a:gd name="connsiteY2" fmla="*/ 1323225 h 10417031"/>
              <a:gd name="connsiteX3" fmla="*/ 2332722 w 6866468"/>
              <a:gd name="connsiteY3" fmla="*/ 613 h 10417031"/>
              <a:gd name="connsiteX4" fmla="*/ 3106215 w 6866468"/>
              <a:gd name="connsiteY4" fmla="*/ 2971340 h 10417031"/>
              <a:gd name="connsiteX5" fmla="*/ 3855689 w 6866468"/>
              <a:gd name="connsiteY5" fmla="*/ 2995366 h 10417031"/>
              <a:gd name="connsiteX6" fmla="*/ 4610515 w 6866468"/>
              <a:gd name="connsiteY6" fmla="*/ 4989556 h 10417031"/>
              <a:gd name="connsiteX7" fmla="*/ 5438558 w 6866468"/>
              <a:gd name="connsiteY7" fmla="*/ 10417032 h 10417031"/>
              <a:gd name="connsiteX8" fmla="*/ 6110439 w 6866468"/>
              <a:gd name="connsiteY8" fmla="*/ 2792160 h 10417031"/>
              <a:gd name="connsiteX9" fmla="*/ 6866468 w 6866468"/>
              <a:gd name="connsiteY9" fmla="*/ 2809629 h 10417031"/>
              <a:gd name="connsiteX0" fmla="*/ 0 w 6866468"/>
              <a:gd name="connsiteY0" fmla="*/ 2986083 h 5225888"/>
              <a:gd name="connsiteX1" fmla="*/ 814976 w 6866468"/>
              <a:gd name="connsiteY1" fmla="*/ 1295723 h 5225888"/>
              <a:gd name="connsiteX2" fmla="*/ 1551269 w 6866468"/>
              <a:gd name="connsiteY2" fmla="*/ 1323225 h 5225888"/>
              <a:gd name="connsiteX3" fmla="*/ 2332722 w 6866468"/>
              <a:gd name="connsiteY3" fmla="*/ 613 h 5225888"/>
              <a:gd name="connsiteX4" fmla="*/ 3106215 w 6866468"/>
              <a:gd name="connsiteY4" fmla="*/ 2971340 h 5225888"/>
              <a:gd name="connsiteX5" fmla="*/ 3855689 w 6866468"/>
              <a:gd name="connsiteY5" fmla="*/ 2995366 h 5225888"/>
              <a:gd name="connsiteX6" fmla="*/ 4610515 w 6866468"/>
              <a:gd name="connsiteY6" fmla="*/ 4989556 h 5225888"/>
              <a:gd name="connsiteX7" fmla="*/ 5432308 w 6866468"/>
              <a:gd name="connsiteY7" fmla="*/ 5225888 h 5225888"/>
              <a:gd name="connsiteX8" fmla="*/ 6110439 w 6866468"/>
              <a:gd name="connsiteY8" fmla="*/ 2792160 h 5225888"/>
              <a:gd name="connsiteX9" fmla="*/ 6866468 w 6866468"/>
              <a:gd name="connsiteY9" fmla="*/ 2809629 h 5225888"/>
              <a:gd name="connsiteX0" fmla="*/ 0 w 6866468"/>
              <a:gd name="connsiteY0" fmla="*/ 2986083 h 5309167"/>
              <a:gd name="connsiteX1" fmla="*/ 814976 w 6866468"/>
              <a:gd name="connsiteY1" fmla="*/ 1295723 h 5309167"/>
              <a:gd name="connsiteX2" fmla="*/ 1551269 w 6866468"/>
              <a:gd name="connsiteY2" fmla="*/ 1323225 h 5309167"/>
              <a:gd name="connsiteX3" fmla="*/ 2332722 w 6866468"/>
              <a:gd name="connsiteY3" fmla="*/ 613 h 5309167"/>
              <a:gd name="connsiteX4" fmla="*/ 3106215 w 6866468"/>
              <a:gd name="connsiteY4" fmla="*/ 2971340 h 5309167"/>
              <a:gd name="connsiteX5" fmla="*/ 3855689 w 6866468"/>
              <a:gd name="connsiteY5" fmla="*/ 2995366 h 5309167"/>
              <a:gd name="connsiteX6" fmla="*/ 4610515 w 6866468"/>
              <a:gd name="connsiteY6" fmla="*/ 4989556 h 5309167"/>
              <a:gd name="connsiteX7" fmla="*/ 5432308 w 6866468"/>
              <a:gd name="connsiteY7" fmla="*/ 5225888 h 5309167"/>
              <a:gd name="connsiteX8" fmla="*/ 6110439 w 6866468"/>
              <a:gd name="connsiteY8" fmla="*/ 2792160 h 5309167"/>
              <a:gd name="connsiteX9" fmla="*/ 6866468 w 6866468"/>
              <a:gd name="connsiteY9" fmla="*/ 2809629 h 5309167"/>
              <a:gd name="connsiteX0" fmla="*/ 0 w 6866468"/>
              <a:gd name="connsiteY0" fmla="*/ 2986083 h 5110591"/>
              <a:gd name="connsiteX1" fmla="*/ 814976 w 6866468"/>
              <a:gd name="connsiteY1" fmla="*/ 1295723 h 5110591"/>
              <a:gd name="connsiteX2" fmla="*/ 1551269 w 6866468"/>
              <a:gd name="connsiteY2" fmla="*/ 1323225 h 5110591"/>
              <a:gd name="connsiteX3" fmla="*/ 2332722 w 6866468"/>
              <a:gd name="connsiteY3" fmla="*/ 613 h 5110591"/>
              <a:gd name="connsiteX4" fmla="*/ 3106215 w 6866468"/>
              <a:gd name="connsiteY4" fmla="*/ 2971340 h 5110591"/>
              <a:gd name="connsiteX5" fmla="*/ 3855689 w 6866468"/>
              <a:gd name="connsiteY5" fmla="*/ 2995366 h 5110591"/>
              <a:gd name="connsiteX6" fmla="*/ 4610515 w 6866468"/>
              <a:gd name="connsiteY6" fmla="*/ 4989556 h 5110591"/>
              <a:gd name="connsiteX7" fmla="*/ 5357306 w 6866468"/>
              <a:gd name="connsiteY7" fmla="*/ 4061519 h 5110591"/>
              <a:gd name="connsiteX8" fmla="*/ 6110439 w 6866468"/>
              <a:gd name="connsiteY8" fmla="*/ 2792160 h 5110591"/>
              <a:gd name="connsiteX9" fmla="*/ 6866468 w 6866468"/>
              <a:gd name="connsiteY9" fmla="*/ 2809629 h 5110591"/>
              <a:gd name="connsiteX0" fmla="*/ 0 w 6866468"/>
              <a:gd name="connsiteY0" fmla="*/ 2986243 h 5110751"/>
              <a:gd name="connsiteX1" fmla="*/ 823414 w 6866468"/>
              <a:gd name="connsiteY1" fmla="*/ 2736789 h 5110751"/>
              <a:gd name="connsiteX2" fmla="*/ 1551269 w 6866468"/>
              <a:gd name="connsiteY2" fmla="*/ 1323385 h 5110751"/>
              <a:gd name="connsiteX3" fmla="*/ 2332722 w 6866468"/>
              <a:gd name="connsiteY3" fmla="*/ 773 h 5110751"/>
              <a:gd name="connsiteX4" fmla="*/ 3106215 w 6866468"/>
              <a:gd name="connsiteY4" fmla="*/ 2971500 h 5110751"/>
              <a:gd name="connsiteX5" fmla="*/ 3855689 w 6866468"/>
              <a:gd name="connsiteY5" fmla="*/ 2995526 h 5110751"/>
              <a:gd name="connsiteX6" fmla="*/ 4610515 w 6866468"/>
              <a:gd name="connsiteY6" fmla="*/ 4989716 h 5110751"/>
              <a:gd name="connsiteX7" fmla="*/ 5357306 w 6866468"/>
              <a:gd name="connsiteY7" fmla="*/ 4061679 h 5110751"/>
              <a:gd name="connsiteX8" fmla="*/ 6110439 w 6866468"/>
              <a:gd name="connsiteY8" fmla="*/ 2792320 h 5110751"/>
              <a:gd name="connsiteX9" fmla="*/ 6866468 w 6866468"/>
              <a:gd name="connsiteY9" fmla="*/ 2809789 h 5110751"/>
              <a:gd name="connsiteX0" fmla="*/ 0 w 6866468"/>
              <a:gd name="connsiteY0" fmla="*/ 2985782 h 5110290"/>
              <a:gd name="connsiteX1" fmla="*/ 823414 w 6866468"/>
              <a:gd name="connsiteY1" fmla="*/ 2736328 h 5110290"/>
              <a:gd name="connsiteX2" fmla="*/ 1576582 w 6866468"/>
              <a:gd name="connsiteY2" fmla="*/ 2698335 h 5110290"/>
              <a:gd name="connsiteX3" fmla="*/ 2332722 w 6866468"/>
              <a:gd name="connsiteY3" fmla="*/ 312 h 5110290"/>
              <a:gd name="connsiteX4" fmla="*/ 3106215 w 6866468"/>
              <a:gd name="connsiteY4" fmla="*/ 2971039 h 5110290"/>
              <a:gd name="connsiteX5" fmla="*/ 3855689 w 6866468"/>
              <a:gd name="connsiteY5" fmla="*/ 2995065 h 5110290"/>
              <a:gd name="connsiteX6" fmla="*/ 4610515 w 6866468"/>
              <a:gd name="connsiteY6" fmla="*/ 4989255 h 5110290"/>
              <a:gd name="connsiteX7" fmla="*/ 5357306 w 6866468"/>
              <a:gd name="connsiteY7" fmla="*/ 4061218 h 5110290"/>
              <a:gd name="connsiteX8" fmla="*/ 6110439 w 6866468"/>
              <a:gd name="connsiteY8" fmla="*/ 2791859 h 5110290"/>
              <a:gd name="connsiteX9" fmla="*/ 6866468 w 6866468"/>
              <a:gd name="connsiteY9" fmla="*/ 2809328 h 5110290"/>
              <a:gd name="connsiteX0" fmla="*/ 0 w 6866468"/>
              <a:gd name="connsiteY0" fmla="*/ 2985736 h 5110244"/>
              <a:gd name="connsiteX1" fmla="*/ 823414 w 6866468"/>
              <a:gd name="connsiteY1" fmla="*/ 2736282 h 5110244"/>
              <a:gd name="connsiteX2" fmla="*/ 1576582 w 6866468"/>
              <a:gd name="connsiteY2" fmla="*/ 2698289 h 5110244"/>
              <a:gd name="connsiteX3" fmla="*/ 2332722 w 6866468"/>
              <a:gd name="connsiteY3" fmla="*/ 266 h 5110244"/>
              <a:gd name="connsiteX4" fmla="*/ 3106215 w 6866468"/>
              <a:gd name="connsiteY4" fmla="*/ 2970993 h 5110244"/>
              <a:gd name="connsiteX5" fmla="*/ 3855689 w 6866468"/>
              <a:gd name="connsiteY5" fmla="*/ 2995019 h 5110244"/>
              <a:gd name="connsiteX6" fmla="*/ 4610515 w 6866468"/>
              <a:gd name="connsiteY6" fmla="*/ 4989209 h 5110244"/>
              <a:gd name="connsiteX7" fmla="*/ 5357306 w 6866468"/>
              <a:gd name="connsiteY7" fmla="*/ 4061172 h 5110244"/>
              <a:gd name="connsiteX8" fmla="*/ 6110439 w 6866468"/>
              <a:gd name="connsiteY8" fmla="*/ 2791813 h 5110244"/>
              <a:gd name="connsiteX9" fmla="*/ 6866468 w 6866468"/>
              <a:gd name="connsiteY9" fmla="*/ 2809282 h 5110244"/>
              <a:gd name="connsiteX0" fmla="*/ 0 w 6866468"/>
              <a:gd name="connsiteY0" fmla="*/ 435429 h 2559937"/>
              <a:gd name="connsiteX1" fmla="*/ 823414 w 6866468"/>
              <a:gd name="connsiteY1" fmla="*/ 185975 h 2559937"/>
              <a:gd name="connsiteX2" fmla="*/ 1576582 w 6866468"/>
              <a:gd name="connsiteY2" fmla="*/ 147982 h 2559937"/>
              <a:gd name="connsiteX3" fmla="*/ 2332722 w 6866468"/>
              <a:gd name="connsiteY3" fmla="*/ 4292 h 2559937"/>
              <a:gd name="connsiteX4" fmla="*/ 3106215 w 6866468"/>
              <a:gd name="connsiteY4" fmla="*/ 420686 h 2559937"/>
              <a:gd name="connsiteX5" fmla="*/ 3855689 w 6866468"/>
              <a:gd name="connsiteY5" fmla="*/ 444712 h 2559937"/>
              <a:gd name="connsiteX6" fmla="*/ 4610515 w 6866468"/>
              <a:gd name="connsiteY6" fmla="*/ 2438902 h 2559937"/>
              <a:gd name="connsiteX7" fmla="*/ 5357306 w 6866468"/>
              <a:gd name="connsiteY7" fmla="*/ 1510865 h 2559937"/>
              <a:gd name="connsiteX8" fmla="*/ 6110439 w 6866468"/>
              <a:gd name="connsiteY8" fmla="*/ 241506 h 2559937"/>
              <a:gd name="connsiteX9" fmla="*/ 6866468 w 6866468"/>
              <a:gd name="connsiteY9" fmla="*/ 258975 h 2559937"/>
              <a:gd name="connsiteX0" fmla="*/ 0 w 6866468"/>
              <a:gd name="connsiteY0" fmla="*/ 435429 h 1510865"/>
              <a:gd name="connsiteX1" fmla="*/ 823414 w 6866468"/>
              <a:gd name="connsiteY1" fmla="*/ 185975 h 1510865"/>
              <a:gd name="connsiteX2" fmla="*/ 1576582 w 6866468"/>
              <a:gd name="connsiteY2" fmla="*/ 147982 h 1510865"/>
              <a:gd name="connsiteX3" fmla="*/ 2332722 w 6866468"/>
              <a:gd name="connsiteY3" fmla="*/ 4292 h 1510865"/>
              <a:gd name="connsiteX4" fmla="*/ 3106215 w 6866468"/>
              <a:gd name="connsiteY4" fmla="*/ 420686 h 1510865"/>
              <a:gd name="connsiteX5" fmla="*/ 3855689 w 6866468"/>
              <a:gd name="connsiteY5" fmla="*/ 444712 h 1510865"/>
              <a:gd name="connsiteX6" fmla="*/ 4635828 w 6866468"/>
              <a:gd name="connsiteY6" fmla="*/ 899752 h 1510865"/>
              <a:gd name="connsiteX7" fmla="*/ 5357306 w 6866468"/>
              <a:gd name="connsiteY7" fmla="*/ 1510865 h 1510865"/>
              <a:gd name="connsiteX8" fmla="*/ 6110439 w 6866468"/>
              <a:gd name="connsiteY8" fmla="*/ 241506 h 1510865"/>
              <a:gd name="connsiteX9" fmla="*/ 6866468 w 6866468"/>
              <a:gd name="connsiteY9" fmla="*/ 258975 h 1510865"/>
              <a:gd name="connsiteX0" fmla="*/ 0 w 6866468"/>
              <a:gd name="connsiteY0" fmla="*/ 435429 h 1510865"/>
              <a:gd name="connsiteX1" fmla="*/ 823414 w 6866468"/>
              <a:gd name="connsiteY1" fmla="*/ 185975 h 1510865"/>
              <a:gd name="connsiteX2" fmla="*/ 1576582 w 6866468"/>
              <a:gd name="connsiteY2" fmla="*/ 147982 h 1510865"/>
              <a:gd name="connsiteX3" fmla="*/ 2332722 w 6866468"/>
              <a:gd name="connsiteY3" fmla="*/ 4292 h 1510865"/>
              <a:gd name="connsiteX4" fmla="*/ 3106215 w 6866468"/>
              <a:gd name="connsiteY4" fmla="*/ 420686 h 1510865"/>
              <a:gd name="connsiteX5" fmla="*/ 3855689 w 6866468"/>
              <a:gd name="connsiteY5" fmla="*/ 444712 h 1510865"/>
              <a:gd name="connsiteX6" fmla="*/ 4635828 w 6866468"/>
              <a:gd name="connsiteY6" fmla="*/ 899752 h 1510865"/>
              <a:gd name="connsiteX7" fmla="*/ 5357306 w 6866468"/>
              <a:gd name="connsiteY7" fmla="*/ 1510865 h 1510865"/>
              <a:gd name="connsiteX8" fmla="*/ 6110439 w 6866468"/>
              <a:gd name="connsiteY8" fmla="*/ 241506 h 1510865"/>
              <a:gd name="connsiteX9" fmla="*/ 6866468 w 6866468"/>
              <a:gd name="connsiteY9" fmla="*/ 258975 h 1510865"/>
              <a:gd name="connsiteX0" fmla="*/ 0 w 6866468"/>
              <a:gd name="connsiteY0" fmla="*/ 435429 h 1510865"/>
              <a:gd name="connsiteX1" fmla="*/ 823414 w 6866468"/>
              <a:gd name="connsiteY1" fmla="*/ 185975 h 1510865"/>
              <a:gd name="connsiteX2" fmla="*/ 1576582 w 6866468"/>
              <a:gd name="connsiteY2" fmla="*/ 147982 h 1510865"/>
              <a:gd name="connsiteX3" fmla="*/ 2332722 w 6866468"/>
              <a:gd name="connsiteY3" fmla="*/ 4292 h 1510865"/>
              <a:gd name="connsiteX4" fmla="*/ 3106215 w 6866468"/>
              <a:gd name="connsiteY4" fmla="*/ 420686 h 1510865"/>
              <a:gd name="connsiteX5" fmla="*/ 3855689 w 6866468"/>
              <a:gd name="connsiteY5" fmla="*/ 444712 h 1510865"/>
              <a:gd name="connsiteX6" fmla="*/ 4635828 w 6866468"/>
              <a:gd name="connsiteY6" fmla="*/ 375787 h 1510865"/>
              <a:gd name="connsiteX7" fmla="*/ 5357306 w 6866468"/>
              <a:gd name="connsiteY7" fmla="*/ 1510865 h 1510865"/>
              <a:gd name="connsiteX8" fmla="*/ 6110439 w 6866468"/>
              <a:gd name="connsiteY8" fmla="*/ 241506 h 1510865"/>
              <a:gd name="connsiteX9" fmla="*/ 6866468 w 6866468"/>
              <a:gd name="connsiteY9" fmla="*/ 258975 h 1510865"/>
              <a:gd name="connsiteX0" fmla="*/ 0 w 6866468"/>
              <a:gd name="connsiteY0" fmla="*/ 435429 h 1510865"/>
              <a:gd name="connsiteX1" fmla="*/ 823414 w 6866468"/>
              <a:gd name="connsiteY1" fmla="*/ 185975 h 1510865"/>
              <a:gd name="connsiteX2" fmla="*/ 1576582 w 6866468"/>
              <a:gd name="connsiteY2" fmla="*/ 147982 h 1510865"/>
              <a:gd name="connsiteX3" fmla="*/ 2332722 w 6866468"/>
              <a:gd name="connsiteY3" fmla="*/ 4292 h 1510865"/>
              <a:gd name="connsiteX4" fmla="*/ 3106215 w 6866468"/>
              <a:gd name="connsiteY4" fmla="*/ 420686 h 1510865"/>
              <a:gd name="connsiteX5" fmla="*/ 3855689 w 6866468"/>
              <a:gd name="connsiteY5" fmla="*/ 444712 h 1510865"/>
              <a:gd name="connsiteX6" fmla="*/ 4635828 w 6866468"/>
              <a:gd name="connsiteY6" fmla="*/ 375787 h 1510865"/>
              <a:gd name="connsiteX7" fmla="*/ 5357306 w 6866468"/>
              <a:gd name="connsiteY7" fmla="*/ 1510865 h 1510865"/>
              <a:gd name="connsiteX8" fmla="*/ 6110439 w 6866468"/>
              <a:gd name="connsiteY8" fmla="*/ 241506 h 1510865"/>
              <a:gd name="connsiteX9" fmla="*/ 6866468 w 6866468"/>
              <a:gd name="connsiteY9" fmla="*/ 258975 h 1510865"/>
              <a:gd name="connsiteX0" fmla="*/ 0 w 6866468"/>
              <a:gd name="connsiteY0" fmla="*/ 435429 h 1510865"/>
              <a:gd name="connsiteX1" fmla="*/ 823414 w 6866468"/>
              <a:gd name="connsiteY1" fmla="*/ 185975 h 1510865"/>
              <a:gd name="connsiteX2" fmla="*/ 1576582 w 6866468"/>
              <a:gd name="connsiteY2" fmla="*/ 147982 h 1510865"/>
              <a:gd name="connsiteX3" fmla="*/ 2332722 w 6866468"/>
              <a:gd name="connsiteY3" fmla="*/ 4292 h 1510865"/>
              <a:gd name="connsiteX4" fmla="*/ 3106215 w 6866468"/>
              <a:gd name="connsiteY4" fmla="*/ 420686 h 1510865"/>
              <a:gd name="connsiteX5" fmla="*/ 3855689 w 6866468"/>
              <a:gd name="connsiteY5" fmla="*/ 444712 h 1510865"/>
              <a:gd name="connsiteX6" fmla="*/ 4635828 w 6866468"/>
              <a:gd name="connsiteY6" fmla="*/ 375787 h 1510865"/>
              <a:gd name="connsiteX7" fmla="*/ 5357306 w 6866468"/>
              <a:gd name="connsiteY7" fmla="*/ 1510865 h 1510865"/>
              <a:gd name="connsiteX8" fmla="*/ 6110439 w 6866468"/>
              <a:gd name="connsiteY8" fmla="*/ 241506 h 1510865"/>
              <a:gd name="connsiteX9" fmla="*/ 6866468 w 6866468"/>
              <a:gd name="connsiteY9" fmla="*/ 258975 h 1510865"/>
              <a:gd name="connsiteX0" fmla="*/ 0 w 6866468"/>
              <a:gd name="connsiteY0" fmla="*/ 435429 h 475437"/>
              <a:gd name="connsiteX1" fmla="*/ 823414 w 6866468"/>
              <a:gd name="connsiteY1" fmla="*/ 185975 h 475437"/>
              <a:gd name="connsiteX2" fmla="*/ 1576582 w 6866468"/>
              <a:gd name="connsiteY2" fmla="*/ 147982 h 475437"/>
              <a:gd name="connsiteX3" fmla="*/ 2332722 w 6866468"/>
              <a:gd name="connsiteY3" fmla="*/ 4292 h 475437"/>
              <a:gd name="connsiteX4" fmla="*/ 3106215 w 6866468"/>
              <a:gd name="connsiteY4" fmla="*/ 420686 h 475437"/>
              <a:gd name="connsiteX5" fmla="*/ 3855689 w 6866468"/>
              <a:gd name="connsiteY5" fmla="*/ 444712 h 475437"/>
              <a:gd name="connsiteX6" fmla="*/ 4635828 w 6866468"/>
              <a:gd name="connsiteY6" fmla="*/ 375787 h 475437"/>
              <a:gd name="connsiteX7" fmla="*/ 5357306 w 6866468"/>
              <a:gd name="connsiteY7" fmla="*/ 331942 h 475437"/>
              <a:gd name="connsiteX8" fmla="*/ 6110439 w 6866468"/>
              <a:gd name="connsiteY8" fmla="*/ 241506 h 475437"/>
              <a:gd name="connsiteX9" fmla="*/ 6866468 w 6866468"/>
              <a:gd name="connsiteY9" fmla="*/ 258975 h 475437"/>
              <a:gd name="connsiteX0" fmla="*/ 0 w 7107170"/>
              <a:gd name="connsiteY0" fmla="*/ 1308705 h 1308705"/>
              <a:gd name="connsiteX1" fmla="*/ 1064116 w 7107170"/>
              <a:gd name="connsiteY1" fmla="*/ 185975 h 1308705"/>
              <a:gd name="connsiteX2" fmla="*/ 1817284 w 7107170"/>
              <a:gd name="connsiteY2" fmla="*/ 147982 h 1308705"/>
              <a:gd name="connsiteX3" fmla="*/ 2573424 w 7107170"/>
              <a:gd name="connsiteY3" fmla="*/ 4292 h 1308705"/>
              <a:gd name="connsiteX4" fmla="*/ 3346917 w 7107170"/>
              <a:gd name="connsiteY4" fmla="*/ 420686 h 1308705"/>
              <a:gd name="connsiteX5" fmla="*/ 4096391 w 7107170"/>
              <a:gd name="connsiteY5" fmla="*/ 444712 h 1308705"/>
              <a:gd name="connsiteX6" fmla="*/ 4876530 w 7107170"/>
              <a:gd name="connsiteY6" fmla="*/ 375787 h 1308705"/>
              <a:gd name="connsiteX7" fmla="*/ 5598008 w 7107170"/>
              <a:gd name="connsiteY7" fmla="*/ 331942 h 1308705"/>
              <a:gd name="connsiteX8" fmla="*/ 6351141 w 7107170"/>
              <a:gd name="connsiteY8" fmla="*/ 241506 h 1308705"/>
              <a:gd name="connsiteX9" fmla="*/ 7107170 w 7107170"/>
              <a:gd name="connsiteY9" fmla="*/ 258975 h 1308705"/>
              <a:gd name="connsiteX0" fmla="*/ 0 w 7133333"/>
              <a:gd name="connsiteY0" fmla="*/ 1735186 h 1735186"/>
              <a:gd name="connsiteX1" fmla="*/ 1090279 w 7133333"/>
              <a:gd name="connsiteY1" fmla="*/ 185975 h 1735186"/>
              <a:gd name="connsiteX2" fmla="*/ 1843447 w 7133333"/>
              <a:gd name="connsiteY2" fmla="*/ 147982 h 1735186"/>
              <a:gd name="connsiteX3" fmla="*/ 2599587 w 7133333"/>
              <a:gd name="connsiteY3" fmla="*/ 4292 h 1735186"/>
              <a:gd name="connsiteX4" fmla="*/ 3373080 w 7133333"/>
              <a:gd name="connsiteY4" fmla="*/ 420686 h 1735186"/>
              <a:gd name="connsiteX5" fmla="*/ 4122554 w 7133333"/>
              <a:gd name="connsiteY5" fmla="*/ 444712 h 1735186"/>
              <a:gd name="connsiteX6" fmla="*/ 4902693 w 7133333"/>
              <a:gd name="connsiteY6" fmla="*/ 375787 h 1735186"/>
              <a:gd name="connsiteX7" fmla="*/ 5624171 w 7133333"/>
              <a:gd name="connsiteY7" fmla="*/ 331942 h 1735186"/>
              <a:gd name="connsiteX8" fmla="*/ 6377304 w 7133333"/>
              <a:gd name="connsiteY8" fmla="*/ 241506 h 1735186"/>
              <a:gd name="connsiteX9" fmla="*/ 7133333 w 7133333"/>
              <a:gd name="connsiteY9" fmla="*/ 258975 h 1735186"/>
              <a:gd name="connsiteX0" fmla="*/ 0 w 7128100"/>
              <a:gd name="connsiteY0" fmla="*/ 2717014 h 2717014"/>
              <a:gd name="connsiteX1" fmla="*/ 1085046 w 7128100"/>
              <a:gd name="connsiteY1" fmla="*/ 192983 h 2717014"/>
              <a:gd name="connsiteX2" fmla="*/ 1838214 w 7128100"/>
              <a:gd name="connsiteY2" fmla="*/ 154990 h 2717014"/>
              <a:gd name="connsiteX3" fmla="*/ 2594354 w 7128100"/>
              <a:gd name="connsiteY3" fmla="*/ 11300 h 2717014"/>
              <a:gd name="connsiteX4" fmla="*/ 3367847 w 7128100"/>
              <a:gd name="connsiteY4" fmla="*/ 427694 h 2717014"/>
              <a:gd name="connsiteX5" fmla="*/ 4117321 w 7128100"/>
              <a:gd name="connsiteY5" fmla="*/ 451720 h 2717014"/>
              <a:gd name="connsiteX6" fmla="*/ 4897460 w 7128100"/>
              <a:gd name="connsiteY6" fmla="*/ 382795 h 2717014"/>
              <a:gd name="connsiteX7" fmla="*/ 5618938 w 7128100"/>
              <a:gd name="connsiteY7" fmla="*/ 338950 h 2717014"/>
              <a:gd name="connsiteX8" fmla="*/ 6372071 w 7128100"/>
              <a:gd name="connsiteY8" fmla="*/ 248514 h 2717014"/>
              <a:gd name="connsiteX9" fmla="*/ 7128100 w 7128100"/>
              <a:gd name="connsiteY9" fmla="*/ 265983 h 2717014"/>
              <a:gd name="connsiteX0" fmla="*/ 0 w 7128100"/>
              <a:gd name="connsiteY0" fmla="*/ 2962402 h 5037346"/>
              <a:gd name="connsiteX1" fmla="*/ 818180 w 7128100"/>
              <a:gd name="connsiteY1" fmla="*/ 4987531 h 5037346"/>
              <a:gd name="connsiteX2" fmla="*/ 1838214 w 7128100"/>
              <a:gd name="connsiteY2" fmla="*/ 400378 h 5037346"/>
              <a:gd name="connsiteX3" fmla="*/ 2594354 w 7128100"/>
              <a:gd name="connsiteY3" fmla="*/ 256688 h 5037346"/>
              <a:gd name="connsiteX4" fmla="*/ 3367847 w 7128100"/>
              <a:gd name="connsiteY4" fmla="*/ 673082 h 5037346"/>
              <a:gd name="connsiteX5" fmla="*/ 4117321 w 7128100"/>
              <a:gd name="connsiteY5" fmla="*/ 697108 h 5037346"/>
              <a:gd name="connsiteX6" fmla="*/ 4897460 w 7128100"/>
              <a:gd name="connsiteY6" fmla="*/ 628183 h 5037346"/>
              <a:gd name="connsiteX7" fmla="*/ 5618938 w 7128100"/>
              <a:gd name="connsiteY7" fmla="*/ 584338 h 5037346"/>
              <a:gd name="connsiteX8" fmla="*/ 6372071 w 7128100"/>
              <a:gd name="connsiteY8" fmla="*/ 493902 h 5037346"/>
              <a:gd name="connsiteX9" fmla="*/ 7128100 w 7128100"/>
              <a:gd name="connsiteY9" fmla="*/ 511371 h 5037346"/>
              <a:gd name="connsiteX0" fmla="*/ 0 w 7128100"/>
              <a:gd name="connsiteY0" fmla="*/ 2962402 h 4987688"/>
              <a:gd name="connsiteX1" fmla="*/ 818180 w 7128100"/>
              <a:gd name="connsiteY1" fmla="*/ 4987531 h 4987688"/>
              <a:gd name="connsiteX2" fmla="*/ 1838214 w 7128100"/>
              <a:gd name="connsiteY2" fmla="*/ 400378 h 4987688"/>
              <a:gd name="connsiteX3" fmla="*/ 2594354 w 7128100"/>
              <a:gd name="connsiteY3" fmla="*/ 256688 h 4987688"/>
              <a:gd name="connsiteX4" fmla="*/ 3367847 w 7128100"/>
              <a:gd name="connsiteY4" fmla="*/ 673082 h 4987688"/>
              <a:gd name="connsiteX5" fmla="*/ 4117321 w 7128100"/>
              <a:gd name="connsiteY5" fmla="*/ 697108 h 4987688"/>
              <a:gd name="connsiteX6" fmla="*/ 4897460 w 7128100"/>
              <a:gd name="connsiteY6" fmla="*/ 628183 h 4987688"/>
              <a:gd name="connsiteX7" fmla="*/ 5618938 w 7128100"/>
              <a:gd name="connsiteY7" fmla="*/ 584338 h 4987688"/>
              <a:gd name="connsiteX8" fmla="*/ 6372071 w 7128100"/>
              <a:gd name="connsiteY8" fmla="*/ 493902 h 4987688"/>
              <a:gd name="connsiteX9" fmla="*/ 7128100 w 7128100"/>
              <a:gd name="connsiteY9" fmla="*/ 511371 h 4987688"/>
              <a:gd name="connsiteX0" fmla="*/ 0 w 7128100"/>
              <a:gd name="connsiteY0" fmla="*/ 2962402 h 4987846"/>
              <a:gd name="connsiteX1" fmla="*/ 818180 w 7128100"/>
              <a:gd name="connsiteY1" fmla="*/ 4987531 h 4987846"/>
              <a:gd name="connsiteX2" fmla="*/ 1838214 w 7128100"/>
              <a:gd name="connsiteY2" fmla="*/ 400378 h 4987846"/>
              <a:gd name="connsiteX3" fmla="*/ 2594354 w 7128100"/>
              <a:gd name="connsiteY3" fmla="*/ 256688 h 4987846"/>
              <a:gd name="connsiteX4" fmla="*/ 3367847 w 7128100"/>
              <a:gd name="connsiteY4" fmla="*/ 673082 h 4987846"/>
              <a:gd name="connsiteX5" fmla="*/ 4117321 w 7128100"/>
              <a:gd name="connsiteY5" fmla="*/ 697108 h 4987846"/>
              <a:gd name="connsiteX6" fmla="*/ 4897460 w 7128100"/>
              <a:gd name="connsiteY6" fmla="*/ 628183 h 4987846"/>
              <a:gd name="connsiteX7" fmla="*/ 5618938 w 7128100"/>
              <a:gd name="connsiteY7" fmla="*/ 584338 h 4987846"/>
              <a:gd name="connsiteX8" fmla="*/ 6372071 w 7128100"/>
              <a:gd name="connsiteY8" fmla="*/ 493902 h 4987846"/>
              <a:gd name="connsiteX9" fmla="*/ 7128100 w 7128100"/>
              <a:gd name="connsiteY9" fmla="*/ 511371 h 4987846"/>
              <a:gd name="connsiteX0" fmla="*/ 0 w 7128100"/>
              <a:gd name="connsiteY0" fmla="*/ 2962402 h 4987880"/>
              <a:gd name="connsiteX1" fmla="*/ 818180 w 7128100"/>
              <a:gd name="connsiteY1" fmla="*/ 4987531 h 4987880"/>
              <a:gd name="connsiteX2" fmla="*/ 1838214 w 7128100"/>
              <a:gd name="connsiteY2" fmla="*/ 400378 h 4987880"/>
              <a:gd name="connsiteX3" fmla="*/ 2594354 w 7128100"/>
              <a:gd name="connsiteY3" fmla="*/ 256688 h 4987880"/>
              <a:gd name="connsiteX4" fmla="*/ 3367847 w 7128100"/>
              <a:gd name="connsiteY4" fmla="*/ 673082 h 4987880"/>
              <a:gd name="connsiteX5" fmla="*/ 4117321 w 7128100"/>
              <a:gd name="connsiteY5" fmla="*/ 697108 h 4987880"/>
              <a:gd name="connsiteX6" fmla="*/ 4897460 w 7128100"/>
              <a:gd name="connsiteY6" fmla="*/ 628183 h 4987880"/>
              <a:gd name="connsiteX7" fmla="*/ 5618938 w 7128100"/>
              <a:gd name="connsiteY7" fmla="*/ 584338 h 4987880"/>
              <a:gd name="connsiteX8" fmla="*/ 6372071 w 7128100"/>
              <a:gd name="connsiteY8" fmla="*/ 493902 h 4987880"/>
              <a:gd name="connsiteX9" fmla="*/ 7128100 w 7128100"/>
              <a:gd name="connsiteY9" fmla="*/ 511371 h 4987880"/>
              <a:gd name="connsiteX0" fmla="*/ 0 w 7128100"/>
              <a:gd name="connsiteY0" fmla="*/ 2706350 h 4731733"/>
              <a:gd name="connsiteX1" fmla="*/ 818180 w 7128100"/>
              <a:gd name="connsiteY1" fmla="*/ 4731479 h 4731733"/>
              <a:gd name="connsiteX2" fmla="*/ 1602745 w 7128100"/>
              <a:gd name="connsiteY2" fmla="*/ 2825079 h 4731733"/>
              <a:gd name="connsiteX3" fmla="*/ 2594354 w 7128100"/>
              <a:gd name="connsiteY3" fmla="*/ 636 h 4731733"/>
              <a:gd name="connsiteX4" fmla="*/ 3367847 w 7128100"/>
              <a:gd name="connsiteY4" fmla="*/ 417030 h 4731733"/>
              <a:gd name="connsiteX5" fmla="*/ 4117321 w 7128100"/>
              <a:gd name="connsiteY5" fmla="*/ 441056 h 4731733"/>
              <a:gd name="connsiteX6" fmla="*/ 4897460 w 7128100"/>
              <a:gd name="connsiteY6" fmla="*/ 372131 h 4731733"/>
              <a:gd name="connsiteX7" fmla="*/ 5618938 w 7128100"/>
              <a:gd name="connsiteY7" fmla="*/ 328286 h 4731733"/>
              <a:gd name="connsiteX8" fmla="*/ 6372071 w 7128100"/>
              <a:gd name="connsiteY8" fmla="*/ 237850 h 4731733"/>
              <a:gd name="connsiteX9" fmla="*/ 7128100 w 7128100"/>
              <a:gd name="connsiteY9" fmla="*/ 255319 h 4731733"/>
              <a:gd name="connsiteX0" fmla="*/ 0 w 7128100"/>
              <a:gd name="connsiteY0" fmla="*/ 2706350 h 4731630"/>
              <a:gd name="connsiteX1" fmla="*/ 818180 w 7128100"/>
              <a:gd name="connsiteY1" fmla="*/ 4731479 h 4731630"/>
              <a:gd name="connsiteX2" fmla="*/ 1602745 w 7128100"/>
              <a:gd name="connsiteY2" fmla="*/ 2825079 h 4731630"/>
              <a:gd name="connsiteX3" fmla="*/ 2594354 w 7128100"/>
              <a:gd name="connsiteY3" fmla="*/ 636 h 4731630"/>
              <a:gd name="connsiteX4" fmla="*/ 3367847 w 7128100"/>
              <a:gd name="connsiteY4" fmla="*/ 417030 h 4731630"/>
              <a:gd name="connsiteX5" fmla="*/ 4117321 w 7128100"/>
              <a:gd name="connsiteY5" fmla="*/ 441056 h 4731630"/>
              <a:gd name="connsiteX6" fmla="*/ 4897460 w 7128100"/>
              <a:gd name="connsiteY6" fmla="*/ 372131 h 4731630"/>
              <a:gd name="connsiteX7" fmla="*/ 5618938 w 7128100"/>
              <a:gd name="connsiteY7" fmla="*/ 328286 h 4731630"/>
              <a:gd name="connsiteX8" fmla="*/ 6372071 w 7128100"/>
              <a:gd name="connsiteY8" fmla="*/ 237850 h 4731630"/>
              <a:gd name="connsiteX9" fmla="*/ 7128100 w 7128100"/>
              <a:gd name="connsiteY9" fmla="*/ 255319 h 4731630"/>
              <a:gd name="connsiteX0" fmla="*/ 0 w 7128100"/>
              <a:gd name="connsiteY0" fmla="*/ 2706350 h 4731630"/>
              <a:gd name="connsiteX1" fmla="*/ 818180 w 7128100"/>
              <a:gd name="connsiteY1" fmla="*/ 4731479 h 4731630"/>
              <a:gd name="connsiteX2" fmla="*/ 1555652 w 7128100"/>
              <a:gd name="connsiteY2" fmla="*/ 2825078 h 4731630"/>
              <a:gd name="connsiteX3" fmla="*/ 2594354 w 7128100"/>
              <a:gd name="connsiteY3" fmla="*/ 636 h 4731630"/>
              <a:gd name="connsiteX4" fmla="*/ 3367847 w 7128100"/>
              <a:gd name="connsiteY4" fmla="*/ 417030 h 4731630"/>
              <a:gd name="connsiteX5" fmla="*/ 4117321 w 7128100"/>
              <a:gd name="connsiteY5" fmla="*/ 441056 h 4731630"/>
              <a:gd name="connsiteX6" fmla="*/ 4897460 w 7128100"/>
              <a:gd name="connsiteY6" fmla="*/ 372131 h 4731630"/>
              <a:gd name="connsiteX7" fmla="*/ 5618938 w 7128100"/>
              <a:gd name="connsiteY7" fmla="*/ 328286 h 4731630"/>
              <a:gd name="connsiteX8" fmla="*/ 6372071 w 7128100"/>
              <a:gd name="connsiteY8" fmla="*/ 237850 h 4731630"/>
              <a:gd name="connsiteX9" fmla="*/ 7128100 w 7128100"/>
              <a:gd name="connsiteY9" fmla="*/ 255319 h 4731630"/>
              <a:gd name="connsiteX0" fmla="*/ 0 w 7128100"/>
              <a:gd name="connsiteY0" fmla="*/ 2706350 h 4731693"/>
              <a:gd name="connsiteX1" fmla="*/ 818180 w 7128100"/>
              <a:gd name="connsiteY1" fmla="*/ 4731479 h 4731693"/>
              <a:gd name="connsiteX2" fmla="*/ 1555652 w 7128100"/>
              <a:gd name="connsiteY2" fmla="*/ 2825078 h 4731693"/>
              <a:gd name="connsiteX3" fmla="*/ 2594354 w 7128100"/>
              <a:gd name="connsiteY3" fmla="*/ 636 h 4731693"/>
              <a:gd name="connsiteX4" fmla="*/ 3367847 w 7128100"/>
              <a:gd name="connsiteY4" fmla="*/ 417030 h 4731693"/>
              <a:gd name="connsiteX5" fmla="*/ 4117321 w 7128100"/>
              <a:gd name="connsiteY5" fmla="*/ 441056 h 4731693"/>
              <a:gd name="connsiteX6" fmla="*/ 4897460 w 7128100"/>
              <a:gd name="connsiteY6" fmla="*/ 372131 h 4731693"/>
              <a:gd name="connsiteX7" fmla="*/ 5618938 w 7128100"/>
              <a:gd name="connsiteY7" fmla="*/ 328286 h 4731693"/>
              <a:gd name="connsiteX8" fmla="*/ 6372071 w 7128100"/>
              <a:gd name="connsiteY8" fmla="*/ 237850 h 4731693"/>
              <a:gd name="connsiteX9" fmla="*/ 7128100 w 7128100"/>
              <a:gd name="connsiteY9" fmla="*/ 255319 h 4731693"/>
              <a:gd name="connsiteX0" fmla="*/ 0 w 7128100"/>
              <a:gd name="connsiteY0" fmla="*/ 2469293 h 4494605"/>
              <a:gd name="connsiteX1" fmla="*/ 818180 w 7128100"/>
              <a:gd name="connsiteY1" fmla="*/ 4494422 h 4494605"/>
              <a:gd name="connsiteX2" fmla="*/ 1555652 w 7128100"/>
              <a:gd name="connsiteY2" fmla="*/ 2588021 h 4494605"/>
              <a:gd name="connsiteX3" fmla="*/ 2405978 w 7128100"/>
              <a:gd name="connsiteY3" fmla="*/ 2484947 h 4494605"/>
              <a:gd name="connsiteX4" fmla="*/ 3367847 w 7128100"/>
              <a:gd name="connsiteY4" fmla="*/ 179973 h 4494605"/>
              <a:gd name="connsiteX5" fmla="*/ 4117321 w 7128100"/>
              <a:gd name="connsiteY5" fmla="*/ 203999 h 4494605"/>
              <a:gd name="connsiteX6" fmla="*/ 4897460 w 7128100"/>
              <a:gd name="connsiteY6" fmla="*/ 135074 h 4494605"/>
              <a:gd name="connsiteX7" fmla="*/ 5618938 w 7128100"/>
              <a:gd name="connsiteY7" fmla="*/ 91229 h 4494605"/>
              <a:gd name="connsiteX8" fmla="*/ 6372071 w 7128100"/>
              <a:gd name="connsiteY8" fmla="*/ 793 h 4494605"/>
              <a:gd name="connsiteX9" fmla="*/ 7128100 w 7128100"/>
              <a:gd name="connsiteY9" fmla="*/ 18262 h 4494605"/>
              <a:gd name="connsiteX0" fmla="*/ 0 w 7128100"/>
              <a:gd name="connsiteY0" fmla="*/ 2469293 h 4494602"/>
              <a:gd name="connsiteX1" fmla="*/ 818180 w 7128100"/>
              <a:gd name="connsiteY1" fmla="*/ 4494422 h 4494602"/>
              <a:gd name="connsiteX2" fmla="*/ 1555652 w 7128100"/>
              <a:gd name="connsiteY2" fmla="*/ 2588021 h 4494602"/>
              <a:gd name="connsiteX3" fmla="*/ 2322256 w 7128100"/>
              <a:gd name="connsiteY3" fmla="*/ 2586492 h 4494602"/>
              <a:gd name="connsiteX4" fmla="*/ 3367847 w 7128100"/>
              <a:gd name="connsiteY4" fmla="*/ 179973 h 4494602"/>
              <a:gd name="connsiteX5" fmla="*/ 4117321 w 7128100"/>
              <a:gd name="connsiteY5" fmla="*/ 203999 h 4494602"/>
              <a:gd name="connsiteX6" fmla="*/ 4897460 w 7128100"/>
              <a:gd name="connsiteY6" fmla="*/ 135074 h 4494602"/>
              <a:gd name="connsiteX7" fmla="*/ 5618938 w 7128100"/>
              <a:gd name="connsiteY7" fmla="*/ 91229 h 4494602"/>
              <a:gd name="connsiteX8" fmla="*/ 6372071 w 7128100"/>
              <a:gd name="connsiteY8" fmla="*/ 793 h 4494602"/>
              <a:gd name="connsiteX9" fmla="*/ 7128100 w 7128100"/>
              <a:gd name="connsiteY9" fmla="*/ 18262 h 4494602"/>
              <a:gd name="connsiteX0" fmla="*/ 0 w 7128100"/>
              <a:gd name="connsiteY0" fmla="*/ 2469293 h 4495513"/>
              <a:gd name="connsiteX1" fmla="*/ 818180 w 7128100"/>
              <a:gd name="connsiteY1" fmla="*/ 4494422 h 4495513"/>
              <a:gd name="connsiteX2" fmla="*/ 1555652 w 7128100"/>
              <a:gd name="connsiteY2" fmla="*/ 2588021 h 4495513"/>
              <a:gd name="connsiteX3" fmla="*/ 2317024 w 7128100"/>
              <a:gd name="connsiteY3" fmla="*/ 4495513 h 4495513"/>
              <a:gd name="connsiteX4" fmla="*/ 3367847 w 7128100"/>
              <a:gd name="connsiteY4" fmla="*/ 179973 h 4495513"/>
              <a:gd name="connsiteX5" fmla="*/ 4117321 w 7128100"/>
              <a:gd name="connsiteY5" fmla="*/ 203999 h 4495513"/>
              <a:gd name="connsiteX6" fmla="*/ 4897460 w 7128100"/>
              <a:gd name="connsiteY6" fmla="*/ 135074 h 4495513"/>
              <a:gd name="connsiteX7" fmla="*/ 5618938 w 7128100"/>
              <a:gd name="connsiteY7" fmla="*/ 91229 h 4495513"/>
              <a:gd name="connsiteX8" fmla="*/ 6372071 w 7128100"/>
              <a:gd name="connsiteY8" fmla="*/ 793 h 4495513"/>
              <a:gd name="connsiteX9" fmla="*/ 7128100 w 7128100"/>
              <a:gd name="connsiteY9" fmla="*/ 18262 h 4495513"/>
              <a:gd name="connsiteX0" fmla="*/ 0 w 7128100"/>
              <a:gd name="connsiteY0" fmla="*/ 2469293 h 4495513"/>
              <a:gd name="connsiteX1" fmla="*/ 818180 w 7128100"/>
              <a:gd name="connsiteY1" fmla="*/ 4494422 h 4495513"/>
              <a:gd name="connsiteX2" fmla="*/ 1555652 w 7128100"/>
              <a:gd name="connsiteY2" fmla="*/ 2588021 h 4495513"/>
              <a:gd name="connsiteX3" fmla="*/ 2317024 w 7128100"/>
              <a:gd name="connsiteY3" fmla="*/ 4495513 h 4495513"/>
              <a:gd name="connsiteX4" fmla="*/ 3012025 w 7128100"/>
              <a:gd name="connsiteY4" fmla="*/ 3754312 h 4495513"/>
              <a:gd name="connsiteX5" fmla="*/ 4117321 w 7128100"/>
              <a:gd name="connsiteY5" fmla="*/ 203999 h 4495513"/>
              <a:gd name="connsiteX6" fmla="*/ 4897460 w 7128100"/>
              <a:gd name="connsiteY6" fmla="*/ 135074 h 4495513"/>
              <a:gd name="connsiteX7" fmla="*/ 5618938 w 7128100"/>
              <a:gd name="connsiteY7" fmla="*/ 91229 h 4495513"/>
              <a:gd name="connsiteX8" fmla="*/ 6372071 w 7128100"/>
              <a:gd name="connsiteY8" fmla="*/ 793 h 4495513"/>
              <a:gd name="connsiteX9" fmla="*/ 7128100 w 7128100"/>
              <a:gd name="connsiteY9" fmla="*/ 18262 h 4495513"/>
              <a:gd name="connsiteX0" fmla="*/ 0 w 7128100"/>
              <a:gd name="connsiteY0" fmla="*/ 2469293 h 4495513"/>
              <a:gd name="connsiteX1" fmla="*/ 818180 w 7128100"/>
              <a:gd name="connsiteY1" fmla="*/ 4494422 h 4495513"/>
              <a:gd name="connsiteX2" fmla="*/ 1555652 w 7128100"/>
              <a:gd name="connsiteY2" fmla="*/ 2588021 h 4495513"/>
              <a:gd name="connsiteX3" fmla="*/ 2317024 w 7128100"/>
              <a:gd name="connsiteY3" fmla="*/ 4495513 h 4495513"/>
              <a:gd name="connsiteX4" fmla="*/ 3017258 w 7128100"/>
              <a:gd name="connsiteY4" fmla="*/ 3632460 h 4495513"/>
              <a:gd name="connsiteX5" fmla="*/ 4117321 w 7128100"/>
              <a:gd name="connsiteY5" fmla="*/ 203999 h 4495513"/>
              <a:gd name="connsiteX6" fmla="*/ 4897460 w 7128100"/>
              <a:gd name="connsiteY6" fmla="*/ 135074 h 4495513"/>
              <a:gd name="connsiteX7" fmla="*/ 5618938 w 7128100"/>
              <a:gd name="connsiteY7" fmla="*/ 91229 h 4495513"/>
              <a:gd name="connsiteX8" fmla="*/ 6372071 w 7128100"/>
              <a:gd name="connsiteY8" fmla="*/ 793 h 4495513"/>
              <a:gd name="connsiteX9" fmla="*/ 7128100 w 7128100"/>
              <a:gd name="connsiteY9" fmla="*/ 18262 h 4495513"/>
              <a:gd name="connsiteX0" fmla="*/ 0 w 7128100"/>
              <a:gd name="connsiteY0" fmla="*/ 2469293 h 4495513"/>
              <a:gd name="connsiteX1" fmla="*/ 818180 w 7128100"/>
              <a:gd name="connsiteY1" fmla="*/ 4494422 h 4495513"/>
              <a:gd name="connsiteX2" fmla="*/ 1555652 w 7128100"/>
              <a:gd name="connsiteY2" fmla="*/ 2588021 h 4495513"/>
              <a:gd name="connsiteX3" fmla="*/ 2317024 w 7128100"/>
              <a:gd name="connsiteY3" fmla="*/ 4495513 h 4495513"/>
              <a:gd name="connsiteX4" fmla="*/ 3017258 w 7128100"/>
              <a:gd name="connsiteY4" fmla="*/ 3632460 h 4495513"/>
              <a:gd name="connsiteX5" fmla="*/ 4117321 w 7128100"/>
              <a:gd name="connsiteY5" fmla="*/ 203999 h 4495513"/>
              <a:gd name="connsiteX6" fmla="*/ 4897460 w 7128100"/>
              <a:gd name="connsiteY6" fmla="*/ 135074 h 4495513"/>
              <a:gd name="connsiteX7" fmla="*/ 5618938 w 7128100"/>
              <a:gd name="connsiteY7" fmla="*/ 91229 h 4495513"/>
              <a:gd name="connsiteX8" fmla="*/ 6372071 w 7128100"/>
              <a:gd name="connsiteY8" fmla="*/ 793 h 4495513"/>
              <a:gd name="connsiteX9" fmla="*/ 7128100 w 7128100"/>
              <a:gd name="connsiteY9" fmla="*/ 18262 h 4495513"/>
              <a:gd name="connsiteX0" fmla="*/ 0 w 7128100"/>
              <a:gd name="connsiteY0" fmla="*/ 2469293 h 4495513"/>
              <a:gd name="connsiteX1" fmla="*/ 818180 w 7128100"/>
              <a:gd name="connsiteY1" fmla="*/ 4494422 h 4495513"/>
              <a:gd name="connsiteX2" fmla="*/ 1555652 w 7128100"/>
              <a:gd name="connsiteY2" fmla="*/ 2588021 h 4495513"/>
              <a:gd name="connsiteX3" fmla="*/ 2317024 w 7128100"/>
              <a:gd name="connsiteY3" fmla="*/ 4495513 h 4495513"/>
              <a:gd name="connsiteX4" fmla="*/ 3017258 w 7128100"/>
              <a:gd name="connsiteY4" fmla="*/ 3632460 h 4495513"/>
              <a:gd name="connsiteX5" fmla="*/ 3871386 w 7128100"/>
              <a:gd name="connsiteY5" fmla="*/ 3534632 h 4495513"/>
              <a:gd name="connsiteX6" fmla="*/ 4897460 w 7128100"/>
              <a:gd name="connsiteY6" fmla="*/ 135074 h 4495513"/>
              <a:gd name="connsiteX7" fmla="*/ 5618938 w 7128100"/>
              <a:gd name="connsiteY7" fmla="*/ 91229 h 4495513"/>
              <a:gd name="connsiteX8" fmla="*/ 6372071 w 7128100"/>
              <a:gd name="connsiteY8" fmla="*/ 793 h 4495513"/>
              <a:gd name="connsiteX9" fmla="*/ 7128100 w 7128100"/>
              <a:gd name="connsiteY9" fmla="*/ 18262 h 4495513"/>
              <a:gd name="connsiteX0" fmla="*/ 0 w 7128100"/>
              <a:gd name="connsiteY0" fmla="*/ 2469293 h 4495513"/>
              <a:gd name="connsiteX1" fmla="*/ 818180 w 7128100"/>
              <a:gd name="connsiteY1" fmla="*/ 4494422 h 4495513"/>
              <a:gd name="connsiteX2" fmla="*/ 1555652 w 7128100"/>
              <a:gd name="connsiteY2" fmla="*/ 2588021 h 4495513"/>
              <a:gd name="connsiteX3" fmla="*/ 2317024 w 7128100"/>
              <a:gd name="connsiteY3" fmla="*/ 4495513 h 4495513"/>
              <a:gd name="connsiteX4" fmla="*/ 3121911 w 7128100"/>
              <a:gd name="connsiteY4" fmla="*/ 3632460 h 4495513"/>
              <a:gd name="connsiteX5" fmla="*/ 3871386 w 7128100"/>
              <a:gd name="connsiteY5" fmla="*/ 3534632 h 4495513"/>
              <a:gd name="connsiteX6" fmla="*/ 4897460 w 7128100"/>
              <a:gd name="connsiteY6" fmla="*/ 135074 h 4495513"/>
              <a:gd name="connsiteX7" fmla="*/ 5618938 w 7128100"/>
              <a:gd name="connsiteY7" fmla="*/ 91229 h 4495513"/>
              <a:gd name="connsiteX8" fmla="*/ 6372071 w 7128100"/>
              <a:gd name="connsiteY8" fmla="*/ 793 h 4495513"/>
              <a:gd name="connsiteX9" fmla="*/ 7128100 w 7128100"/>
              <a:gd name="connsiteY9" fmla="*/ 18262 h 4495513"/>
              <a:gd name="connsiteX0" fmla="*/ 0 w 7128100"/>
              <a:gd name="connsiteY0" fmla="*/ 2469293 h 4495513"/>
              <a:gd name="connsiteX1" fmla="*/ 818180 w 7128100"/>
              <a:gd name="connsiteY1" fmla="*/ 4494422 h 4495513"/>
              <a:gd name="connsiteX2" fmla="*/ 1555652 w 7128100"/>
              <a:gd name="connsiteY2" fmla="*/ 2588021 h 4495513"/>
              <a:gd name="connsiteX3" fmla="*/ 2317024 w 7128100"/>
              <a:gd name="connsiteY3" fmla="*/ 4495513 h 4495513"/>
              <a:gd name="connsiteX4" fmla="*/ 3121911 w 7128100"/>
              <a:gd name="connsiteY4" fmla="*/ 3632460 h 4495513"/>
              <a:gd name="connsiteX5" fmla="*/ 3871386 w 7128100"/>
              <a:gd name="connsiteY5" fmla="*/ 3676791 h 4495513"/>
              <a:gd name="connsiteX6" fmla="*/ 4897460 w 7128100"/>
              <a:gd name="connsiteY6" fmla="*/ 135074 h 4495513"/>
              <a:gd name="connsiteX7" fmla="*/ 5618938 w 7128100"/>
              <a:gd name="connsiteY7" fmla="*/ 91229 h 4495513"/>
              <a:gd name="connsiteX8" fmla="*/ 6372071 w 7128100"/>
              <a:gd name="connsiteY8" fmla="*/ 793 h 4495513"/>
              <a:gd name="connsiteX9" fmla="*/ 7128100 w 7128100"/>
              <a:gd name="connsiteY9" fmla="*/ 18262 h 4495513"/>
              <a:gd name="connsiteX0" fmla="*/ 0 w 7128100"/>
              <a:gd name="connsiteY0" fmla="*/ 2469293 h 4495513"/>
              <a:gd name="connsiteX1" fmla="*/ 818180 w 7128100"/>
              <a:gd name="connsiteY1" fmla="*/ 4494422 h 4495513"/>
              <a:gd name="connsiteX2" fmla="*/ 1555652 w 7128100"/>
              <a:gd name="connsiteY2" fmla="*/ 2588021 h 4495513"/>
              <a:gd name="connsiteX3" fmla="*/ 2317024 w 7128100"/>
              <a:gd name="connsiteY3" fmla="*/ 4495513 h 4495513"/>
              <a:gd name="connsiteX4" fmla="*/ 3121911 w 7128100"/>
              <a:gd name="connsiteY4" fmla="*/ 3632460 h 4495513"/>
              <a:gd name="connsiteX5" fmla="*/ 3871386 w 7128100"/>
              <a:gd name="connsiteY5" fmla="*/ 3311236 h 4495513"/>
              <a:gd name="connsiteX6" fmla="*/ 4897460 w 7128100"/>
              <a:gd name="connsiteY6" fmla="*/ 135074 h 4495513"/>
              <a:gd name="connsiteX7" fmla="*/ 5618938 w 7128100"/>
              <a:gd name="connsiteY7" fmla="*/ 91229 h 4495513"/>
              <a:gd name="connsiteX8" fmla="*/ 6372071 w 7128100"/>
              <a:gd name="connsiteY8" fmla="*/ 793 h 4495513"/>
              <a:gd name="connsiteX9" fmla="*/ 7128100 w 7128100"/>
              <a:gd name="connsiteY9" fmla="*/ 18262 h 4495513"/>
              <a:gd name="connsiteX0" fmla="*/ 0 w 7128100"/>
              <a:gd name="connsiteY0" fmla="*/ 2469293 h 4495513"/>
              <a:gd name="connsiteX1" fmla="*/ 818180 w 7128100"/>
              <a:gd name="connsiteY1" fmla="*/ 4494422 h 4495513"/>
              <a:gd name="connsiteX2" fmla="*/ 1555652 w 7128100"/>
              <a:gd name="connsiteY2" fmla="*/ 2588021 h 4495513"/>
              <a:gd name="connsiteX3" fmla="*/ 2317024 w 7128100"/>
              <a:gd name="connsiteY3" fmla="*/ 4495513 h 4495513"/>
              <a:gd name="connsiteX4" fmla="*/ 3121911 w 7128100"/>
              <a:gd name="connsiteY4" fmla="*/ 3632460 h 4495513"/>
              <a:gd name="connsiteX5" fmla="*/ 3871386 w 7128100"/>
              <a:gd name="connsiteY5" fmla="*/ 3311236 h 4495513"/>
              <a:gd name="connsiteX6" fmla="*/ 4897460 w 7128100"/>
              <a:gd name="connsiteY6" fmla="*/ 135074 h 4495513"/>
              <a:gd name="connsiteX7" fmla="*/ 5618938 w 7128100"/>
              <a:gd name="connsiteY7" fmla="*/ 91229 h 4495513"/>
              <a:gd name="connsiteX8" fmla="*/ 6372071 w 7128100"/>
              <a:gd name="connsiteY8" fmla="*/ 793 h 4495513"/>
              <a:gd name="connsiteX9" fmla="*/ 7128100 w 7128100"/>
              <a:gd name="connsiteY9" fmla="*/ 18262 h 4495513"/>
              <a:gd name="connsiteX0" fmla="*/ 0 w 7128100"/>
              <a:gd name="connsiteY0" fmla="*/ 2469293 h 5564121"/>
              <a:gd name="connsiteX1" fmla="*/ 818180 w 7128100"/>
              <a:gd name="connsiteY1" fmla="*/ 4494422 h 5564121"/>
              <a:gd name="connsiteX2" fmla="*/ 1555652 w 7128100"/>
              <a:gd name="connsiteY2" fmla="*/ 2588021 h 5564121"/>
              <a:gd name="connsiteX3" fmla="*/ 2317024 w 7128100"/>
              <a:gd name="connsiteY3" fmla="*/ 4495513 h 5564121"/>
              <a:gd name="connsiteX4" fmla="*/ 3121911 w 7128100"/>
              <a:gd name="connsiteY4" fmla="*/ 3632460 h 5564121"/>
              <a:gd name="connsiteX5" fmla="*/ 3871386 w 7128100"/>
              <a:gd name="connsiteY5" fmla="*/ 3311236 h 5564121"/>
              <a:gd name="connsiteX6" fmla="*/ 4609663 w 7128100"/>
              <a:gd name="connsiteY6" fmla="*/ 5557506 h 5564121"/>
              <a:gd name="connsiteX7" fmla="*/ 5618938 w 7128100"/>
              <a:gd name="connsiteY7" fmla="*/ 91229 h 5564121"/>
              <a:gd name="connsiteX8" fmla="*/ 6372071 w 7128100"/>
              <a:gd name="connsiteY8" fmla="*/ 793 h 5564121"/>
              <a:gd name="connsiteX9" fmla="*/ 7128100 w 7128100"/>
              <a:gd name="connsiteY9" fmla="*/ 18262 h 5564121"/>
              <a:gd name="connsiteX0" fmla="*/ 0 w 7128100"/>
              <a:gd name="connsiteY0" fmla="*/ 2469293 h 5557935"/>
              <a:gd name="connsiteX1" fmla="*/ 818180 w 7128100"/>
              <a:gd name="connsiteY1" fmla="*/ 4494422 h 5557935"/>
              <a:gd name="connsiteX2" fmla="*/ 1555652 w 7128100"/>
              <a:gd name="connsiteY2" fmla="*/ 2588021 h 5557935"/>
              <a:gd name="connsiteX3" fmla="*/ 2317024 w 7128100"/>
              <a:gd name="connsiteY3" fmla="*/ 4495513 h 5557935"/>
              <a:gd name="connsiteX4" fmla="*/ 3121911 w 7128100"/>
              <a:gd name="connsiteY4" fmla="*/ 3632460 h 5557935"/>
              <a:gd name="connsiteX5" fmla="*/ 3871386 w 7128100"/>
              <a:gd name="connsiteY5" fmla="*/ 3311236 h 5557935"/>
              <a:gd name="connsiteX6" fmla="*/ 4609663 w 7128100"/>
              <a:gd name="connsiteY6" fmla="*/ 5557506 h 5557935"/>
              <a:gd name="connsiteX7" fmla="*/ 5618938 w 7128100"/>
              <a:gd name="connsiteY7" fmla="*/ 91229 h 5557935"/>
              <a:gd name="connsiteX8" fmla="*/ 6372071 w 7128100"/>
              <a:gd name="connsiteY8" fmla="*/ 793 h 5557935"/>
              <a:gd name="connsiteX9" fmla="*/ 7128100 w 7128100"/>
              <a:gd name="connsiteY9" fmla="*/ 18262 h 5557935"/>
              <a:gd name="connsiteX0" fmla="*/ 0 w 7128100"/>
              <a:gd name="connsiteY0" fmla="*/ 2468517 h 5558620"/>
              <a:gd name="connsiteX1" fmla="*/ 818180 w 7128100"/>
              <a:gd name="connsiteY1" fmla="*/ 4493646 h 5558620"/>
              <a:gd name="connsiteX2" fmla="*/ 1555652 w 7128100"/>
              <a:gd name="connsiteY2" fmla="*/ 2587245 h 5558620"/>
              <a:gd name="connsiteX3" fmla="*/ 2317024 w 7128100"/>
              <a:gd name="connsiteY3" fmla="*/ 4494737 h 5558620"/>
              <a:gd name="connsiteX4" fmla="*/ 3121911 w 7128100"/>
              <a:gd name="connsiteY4" fmla="*/ 3631684 h 5558620"/>
              <a:gd name="connsiteX5" fmla="*/ 3871386 w 7128100"/>
              <a:gd name="connsiteY5" fmla="*/ 3310460 h 5558620"/>
              <a:gd name="connsiteX6" fmla="*/ 4609663 w 7128100"/>
              <a:gd name="connsiteY6" fmla="*/ 5556730 h 5558620"/>
              <a:gd name="connsiteX7" fmla="*/ 5346839 w 7128100"/>
              <a:gd name="connsiteY7" fmla="*/ 4395906 h 5558620"/>
              <a:gd name="connsiteX8" fmla="*/ 6372071 w 7128100"/>
              <a:gd name="connsiteY8" fmla="*/ 17 h 5558620"/>
              <a:gd name="connsiteX9" fmla="*/ 7128100 w 7128100"/>
              <a:gd name="connsiteY9" fmla="*/ 17486 h 5558620"/>
              <a:gd name="connsiteX0" fmla="*/ 0 w 7128100"/>
              <a:gd name="connsiteY0" fmla="*/ 2468517 h 5559494"/>
              <a:gd name="connsiteX1" fmla="*/ 818180 w 7128100"/>
              <a:gd name="connsiteY1" fmla="*/ 4493646 h 5559494"/>
              <a:gd name="connsiteX2" fmla="*/ 1555652 w 7128100"/>
              <a:gd name="connsiteY2" fmla="*/ 2587245 h 5559494"/>
              <a:gd name="connsiteX3" fmla="*/ 2317024 w 7128100"/>
              <a:gd name="connsiteY3" fmla="*/ 4494737 h 5559494"/>
              <a:gd name="connsiteX4" fmla="*/ 3121911 w 7128100"/>
              <a:gd name="connsiteY4" fmla="*/ 3631684 h 5559494"/>
              <a:gd name="connsiteX5" fmla="*/ 3871386 w 7128100"/>
              <a:gd name="connsiteY5" fmla="*/ 3310460 h 5559494"/>
              <a:gd name="connsiteX6" fmla="*/ 4609663 w 7128100"/>
              <a:gd name="connsiteY6" fmla="*/ 5556730 h 5559494"/>
              <a:gd name="connsiteX7" fmla="*/ 5346839 w 7128100"/>
              <a:gd name="connsiteY7" fmla="*/ 4395906 h 5559494"/>
              <a:gd name="connsiteX8" fmla="*/ 6372071 w 7128100"/>
              <a:gd name="connsiteY8" fmla="*/ 17 h 5559494"/>
              <a:gd name="connsiteX9" fmla="*/ 7128100 w 7128100"/>
              <a:gd name="connsiteY9" fmla="*/ 17486 h 5559494"/>
              <a:gd name="connsiteX0" fmla="*/ 0 w 7128100"/>
              <a:gd name="connsiteY0" fmla="*/ 2451143 h 5542120"/>
              <a:gd name="connsiteX1" fmla="*/ 818180 w 7128100"/>
              <a:gd name="connsiteY1" fmla="*/ 4476272 h 5542120"/>
              <a:gd name="connsiteX2" fmla="*/ 1555652 w 7128100"/>
              <a:gd name="connsiteY2" fmla="*/ 2569871 h 5542120"/>
              <a:gd name="connsiteX3" fmla="*/ 2317024 w 7128100"/>
              <a:gd name="connsiteY3" fmla="*/ 4477363 h 5542120"/>
              <a:gd name="connsiteX4" fmla="*/ 3121911 w 7128100"/>
              <a:gd name="connsiteY4" fmla="*/ 3614310 h 5542120"/>
              <a:gd name="connsiteX5" fmla="*/ 3871386 w 7128100"/>
              <a:gd name="connsiteY5" fmla="*/ 3293086 h 5542120"/>
              <a:gd name="connsiteX6" fmla="*/ 4609663 w 7128100"/>
              <a:gd name="connsiteY6" fmla="*/ 5539356 h 5542120"/>
              <a:gd name="connsiteX7" fmla="*/ 5346839 w 7128100"/>
              <a:gd name="connsiteY7" fmla="*/ 4378532 h 5542120"/>
              <a:gd name="connsiteX8" fmla="*/ 6167997 w 7128100"/>
              <a:gd name="connsiteY8" fmla="*/ 957463 h 5542120"/>
              <a:gd name="connsiteX9" fmla="*/ 7128100 w 7128100"/>
              <a:gd name="connsiteY9" fmla="*/ 112 h 5542120"/>
              <a:gd name="connsiteX0" fmla="*/ 0 w 7128100"/>
              <a:gd name="connsiteY0" fmla="*/ 2451106 h 5542083"/>
              <a:gd name="connsiteX1" fmla="*/ 818180 w 7128100"/>
              <a:gd name="connsiteY1" fmla="*/ 4476235 h 5542083"/>
              <a:gd name="connsiteX2" fmla="*/ 1555652 w 7128100"/>
              <a:gd name="connsiteY2" fmla="*/ 2569834 h 5542083"/>
              <a:gd name="connsiteX3" fmla="*/ 2317024 w 7128100"/>
              <a:gd name="connsiteY3" fmla="*/ 4477326 h 5542083"/>
              <a:gd name="connsiteX4" fmla="*/ 3121911 w 7128100"/>
              <a:gd name="connsiteY4" fmla="*/ 3614273 h 5542083"/>
              <a:gd name="connsiteX5" fmla="*/ 3871386 w 7128100"/>
              <a:gd name="connsiteY5" fmla="*/ 3293049 h 5542083"/>
              <a:gd name="connsiteX6" fmla="*/ 4609663 w 7128100"/>
              <a:gd name="connsiteY6" fmla="*/ 5539319 h 5542083"/>
              <a:gd name="connsiteX7" fmla="*/ 5346839 w 7128100"/>
              <a:gd name="connsiteY7" fmla="*/ 4378495 h 5542083"/>
              <a:gd name="connsiteX8" fmla="*/ 6157532 w 7128100"/>
              <a:gd name="connsiteY8" fmla="*/ 1465144 h 5542083"/>
              <a:gd name="connsiteX9" fmla="*/ 7128100 w 7128100"/>
              <a:gd name="connsiteY9" fmla="*/ 75 h 5542083"/>
              <a:gd name="connsiteX0" fmla="*/ 0 w 6913560"/>
              <a:gd name="connsiteY0" fmla="*/ 985988 h 4076965"/>
              <a:gd name="connsiteX1" fmla="*/ 818180 w 6913560"/>
              <a:gd name="connsiteY1" fmla="*/ 3011117 h 4076965"/>
              <a:gd name="connsiteX2" fmla="*/ 1555652 w 6913560"/>
              <a:gd name="connsiteY2" fmla="*/ 1104716 h 4076965"/>
              <a:gd name="connsiteX3" fmla="*/ 2317024 w 6913560"/>
              <a:gd name="connsiteY3" fmla="*/ 3012208 h 4076965"/>
              <a:gd name="connsiteX4" fmla="*/ 3121911 w 6913560"/>
              <a:gd name="connsiteY4" fmla="*/ 2149155 h 4076965"/>
              <a:gd name="connsiteX5" fmla="*/ 3871386 w 6913560"/>
              <a:gd name="connsiteY5" fmla="*/ 1827931 h 4076965"/>
              <a:gd name="connsiteX6" fmla="*/ 4609663 w 6913560"/>
              <a:gd name="connsiteY6" fmla="*/ 4074201 h 4076965"/>
              <a:gd name="connsiteX7" fmla="*/ 5346839 w 6913560"/>
              <a:gd name="connsiteY7" fmla="*/ 2913377 h 4076965"/>
              <a:gd name="connsiteX8" fmla="*/ 6157532 w 6913560"/>
              <a:gd name="connsiteY8" fmla="*/ 26 h 4076965"/>
              <a:gd name="connsiteX9" fmla="*/ 6913560 w 6913560"/>
              <a:gd name="connsiteY9" fmla="*/ 2941953 h 4076965"/>
              <a:gd name="connsiteX0" fmla="*/ 0 w 6913560"/>
              <a:gd name="connsiteY0" fmla="*/ 985988 h 4076965"/>
              <a:gd name="connsiteX1" fmla="*/ 818180 w 6913560"/>
              <a:gd name="connsiteY1" fmla="*/ 3011117 h 4076965"/>
              <a:gd name="connsiteX2" fmla="*/ 1555652 w 6913560"/>
              <a:gd name="connsiteY2" fmla="*/ 1104716 h 4076965"/>
              <a:gd name="connsiteX3" fmla="*/ 2317024 w 6913560"/>
              <a:gd name="connsiteY3" fmla="*/ 3012208 h 4076965"/>
              <a:gd name="connsiteX4" fmla="*/ 3121911 w 6913560"/>
              <a:gd name="connsiteY4" fmla="*/ 2149155 h 4076965"/>
              <a:gd name="connsiteX5" fmla="*/ 3871386 w 6913560"/>
              <a:gd name="connsiteY5" fmla="*/ 1827931 h 4076965"/>
              <a:gd name="connsiteX6" fmla="*/ 4609663 w 6913560"/>
              <a:gd name="connsiteY6" fmla="*/ 4074201 h 4076965"/>
              <a:gd name="connsiteX7" fmla="*/ 5346839 w 6913560"/>
              <a:gd name="connsiteY7" fmla="*/ 2913377 h 4076965"/>
              <a:gd name="connsiteX8" fmla="*/ 6157532 w 6913560"/>
              <a:gd name="connsiteY8" fmla="*/ 26 h 4076965"/>
              <a:gd name="connsiteX9" fmla="*/ 6913560 w 6913560"/>
              <a:gd name="connsiteY9" fmla="*/ 2941953 h 4076965"/>
              <a:gd name="connsiteX0" fmla="*/ 0 w 6924026"/>
              <a:gd name="connsiteY0" fmla="*/ 985988 h 4076965"/>
              <a:gd name="connsiteX1" fmla="*/ 818180 w 6924026"/>
              <a:gd name="connsiteY1" fmla="*/ 3011117 h 4076965"/>
              <a:gd name="connsiteX2" fmla="*/ 1555652 w 6924026"/>
              <a:gd name="connsiteY2" fmla="*/ 1104716 h 4076965"/>
              <a:gd name="connsiteX3" fmla="*/ 2317024 w 6924026"/>
              <a:gd name="connsiteY3" fmla="*/ 3012208 h 4076965"/>
              <a:gd name="connsiteX4" fmla="*/ 3121911 w 6924026"/>
              <a:gd name="connsiteY4" fmla="*/ 2149155 h 4076965"/>
              <a:gd name="connsiteX5" fmla="*/ 3871386 w 6924026"/>
              <a:gd name="connsiteY5" fmla="*/ 1827931 h 4076965"/>
              <a:gd name="connsiteX6" fmla="*/ 4609663 w 6924026"/>
              <a:gd name="connsiteY6" fmla="*/ 4074201 h 4076965"/>
              <a:gd name="connsiteX7" fmla="*/ 5346839 w 6924026"/>
              <a:gd name="connsiteY7" fmla="*/ 2913377 h 4076965"/>
              <a:gd name="connsiteX8" fmla="*/ 6157532 w 6924026"/>
              <a:gd name="connsiteY8" fmla="*/ 26 h 4076965"/>
              <a:gd name="connsiteX9" fmla="*/ 6924026 w 6924026"/>
              <a:gd name="connsiteY9" fmla="*/ 2068678 h 4076965"/>
              <a:gd name="connsiteX0" fmla="*/ 0 w 6924026"/>
              <a:gd name="connsiteY0" fmla="*/ 985988 h 4076965"/>
              <a:gd name="connsiteX1" fmla="*/ 818180 w 6924026"/>
              <a:gd name="connsiteY1" fmla="*/ 3011117 h 4076965"/>
              <a:gd name="connsiteX2" fmla="*/ 1555652 w 6924026"/>
              <a:gd name="connsiteY2" fmla="*/ 1104716 h 4076965"/>
              <a:gd name="connsiteX3" fmla="*/ 2317024 w 6924026"/>
              <a:gd name="connsiteY3" fmla="*/ 3012208 h 4076965"/>
              <a:gd name="connsiteX4" fmla="*/ 3121911 w 6924026"/>
              <a:gd name="connsiteY4" fmla="*/ 2149155 h 4076965"/>
              <a:gd name="connsiteX5" fmla="*/ 3871386 w 6924026"/>
              <a:gd name="connsiteY5" fmla="*/ 1827931 h 4076965"/>
              <a:gd name="connsiteX6" fmla="*/ 4609663 w 6924026"/>
              <a:gd name="connsiteY6" fmla="*/ 4074201 h 4076965"/>
              <a:gd name="connsiteX7" fmla="*/ 5346839 w 6924026"/>
              <a:gd name="connsiteY7" fmla="*/ 2913377 h 4076965"/>
              <a:gd name="connsiteX8" fmla="*/ 6157532 w 6924026"/>
              <a:gd name="connsiteY8" fmla="*/ 26 h 4076965"/>
              <a:gd name="connsiteX9" fmla="*/ 6924026 w 6924026"/>
              <a:gd name="connsiteY9" fmla="*/ 2068678 h 4076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24026" h="4076965">
                <a:moveTo>
                  <a:pt x="0" y="985988"/>
                </a:moveTo>
                <a:cubicBezTo>
                  <a:pt x="463500" y="2116700"/>
                  <a:pt x="558905" y="2991329"/>
                  <a:pt x="818180" y="3011117"/>
                </a:cubicBezTo>
                <a:cubicBezTo>
                  <a:pt x="1077455" y="3030905"/>
                  <a:pt x="1305845" y="1104534"/>
                  <a:pt x="1555652" y="1104716"/>
                </a:cubicBezTo>
                <a:cubicBezTo>
                  <a:pt x="1805459" y="1104898"/>
                  <a:pt x="2057276" y="2981392"/>
                  <a:pt x="2317024" y="3012208"/>
                </a:cubicBezTo>
                <a:cubicBezTo>
                  <a:pt x="2535363" y="2992564"/>
                  <a:pt x="2928111" y="2461148"/>
                  <a:pt x="3121911" y="2149155"/>
                </a:cubicBezTo>
                <a:cubicBezTo>
                  <a:pt x="3437238" y="2160843"/>
                  <a:pt x="3631086" y="1969285"/>
                  <a:pt x="3871386" y="1827931"/>
                </a:cubicBezTo>
                <a:cubicBezTo>
                  <a:pt x="4058410" y="1853874"/>
                  <a:pt x="4392792" y="3510895"/>
                  <a:pt x="4609663" y="4074201"/>
                </a:cubicBezTo>
                <a:cubicBezTo>
                  <a:pt x="4815677" y="4130746"/>
                  <a:pt x="5035214" y="3305463"/>
                  <a:pt x="5346839" y="2913377"/>
                </a:cubicBezTo>
                <a:cubicBezTo>
                  <a:pt x="5555090" y="2895071"/>
                  <a:pt x="5956182" y="-9660"/>
                  <a:pt x="6157532" y="26"/>
                </a:cubicBezTo>
                <a:cubicBezTo>
                  <a:pt x="6330100" y="6381"/>
                  <a:pt x="6671555" y="1406630"/>
                  <a:pt x="6924026" y="2068678"/>
                </a:cubicBezTo>
              </a:path>
            </a:pathLst>
          </a:custGeom>
          <a:noFill/>
          <a:ln w="136525" cap="rnd" cmpd="sng" algn="ctr">
            <a:solidFill>
              <a:srgbClr val="43B02A">
                <a:alpha val="50000"/>
              </a:srgb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84" name="Freeform 42">
            <a:extLst>
              <a:ext uri="{FF2B5EF4-FFF2-40B4-BE49-F238E27FC236}">
                <a16:creationId xmlns:a16="http://schemas.microsoft.com/office/drawing/2014/main" id="{097833E3-8AC6-495D-AB90-F9E5639182D3}"/>
              </a:ext>
            </a:extLst>
          </p:cNvPr>
          <p:cNvSpPr/>
          <p:nvPr/>
        </p:nvSpPr>
        <p:spPr bwMode="auto">
          <a:xfrm>
            <a:off x="1343905" y="3441341"/>
            <a:ext cx="9322655" cy="1444525"/>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1114078 w 7136640"/>
              <a:gd name="connsiteY1" fmla="*/ 212128 h 308134"/>
              <a:gd name="connsiteX2" fmla="*/ 1317807 w 7136640"/>
              <a:gd name="connsiteY2" fmla="*/ 54363 h 308134"/>
              <a:gd name="connsiteX3" fmla="*/ 1992056 w 7136640"/>
              <a:gd name="connsiteY3" fmla="*/ 307577 h 308134"/>
              <a:gd name="connsiteX4" fmla="*/ 2642777 w 7136640"/>
              <a:gd name="connsiteY4" fmla="*/ 124402 h 308134"/>
              <a:gd name="connsiteX5" fmla="*/ 3302093 w 7136640"/>
              <a:gd name="connsiteY5" fmla="*/ 189711 h 308134"/>
              <a:gd name="connsiteX6" fmla="*/ 3964644 w 7136640"/>
              <a:gd name="connsiteY6" fmla="*/ 417 h 308134"/>
              <a:gd name="connsiteX7" fmla="*/ 4578995 w 7136640"/>
              <a:gd name="connsiteY7" fmla="*/ 255894 h 308134"/>
              <a:gd name="connsiteX8" fmla="*/ 5236906 w 7136640"/>
              <a:gd name="connsiteY8" fmla="*/ 128120 h 308134"/>
              <a:gd name="connsiteX9" fmla="*/ 5843222 w 7136640"/>
              <a:gd name="connsiteY9" fmla="*/ 271154 h 308134"/>
              <a:gd name="connsiteX10" fmla="*/ 6486411 w 7136640"/>
              <a:gd name="connsiteY10" fmla="*/ 18281 h 308134"/>
              <a:gd name="connsiteX11" fmla="*/ 7136640 w 7136640"/>
              <a:gd name="connsiteY11" fmla="*/ 141032 h 308134"/>
              <a:gd name="connsiteX0" fmla="*/ 0 w 7136640"/>
              <a:gd name="connsiteY0" fmla="*/ 50651 h 307628"/>
              <a:gd name="connsiteX1" fmla="*/ 1114078 w 7136640"/>
              <a:gd name="connsiteY1" fmla="*/ 212128 h 307628"/>
              <a:gd name="connsiteX2" fmla="*/ 1762391 w 7136640"/>
              <a:gd name="connsiteY2" fmla="*/ 103912 h 307628"/>
              <a:gd name="connsiteX3" fmla="*/ 1992056 w 7136640"/>
              <a:gd name="connsiteY3" fmla="*/ 307577 h 307628"/>
              <a:gd name="connsiteX4" fmla="*/ 2642777 w 7136640"/>
              <a:gd name="connsiteY4" fmla="*/ 124402 h 307628"/>
              <a:gd name="connsiteX5" fmla="*/ 3302093 w 7136640"/>
              <a:gd name="connsiteY5" fmla="*/ 189711 h 307628"/>
              <a:gd name="connsiteX6" fmla="*/ 3964644 w 7136640"/>
              <a:gd name="connsiteY6" fmla="*/ 417 h 307628"/>
              <a:gd name="connsiteX7" fmla="*/ 4578995 w 7136640"/>
              <a:gd name="connsiteY7" fmla="*/ 255894 h 307628"/>
              <a:gd name="connsiteX8" fmla="*/ 5236906 w 7136640"/>
              <a:gd name="connsiteY8" fmla="*/ 128120 h 307628"/>
              <a:gd name="connsiteX9" fmla="*/ 5843222 w 7136640"/>
              <a:gd name="connsiteY9" fmla="*/ 271154 h 307628"/>
              <a:gd name="connsiteX10" fmla="*/ 6486411 w 7136640"/>
              <a:gd name="connsiteY10" fmla="*/ 18281 h 307628"/>
              <a:gd name="connsiteX11" fmla="*/ 7136640 w 7136640"/>
              <a:gd name="connsiteY11" fmla="*/ 141032 h 307628"/>
              <a:gd name="connsiteX0" fmla="*/ 0 w 7136640"/>
              <a:gd name="connsiteY0" fmla="*/ 50651 h 309088"/>
              <a:gd name="connsiteX1" fmla="*/ 1114078 w 7136640"/>
              <a:gd name="connsiteY1" fmla="*/ 212128 h 309088"/>
              <a:gd name="connsiteX2" fmla="*/ 1743606 w 7136640"/>
              <a:gd name="connsiteY2" fmla="*/ 4813 h 309088"/>
              <a:gd name="connsiteX3" fmla="*/ 1992056 w 7136640"/>
              <a:gd name="connsiteY3" fmla="*/ 307577 h 309088"/>
              <a:gd name="connsiteX4" fmla="*/ 2642777 w 7136640"/>
              <a:gd name="connsiteY4" fmla="*/ 124402 h 309088"/>
              <a:gd name="connsiteX5" fmla="*/ 3302093 w 7136640"/>
              <a:gd name="connsiteY5" fmla="*/ 189711 h 309088"/>
              <a:gd name="connsiteX6" fmla="*/ 3964644 w 7136640"/>
              <a:gd name="connsiteY6" fmla="*/ 417 h 309088"/>
              <a:gd name="connsiteX7" fmla="*/ 4578995 w 7136640"/>
              <a:gd name="connsiteY7" fmla="*/ 255894 h 309088"/>
              <a:gd name="connsiteX8" fmla="*/ 5236906 w 7136640"/>
              <a:gd name="connsiteY8" fmla="*/ 128120 h 309088"/>
              <a:gd name="connsiteX9" fmla="*/ 5843222 w 7136640"/>
              <a:gd name="connsiteY9" fmla="*/ 271154 h 309088"/>
              <a:gd name="connsiteX10" fmla="*/ 6486411 w 7136640"/>
              <a:gd name="connsiteY10" fmla="*/ 18281 h 309088"/>
              <a:gd name="connsiteX11" fmla="*/ 7136640 w 7136640"/>
              <a:gd name="connsiteY11" fmla="*/ 141032 h 309088"/>
              <a:gd name="connsiteX0" fmla="*/ 0 w 7136640"/>
              <a:gd name="connsiteY0" fmla="*/ 50651 h 272623"/>
              <a:gd name="connsiteX1" fmla="*/ 1114078 w 7136640"/>
              <a:gd name="connsiteY1" fmla="*/ 212128 h 272623"/>
              <a:gd name="connsiteX2" fmla="*/ 1743606 w 7136640"/>
              <a:gd name="connsiteY2" fmla="*/ 4813 h 272623"/>
              <a:gd name="connsiteX3" fmla="*/ 2642777 w 7136640"/>
              <a:gd name="connsiteY3" fmla="*/ 124402 h 272623"/>
              <a:gd name="connsiteX4" fmla="*/ 3302093 w 7136640"/>
              <a:gd name="connsiteY4" fmla="*/ 189711 h 272623"/>
              <a:gd name="connsiteX5" fmla="*/ 3964644 w 7136640"/>
              <a:gd name="connsiteY5" fmla="*/ 417 h 272623"/>
              <a:gd name="connsiteX6" fmla="*/ 4578995 w 7136640"/>
              <a:gd name="connsiteY6" fmla="*/ 255894 h 272623"/>
              <a:gd name="connsiteX7" fmla="*/ 5236906 w 7136640"/>
              <a:gd name="connsiteY7" fmla="*/ 128120 h 272623"/>
              <a:gd name="connsiteX8" fmla="*/ 5843222 w 7136640"/>
              <a:gd name="connsiteY8" fmla="*/ 271154 h 272623"/>
              <a:gd name="connsiteX9" fmla="*/ 6486411 w 7136640"/>
              <a:gd name="connsiteY9" fmla="*/ 18281 h 272623"/>
              <a:gd name="connsiteX10" fmla="*/ 7136640 w 7136640"/>
              <a:gd name="connsiteY10" fmla="*/ 141032 h 272623"/>
              <a:gd name="connsiteX0" fmla="*/ 0 w 7136640"/>
              <a:gd name="connsiteY0" fmla="*/ 50567 h 272549"/>
              <a:gd name="connsiteX1" fmla="*/ 1114078 w 7136640"/>
              <a:gd name="connsiteY1" fmla="*/ 212044 h 272549"/>
              <a:gd name="connsiteX2" fmla="*/ 1743606 w 7136640"/>
              <a:gd name="connsiteY2" fmla="*/ 4729 h 272549"/>
              <a:gd name="connsiteX3" fmla="*/ 2642777 w 7136640"/>
              <a:gd name="connsiteY3" fmla="*/ 124318 h 272549"/>
              <a:gd name="connsiteX4" fmla="*/ 3302093 w 7136640"/>
              <a:gd name="connsiteY4" fmla="*/ 189627 h 272549"/>
              <a:gd name="connsiteX5" fmla="*/ 3964644 w 7136640"/>
              <a:gd name="connsiteY5" fmla="*/ 333 h 272549"/>
              <a:gd name="connsiteX6" fmla="*/ 4723015 w 7136640"/>
              <a:gd name="connsiteY6" fmla="*/ 248469 h 272549"/>
              <a:gd name="connsiteX7" fmla="*/ 5236906 w 7136640"/>
              <a:gd name="connsiteY7" fmla="*/ 128036 h 272549"/>
              <a:gd name="connsiteX8" fmla="*/ 5843222 w 7136640"/>
              <a:gd name="connsiteY8" fmla="*/ 271070 h 272549"/>
              <a:gd name="connsiteX9" fmla="*/ 6486411 w 7136640"/>
              <a:gd name="connsiteY9" fmla="*/ 18197 h 272549"/>
              <a:gd name="connsiteX10" fmla="*/ 7136640 w 7136640"/>
              <a:gd name="connsiteY10" fmla="*/ 140948 h 272549"/>
              <a:gd name="connsiteX0" fmla="*/ 0 w 7136640"/>
              <a:gd name="connsiteY0" fmla="*/ 50567 h 292707"/>
              <a:gd name="connsiteX1" fmla="*/ 1114078 w 7136640"/>
              <a:gd name="connsiteY1" fmla="*/ 212044 h 292707"/>
              <a:gd name="connsiteX2" fmla="*/ 1743606 w 7136640"/>
              <a:gd name="connsiteY2" fmla="*/ 4729 h 292707"/>
              <a:gd name="connsiteX3" fmla="*/ 2642777 w 7136640"/>
              <a:gd name="connsiteY3" fmla="*/ 124318 h 292707"/>
              <a:gd name="connsiteX4" fmla="*/ 3302093 w 7136640"/>
              <a:gd name="connsiteY4" fmla="*/ 189627 h 292707"/>
              <a:gd name="connsiteX5" fmla="*/ 3964644 w 7136640"/>
              <a:gd name="connsiteY5" fmla="*/ 333 h 292707"/>
              <a:gd name="connsiteX6" fmla="*/ 4723015 w 7136640"/>
              <a:gd name="connsiteY6" fmla="*/ 248469 h 292707"/>
              <a:gd name="connsiteX7" fmla="*/ 5843222 w 7136640"/>
              <a:gd name="connsiteY7" fmla="*/ 271070 h 292707"/>
              <a:gd name="connsiteX8" fmla="*/ 6486411 w 7136640"/>
              <a:gd name="connsiteY8" fmla="*/ 18197 h 292707"/>
              <a:gd name="connsiteX9" fmla="*/ 7136640 w 7136640"/>
              <a:gd name="connsiteY9" fmla="*/ 140948 h 292707"/>
              <a:gd name="connsiteX0" fmla="*/ 0 w 7136640"/>
              <a:gd name="connsiteY0" fmla="*/ 50567 h 291500"/>
              <a:gd name="connsiteX1" fmla="*/ 1114078 w 7136640"/>
              <a:gd name="connsiteY1" fmla="*/ 212044 h 291500"/>
              <a:gd name="connsiteX2" fmla="*/ 1743606 w 7136640"/>
              <a:gd name="connsiteY2" fmla="*/ 4729 h 291500"/>
              <a:gd name="connsiteX3" fmla="*/ 2642777 w 7136640"/>
              <a:gd name="connsiteY3" fmla="*/ 124318 h 291500"/>
              <a:gd name="connsiteX4" fmla="*/ 3302093 w 7136640"/>
              <a:gd name="connsiteY4" fmla="*/ 189627 h 291500"/>
              <a:gd name="connsiteX5" fmla="*/ 3964644 w 7136640"/>
              <a:gd name="connsiteY5" fmla="*/ 333 h 291500"/>
              <a:gd name="connsiteX6" fmla="*/ 4723015 w 7136640"/>
              <a:gd name="connsiteY6" fmla="*/ 248469 h 291500"/>
              <a:gd name="connsiteX7" fmla="*/ 5555182 w 7136640"/>
              <a:gd name="connsiteY7" fmla="*/ 269235 h 291500"/>
              <a:gd name="connsiteX8" fmla="*/ 6486411 w 7136640"/>
              <a:gd name="connsiteY8" fmla="*/ 18197 h 291500"/>
              <a:gd name="connsiteX9" fmla="*/ 7136640 w 7136640"/>
              <a:gd name="connsiteY9" fmla="*/ 140948 h 291500"/>
              <a:gd name="connsiteX0" fmla="*/ 0 w 7136640"/>
              <a:gd name="connsiteY0" fmla="*/ 47246 h 288179"/>
              <a:gd name="connsiteX1" fmla="*/ 1114078 w 7136640"/>
              <a:gd name="connsiteY1" fmla="*/ 208723 h 288179"/>
              <a:gd name="connsiteX2" fmla="*/ 1743606 w 7136640"/>
              <a:gd name="connsiteY2" fmla="*/ 1408 h 288179"/>
              <a:gd name="connsiteX3" fmla="*/ 2642777 w 7136640"/>
              <a:gd name="connsiteY3" fmla="*/ 120997 h 288179"/>
              <a:gd name="connsiteX4" fmla="*/ 3302093 w 7136640"/>
              <a:gd name="connsiteY4" fmla="*/ 186306 h 288179"/>
              <a:gd name="connsiteX5" fmla="*/ 3964644 w 7136640"/>
              <a:gd name="connsiteY5" fmla="*/ 78036 h 288179"/>
              <a:gd name="connsiteX6" fmla="*/ 4723015 w 7136640"/>
              <a:gd name="connsiteY6" fmla="*/ 245148 h 288179"/>
              <a:gd name="connsiteX7" fmla="*/ 5555182 w 7136640"/>
              <a:gd name="connsiteY7" fmla="*/ 265914 h 288179"/>
              <a:gd name="connsiteX8" fmla="*/ 6486411 w 7136640"/>
              <a:gd name="connsiteY8" fmla="*/ 14876 h 288179"/>
              <a:gd name="connsiteX9" fmla="*/ 7136640 w 7136640"/>
              <a:gd name="connsiteY9" fmla="*/ 137627 h 288179"/>
              <a:gd name="connsiteX0" fmla="*/ 0 w 7136640"/>
              <a:gd name="connsiteY0" fmla="*/ 47246 h 245148"/>
              <a:gd name="connsiteX1" fmla="*/ 1114078 w 7136640"/>
              <a:gd name="connsiteY1" fmla="*/ 208723 h 245148"/>
              <a:gd name="connsiteX2" fmla="*/ 1743606 w 7136640"/>
              <a:gd name="connsiteY2" fmla="*/ 1408 h 245148"/>
              <a:gd name="connsiteX3" fmla="*/ 2642777 w 7136640"/>
              <a:gd name="connsiteY3" fmla="*/ 120997 h 245148"/>
              <a:gd name="connsiteX4" fmla="*/ 3302093 w 7136640"/>
              <a:gd name="connsiteY4" fmla="*/ 186306 h 245148"/>
              <a:gd name="connsiteX5" fmla="*/ 3964644 w 7136640"/>
              <a:gd name="connsiteY5" fmla="*/ 78036 h 245148"/>
              <a:gd name="connsiteX6" fmla="*/ 4723015 w 7136640"/>
              <a:gd name="connsiteY6" fmla="*/ 245148 h 245148"/>
              <a:gd name="connsiteX7" fmla="*/ 5569100 w 7136640"/>
              <a:gd name="connsiteY7" fmla="*/ 130871 h 245148"/>
              <a:gd name="connsiteX8" fmla="*/ 6486411 w 7136640"/>
              <a:gd name="connsiteY8" fmla="*/ 14876 h 245148"/>
              <a:gd name="connsiteX9" fmla="*/ 7136640 w 7136640"/>
              <a:gd name="connsiteY9" fmla="*/ 137627 h 245148"/>
              <a:gd name="connsiteX0" fmla="*/ 0 w 7136640"/>
              <a:gd name="connsiteY0" fmla="*/ 46561 h 244463"/>
              <a:gd name="connsiteX1" fmla="*/ 891393 w 7136640"/>
              <a:gd name="connsiteY1" fmla="*/ 181033 h 244463"/>
              <a:gd name="connsiteX2" fmla="*/ 1743606 w 7136640"/>
              <a:gd name="connsiteY2" fmla="*/ 723 h 244463"/>
              <a:gd name="connsiteX3" fmla="*/ 2642777 w 7136640"/>
              <a:gd name="connsiteY3" fmla="*/ 120312 h 244463"/>
              <a:gd name="connsiteX4" fmla="*/ 3302093 w 7136640"/>
              <a:gd name="connsiteY4" fmla="*/ 185621 h 244463"/>
              <a:gd name="connsiteX5" fmla="*/ 3964644 w 7136640"/>
              <a:gd name="connsiteY5" fmla="*/ 77351 h 244463"/>
              <a:gd name="connsiteX6" fmla="*/ 4723015 w 7136640"/>
              <a:gd name="connsiteY6" fmla="*/ 244463 h 244463"/>
              <a:gd name="connsiteX7" fmla="*/ 5569100 w 7136640"/>
              <a:gd name="connsiteY7" fmla="*/ 130186 h 244463"/>
              <a:gd name="connsiteX8" fmla="*/ 6486411 w 7136640"/>
              <a:gd name="connsiteY8" fmla="*/ 14191 h 244463"/>
              <a:gd name="connsiteX9" fmla="*/ 7136640 w 7136640"/>
              <a:gd name="connsiteY9" fmla="*/ 136942 h 244463"/>
              <a:gd name="connsiteX0" fmla="*/ 0 w 7122723"/>
              <a:gd name="connsiteY0" fmla="*/ 181603 h 244463"/>
              <a:gd name="connsiteX1" fmla="*/ 877476 w 7122723"/>
              <a:gd name="connsiteY1" fmla="*/ 181033 h 244463"/>
              <a:gd name="connsiteX2" fmla="*/ 1729689 w 7122723"/>
              <a:gd name="connsiteY2" fmla="*/ 723 h 244463"/>
              <a:gd name="connsiteX3" fmla="*/ 2628860 w 7122723"/>
              <a:gd name="connsiteY3" fmla="*/ 120312 h 244463"/>
              <a:gd name="connsiteX4" fmla="*/ 3288176 w 7122723"/>
              <a:gd name="connsiteY4" fmla="*/ 185621 h 244463"/>
              <a:gd name="connsiteX5" fmla="*/ 3950727 w 7122723"/>
              <a:gd name="connsiteY5" fmla="*/ 77351 h 244463"/>
              <a:gd name="connsiteX6" fmla="*/ 4709098 w 7122723"/>
              <a:gd name="connsiteY6" fmla="*/ 244463 h 244463"/>
              <a:gd name="connsiteX7" fmla="*/ 5555183 w 7122723"/>
              <a:gd name="connsiteY7" fmla="*/ 130186 h 244463"/>
              <a:gd name="connsiteX8" fmla="*/ 6472494 w 7122723"/>
              <a:gd name="connsiteY8" fmla="*/ 14191 h 244463"/>
              <a:gd name="connsiteX9" fmla="*/ 7122723 w 7122723"/>
              <a:gd name="connsiteY9" fmla="*/ 136942 h 244463"/>
              <a:gd name="connsiteX0" fmla="*/ 0 w 7122723"/>
              <a:gd name="connsiteY0" fmla="*/ 168028 h 230888"/>
              <a:gd name="connsiteX1" fmla="*/ 877476 w 7122723"/>
              <a:gd name="connsiteY1" fmla="*/ 167458 h 230888"/>
              <a:gd name="connsiteX2" fmla="*/ 1743606 w 7122723"/>
              <a:gd name="connsiteY2" fmla="*/ 95181 h 230888"/>
              <a:gd name="connsiteX3" fmla="*/ 2628860 w 7122723"/>
              <a:gd name="connsiteY3" fmla="*/ 106737 h 230888"/>
              <a:gd name="connsiteX4" fmla="*/ 3288176 w 7122723"/>
              <a:gd name="connsiteY4" fmla="*/ 172046 h 230888"/>
              <a:gd name="connsiteX5" fmla="*/ 3950727 w 7122723"/>
              <a:gd name="connsiteY5" fmla="*/ 63776 h 230888"/>
              <a:gd name="connsiteX6" fmla="*/ 4709098 w 7122723"/>
              <a:gd name="connsiteY6" fmla="*/ 230888 h 230888"/>
              <a:gd name="connsiteX7" fmla="*/ 5555183 w 7122723"/>
              <a:gd name="connsiteY7" fmla="*/ 116611 h 230888"/>
              <a:gd name="connsiteX8" fmla="*/ 6472494 w 7122723"/>
              <a:gd name="connsiteY8" fmla="*/ 616 h 230888"/>
              <a:gd name="connsiteX9" fmla="*/ 7122723 w 7122723"/>
              <a:gd name="connsiteY9" fmla="*/ 123367 h 230888"/>
              <a:gd name="connsiteX0" fmla="*/ 0 w 7122723"/>
              <a:gd name="connsiteY0" fmla="*/ 168028 h 230888"/>
              <a:gd name="connsiteX1" fmla="*/ 877476 w 7122723"/>
              <a:gd name="connsiteY1" fmla="*/ 167458 h 230888"/>
              <a:gd name="connsiteX2" fmla="*/ 1750564 w 7122723"/>
              <a:gd name="connsiteY2" fmla="*/ 203217 h 230888"/>
              <a:gd name="connsiteX3" fmla="*/ 2628860 w 7122723"/>
              <a:gd name="connsiteY3" fmla="*/ 106737 h 230888"/>
              <a:gd name="connsiteX4" fmla="*/ 3288176 w 7122723"/>
              <a:gd name="connsiteY4" fmla="*/ 172046 h 230888"/>
              <a:gd name="connsiteX5" fmla="*/ 3950727 w 7122723"/>
              <a:gd name="connsiteY5" fmla="*/ 63776 h 230888"/>
              <a:gd name="connsiteX6" fmla="*/ 4709098 w 7122723"/>
              <a:gd name="connsiteY6" fmla="*/ 230888 h 230888"/>
              <a:gd name="connsiteX7" fmla="*/ 5555183 w 7122723"/>
              <a:gd name="connsiteY7" fmla="*/ 116611 h 230888"/>
              <a:gd name="connsiteX8" fmla="*/ 6472494 w 7122723"/>
              <a:gd name="connsiteY8" fmla="*/ 616 h 230888"/>
              <a:gd name="connsiteX9" fmla="*/ 7122723 w 7122723"/>
              <a:gd name="connsiteY9" fmla="*/ 123367 h 230888"/>
              <a:gd name="connsiteX0" fmla="*/ 0 w 7122723"/>
              <a:gd name="connsiteY0" fmla="*/ 168028 h 230888"/>
              <a:gd name="connsiteX1" fmla="*/ 877476 w 7122723"/>
              <a:gd name="connsiteY1" fmla="*/ 167458 h 230888"/>
              <a:gd name="connsiteX2" fmla="*/ 1750564 w 7122723"/>
              <a:gd name="connsiteY2" fmla="*/ 203217 h 230888"/>
              <a:gd name="connsiteX3" fmla="*/ 2580147 w 7122723"/>
              <a:gd name="connsiteY3" fmla="*/ 160751 h 230888"/>
              <a:gd name="connsiteX4" fmla="*/ 3288176 w 7122723"/>
              <a:gd name="connsiteY4" fmla="*/ 172046 h 230888"/>
              <a:gd name="connsiteX5" fmla="*/ 3950727 w 7122723"/>
              <a:gd name="connsiteY5" fmla="*/ 63776 h 230888"/>
              <a:gd name="connsiteX6" fmla="*/ 4709098 w 7122723"/>
              <a:gd name="connsiteY6" fmla="*/ 230888 h 230888"/>
              <a:gd name="connsiteX7" fmla="*/ 5555183 w 7122723"/>
              <a:gd name="connsiteY7" fmla="*/ 116611 h 230888"/>
              <a:gd name="connsiteX8" fmla="*/ 6472494 w 7122723"/>
              <a:gd name="connsiteY8" fmla="*/ 616 h 230888"/>
              <a:gd name="connsiteX9" fmla="*/ 7122723 w 7122723"/>
              <a:gd name="connsiteY9" fmla="*/ 123367 h 230888"/>
              <a:gd name="connsiteX0" fmla="*/ 0 w 7122723"/>
              <a:gd name="connsiteY0" fmla="*/ 168028 h 268787"/>
              <a:gd name="connsiteX1" fmla="*/ 877476 w 7122723"/>
              <a:gd name="connsiteY1" fmla="*/ 167458 h 268787"/>
              <a:gd name="connsiteX2" fmla="*/ 1750564 w 7122723"/>
              <a:gd name="connsiteY2" fmla="*/ 203217 h 268787"/>
              <a:gd name="connsiteX3" fmla="*/ 2489682 w 7122723"/>
              <a:gd name="connsiteY3" fmla="*/ 268787 h 268787"/>
              <a:gd name="connsiteX4" fmla="*/ 3288176 w 7122723"/>
              <a:gd name="connsiteY4" fmla="*/ 172046 h 268787"/>
              <a:gd name="connsiteX5" fmla="*/ 3950727 w 7122723"/>
              <a:gd name="connsiteY5" fmla="*/ 63776 h 268787"/>
              <a:gd name="connsiteX6" fmla="*/ 4709098 w 7122723"/>
              <a:gd name="connsiteY6" fmla="*/ 230888 h 268787"/>
              <a:gd name="connsiteX7" fmla="*/ 5555183 w 7122723"/>
              <a:gd name="connsiteY7" fmla="*/ 116611 h 268787"/>
              <a:gd name="connsiteX8" fmla="*/ 6472494 w 7122723"/>
              <a:gd name="connsiteY8" fmla="*/ 616 h 268787"/>
              <a:gd name="connsiteX9" fmla="*/ 7122723 w 7122723"/>
              <a:gd name="connsiteY9" fmla="*/ 123367 h 268787"/>
              <a:gd name="connsiteX0" fmla="*/ 0 w 7122723"/>
              <a:gd name="connsiteY0" fmla="*/ 168028 h 281032"/>
              <a:gd name="connsiteX1" fmla="*/ 877476 w 7122723"/>
              <a:gd name="connsiteY1" fmla="*/ 167458 h 281032"/>
              <a:gd name="connsiteX2" fmla="*/ 1750564 w 7122723"/>
              <a:gd name="connsiteY2" fmla="*/ 203217 h 281032"/>
              <a:gd name="connsiteX3" fmla="*/ 2489682 w 7122723"/>
              <a:gd name="connsiteY3" fmla="*/ 268787 h 281032"/>
              <a:gd name="connsiteX4" fmla="*/ 3288176 w 7122723"/>
              <a:gd name="connsiteY4" fmla="*/ 280078 h 281032"/>
              <a:gd name="connsiteX5" fmla="*/ 3950727 w 7122723"/>
              <a:gd name="connsiteY5" fmla="*/ 63776 h 281032"/>
              <a:gd name="connsiteX6" fmla="*/ 4709098 w 7122723"/>
              <a:gd name="connsiteY6" fmla="*/ 230888 h 281032"/>
              <a:gd name="connsiteX7" fmla="*/ 5555183 w 7122723"/>
              <a:gd name="connsiteY7" fmla="*/ 116611 h 281032"/>
              <a:gd name="connsiteX8" fmla="*/ 6472494 w 7122723"/>
              <a:gd name="connsiteY8" fmla="*/ 616 h 281032"/>
              <a:gd name="connsiteX9" fmla="*/ 7122723 w 7122723"/>
              <a:gd name="connsiteY9" fmla="*/ 123367 h 281032"/>
              <a:gd name="connsiteX0" fmla="*/ 0 w 7122723"/>
              <a:gd name="connsiteY0" fmla="*/ 168028 h 469167"/>
              <a:gd name="connsiteX1" fmla="*/ 877476 w 7122723"/>
              <a:gd name="connsiteY1" fmla="*/ 167458 h 469167"/>
              <a:gd name="connsiteX2" fmla="*/ 1750564 w 7122723"/>
              <a:gd name="connsiteY2" fmla="*/ 203217 h 469167"/>
              <a:gd name="connsiteX3" fmla="*/ 2489682 w 7122723"/>
              <a:gd name="connsiteY3" fmla="*/ 268787 h 469167"/>
              <a:gd name="connsiteX4" fmla="*/ 3288176 w 7122723"/>
              <a:gd name="connsiteY4" fmla="*/ 280078 h 469167"/>
              <a:gd name="connsiteX5" fmla="*/ 3999440 w 7122723"/>
              <a:gd name="connsiteY5" fmla="*/ 468903 h 469167"/>
              <a:gd name="connsiteX6" fmla="*/ 4709098 w 7122723"/>
              <a:gd name="connsiteY6" fmla="*/ 230888 h 469167"/>
              <a:gd name="connsiteX7" fmla="*/ 5555183 w 7122723"/>
              <a:gd name="connsiteY7" fmla="*/ 116611 h 469167"/>
              <a:gd name="connsiteX8" fmla="*/ 6472494 w 7122723"/>
              <a:gd name="connsiteY8" fmla="*/ 616 h 469167"/>
              <a:gd name="connsiteX9" fmla="*/ 7122723 w 7122723"/>
              <a:gd name="connsiteY9" fmla="*/ 123367 h 469167"/>
              <a:gd name="connsiteX0" fmla="*/ 0 w 7122723"/>
              <a:gd name="connsiteY0" fmla="*/ 168028 h 287490"/>
              <a:gd name="connsiteX1" fmla="*/ 877476 w 7122723"/>
              <a:gd name="connsiteY1" fmla="*/ 167458 h 287490"/>
              <a:gd name="connsiteX2" fmla="*/ 1750564 w 7122723"/>
              <a:gd name="connsiteY2" fmla="*/ 203217 h 287490"/>
              <a:gd name="connsiteX3" fmla="*/ 2489682 w 7122723"/>
              <a:gd name="connsiteY3" fmla="*/ 268787 h 287490"/>
              <a:gd name="connsiteX4" fmla="*/ 3288176 w 7122723"/>
              <a:gd name="connsiteY4" fmla="*/ 280078 h 287490"/>
              <a:gd name="connsiteX5" fmla="*/ 4006399 w 7122723"/>
              <a:gd name="connsiteY5" fmla="*/ 279846 h 287490"/>
              <a:gd name="connsiteX6" fmla="*/ 4709098 w 7122723"/>
              <a:gd name="connsiteY6" fmla="*/ 230888 h 287490"/>
              <a:gd name="connsiteX7" fmla="*/ 5555183 w 7122723"/>
              <a:gd name="connsiteY7" fmla="*/ 116611 h 287490"/>
              <a:gd name="connsiteX8" fmla="*/ 6472494 w 7122723"/>
              <a:gd name="connsiteY8" fmla="*/ 616 h 287490"/>
              <a:gd name="connsiteX9" fmla="*/ 7122723 w 7122723"/>
              <a:gd name="connsiteY9" fmla="*/ 123367 h 287490"/>
              <a:gd name="connsiteX0" fmla="*/ 0 w 7122723"/>
              <a:gd name="connsiteY0" fmla="*/ 168028 h 289109"/>
              <a:gd name="connsiteX1" fmla="*/ 877476 w 7122723"/>
              <a:gd name="connsiteY1" fmla="*/ 167458 h 289109"/>
              <a:gd name="connsiteX2" fmla="*/ 1750564 w 7122723"/>
              <a:gd name="connsiteY2" fmla="*/ 203217 h 289109"/>
              <a:gd name="connsiteX3" fmla="*/ 2489682 w 7122723"/>
              <a:gd name="connsiteY3" fmla="*/ 268787 h 289109"/>
              <a:gd name="connsiteX4" fmla="*/ 3288176 w 7122723"/>
              <a:gd name="connsiteY4" fmla="*/ 280078 h 289109"/>
              <a:gd name="connsiteX5" fmla="*/ 4006399 w 7122723"/>
              <a:gd name="connsiteY5" fmla="*/ 279846 h 289109"/>
              <a:gd name="connsiteX6" fmla="*/ 4723016 w 7122723"/>
              <a:gd name="connsiteY6" fmla="*/ 203879 h 289109"/>
              <a:gd name="connsiteX7" fmla="*/ 5555183 w 7122723"/>
              <a:gd name="connsiteY7" fmla="*/ 116611 h 289109"/>
              <a:gd name="connsiteX8" fmla="*/ 6472494 w 7122723"/>
              <a:gd name="connsiteY8" fmla="*/ 616 h 289109"/>
              <a:gd name="connsiteX9" fmla="*/ 7122723 w 7122723"/>
              <a:gd name="connsiteY9" fmla="*/ 123367 h 289109"/>
              <a:gd name="connsiteX0" fmla="*/ 0 w 7122723"/>
              <a:gd name="connsiteY0" fmla="*/ 168028 h 285041"/>
              <a:gd name="connsiteX1" fmla="*/ 877476 w 7122723"/>
              <a:gd name="connsiteY1" fmla="*/ 167458 h 285041"/>
              <a:gd name="connsiteX2" fmla="*/ 1750564 w 7122723"/>
              <a:gd name="connsiteY2" fmla="*/ 203217 h 285041"/>
              <a:gd name="connsiteX3" fmla="*/ 2489682 w 7122723"/>
              <a:gd name="connsiteY3" fmla="*/ 268787 h 285041"/>
              <a:gd name="connsiteX4" fmla="*/ 3288176 w 7122723"/>
              <a:gd name="connsiteY4" fmla="*/ 280078 h 285041"/>
              <a:gd name="connsiteX5" fmla="*/ 4006399 w 7122723"/>
              <a:gd name="connsiteY5" fmla="*/ 279846 h 285041"/>
              <a:gd name="connsiteX6" fmla="*/ 4729975 w 7122723"/>
              <a:gd name="connsiteY6" fmla="*/ 284906 h 285041"/>
              <a:gd name="connsiteX7" fmla="*/ 5555183 w 7122723"/>
              <a:gd name="connsiteY7" fmla="*/ 116611 h 285041"/>
              <a:gd name="connsiteX8" fmla="*/ 6472494 w 7122723"/>
              <a:gd name="connsiteY8" fmla="*/ 616 h 285041"/>
              <a:gd name="connsiteX9" fmla="*/ 7122723 w 7122723"/>
              <a:gd name="connsiteY9" fmla="*/ 123367 h 285041"/>
              <a:gd name="connsiteX0" fmla="*/ 0 w 7122723"/>
              <a:gd name="connsiteY0" fmla="*/ 167667 h 284680"/>
              <a:gd name="connsiteX1" fmla="*/ 877476 w 7122723"/>
              <a:gd name="connsiteY1" fmla="*/ 167097 h 284680"/>
              <a:gd name="connsiteX2" fmla="*/ 1750564 w 7122723"/>
              <a:gd name="connsiteY2" fmla="*/ 202856 h 284680"/>
              <a:gd name="connsiteX3" fmla="*/ 2489682 w 7122723"/>
              <a:gd name="connsiteY3" fmla="*/ 268426 h 284680"/>
              <a:gd name="connsiteX4" fmla="*/ 3288176 w 7122723"/>
              <a:gd name="connsiteY4" fmla="*/ 279717 h 284680"/>
              <a:gd name="connsiteX5" fmla="*/ 4006399 w 7122723"/>
              <a:gd name="connsiteY5" fmla="*/ 279485 h 284680"/>
              <a:gd name="connsiteX6" fmla="*/ 4729975 w 7122723"/>
              <a:gd name="connsiteY6" fmla="*/ 284545 h 284680"/>
              <a:gd name="connsiteX7" fmla="*/ 5583019 w 7122723"/>
              <a:gd name="connsiteY7" fmla="*/ 278302 h 284680"/>
              <a:gd name="connsiteX8" fmla="*/ 6472494 w 7122723"/>
              <a:gd name="connsiteY8" fmla="*/ 255 h 284680"/>
              <a:gd name="connsiteX9" fmla="*/ 7122723 w 7122723"/>
              <a:gd name="connsiteY9" fmla="*/ 123006 h 284680"/>
              <a:gd name="connsiteX0" fmla="*/ 0 w 7122723"/>
              <a:gd name="connsiteY0" fmla="*/ 45417 h 162430"/>
              <a:gd name="connsiteX1" fmla="*/ 877476 w 7122723"/>
              <a:gd name="connsiteY1" fmla="*/ 44847 h 162430"/>
              <a:gd name="connsiteX2" fmla="*/ 1750564 w 7122723"/>
              <a:gd name="connsiteY2" fmla="*/ 80606 h 162430"/>
              <a:gd name="connsiteX3" fmla="*/ 2489682 w 7122723"/>
              <a:gd name="connsiteY3" fmla="*/ 146176 h 162430"/>
              <a:gd name="connsiteX4" fmla="*/ 3288176 w 7122723"/>
              <a:gd name="connsiteY4" fmla="*/ 157467 h 162430"/>
              <a:gd name="connsiteX5" fmla="*/ 4006399 w 7122723"/>
              <a:gd name="connsiteY5" fmla="*/ 157235 h 162430"/>
              <a:gd name="connsiteX6" fmla="*/ 4729975 w 7122723"/>
              <a:gd name="connsiteY6" fmla="*/ 162295 h 162430"/>
              <a:gd name="connsiteX7" fmla="*/ 5583019 w 7122723"/>
              <a:gd name="connsiteY7" fmla="*/ 156052 h 162430"/>
              <a:gd name="connsiteX8" fmla="*/ 6416822 w 7122723"/>
              <a:gd name="connsiteY8" fmla="*/ 121081 h 162430"/>
              <a:gd name="connsiteX9" fmla="*/ 7122723 w 7122723"/>
              <a:gd name="connsiteY9" fmla="*/ 756 h 162430"/>
              <a:gd name="connsiteX0" fmla="*/ 0 w 7122723"/>
              <a:gd name="connsiteY0" fmla="*/ 45300 h 162313"/>
              <a:gd name="connsiteX1" fmla="*/ 877476 w 7122723"/>
              <a:gd name="connsiteY1" fmla="*/ 44730 h 162313"/>
              <a:gd name="connsiteX2" fmla="*/ 1750564 w 7122723"/>
              <a:gd name="connsiteY2" fmla="*/ 80489 h 162313"/>
              <a:gd name="connsiteX3" fmla="*/ 2489682 w 7122723"/>
              <a:gd name="connsiteY3" fmla="*/ 146059 h 162313"/>
              <a:gd name="connsiteX4" fmla="*/ 3288176 w 7122723"/>
              <a:gd name="connsiteY4" fmla="*/ 157350 h 162313"/>
              <a:gd name="connsiteX5" fmla="*/ 4006399 w 7122723"/>
              <a:gd name="connsiteY5" fmla="*/ 157118 h 162313"/>
              <a:gd name="connsiteX6" fmla="*/ 4729975 w 7122723"/>
              <a:gd name="connsiteY6" fmla="*/ 162178 h 162313"/>
              <a:gd name="connsiteX7" fmla="*/ 5583019 w 7122723"/>
              <a:gd name="connsiteY7" fmla="*/ 155935 h 162313"/>
              <a:gd name="connsiteX8" fmla="*/ 6361151 w 7122723"/>
              <a:gd name="connsiteY8" fmla="*/ 147973 h 162313"/>
              <a:gd name="connsiteX9" fmla="*/ 7122723 w 7122723"/>
              <a:gd name="connsiteY9" fmla="*/ 639 h 162313"/>
              <a:gd name="connsiteX0" fmla="*/ 0 w 7129682"/>
              <a:gd name="connsiteY0" fmla="*/ 4954 h 149354"/>
              <a:gd name="connsiteX1" fmla="*/ 877476 w 7129682"/>
              <a:gd name="connsiteY1" fmla="*/ 4384 h 149354"/>
              <a:gd name="connsiteX2" fmla="*/ 1750564 w 7129682"/>
              <a:gd name="connsiteY2" fmla="*/ 40143 h 149354"/>
              <a:gd name="connsiteX3" fmla="*/ 2489682 w 7129682"/>
              <a:gd name="connsiteY3" fmla="*/ 105713 h 149354"/>
              <a:gd name="connsiteX4" fmla="*/ 3288176 w 7129682"/>
              <a:gd name="connsiteY4" fmla="*/ 117004 h 149354"/>
              <a:gd name="connsiteX5" fmla="*/ 4006399 w 7129682"/>
              <a:gd name="connsiteY5" fmla="*/ 116772 h 149354"/>
              <a:gd name="connsiteX6" fmla="*/ 4729975 w 7129682"/>
              <a:gd name="connsiteY6" fmla="*/ 121832 h 149354"/>
              <a:gd name="connsiteX7" fmla="*/ 5583019 w 7129682"/>
              <a:gd name="connsiteY7" fmla="*/ 115589 h 149354"/>
              <a:gd name="connsiteX8" fmla="*/ 6361151 w 7129682"/>
              <a:gd name="connsiteY8" fmla="*/ 107627 h 149354"/>
              <a:gd name="connsiteX9" fmla="*/ 7129682 w 7129682"/>
              <a:gd name="connsiteY9" fmla="*/ 149354 h 149354"/>
              <a:gd name="connsiteX0" fmla="*/ 0 w 7122723"/>
              <a:gd name="connsiteY0" fmla="*/ 168639 h 168639"/>
              <a:gd name="connsiteX1" fmla="*/ 870517 w 7122723"/>
              <a:gd name="connsiteY1" fmla="*/ 6020 h 168639"/>
              <a:gd name="connsiteX2" fmla="*/ 1743605 w 7122723"/>
              <a:gd name="connsiteY2" fmla="*/ 41779 h 168639"/>
              <a:gd name="connsiteX3" fmla="*/ 2482723 w 7122723"/>
              <a:gd name="connsiteY3" fmla="*/ 107349 h 168639"/>
              <a:gd name="connsiteX4" fmla="*/ 3281217 w 7122723"/>
              <a:gd name="connsiteY4" fmla="*/ 118640 h 168639"/>
              <a:gd name="connsiteX5" fmla="*/ 3999440 w 7122723"/>
              <a:gd name="connsiteY5" fmla="*/ 118408 h 168639"/>
              <a:gd name="connsiteX6" fmla="*/ 4723016 w 7122723"/>
              <a:gd name="connsiteY6" fmla="*/ 123468 h 168639"/>
              <a:gd name="connsiteX7" fmla="*/ 5576060 w 7122723"/>
              <a:gd name="connsiteY7" fmla="*/ 117225 h 168639"/>
              <a:gd name="connsiteX8" fmla="*/ 6354192 w 7122723"/>
              <a:gd name="connsiteY8" fmla="*/ 109263 h 168639"/>
              <a:gd name="connsiteX9" fmla="*/ 7122723 w 7122723"/>
              <a:gd name="connsiteY9" fmla="*/ 150990 h 168639"/>
              <a:gd name="connsiteX0" fmla="*/ 0 w 7122723"/>
              <a:gd name="connsiteY0" fmla="*/ 126886 h 126886"/>
              <a:gd name="connsiteX1" fmla="*/ 877476 w 7122723"/>
              <a:gd name="connsiteY1" fmla="*/ 72300 h 126886"/>
              <a:gd name="connsiteX2" fmla="*/ 1743605 w 7122723"/>
              <a:gd name="connsiteY2" fmla="*/ 26 h 126886"/>
              <a:gd name="connsiteX3" fmla="*/ 2482723 w 7122723"/>
              <a:gd name="connsiteY3" fmla="*/ 65596 h 126886"/>
              <a:gd name="connsiteX4" fmla="*/ 3281217 w 7122723"/>
              <a:gd name="connsiteY4" fmla="*/ 76887 h 126886"/>
              <a:gd name="connsiteX5" fmla="*/ 3999440 w 7122723"/>
              <a:gd name="connsiteY5" fmla="*/ 76655 h 126886"/>
              <a:gd name="connsiteX6" fmla="*/ 4723016 w 7122723"/>
              <a:gd name="connsiteY6" fmla="*/ 81715 h 126886"/>
              <a:gd name="connsiteX7" fmla="*/ 5576060 w 7122723"/>
              <a:gd name="connsiteY7" fmla="*/ 75472 h 126886"/>
              <a:gd name="connsiteX8" fmla="*/ 6354192 w 7122723"/>
              <a:gd name="connsiteY8" fmla="*/ 67510 h 126886"/>
              <a:gd name="connsiteX9" fmla="*/ 7122723 w 7122723"/>
              <a:gd name="connsiteY9" fmla="*/ 109237 h 126886"/>
              <a:gd name="connsiteX0" fmla="*/ 0 w 7122723"/>
              <a:gd name="connsiteY0" fmla="*/ 132350 h 215552"/>
              <a:gd name="connsiteX1" fmla="*/ 877476 w 7122723"/>
              <a:gd name="connsiteY1" fmla="*/ 212807 h 215552"/>
              <a:gd name="connsiteX2" fmla="*/ 1743605 w 7122723"/>
              <a:gd name="connsiteY2" fmla="*/ 5490 h 215552"/>
              <a:gd name="connsiteX3" fmla="*/ 2482723 w 7122723"/>
              <a:gd name="connsiteY3" fmla="*/ 71060 h 215552"/>
              <a:gd name="connsiteX4" fmla="*/ 3281217 w 7122723"/>
              <a:gd name="connsiteY4" fmla="*/ 82351 h 215552"/>
              <a:gd name="connsiteX5" fmla="*/ 3999440 w 7122723"/>
              <a:gd name="connsiteY5" fmla="*/ 82119 h 215552"/>
              <a:gd name="connsiteX6" fmla="*/ 4723016 w 7122723"/>
              <a:gd name="connsiteY6" fmla="*/ 87179 h 215552"/>
              <a:gd name="connsiteX7" fmla="*/ 5576060 w 7122723"/>
              <a:gd name="connsiteY7" fmla="*/ 80936 h 215552"/>
              <a:gd name="connsiteX8" fmla="*/ 6354192 w 7122723"/>
              <a:gd name="connsiteY8" fmla="*/ 72974 h 215552"/>
              <a:gd name="connsiteX9" fmla="*/ 7122723 w 7122723"/>
              <a:gd name="connsiteY9" fmla="*/ 114701 h 215552"/>
              <a:gd name="connsiteX0" fmla="*/ 0 w 7122723"/>
              <a:gd name="connsiteY0" fmla="*/ 127388 h 127388"/>
              <a:gd name="connsiteX1" fmla="*/ 877476 w 7122723"/>
              <a:gd name="connsiteY1" fmla="*/ 99811 h 127388"/>
              <a:gd name="connsiteX2" fmla="*/ 1743605 w 7122723"/>
              <a:gd name="connsiteY2" fmla="*/ 528 h 127388"/>
              <a:gd name="connsiteX3" fmla="*/ 2482723 w 7122723"/>
              <a:gd name="connsiteY3" fmla="*/ 66098 h 127388"/>
              <a:gd name="connsiteX4" fmla="*/ 3281217 w 7122723"/>
              <a:gd name="connsiteY4" fmla="*/ 77389 h 127388"/>
              <a:gd name="connsiteX5" fmla="*/ 3999440 w 7122723"/>
              <a:gd name="connsiteY5" fmla="*/ 77157 h 127388"/>
              <a:gd name="connsiteX6" fmla="*/ 4723016 w 7122723"/>
              <a:gd name="connsiteY6" fmla="*/ 82217 h 127388"/>
              <a:gd name="connsiteX7" fmla="*/ 5576060 w 7122723"/>
              <a:gd name="connsiteY7" fmla="*/ 75974 h 127388"/>
              <a:gd name="connsiteX8" fmla="*/ 6354192 w 7122723"/>
              <a:gd name="connsiteY8" fmla="*/ 68012 h 127388"/>
              <a:gd name="connsiteX9" fmla="*/ 7122723 w 7122723"/>
              <a:gd name="connsiteY9" fmla="*/ 109739 h 127388"/>
              <a:gd name="connsiteX0" fmla="*/ 0 w 7122723"/>
              <a:gd name="connsiteY0" fmla="*/ 80741 h 80741"/>
              <a:gd name="connsiteX1" fmla="*/ 877476 w 7122723"/>
              <a:gd name="connsiteY1" fmla="*/ 53164 h 80741"/>
              <a:gd name="connsiteX2" fmla="*/ 1757523 w 7122723"/>
              <a:gd name="connsiteY2" fmla="*/ 7896 h 80741"/>
              <a:gd name="connsiteX3" fmla="*/ 2482723 w 7122723"/>
              <a:gd name="connsiteY3" fmla="*/ 19451 h 80741"/>
              <a:gd name="connsiteX4" fmla="*/ 3281217 w 7122723"/>
              <a:gd name="connsiteY4" fmla="*/ 30742 h 80741"/>
              <a:gd name="connsiteX5" fmla="*/ 3999440 w 7122723"/>
              <a:gd name="connsiteY5" fmla="*/ 30510 h 80741"/>
              <a:gd name="connsiteX6" fmla="*/ 4723016 w 7122723"/>
              <a:gd name="connsiteY6" fmla="*/ 35570 h 80741"/>
              <a:gd name="connsiteX7" fmla="*/ 5576060 w 7122723"/>
              <a:gd name="connsiteY7" fmla="*/ 29327 h 80741"/>
              <a:gd name="connsiteX8" fmla="*/ 6354192 w 7122723"/>
              <a:gd name="connsiteY8" fmla="*/ 21365 h 80741"/>
              <a:gd name="connsiteX9" fmla="*/ 7122723 w 7122723"/>
              <a:gd name="connsiteY9" fmla="*/ 63092 h 80741"/>
              <a:gd name="connsiteX0" fmla="*/ 0 w 7115764"/>
              <a:gd name="connsiteY0" fmla="*/ 26726 h 63092"/>
              <a:gd name="connsiteX1" fmla="*/ 870517 w 7115764"/>
              <a:gd name="connsiteY1" fmla="*/ 53164 h 63092"/>
              <a:gd name="connsiteX2" fmla="*/ 1750564 w 7115764"/>
              <a:gd name="connsiteY2" fmla="*/ 7896 h 63092"/>
              <a:gd name="connsiteX3" fmla="*/ 2475764 w 7115764"/>
              <a:gd name="connsiteY3" fmla="*/ 19451 h 63092"/>
              <a:gd name="connsiteX4" fmla="*/ 3274258 w 7115764"/>
              <a:gd name="connsiteY4" fmla="*/ 30742 h 63092"/>
              <a:gd name="connsiteX5" fmla="*/ 3992481 w 7115764"/>
              <a:gd name="connsiteY5" fmla="*/ 30510 h 63092"/>
              <a:gd name="connsiteX6" fmla="*/ 4716057 w 7115764"/>
              <a:gd name="connsiteY6" fmla="*/ 35570 h 63092"/>
              <a:gd name="connsiteX7" fmla="*/ 5569101 w 7115764"/>
              <a:gd name="connsiteY7" fmla="*/ 29327 h 63092"/>
              <a:gd name="connsiteX8" fmla="*/ 6347233 w 7115764"/>
              <a:gd name="connsiteY8" fmla="*/ 21365 h 63092"/>
              <a:gd name="connsiteX9" fmla="*/ 7115764 w 7115764"/>
              <a:gd name="connsiteY9" fmla="*/ 63092 h 63092"/>
              <a:gd name="connsiteX0" fmla="*/ 0 w 7122723"/>
              <a:gd name="connsiteY0" fmla="*/ 378 h 90760"/>
              <a:gd name="connsiteX1" fmla="*/ 877476 w 7122723"/>
              <a:gd name="connsiteY1" fmla="*/ 80832 h 90760"/>
              <a:gd name="connsiteX2" fmla="*/ 1757523 w 7122723"/>
              <a:gd name="connsiteY2" fmla="*/ 35564 h 90760"/>
              <a:gd name="connsiteX3" fmla="*/ 2482723 w 7122723"/>
              <a:gd name="connsiteY3" fmla="*/ 47119 h 90760"/>
              <a:gd name="connsiteX4" fmla="*/ 3281217 w 7122723"/>
              <a:gd name="connsiteY4" fmla="*/ 58410 h 90760"/>
              <a:gd name="connsiteX5" fmla="*/ 3999440 w 7122723"/>
              <a:gd name="connsiteY5" fmla="*/ 58178 h 90760"/>
              <a:gd name="connsiteX6" fmla="*/ 4723016 w 7122723"/>
              <a:gd name="connsiteY6" fmla="*/ 63238 h 90760"/>
              <a:gd name="connsiteX7" fmla="*/ 5576060 w 7122723"/>
              <a:gd name="connsiteY7" fmla="*/ 56995 h 90760"/>
              <a:gd name="connsiteX8" fmla="*/ 6354192 w 7122723"/>
              <a:gd name="connsiteY8" fmla="*/ 49033 h 90760"/>
              <a:gd name="connsiteX9" fmla="*/ 7122723 w 7122723"/>
              <a:gd name="connsiteY9" fmla="*/ 90760 h 90760"/>
              <a:gd name="connsiteX0" fmla="*/ 0 w 7211678"/>
              <a:gd name="connsiteY0" fmla="*/ 6 h 8187249"/>
              <a:gd name="connsiteX1" fmla="*/ 966431 w 7211678"/>
              <a:gd name="connsiteY1" fmla="*/ 7635317 h 8187249"/>
              <a:gd name="connsiteX2" fmla="*/ 1846478 w 7211678"/>
              <a:gd name="connsiteY2" fmla="*/ 7590049 h 8187249"/>
              <a:gd name="connsiteX3" fmla="*/ 2571678 w 7211678"/>
              <a:gd name="connsiteY3" fmla="*/ 7601604 h 8187249"/>
              <a:gd name="connsiteX4" fmla="*/ 3370172 w 7211678"/>
              <a:gd name="connsiteY4" fmla="*/ 7612895 h 8187249"/>
              <a:gd name="connsiteX5" fmla="*/ 4088395 w 7211678"/>
              <a:gd name="connsiteY5" fmla="*/ 7612663 h 8187249"/>
              <a:gd name="connsiteX6" fmla="*/ 4811971 w 7211678"/>
              <a:gd name="connsiteY6" fmla="*/ 7617723 h 8187249"/>
              <a:gd name="connsiteX7" fmla="*/ 5665015 w 7211678"/>
              <a:gd name="connsiteY7" fmla="*/ 7611480 h 8187249"/>
              <a:gd name="connsiteX8" fmla="*/ 6443147 w 7211678"/>
              <a:gd name="connsiteY8" fmla="*/ 7603518 h 8187249"/>
              <a:gd name="connsiteX9" fmla="*/ 7211678 w 7211678"/>
              <a:gd name="connsiteY9" fmla="*/ 7645245 h 8187249"/>
              <a:gd name="connsiteX0" fmla="*/ 0 w 7211678"/>
              <a:gd name="connsiteY0" fmla="*/ 166 h 8042706"/>
              <a:gd name="connsiteX1" fmla="*/ 825149 w 7211678"/>
              <a:gd name="connsiteY1" fmla="*/ 1441309 h 8042706"/>
              <a:gd name="connsiteX2" fmla="*/ 1846478 w 7211678"/>
              <a:gd name="connsiteY2" fmla="*/ 7590209 h 8042706"/>
              <a:gd name="connsiteX3" fmla="*/ 2571678 w 7211678"/>
              <a:gd name="connsiteY3" fmla="*/ 7601764 h 8042706"/>
              <a:gd name="connsiteX4" fmla="*/ 3370172 w 7211678"/>
              <a:gd name="connsiteY4" fmla="*/ 7613055 h 8042706"/>
              <a:gd name="connsiteX5" fmla="*/ 4088395 w 7211678"/>
              <a:gd name="connsiteY5" fmla="*/ 7612823 h 8042706"/>
              <a:gd name="connsiteX6" fmla="*/ 4811971 w 7211678"/>
              <a:gd name="connsiteY6" fmla="*/ 7617883 h 8042706"/>
              <a:gd name="connsiteX7" fmla="*/ 5665015 w 7211678"/>
              <a:gd name="connsiteY7" fmla="*/ 7611640 h 8042706"/>
              <a:gd name="connsiteX8" fmla="*/ 6443147 w 7211678"/>
              <a:gd name="connsiteY8" fmla="*/ 7603678 h 8042706"/>
              <a:gd name="connsiteX9" fmla="*/ 7211678 w 7211678"/>
              <a:gd name="connsiteY9" fmla="*/ 7645405 h 8042706"/>
              <a:gd name="connsiteX0" fmla="*/ 0 w 7211678"/>
              <a:gd name="connsiteY0" fmla="*/ 31 h 8042571"/>
              <a:gd name="connsiteX1" fmla="*/ 825149 w 7211678"/>
              <a:gd name="connsiteY1" fmla="*/ 1441174 h 8042571"/>
              <a:gd name="connsiteX2" fmla="*/ 1846478 w 7211678"/>
              <a:gd name="connsiteY2" fmla="*/ 7590074 h 8042571"/>
              <a:gd name="connsiteX3" fmla="*/ 2571678 w 7211678"/>
              <a:gd name="connsiteY3" fmla="*/ 7601629 h 8042571"/>
              <a:gd name="connsiteX4" fmla="*/ 3370172 w 7211678"/>
              <a:gd name="connsiteY4" fmla="*/ 7612920 h 8042571"/>
              <a:gd name="connsiteX5" fmla="*/ 4088395 w 7211678"/>
              <a:gd name="connsiteY5" fmla="*/ 7612688 h 8042571"/>
              <a:gd name="connsiteX6" fmla="*/ 4811971 w 7211678"/>
              <a:gd name="connsiteY6" fmla="*/ 7617748 h 8042571"/>
              <a:gd name="connsiteX7" fmla="*/ 5665015 w 7211678"/>
              <a:gd name="connsiteY7" fmla="*/ 7611505 h 8042571"/>
              <a:gd name="connsiteX8" fmla="*/ 6443147 w 7211678"/>
              <a:gd name="connsiteY8" fmla="*/ 7603543 h 8042571"/>
              <a:gd name="connsiteX9" fmla="*/ 7211678 w 7211678"/>
              <a:gd name="connsiteY9" fmla="*/ 7645270 h 8042571"/>
              <a:gd name="connsiteX0" fmla="*/ 0 w 7211678"/>
              <a:gd name="connsiteY0" fmla="*/ 34 h 8042574"/>
              <a:gd name="connsiteX1" fmla="*/ 825149 w 7211678"/>
              <a:gd name="connsiteY1" fmla="*/ 1441177 h 8042574"/>
              <a:gd name="connsiteX2" fmla="*/ 1846478 w 7211678"/>
              <a:gd name="connsiteY2" fmla="*/ 7590077 h 8042574"/>
              <a:gd name="connsiteX3" fmla="*/ 2571678 w 7211678"/>
              <a:gd name="connsiteY3" fmla="*/ 7601632 h 8042574"/>
              <a:gd name="connsiteX4" fmla="*/ 3370172 w 7211678"/>
              <a:gd name="connsiteY4" fmla="*/ 7612923 h 8042574"/>
              <a:gd name="connsiteX5" fmla="*/ 4088395 w 7211678"/>
              <a:gd name="connsiteY5" fmla="*/ 7612691 h 8042574"/>
              <a:gd name="connsiteX6" fmla="*/ 4811971 w 7211678"/>
              <a:gd name="connsiteY6" fmla="*/ 7617751 h 8042574"/>
              <a:gd name="connsiteX7" fmla="*/ 5665015 w 7211678"/>
              <a:gd name="connsiteY7" fmla="*/ 7611508 h 8042574"/>
              <a:gd name="connsiteX8" fmla="*/ 6443147 w 7211678"/>
              <a:gd name="connsiteY8" fmla="*/ 7603546 h 8042574"/>
              <a:gd name="connsiteX9" fmla="*/ 7211678 w 7211678"/>
              <a:gd name="connsiteY9" fmla="*/ 7645273 h 8042574"/>
              <a:gd name="connsiteX0" fmla="*/ 0 w 7211678"/>
              <a:gd name="connsiteY0" fmla="*/ 0 h 8042540"/>
              <a:gd name="connsiteX1" fmla="*/ 825149 w 7211678"/>
              <a:gd name="connsiteY1" fmla="*/ 1441143 h 8042540"/>
              <a:gd name="connsiteX2" fmla="*/ 1846478 w 7211678"/>
              <a:gd name="connsiteY2" fmla="*/ 7590043 h 8042540"/>
              <a:gd name="connsiteX3" fmla="*/ 2571678 w 7211678"/>
              <a:gd name="connsiteY3" fmla="*/ 7601598 h 8042540"/>
              <a:gd name="connsiteX4" fmla="*/ 3370172 w 7211678"/>
              <a:gd name="connsiteY4" fmla="*/ 7612889 h 8042540"/>
              <a:gd name="connsiteX5" fmla="*/ 4088395 w 7211678"/>
              <a:gd name="connsiteY5" fmla="*/ 7612657 h 8042540"/>
              <a:gd name="connsiteX6" fmla="*/ 4811971 w 7211678"/>
              <a:gd name="connsiteY6" fmla="*/ 7617717 h 8042540"/>
              <a:gd name="connsiteX7" fmla="*/ 5665015 w 7211678"/>
              <a:gd name="connsiteY7" fmla="*/ 7611474 h 8042540"/>
              <a:gd name="connsiteX8" fmla="*/ 6443147 w 7211678"/>
              <a:gd name="connsiteY8" fmla="*/ 7603512 h 8042540"/>
              <a:gd name="connsiteX9" fmla="*/ 7211678 w 7211678"/>
              <a:gd name="connsiteY9" fmla="*/ 7645239 h 8042540"/>
              <a:gd name="connsiteX0" fmla="*/ 0 w 7211678"/>
              <a:gd name="connsiteY0" fmla="*/ 0 h 7645239"/>
              <a:gd name="connsiteX1" fmla="*/ 825149 w 7211678"/>
              <a:gd name="connsiteY1" fmla="*/ 1441143 h 7645239"/>
              <a:gd name="connsiteX2" fmla="*/ 1574379 w 7211678"/>
              <a:gd name="connsiteY2" fmla="*/ 400744 h 7645239"/>
              <a:gd name="connsiteX3" fmla="*/ 2571678 w 7211678"/>
              <a:gd name="connsiteY3" fmla="*/ 7601598 h 7645239"/>
              <a:gd name="connsiteX4" fmla="*/ 3370172 w 7211678"/>
              <a:gd name="connsiteY4" fmla="*/ 7612889 h 7645239"/>
              <a:gd name="connsiteX5" fmla="*/ 4088395 w 7211678"/>
              <a:gd name="connsiteY5" fmla="*/ 7612657 h 7645239"/>
              <a:gd name="connsiteX6" fmla="*/ 4811971 w 7211678"/>
              <a:gd name="connsiteY6" fmla="*/ 7617717 h 7645239"/>
              <a:gd name="connsiteX7" fmla="*/ 5665015 w 7211678"/>
              <a:gd name="connsiteY7" fmla="*/ 7611474 h 7645239"/>
              <a:gd name="connsiteX8" fmla="*/ 6443147 w 7211678"/>
              <a:gd name="connsiteY8" fmla="*/ 7603512 h 7645239"/>
              <a:gd name="connsiteX9" fmla="*/ 7211678 w 7211678"/>
              <a:gd name="connsiteY9" fmla="*/ 7645239 h 7645239"/>
              <a:gd name="connsiteX0" fmla="*/ 0 w 7211678"/>
              <a:gd name="connsiteY0" fmla="*/ 0 h 7645239"/>
              <a:gd name="connsiteX1" fmla="*/ 825149 w 7211678"/>
              <a:gd name="connsiteY1" fmla="*/ 1441143 h 7645239"/>
              <a:gd name="connsiteX2" fmla="*/ 1574379 w 7211678"/>
              <a:gd name="connsiteY2" fmla="*/ 400744 h 7645239"/>
              <a:gd name="connsiteX3" fmla="*/ 2571678 w 7211678"/>
              <a:gd name="connsiteY3" fmla="*/ 7601598 h 7645239"/>
              <a:gd name="connsiteX4" fmla="*/ 3370172 w 7211678"/>
              <a:gd name="connsiteY4" fmla="*/ 7612889 h 7645239"/>
              <a:gd name="connsiteX5" fmla="*/ 4088395 w 7211678"/>
              <a:gd name="connsiteY5" fmla="*/ 7612657 h 7645239"/>
              <a:gd name="connsiteX6" fmla="*/ 4811971 w 7211678"/>
              <a:gd name="connsiteY6" fmla="*/ 7617717 h 7645239"/>
              <a:gd name="connsiteX7" fmla="*/ 5665015 w 7211678"/>
              <a:gd name="connsiteY7" fmla="*/ 7611474 h 7645239"/>
              <a:gd name="connsiteX8" fmla="*/ 6443147 w 7211678"/>
              <a:gd name="connsiteY8" fmla="*/ 7603512 h 7645239"/>
              <a:gd name="connsiteX9" fmla="*/ 7211678 w 7211678"/>
              <a:gd name="connsiteY9" fmla="*/ 7645239 h 7645239"/>
              <a:gd name="connsiteX0" fmla="*/ 0 w 7211678"/>
              <a:gd name="connsiteY0" fmla="*/ 0 h 7645239"/>
              <a:gd name="connsiteX1" fmla="*/ 825149 w 7211678"/>
              <a:gd name="connsiteY1" fmla="*/ 1441143 h 7645239"/>
              <a:gd name="connsiteX2" fmla="*/ 1574379 w 7211678"/>
              <a:gd name="connsiteY2" fmla="*/ 339816 h 7645239"/>
              <a:gd name="connsiteX3" fmla="*/ 2571678 w 7211678"/>
              <a:gd name="connsiteY3" fmla="*/ 7601598 h 7645239"/>
              <a:gd name="connsiteX4" fmla="*/ 3370172 w 7211678"/>
              <a:gd name="connsiteY4" fmla="*/ 7612889 h 7645239"/>
              <a:gd name="connsiteX5" fmla="*/ 4088395 w 7211678"/>
              <a:gd name="connsiteY5" fmla="*/ 7612657 h 7645239"/>
              <a:gd name="connsiteX6" fmla="*/ 4811971 w 7211678"/>
              <a:gd name="connsiteY6" fmla="*/ 7617717 h 7645239"/>
              <a:gd name="connsiteX7" fmla="*/ 5665015 w 7211678"/>
              <a:gd name="connsiteY7" fmla="*/ 7611474 h 7645239"/>
              <a:gd name="connsiteX8" fmla="*/ 6443147 w 7211678"/>
              <a:gd name="connsiteY8" fmla="*/ 7603512 h 7645239"/>
              <a:gd name="connsiteX9" fmla="*/ 7211678 w 7211678"/>
              <a:gd name="connsiteY9" fmla="*/ 7645239 h 7645239"/>
              <a:gd name="connsiteX0" fmla="*/ 0 w 7211678"/>
              <a:gd name="connsiteY0" fmla="*/ 0 h 7645239"/>
              <a:gd name="connsiteX1" fmla="*/ 825149 w 7211678"/>
              <a:gd name="connsiteY1" fmla="*/ 1441143 h 7645239"/>
              <a:gd name="connsiteX2" fmla="*/ 1574379 w 7211678"/>
              <a:gd name="connsiteY2" fmla="*/ 339816 h 7645239"/>
              <a:gd name="connsiteX3" fmla="*/ 2336208 w 7211678"/>
              <a:gd name="connsiteY3" fmla="*/ 3885097 h 7645239"/>
              <a:gd name="connsiteX4" fmla="*/ 3370172 w 7211678"/>
              <a:gd name="connsiteY4" fmla="*/ 7612889 h 7645239"/>
              <a:gd name="connsiteX5" fmla="*/ 4088395 w 7211678"/>
              <a:gd name="connsiteY5" fmla="*/ 7612657 h 7645239"/>
              <a:gd name="connsiteX6" fmla="*/ 4811971 w 7211678"/>
              <a:gd name="connsiteY6" fmla="*/ 7617717 h 7645239"/>
              <a:gd name="connsiteX7" fmla="*/ 5665015 w 7211678"/>
              <a:gd name="connsiteY7" fmla="*/ 7611474 h 7645239"/>
              <a:gd name="connsiteX8" fmla="*/ 6443147 w 7211678"/>
              <a:gd name="connsiteY8" fmla="*/ 7603512 h 7645239"/>
              <a:gd name="connsiteX9" fmla="*/ 7211678 w 7211678"/>
              <a:gd name="connsiteY9" fmla="*/ 7645239 h 7645239"/>
              <a:gd name="connsiteX0" fmla="*/ 0 w 7211678"/>
              <a:gd name="connsiteY0" fmla="*/ 0 h 7645239"/>
              <a:gd name="connsiteX1" fmla="*/ 825149 w 7211678"/>
              <a:gd name="connsiteY1" fmla="*/ 1441143 h 7645239"/>
              <a:gd name="connsiteX2" fmla="*/ 1574379 w 7211678"/>
              <a:gd name="connsiteY2" fmla="*/ 339816 h 7645239"/>
              <a:gd name="connsiteX3" fmla="*/ 2336208 w 7211678"/>
              <a:gd name="connsiteY3" fmla="*/ 3885097 h 7645239"/>
              <a:gd name="connsiteX4" fmla="*/ 3370172 w 7211678"/>
              <a:gd name="connsiteY4" fmla="*/ 7612889 h 7645239"/>
              <a:gd name="connsiteX5" fmla="*/ 4088395 w 7211678"/>
              <a:gd name="connsiteY5" fmla="*/ 7612657 h 7645239"/>
              <a:gd name="connsiteX6" fmla="*/ 4811971 w 7211678"/>
              <a:gd name="connsiteY6" fmla="*/ 7617717 h 7645239"/>
              <a:gd name="connsiteX7" fmla="*/ 5665015 w 7211678"/>
              <a:gd name="connsiteY7" fmla="*/ 7611474 h 7645239"/>
              <a:gd name="connsiteX8" fmla="*/ 6443147 w 7211678"/>
              <a:gd name="connsiteY8" fmla="*/ 7603512 h 7645239"/>
              <a:gd name="connsiteX9" fmla="*/ 7211678 w 7211678"/>
              <a:gd name="connsiteY9" fmla="*/ 7645239 h 7645239"/>
              <a:gd name="connsiteX0" fmla="*/ 0 w 7211678"/>
              <a:gd name="connsiteY0" fmla="*/ 0 h 7645239"/>
              <a:gd name="connsiteX1" fmla="*/ 825149 w 7211678"/>
              <a:gd name="connsiteY1" fmla="*/ 1441143 h 7645239"/>
              <a:gd name="connsiteX2" fmla="*/ 1574379 w 7211678"/>
              <a:gd name="connsiteY2" fmla="*/ 339816 h 7645239"/>
              <a:gd name="connsiteX3" fmla="*/ 2336208 w 7211678"/>
              <a:gd name="connsiteY3" fmla="*/ 3885097 h 7645239"/>
              <a:gd name="connsiteX4" fmla="*/ 3370172 w 7211678"/>
              <a:gd name="connsiteY4" fmla="*/ 7612889 h 7645239"/>
              <a:gd name="connsiteX5" fmla="*/ 4088395 w 7211678"/>
              <a:gd name="connsiteY5" fmla="*/ 7612657 h 7645239"/>
              <a:gd name="connsiteX6" fmla="*/ 4811971 w 7211678"/>
              <a:gd name="connsiteY6" fmla="*/ 7617717 h 7645239"/>
              <a:gd name="connsiteX7" fmla="*/ 5665015 w 7211678"/>
              <a:gd name="connsiteY7" fmla="*/ 7611474 h 7645239"/>
              <a:gd name="connsiteX8" fmla="*/ 6443147 w 7211678"/>
              <a:gd name="connsiteY8" fmla="*/ 7603512 h 7645239"/>
              <a:gd name="connsiteX9" fmla="*/ 7211678 w 7211678"/>
              <a:gd name="connsiteY9" fmla="*/ 7645239 h 7645239"/>
              <a:gd name="connsiteX0" fmla="*/ 0 w 7211678"/>
              <a:gd name="connsiteY0" fmla="*/ 0 h 7645239"/>
              <a:gd name="connsiteX1" fmla="*/ 825149 w 7211678"/>
              <a:gd name="connsiteY1" fmla="*/ 1441143 h 7645239"/>
              <a:gd name="connsiteX2" fmla="*/ 1574379 w 7211678"/>
              <a:gd name="connsiteY2" fmla="*/ 339816 h 7645239"/>
              <a:gd name="connsiteX3" fmla="*/ 2336208 w 7211678"/>
              <a:gd name="connsiteY3" fmla="*/ 3885097 h 7645239"/>
              <a:gd name="connsiteX4" fmla="*/ 3119004 w 7211678"/>
              <a:gd name="connsiteY4" fmla="*/ 179884 h 7645239"/>
              <a:gd name="connsiteX5" fmla="*/ 4088395 w 7211678"/>
              <a:gd name="connsiteY5" fmla="*/ 7612657 h 7645239"/>
              <a:gd name="connsiteX6" fmla="*/ 4811971 w 7211678"/>
              <a:gd name="connsiteY6" fmla="*/ 7617717 h 7645239"/>
              <a:gd name="connsiteX7" fmla="*/ 5665015 w 7211678"/>
              <a:gd name="connsiteY7" fmla="*/ 7611474 h 7645239"/>
              <a:gd name="connsiteX8" fmla="*/ 6443147 w 7211678"/>
              <a:gd name="connsiteY8" fmla="*/ 7603512 h 7645239"/>
              <a:gd name="connsiteX9" fmla="*/ 7211678 w 7211678"/>
              <a:gd name="connsiteY9" fmla="*/ 7645239 h 7645239"/>
              <a:gd name="connsiteX0" fmla="*/ 0 w 7211678"/>
              <a:gd name="connsiteY0" fmla="*/ 0 h 7645239"/>
              <a:gd name="connsiteX1" fmla="*/ 825149 w 7211678"/>
              <a:gd name="connsiteY1" fmla="*/ 1441143 h 7645239"/>
              <a:gd name="connsiteX2" fmla="*/ 1574379 w 7211678"/>
              <a:gd name="connsiteY2" fmla="*/ 339816 h 7645239"/>
              <a:gd name="connsiteX3" fmla="*/ 2336208 w 7211678"/>
              <a:gd name="connsiteY3" fmla="*/ 3885097 h 7645239"/>
              <a:gd name="connsiteX4" fmla="*/ 3087608 w 7211678"/>
              <a:gd name="connsiteY4" fmla="*/ 382972 h 7645239"/>
              <a:gd name="connsiteX5" fmla="*/ 4088395 w 7211678"/>
              <a:gd name="connsiteY5" fmla="*/ 7612657 h 7645239"/>
              <a:gd name="connsiteX6" fmla="*/ 4811971 w 7211678"/>
              <a:gd name="connsiteY6" fmla="*/ 7617717 h 7645239"/>
              <a:gd name="connsiteX7" fmla="*/ 5665015 w 7211678"/>
              <a:gd name="connsiteY7" fmla="*/ 7611474 h 7645239"/>
              <a:gd name="connsiteX8" fmla="*/ 6443147 w 7211678"/>
              <a:gd name="connsiteY8" fmla="*/ 7603512 h 7645239"/>
              <a:gd name="connsiteX9" fmla="*/ 7211678 w 7211678"/>
              <a:gd name="connsiteY9" fmla="*/ 7645239 h 7645239"/>
              <a:gd name="connsiteX0" fmla="*/ 0 w 7211678"/>
              <a:gd name="connsiteY0" fmla="*/ 0 h 7645239"/>
              <a:gd name="connsiteX1" fmla="*/ 825149 w 7211678"/>
              <a:gd name="connsiteY1" fmla="*/ 1441143 h 7645239"/>
              <a:gd name="connsiteX2" fmla="*/ 1574379 w 7211678"/>
              <a:gd name="connsiteY2" fmla="*/ 339816 h 7645239"/>
              <a:gd name="connsiteX3" fmla="*/ 2336208 w 7211678"/>
              <a:gd name="connsiteY3" fmla="*/ 3885097 h 7645239"/>
              <a:gd name="connsiteX4" fmla="*/ 3087608 w 7211678"/>
              <a:gd name="connsiteY4" fmla="*/ 382972 h 7645239"/>
              <a:gd name="connsiteX5" fmla="*/ 3842460 w 7211678"/>
              <a:gd name="connsiteY5" fmla="*/ 2718250 h 7645239"/>
              <a:gd name="connsiteX6" fmla="*/ 4811971 w 7211678"/>
              <a:gd name="connsiteY6" fmla="*/ 7617717 h 7645239"/>
              <a:gd name="connsiteX7" fmla="*/ 5665015 w 7211678"/>
              <a:gd name="connsiteY7" fmla="*/ 7611474 h 7645239"/>
              <a:gd name="connsiteX8" fmla="*/ 6443147 w 7211678"/>
              <a:gd name="connsiteY8" fmla="*/ 7603512 h 7645239"/>
              <a:gd name="connsiteX9" fmla="*/ 7211678 w 7211678"/>
              <a:gd name="connsiteY9" fmla="*/ 7645239 h 7645239"/>
              <a:gd name="connsiteX0" fmla="*/ 0 w 7211678"/>
              <a:gd name="connsiteY0" fmla="*/ 0 h 7645239"/>
              <a:gd name="connsiteX1" fmla="*/ 825149 w 7211678"/>
              <a:gd name="connsiteY1" fmla="*/ 1441143 h 7645239"/>
              <a:gd name="connsiteX2" fmla="*/ 1574379 w 7211678"/>
              <a:gd name="connsiteY2" fmla="*/ 339816 h 7645239"/>
              <a:gd name="connsiteX3" fmla="*/ 2336208 w 7211678"/>
              <a:gd name="connsiteY3" fmla="*/ 3885097 h 7645239"/>
              <a:gd name="connsiteX4" fmla="*/ 3087608 w 7211678"/>
              <a:gd name="connsiteY4" fmla="*/ 382972 h 7645239"/>
              <a:gd name="connsiteX5" fmla="*/ 3842460 w 7211678"/>
              <a:gd name="connsiteY5" fmla="*/ 2718250 h 7645239"/>
              <a:gd name="connsiteX6" fmla="*/ 4811971 w 7211678"/>
              <a:gd name="connsiteY6" fmla="*/ 7617717 h 7645239"/>
              <a:gd name="connsiteX7" fmla="*/ 5665015 w 7211678"/>
              <a:gd name="connsiteY7" fmla="*/ 7611474 h 7645239"/>
              <a:gd name="connsiteX8" fmla="*/ 6443147 w 7211678"/>
              <a:gd name="connsiteY8" fmla="*/ 7603512 h 7645239"/>
              <a:gd name="connsiteX9" fmla="*/ 7211678 w 7211678"/>
              <a:gd name="connsiteY9" fmla="*/ 7645239 h 7645239"/>
              <a:gd name="connsiteX0" fmla="*/ 0 w 7211678"/>
              <a:gd name="connsiteY0" fmla="*/ 0 h 7645239"/>
              <a:gd name="connsiteX1" fmla="*/ 825149 w 7211678"/>
              <a:gd name="connsiteY1" fmla="*/ 1441143 h 7645239"/>
              <a:gd name="connsiteX2" fmla="*/ 1574379 w 7211678"/>
              <a:gd name="connsiteY2" fmla="*/ 339816 h 7645239"/>
              <a:gd name="connsiteX3" fmla="*/ 2336208 w 7211678"/>
              <a:gd name="connsiteY3" fmla="*/ 3885097 h 7645239"/>
              <a:gd name="connsiteX4" fmla="*/ 3087608 w 7211678"/>
              <a:gd name="connsiteY4" fmla="*/ 261121 h 7645239"/>
              <a:gd name="connsiteX5" fmla="*/ 3842460 w 7211678"/>
              <a:gd name="connsiteY5" fmla="*/ 2718250 h 7645239"/>
              <a:gd name="connsiteX6" fmla="*/ 4811971 w 7211678"/>
              <a:gd name="connsiteY6" fmla="*/ 7617717 h 7645239"/>
              <a:gd name="connsiteX7" fmla="*/ 5665015 w 7211678"/>
              <a:gd name="connsiteY7" fmla="*/ 7611474 h 7645239"/>
              <a:gd name="connsiteX8" fmla="*/ 6443147 w 7211678"/>
              <a:gd name="connsiteY8" fmla="*/ 7603512 h 7645239"/>
              <a:gd name="connsiteX9" fmla="*/ 7211678 w 7211678"/>
              <a:gd name="connsiteY9" fmla="*/ 7645239 h 7645239"/>
              <a:gd name="connsiteX0" fmla="*/ 0 w 7211678"/>
              <a:gd name="connsiteY0" fmla="*/ 0 h 7645239"/>
              <a:gd name="connsiteX1" fmla="*/ 825149 w 7211678"/>
              <a:gd name="connsiteY1" fmla="*/ 1441143 h 7645239"/>
              <a:gd name="connsiteX2" fmla="*/ 1574379 w 7211678"/>
              <a:gd name="connsiteY2" fmla="*/ 339816 h 7645239"/>
              <a:gd name="connsiteX3" fmla="*/ 2336208 w 7211678"/>
              <a:gd name="connsiteY3" fmla="*/ 3885097 h 7645239"/>
              <a:gd name="connsiteX4" fmla="*/ 3087608 w 7211678"/>
              <a:gd name="connsiteY4" fmla="*/ 362665 h 7645239"/>
              <a:gd name="connsiteX5" fmla="*/ 3842460 w 7211678"/>
              <a:gd name="connsiteY5" fmla="*/ 2718250 h 7645239"/>
              <a:gd name="connsiteX6" fmla="*/ 4811971 w 7211678"/>
              <a:gd name="connsiteY6" fmla="*/ 7617717 h 7645239"/>
              <a:gd name="connsiteX7" fmla="*/ 5665015 w 7211678"/>
              <a:gd name="connsiteY7" fmla="*/ 7611474 h 7645239"/>
              <a:gd name="connsiteX8" fmla="*/ 6443147 w 7211678"/>
              <a:gd name="connsiteY8" fmla="*/ 7603512 h 7645239"/>
              <a:gd name="connsiteX9" fmla="*/ 7211678 w 7211678"/>
              <a:gd name="connsiteY9" fmla="*/ 7645239 h 7645239"/>
              <a:gd name="connsiteX0" fmla="*/ 0 w 7211678"/>
              <a:gd name="connsiteY0" fmla="*/ 0 h 7645239"/>
              <a:gd name="connsiteX1" fmla="*/ 825149 w 7211678"/>
              <a:gd name="connsiteY1" fmla="*/ 1441143 h 7645239"/>
              <a:gd name="connsiteX2" fmla="*/ 1574379 w 7211678"/>
              <a:gd name="connsiteY2" fmla="*/ 339816 h 7645239"/>
              <a:gd name="connsiteX3" fmla="*/ 2336208 w 7211678"/>
              <a:gd name="connsiteY3" fmla="*/ 3885097 h 7645239"/>
              <a:gd name="connsiteX4" fmla="*/ 3087608 w 7211678"/>
              <a:gd name="connsiteY4" fmla="*/ 362665 h 7645239"/>
              <a:gd name="connsiteX5" fmla="*/ 3842460 w 7211678"/>
              <a:gd name="connsiteY5" fmla="*/ 2718250 h 7645239"/>
              <a:gd name="connsiteX6" fmla="*/ 4634061 w 7211678"/>
              <a:gd name="connsiteY6" fmla="*/ 2743618 h 7645239"/>
              <a:gd name="connsiteX7" fmla="*/ 5665015 w 7211678"/>
              <a:gd name="connsiteY7" fmla="*/ 7611474 h 7645239"/>
              <a:gd name="connsiteX8" fmla="*/ 6443147 w 7211678"/>
              <a:gd name="connsiteY8" fmla="*/ 7603512 h 7645239"/>
              <a:gd name="connsiteX9" fmla="*/ 7211678 w 7211678"/>
              <a:gd name="connsiteY9" fmla="*/ 7645239 h 7645239"/>
              <a:gd name="connsiteX0" fmla="*/ 0 w 7211678"/>
              <a:gd name="connsiteY0" fmla="*/ 0 h 7645239"/>
              <a:gd name="connsiteX1" fmla="*/ 825149 w 7211678"/>
              <a:gd name="connsiteY1" fmla="*/ 1441143 h 7645239"/>
              <a:gd name="connsiteX2" fmla="*/ 1574379 w 7211678"/>
              <a:gd name="connsiteY2" fmla="*/ 339816 h 7645239"/>
              <a:gd name="connsiteX3" fmla="*/ 2336208 w 7211678"/>
              <a:gd name="connsiteY3" fmla="*/ 3885097 h 7645239"/>
              <a:gd name="connsiteX4" fmla="*/ 3087608 w 7211678"/>
              <a:gd name="connsiteY4" fmla="*/ 362665 h 7645239"/>
              <a:gd name="connsiteX5" fmla="*/ 3842460 w 7211678"/>
              <a:gd name="connsiteY5" fmla="*/ 2718250 h 7645239"/>
              <a:gd name="connsiteX6" fmla="*/ 4634061 w 7211678"/>
              <a:gd name="connsiteY6" fmla="*/ 2743618 h 7645239"/>
              <a:gd name="connsiteX7" fmla="*/ 5356288 w 7211678"/>
              <a:gd name="connsiteY7" fmla="*/ 4138679 h 7645239"/>
              <a:gd name="connsiteX8" fmla="*/ 6443147 w 7211678"/>
              <a:gd name="connsiteY8" fmla="*/ 7603512 h 7645239"/>
              <a:gd name="connsiteX9" fmla="*/ 7211678 w 7211678"/>
              <a:gd name="connsiteY9" fmla="*/ 7645239 h 7645239"/>
              <a:gd name="connsiteX0" fmla="*/ 0 w 7211678"/>
              <a:gd name="connsiteY0" fmla="*/ 0 h 7645239"/>
              <a:gd name="connsiteX1" fmla="*/ 825149 w 7211678"/>
              <a:gd name="connsiteY1" fmla="*/ 1441143 h 7645239"/>
              <a:gd name="connsiteX2" fmla="*/ 1574379 w 7211678"/>
              <a:gd name="connsiteY2" fmla="*/ 339816 h 7645239"/>
              <a:gd name="connsiteX3" fmla="*/ 2336208 w 7211678"/>
              <a:gd name="connsiteY3" fmla="*/ 3885097 h 7645239"/>
              <a:gd name="connsiteX4" fmla="*/ 3087608 w 7211678"/>
              <a:gd name="connsiteY4" fmla="*/ 362665 h 7645239"/>
              <a:gd name="connsiteX5" fmla="*/ 3842460 w 7211678"/>
              <a:gd name="connsiteY5" fmla="*/ 2718250 h 7645239"/>
              <a:gd name="connsiteX6" fmla="*/ 4634061 w 7211678"/>
              <a:gd name="connsiteY6" fmla="*/ 2743618 h 7645239"/>
              <a:gd name="connsiteX7" fmla="*/ 5356288 w 7211678"/>
              <a:gd name="connsiteY7" fmla="*/ 4138679 h 7645239"/>
              <a:gd name="connsiteX8" fmla="*/ 6202445 w 7211678"/>
              <a:gd name="connsiteY8" fmla="*/ 89273 h 7645239"/>
              <a:gd name="connsiteX9" fmla="*/ 7211678 w 7211678"/>
              <a:gd name="connsiteY9" fmla="*/ 7645239 h 7645239"/>
              <a:gd name="connsiteX0" fmla="*/ 0 w 6882020"/>
              <a:gd name="connsiteY0" fmla="*/ 0 h 4138679"/>
              <a:gd name="connsiteX1" fmla="*/ 825149 w 6882020"/>
              <a:gd name="connsiteY1" fmla="*/ 1441143 h 4138679"/>
              <a:gd name="connsiteX2" fmla="*/ 1574379 w 6882020"/>
              <a:gd name="connsiteY2" fmla="*/ 339816 h 4138679"/>
              <a:gd name="connsiteX3" fmla="*/ 2336208 w 6882020"/>
              <a:gd name="connsiteY3" fmla="*/ 3885097 h 4138679"/>
              <a:gd name="connsiteX4" fmla="*/ 3087608 w 6882020"/>
              <a:gd name="connsiteY4" fmla="*/ 362665 h 4138679"/>
              <a:gd name="connsiteX5" fmla="*/ 3842460 w 6882020"/>
              <a:gd name="connsiteY5" fmla="*/ 2718250 h 4138679"/>
              <a:gd name="connsiteX6" fmla="*/ 4634061 w 6882020"/>
              <a:gd name="connsiteY6" fmla="*/ 2743618 h 4138679"/>
              <a:gd name="connsiteX7" fmla="*/ 5356288 w 6882020"/>
              <a:gd name="connsiteY7" fmla="*/ 4138679 h 4138679"/>
              <a:gd name="connsiteX8" fmla="*/ 6202445 w 6882020"/>
              <a:gd name="connsiteY8" fmla="*/ 89273 h 4138679"/>
              <a:gd name="connsiteX9" fmla="*/ 6882020 w 6882020"/>
              <a:gd name="connsiteY9" fmla="*/ 1654157 h 4138679"/>
              <a:gd name="connsiteX0" fmla="*/ 0 w 6882020"/>
              <a:gd name="connsiteY0" fmla="*/ 0 h 4138679"/>
              <a:gd name="connsiteX1" fmla="*/ 825149 w 6882020"/>
              <a:gd name="connsiteY1" fmla="*/ 1441143 h 4138679"/>
              <a:gd name="connsiteX2" fmla="*/ 1574379 w 6882020"/>
              <a:gd name="connsiteY2" fmla="*/ 339816 h 4138679"/>
              <a:gd name="connsiteX3" fmla="*/ 2336208 w 6882020"/>
              <a:gd name="connsiteY3" fmla="*/ 3885097 h 4138679"/>
              <a:gd name="connsiteX4" fmla="*/ 3087608 w 6882020"/>
              <a:gd name="connsiteY4" fmla="*/ 362665 h 4138679"/>
              <a:gd name="connsiteX5" fmla="*/ 3842460 w 6882020"/>
              <a:gd name="connsiteY5" fmla="*/ 2718250 h 4138679"/>
              <a:gd name="connsiteX6" fmla="*/ 4634061 w 6882020"/>
              <a:gd name="connsiteY6" fmla="*/ 2743618 h 4138679"/>
              <a:gd name="connsiteX7" fmla="*/ 5356288 w 6882020"/>
              <a:gd name="connsiteY7" fmla="*/ 4138679 h 4138679"/>
              <a:gd name="connsiteX8" fmla="*/ 6202445 w 6882020"/>
              <a:gd name="connsiteY8" fmla="*/ 89273 h 4138679"/>
              <a:gd name="connsiteX9" fmla="*/ 6882020 w 6882020"/>
              <a:gd name="connsiteY9" fmla="*/ 1654157 h 413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82020" h="4138679">
                <a:moveTo>
                  <a:pt x="0" y="0"/>
                </a:moveTo>
                <a:cubicBezTo>
                  <a:pt x="458267" y="724536"/>
                  <a:pt x="562753" y="1384507"/>
                  <a:pt x="825149" y="1441143"/>
                </a:cubicBezTo>
                <a:cubicBezTo>
                  <a:pt x="1087545" y="1497779"/>
                  <a:pt x="1322536" y="-67510"/>
                  <a:pt x="1574379" y="339816"/>
                </a:cubicBezTo>
                <a:cubicBezTo>
                  <a:pt x="1826222" y="747142"/>
                  <a:pt x="2165415" y="3265326"/>
                  <a:pt x="2336208" y="3885097"/>
                </a:cubicBezTo>
                <a:cubicBezTo>
                  <a:pt x="2554547" y="3865453"/>
                  <a:pt x="2893808" y="370029"/>
                  <a:pt x="3087608" y="362665"/>
                </a:cubicBezTo>
                <a:cubicBezTo>
                  <a:pt x="3402935" y="374353"/>
                  <a:pt x="3628324" y="1986331"/>
                  <a:pt x="3842460" y="2718250"/>
                </a:cubicBezTo>
                <a:lnTo>
                  <a:pt x="4634061" y="2743618"/>
                </a:lnTo>
                <a:lnTo>
                  <a:pt x="5356288" y="4138679"/>
                </a:lnTo>
                <a:cubicBezTo>
                  <a:pt x="5564539" y="4120373"/>
                  <a:pt x="6001095" y="79587"/>
                  <a:pt x="6202445" y="89273"/>
                </a:cubicBezTo>
                <a:cubicBezTo>
                  <a:pt x="6375013" y="95628"/>
                  <a:pt x="6624317" y="1174892"/>
                  <a:pt x="6882020" y="1654157"/>
                </a:cubicBezTo>
              </a:path>
            </a:pathLst>
          </a:custGeom>
          <a:noFill/>
          <a:ln w="136525" cap="rnd" cmpd="sng" algn="ctr">
            <a:solidFill>
              <a:srgbClr val="FFCD00"/>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
        <p:nvSpPr>
          <p:cNvPr id="85" name="Freeform 42">
            <a:extLst>
              <a:ext uri="{FF2B5EF4-FFF2-40B4-BE49-F238E27FC236}">
                <a16:creationId xmlns:a16="http://schemas.microsoft.com/office/drawing/2014/main" id="{DC43A5E0-381A-4EB7-9E5B-5519B153DDE7}"/>
              </a:ext>
            </a:extLst>
          </p:cNvPr>
          <p:cNvSpPr/>
          <p:nvPr/>
        </p:nvSpPr>
        <p:spPr bwMode="auto">
          <a:xfrm>
            <a:off x="1304649" y="3437084"/>
            <a:ext cx="9372275" cy="1451613"/>
          </a:xfrm>
          <a:custGeom>
            <a:avLst/>
            <a:gdLst>
              <a:gd name="connsiteX0" fmla="*/ 0 w 6819900"/>
              <a:gd name="connsiteY0" fmla="*/ 22908 h 30528"/>
              <a:gd name="connsiteX1" fmla="*/ 1303020 w 6819900"/>
              <a:gd name="connsiteY1" fmla="*/ 30528 h 30528"/>
              <a:gd name="connsiteX2" fmla="*/ 2735580 w 6819900"/>
              <a:gd name="connsiteY2" fmla="*/ 30528 h 30528"/>
              <a:gd name="connsiteX3" fmla="*/ 4130040 w 6819900"/>
              <a:gd name="connsiteY3" fmla="*/ 48 h 30528"/>
              <a:gd name="connsiteX4" fmla="*/ 5387340 w 6819900"/>
              <a:gd name="connsiteY4" fmla="*/ 22908 h 30528"/>
              <a:gd name="connsiteX5" fmla="*/ 6819900 w 6819900"/>
              <a:gd name="connsiteY5" fmla="*/ 22908 h 30528"/>
              <a:gd name="connsiteX0" fmla="*/ 0 w 6736080"/>
              <a:gd name="connsiteY0" fmla="*/ 0 h 2913662"/>
              <a:gd name="connsiteX1" fmla="*/ 1219200 w 6736080"/>
              <a:gd name="connsiteY1" fmla="*/ 2712720 h 2913662"/>
              <a:gd name="connsiteX2" fmla="*/ 2651760 w 6736080"/>
              <a:gd name="connsiteY2" fmla="*/ 2712720 h 2913662"/>
              <a:gd name="connsiteX3" fmla="*/ 4046220 w 6736080"/>
              <a:gd name="connsiteY3" fmla="*/ 2682240 h 2913662"/>
              <a:gd name="connsiteX4" fmla="*/ 5303520 w 6736080"/>
              <a:gd name="connsiteY4" fmla="*/ 2705100 h 2913662"/>
              <a:gd name="connsiteX5" fmla="*/ 6736080 w 6736080"/>
              <a:gd name="connsiteY5" fmla="*/ 2705100 h 2913662"/>
              <a:gd name="connsiteX0" fmla="*/ 0 w 6736080"/>
              <a:gd name="connsiteY0" fmla="*/ 0 h 2717235"/>
              <a:gd name="connsiteX1" fmla="*/ 1219200 w 6736080"/>
              <a:gd name="connsiteY1" fmla="*/ 2712720 h 2717235"/>
              <a:gd name="connsiteX2" fmla="*/ 2651760 w 6736080"/>
              <a:gd name="connsiteY2" fmla="*/ 2712720 h 2717235"/>
              <a:gd name="connsiteX3" fmla="*/ 4046220 w 6736080"/>
              <a:gd name="connsiteY3" fmla="*/ 2682240 h 2717235"/>
              <a:gd name="connsiteX4" fmla="*/ 5303520 w 6736080"/>
              <a:gd name="connsiteY4" fmla="*/ 2705100 h 2717235"/>
              <a:gd name="connsiteX5" fmla="*/ 6736080 w 6736080"/>
              <a:gd name="connsiteY5" fmla="*/ 2705100 h 2717235"/>
              <a:gd name="connsiteX0" fmla="*/ 0 w 6736080"/>
              <a:gd name="connsiteY0" fmla="*/ 0 h 2818465"/>
              <a:gd name="connsiteX1" fmla="*/ 1905000 w 6736080"/>
              <a:gd name="connsiteY1" fmla="*/ 1158240 h 2818465"/>
              <a:gd name="connsiteX2" fmla="*/ 2651760 w 6736080"/>
              <a:gd name="connsiteY2" fmla="*/ 2712720 h 2818465"/>
              <a:gd name="connsiteX3" fmla="*/ 4046220 w 6736080"/>
              <a:gd name="connsiteY3" fmla="*/ 2682240 h 2818465"/>
              <a:gd name="connsiteX4" fmla="*/ 5303520 w 6736080"/>
              <a:gd name="connsiteY4" fmla="*/ 2705100 h 2818465"/>
              <a:gd name="connsiteX5" fmla="*/ 6736080 w 6736080"/>
              <a:gd name="connsiteY5" fmla="*/ 2705100 h 2818465"/>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879829"/>
              <a:gd name="connsiteX1" fmla="*/ 1981200 w 6736080"/>
              <a:gd name="connsiteY1" fmla="*/ 327660 h 2879829"/>
              <a:gd name="connsiteX2" fmla="*/ 2651760 w 6736080"/>
              <a:gd name="connsiteY2" fmla="*/ 2712720 h 2879829"/>
              <a:gd name="connsiteX3" fmla="*/ 4046220 w 6736080"/>
              <a:gd name="connsiteY3" fmla="*/ 2682240 h 2879829"/>
              <a:gd name="connsiteX4" fmla="*/ 5303520 w 6736080"/>
              <a:gd name="connsiteY4" fmla="*/ 2705100 h 2879829"/>
              <a:gd name="connsiteX5" fmla="*/ 6736080 w 6736080"/>
              <a:gd name="connsiteY5" fmla="*/ 2705100 h 2879829"/>
              <a:gd name="connsiteX0" fmla="*/ 0 w 6736080"/>
              <a:gd name="connsiteY0" fmla="*/ 0 h 2904320"/>
              <a:gd name="connsiteX1" fmla="*/ 1981200 w 6736080"/>
              <a:gd name="connsiteY1" fmla="*/ 327660 h 2904320"/>
              <a:gd name="connsiteX2" fmla="*/ 2674620 w 6736080"/>
              <a:gd name="connsiteY2" fmla="*/ 2743200 h 2904320"/>
              <a:gd name="connsiteX3" fmla="*/ 4046220 w 6736080"/>
              <a:gd name="connsiteY3" fmla="*/ 2682240 h 2904320"/>
              <a:gd name="connsiteX4" fmla="*/ 5303520 w 6736080"/>
              <a:gd name="connsiteY4" fmla="*/ 2705100 h 2904320"/>
              <a:gd name="connsiteX5" fmla="*/ 6736080 w 6736080"/>
              <a:gd name="connsiteY5" fmla="*/ 2705100 h 2904320"/>
              <a:gd name="connsiteX0" fmla="*/ 0 w 6736080"/>
              <a:gd name="connsiteY0" fmla="*/ 0 h 2705100"/>
              <a:gd name="connsiteX1" fmla="*/ 1981200 w 6736080"/>
              <a:gd name="connsiteY1" fmla="*/ 327660 h 2705100"/>
              <a:gd name="connsiteX2" fmla="*/ 4046220 w 6736080"/>
              <a:gd name="connsiteY2" fmla="*/ 2682240 h 2705100"/>
              <a:gd name="connsiteX3" fmla="*/ 5303520 w 6736080"/>
              <a:gd name="connsiteY3" fmla="*/ 2705100 h 2705100"/>
              <a:gd name="connsiteX4" fmla="*/ 6736080 w 6736080"/>
              <a:gd name="connsiteY4" fmla="*/ 2705100 h 270510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58180"/>
              <a:gd name="connsiteX1" fmla="*/ 1973580 w 6736080"/>
              <a:gd name="connsiteY1" fmla="*/ 388620 h 2858180"/>
              <a:gd name="connsiteX2" fmla="*/ 4046220 w 6736080"/>
              <a:gd name="connsiteY2" fmla="*/ 2682240 h 2858180"/>
              <a:gd name="connsiteX3" fmla="*/ 5303520 w 6736080"/>
              <a:gd name="connsiteY3" fmla="*/ 2705100 h 2858180"/>
              <a:gd name="connsiteX4" fmla="*/ 6736080 w 6736080"/>
              <a:gd name="connsiteY4" fmla="*/ 2705100 h 2858180"/>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0 h 2889673"/>
              <a:gd name="connsiteX1" fmla="*/ 1973580 w 6736080"/>
              <a:gd name="connsiteY1" fmla="*/ 388620 h 2889673"/>
              <a:gd name="connsiteX2" fmla="*/ 3680460 w 6736080"/>
              <a:gd name="connsiteY2" fmla="*/ 213360 h 2889673"/>
              <a:gd name="connsiteX3" fmla="*/ 5303520 w 6736080"/>
              <a:gd name="connsiteY3" fmla="*/ 2705100 h 2889673"/>
              <a:gd name="connsiteX4" fmla="*/ 6736080 w 6736080"/>
              <a:gd name="connsiteY4" fmla="*/ 2705100 h 2889673"/>
              <a:gd name="connsiteX0" fmla="*/ 0 w 6736080"/>
              <a:gd name="connsiteY0" fmla="*/ 230416 h 2935516"/>
              <a:gd name="connsiteX1" fmla="*/ 1973580 w 6736080"/>
              <a:gd name="connsiteY1" fmla="*/ 619036 h 2935516"/>
              <a:gd name="connsiteX2" fmla="*/ 3680460 w 6736080"/>
              <a:gd name="connsiteY2" fmla="*/ 443776 h 2935516"/>
              <a:gd name="connsiteX3" fmla="*/ 5181600 w 6736080"/>
              <a:gd name="connsiteY3" fmla="*/ 138976 h 2935516"/>
              <a:gd name="connsiteX4" fmla="*/ 6736080 w 6736080"/>
              <a:gd name="connsiteY4" fmla="*/ 2935516 h 2935516"/>
              <a:gd name="connsiteX0" fmla="*/ 0 w 6736080"/>
              <a:gd name="connsiteY0" fmla="*/ 91653 h 2796753"/>
              <a:gd name="connsiteX1" fmla="*/ 1973580 w 6736080"/>
              <a:gd name="connsiteY1" fmla="*/ 480273 h 2796753"/>
              <a:gd name="connsiteX2" fmla="*/ 3680460 w 6736080"/>
              <a:gd name="connsiteY2" fmla="*/ 305013 h 2796753"/>
              <a:gd name="connsiteX3" fmla="*/ 5181600 w 6736080"/>
              <a:gd name="connsiteY3" fmla="*/ 213 h 2796753"/>
              <a:gd name="connsiteX4" fmla="*/ 6736080 w 6736080"/>
              <a:gd name="connsiteY4" fmla="*/ 2796753 h 2796753"/>
              <a:gd name="connsiteX0" fmla="*/ 0 w 6736080"/>
              <a:gd name="connsiteY0" fmla="*/ 91703 h 2796803"/>
              <a:gd name="connsiteX1" fmla="*/ 1973580 w 6736080"/>
              <a:gd name="connsiteY1" fmla="*/ 480323 h 2796803"/>
              <a:gd name="connsiteX2" fmla="*/ 3680460 w 6736080"/>
              <a:gd name="connsiteY2" fmla="*/ 305063 h 2796803"/>
              <a:gd name="connsiteX3" fmla="*/ 5181600 w 6736080"/>
              <a:gd name="connsiteY3" fmla="*/ 263 h 2796803"/>
              <a:gd name="connsiteX4" fmla="*/ 6736080 w 6736080"/>
              <a:gd name="connsiteY4" fmla="*/ 2796803 h 2796803"/>
              <a:gd name="connsiteX0" fmla="*/ 0 w 6507480"/>
              <a:gd name="connsiteY0" fmla="*/ 274320 h 668937"/>
              <a:gd name="connsiteX1" fmla="*/ 19735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3680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1816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829300 w 6507480"/>
              <a:gd name="connsiteY3" fmla="*/ 182880 h 668937"/>
              <a:gd name="connsiteX4" fmla="*/ 6507480 w 6507480"/>
              <a:gd name="connsiteY4" fmla="*/ 0 h 668937"/>
              <a:gd name="connsiteX0" fmla="*/ 0 w 6507480"/>
              <a:gd name="connsiteY0" fmla="*/ 274320 h 668937"/>
              <a:gd name="connsiteX1" fmla="*/ 2189480 w 6507480"/>
              <a:gd name="connsiteY1" fmla="*/ 662940 h 668937"/>
              <a:gd name="connsiteX2" fmla="*/ 4061460 w 6507480"/>
              <a:gd name="connsiteY2" fmla="*/ 487680 h 668937"/>
              <a:gd name="connsiteX3" fmla="*/ 5651500 w 6507480"/>
              <a:gd name="connsiteY3" fmla="*/ 182880 h 668937"/>
              <a:gd name="connsiteX4" fmla="*/ 6507480 w 6507480"/>
              <a:gd name="connsiteY4" fmla="*/ 0 h 668937"/>
              <a:gd name="connsiteX0" fmla="*/ 0 w 7180580"/>
              <a:gd name="connsiteY0" fmla="*/ 274320 h 668937"/>
              <a:gd name="connsiteX1" fmla="*/ 2189480 w 7180580"/>
              <a:gd name="connsiteY1" fmla="*/ 662940 h 668937"/>
              <a:gd name="connsiteX2" fmla="*/ 4061460 w 7180580"/>
              <a:gd name="connsiteY2" fmla="*/ 487680 h 668937"/>
              <a:gd name="connsiteX3" fmla="*/ 5651500 w 7180580"/>
              <a:gd name="connsiteY3" fmla="*/ 182880 h 668937"/>
              <a:gd name="connsiteX4" fmla="*/ 7180580 w 7180580"/>
              <a:gd name="connsiteY4" fmla="*/ 0 h 668937"/>
              <a:gd name="connsiteX0" fmla="*/ 0 w 6913880"/>
              <a:gd name="connsiteY0" fmla="*/ 299720 h 667823"/>
              <a:gd name="connsiteX1" fmla="*/ 1922780 w 6913880"/>
              <a:gd name="connsiteY1" fmla="*/ 662940 h 667823"/>
              <a:gd name="connsiteX2" fmla="*/ 3794760 w 6913880"/>
              <a:gd name="connsiteY2" fmla="*/ 487680 h 667823"/>
              <a:gd name="connsiteX3" fmla="*/ 5384800 w 6913880"/>
              <a:gd name="connsiteY3" fmla="*/ 182880 h 667823"/>
              <a:gd name="connsiteX4" fmla="*/ 6913880 w 6913880"/>
              <a:gd name="connsiteY4" fmla="*/ 0 h 667823"/>
              <a:gd name="connsiteX0" fmla="*/ 0 w 7066280"/>
              <a:gd name="connsiteY0" fmla="*/ 299720 h 667823"/>
              <a:gd name="connsiteX1" fmla="*/ 2075180 w 7066280"/>
              <a:gd name="connsiteY1" fmla="*/ 662940 h 667823"/>
              <a:gd name="connsiteX2" fmla="*/ 3947160 w 7066280"/>
              <a:gd name="connsiteY2" fmla="*/ 487680 h 667823"/>
              <a:gd name="connsiteX3" fmla="*/ 5537200 w 7066280"/>
              <a:gd name="connsiteY3" fmla="*/ 182880 h 667823"/>
              <a:gd name="connsiteX4" fmla="*/ 7066280 w 7066280"/>
              <a:gd name="connsiteY4" fmla="*/ 0 h 667823"/>
              <a:gd name="connsiteX0" fmla="*/ 0 w 7112000"/>
              <a:gd name="connsiteY0" fmla="*/ 0 h 1689727"/>
              <a:gd name="connsiteX1" fmla="*/ 2120900 w 7112000"/>
              <a:gd name="connsiteY1" fmla="*/ 1605280 h 1689727"/>
              <a:gd name="connsiteX2" fmla="*/ 3992880 w 7112000"/>
              <a:gd name="connsiteY2" fmla="*/ 1430020 h 1689727"/>
              <a:gd name="connsiteX3" fmla="*/ 5582920 w 7112000"/>
              <a:gd name="connsiteY3" fmla="*/ 1125220 h 1689727"/>
              <a:gd name="connsiteX4" fmla="*/ 7112000 w 7112000"/>
              <a:gd name="connsiteY4" fmla="*/ 942340 h 1689727"/>
              <a:gd name="connsiteX0" fmla="*/ 0 w 7112000"/>
              <a:gd name="connsiteY0" fmla="*/ 0 h 1466444"/>
              <a:gd name="connsiteX1" fmla="*/ 2204720 w 7112000"/>
              <a:gd name="connsiteY1" fmla="*/ 203200 h 1466444"/>
              <a:gd name="connsiteX2" fmla="*/ 3992880 w 7112000"/>
              <a:gd name="connsiteY2" fmla="*/ 1430020 h 1466444"/>
              <a:gd name="connsiteX3" fmla="*/ 5582920 w 7112000"/>
              <a:gd name="connsiteY3" fmla="*/ 1125220 h 1466444"/>
              <a:gd name="connsiteX4" fmla="*/ 7112000 w 7112000"/>
              <a:gd name="connsiteY4" fmla="*/ 942340 h 1466444"/>
              <a:gd name="connsiteX0" fmla="*/ 0 w 7112000"/>
              <a:gd name="connsiteY0" fmla="*/ 0 h 1130112"/>
              <a:gd name="connsiteX1" fmla="*/ 2204720 w 7112000"/>
              <a:gd name="connsiteY1" fmla="*/ 203200 h 1130112"/>
              <a:gd name="connsiteX2" fmla="*/ 3962400 w 7112000"/>
              <a:gd name="connsiteY2" fmla="*/ 96520 h 1130112"/>
              <a:gd name="connsiteX3" fmla="*/ 5582920 w 7112000"/>
              <a:gd name="connsiteY3" fmla="*/ 1125220 h 1130112"/>
              <a:gd name="connsiteX4" fmla="*/ 7112000 w 7112000"/>
              <a:gd name="connsiteY4" fmla="*/ 942340 h 1130112"/>
              <a:gd name="connsiteX0" fmla="*/ 0 w 7112000"/>
              <a:gd name="connsiteY0" fmla="*/ 22301 h 964641"/>
              <a:gd name="connsiteX1" fmla="*/ 2204720 w 7112000"/>
              <a:gd name="connsiteY1" fmla="*/ 225501 h 964641"/>
              <a:gd name="connsiteX2" fmla="*/ 3962400 w 7112000"/>
              <a:gd name="connsiteY2" fmla="*/ 118821 h 964641"/>
              <a:gd name="connsiteX3" fmla="*/ 5552440 w 7112000"/>
              <a:gd name="connsiteY3" fmla="*/ 4521 h 964641"/>
              <a:gd name="connsiteX4" fmla="*/ 7112000 w 7112000"/>
              <a:gd name="connsiteY4" fmla="*/ 964641 h 964641"/>
              <a:gd name="connsiteX0" fmla="*/ 0 w 7051040"/>
              <a:gd name="connsiteY0" fmla="*/ 269240 h 474423"/>
              <a:gd name="connsiteX1" fmla="*/ 2204720 w 7051040"/>
              <a:gd name="connsiteY1" fmla="*/ 472440 h 474423"/>
              <a:gd name="connsiteX2" fmla="*/ 3962400 w 7051040"/>
              <a:gd name="connsiteY2" fmla="*/ 365760 h 474423"/>
              <a:gd name="connsiteX3" fmla="*/ 5552440 w 7051040"/>
              <a:gd name="connsiteY3" fmla="*/ 251460 h 474423"/>
              <a:gd name="connsiteX4" fmla="*/ 7051040 w 7051040"/>
              <a:gd name="connsiteY4" fmla="*/ 0 h 474423"/>
              <a:gd name="connsiteX0" fmla="*/ 0 w 7051040"/>
              <a:gd name="connsiteY0" fmla="*/ 75758 h 280941"/>
              <a:gd name="connsiteX1" fmla="*/ 2204720 w 7051040"/>
              <a:gd name="connsiteY1" fmla="*/ 278958 h 280941"/>
              <a:gd name="connsiteX2" fmla="*/ 3962400 w 7051040"/>
              <a:gd name="connsiteY2" fmla="*/ 172278 h 280941"/>
              <a:gd name="connsiteX3" fmla="*/ 5552440 w 7051040"/>
              <a:gd name="connsiteY3" fmla="*/ 57978 h 280941"/>
              <a:gd name="connsiteX4" fmla="*/ 7051040 w 7051040"/>
              <a:gd name="connsiteY4" fmla="*/ 4638 h 280941"/>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279534"/>
              <a:gd name="connsiteX1" fmla="*/ 2226419 w 7072739"/>
              <a:gd name="connsiteY1" fmla="*/ 278958 h 279534"/>
              <a:gd name="connsiteX2" fmla="*/ 3984099 w 7072739"/>
              <a:gd name="connsiteY2" fmla="*/ 172278 h 279534"/>
              <a:gd name="connsiteX3" fmla="*/ 5574139 w 7072739"/>
              <a:gd name="connsiteY3" fmla="*/ 57978 h 279534"/>
              <a:gd name="connsiteX4" fmla="*/ 7072739 w 7072739"/>
              <a:gd name="connsiteY4" fmla="*/ 4638 h 279534"/>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28"/>
              <a:gd name="connsiteX1" fmla="*/ 711869 w 7072739"/>
              <a:gd name="connsiteY1" fmla="*/ 75462 h 172328"/>
              <a:gd name="connsiteX2" fmla="*/ 3984099 w 7072739"/>
              <a:gd name="connsiteY2" fmla="*/ 172278 h 172328"/>
              <a:gd name="connsiteX3" fmla="*/ 5574139 w 7072739"/>
              <a:gd name="connsiteY3" fmla="*/ 57978 h 172328"/>
              <a:gd name="connsiteX4" fmla="*/ 7072739 w 7072739"/>
              <a:gd name="connsiteY4" fmla="*/ 4638 h 172328"/>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5"/>
              <a:gd name="connsiteX1" fmla="*/ 711869 w 7072739"/>
              <a:gd name="connsiteY1" fmla="*/ 75462 h 172345"/>
              <a:gd name="connsiteX2" fmla="*/ 3984099 w 7072739"/>
              <a:gd name="connsiteY2" fmla="*/ 172278 h 172345"/>
              <a:gd name="connsiteX3" fmla="*/ 5574139 w 7072739"/>
              <a:gd name="connsiteY3" fmla="*/ 57978 h 172345"/>
              <a:gd name="connsiteX4" fmla="*/ 7072739 w 7072739"/>
              <a:gd name="connsiteY4" fmla="*/ 4638 h 172345"/>
              <a:gd name="connsiteX0" fmla="*/ 0 w 7072739"/>
              <a:gd name="connsiteY0" fmla="*/ 124088 h 172341"/>
              <a:gd name="connsiteX1" fmla="*/ 711869 w 7072739"/>
              <a:gd name="connsiteY1" fmla="*/ 75462 h 172341"/>
              <a:gd name="connsiteX2" fmla="*/ 3984099 w 7072739"/>
              <a:gd name="connsiteY2" fmla="*/ 172278 h 172341"/>
              <a:gd name="connsiteX3" fmla="*/ 5574139 w 7072739"/>
              <a:gd name="connsiteY3" fmla="*/ 57978 h 172341"/>
              <a:gd name="connsiteX4" fmla="*/ 7072739 w 7072739"/>
              <a:gd name="connsiteY4" fmla="*/ 4638 h 172341"/>
              <a:gd name="connsiteX0" fmla="*/ 0 w 7072739"/>
              <a:gd name="connsiteY0" fmla="*/ 124088 h 172633"/>
              <a:gd name="connsiteX1" fmla="*/ 711869 w 7072739"/>
              <a:gd name="connsiteY1" fmla="*/ 75462 h 172633"/>
              <a:gd name="connsiteX2" fmla="*/ 1270055 w 7072739"/>
              <a:gd name="connsiteY2" fmla="*/ 93249 h 172633"/>
              <a:gd name="connsiteX3" fmla="*/ 3984099 w 7072739"/>
              <a:gd name="connsiteY3" fmla="*/ 172278 h 172633"/>
              <a:gd name="connsiteX4" fmla="*/ 5574139 w 7072739"/>
              <a:gd name="connsiteY4" fmla="*/ 57978 h 172633"/>
              <a:gd name="connsiteX5" fmla="*/ 7072739 w 7072739"/>
              <a:gd name="connsiteY5" fmla="*/ 4638 h 172633"/>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89"/>
              <a:gd name="connsiteX1" fmla="*/ 711869 w 7072739"/>
              <a:gd name="connsiteY1" fmla="*/ 75462 h 172489"/>
              <a:gd name="connsiteX2" fmla="*/ 1310429 w 7072739"/>
              <a:gd name="connsiteY2" fmla="*/ 86150 h 172489"/>
              <a:gd name="connsiteX3" fmla="*/ 3984099 w 7072739"/>
              <a:gd name="connsiteY3" fmla="*/ 172278 h 172489"/>
              <a:gd name="connsiteX4" fmla="*/ 5574139 w 7072739"/>
              <a:gd name="connsiteY4" fmla="*/ 57978 h 172489"/>
              <a:gd name="connsiteX5" fmla="*/ 7072739 w 7072739"/>
              <a:gd name="connsiteY5" fmla="*/ 4638 h 172489"/>
              <a:gd name="connsiteX0" fmla="*/ 0 w 7072739"/>
              <a:gd name="connsiteY0" fmla="*/ 124088 h 172475"/>
              <a:gd name="connsiteX1" fmla="*/ 711869 w 7072739"/>
              <a:gd name="connsiteY1" fmla="*/ 75462 h 172475"/>
              <a:gd name="connsiteX2" fmla="*/ 1310429 w 7072739"/>
              <a:gd name="connsiteY2" fmla="*/ 86150 h 172475"/>
              <a:gd name="connsiteX3" fmla="*/ 3984099 w 7072739"/>
              <a:gd name="connsiteY3" fmla="*/ 172278 h 172475"/>
              <a:gd name="connsiteX4" fmla="*/ 5574139 w 7072739"/>
              <a:gd name="connsiteY4" fmla="*/ 57978 h 172475"/>
              <a:gd name="connsiteX5" fmla="*/ 7072739 w 7072739"/>
              <a:gd name="connsiteY5" fmla="*/ 4638 h 172475"/>
              <a:gd name="connsiteX0" fmla="*/ 0 w 7072739"/>
              <a:gd name="connsiteY0" fmla="*/ 124088 h 173067"/>
              <a:gd name="connsiteX1" fmla="*/ 711869 w 7072739"/>
              <a:gd name="connsiteY1" fmla="*/ 75462 h 173067"/>
              <a:gd name="connsiteX2" fmla="*/ 1310429 w 7072739"/>
              <a:gd name="connsiteY2" fmla="*/ 86150 h 173067"/>
              <a:gd name="connsiteX3" fmla="*/ 1839331 w 7072739"/>
              <a:gd name="connsiteY3" fmla="*/ 107448 h 173067"/>
              <a:gd name="connsiteX4" fmla="*/ 3984099 w 7072739"/>
              <a:gd name="connsiteY4" fmla="*/ 172278 h 173067"/>
              <a:gd name="connsiteX5" fmla="*/ 5574139 w 7072739"/>
              <a:gd name="connsiteY5" fmla="*/ 57978 h 173067"/>
              <a:gd name="connsiteX6" fmla="*/ 7072739 w 7072739"/>
              <a:gd name="connsiteY6" fmla="*/ 4638 h 173067"/>
              <a:gd name="connsiteX0" fmla="*/ 0 w 7072739"/>
              <a:gd name="connsiteY0" fmla="*/ 124088 h 342786"/>
              <a:gd name="connsiteX1" fmla="*/ 711869 w 7072739"/>
              <a:gd name="connsiteY1" fmla="*/ 75462 h 342786"/>
              <a:gd name="connsiteX2" fmla="*/ 1310429 w 7072739"/>
              <a:gd name="connsiteY2" fmla="*/ 86150 h 342786"/>
              <a:gd name="connsiteX3" fmla="*/ 1984678 w 7072739"/>
              <a:gd name="connsiteY3" fmla="*/ 341735 h 342786"/>
              <a:gd name="connsiteX4" fmla="*/ 3984099 w 7072739"/>
              <a:gd name="connsiteY4" fmla="*/ 172278 h 342786"/>
              <a:gd name="connsiteX5" fmla="*/ 5574139 w 7072739"/>
              <a:gd name="connsiteY5" fmla="*/ 57978 h 342786"/>
              <a:gd name="connsiteX6" fmla="*/ 7072739 w 7072739"/>
              <a:gd name="connsiteY6" fmla="*/ 4638 h 342786"/>
              <a:gd name="connsiteX0" fmla="*/ 0 w 7072739"/>
              <a:gd name="connsiteY0" fmla="*/ 124088 h 355125"/>
              <a:gd name="connsiteX1" fmla="*/ 711869 w 7072739"/>
              <a:gd name="connsiteY1" fmla="*/ 75462 h 355125"/>
              <a:gd name="connsiteX2" fmla="*/ 1310429 w 7072739"/>
              <a:gd name="connsiteY2" fmla="*/ 86150 h 355125"/>
              <a:gd name="connsiteX3" fmla="*/ 1984678 w 7072739"/>
              <a:gd name="connsiteY3" fmla="*/ 341735 h 355125"/>
              <a:gd name="connsiteX4" fmla="*/ 2691227 w 7072739"/>
              <a:gd name="connsiteY4" fmla="*/ 303870 h 355125"/>
              <a:gd name="connsiteX5" fmla="*/ 3984099 w 7072739"/>
              <a:gd name="connsiteY5" fmla="*/ 172278 h 355125"/>
              <a:gd name="connsiteX6" fmla="*/ 5574139 w 7072739"/>
              <a:gd name="connsiteY6" fmla="*/ 57978 h 355125"/>
              <a:gd name="connsiteX7" fmla="*/ 7072739 w 7072739"/>
              <a:gd name="connsiteY7" fmla="*/ 4638 h 355125"/>
              <a:gd name="connsiteX0" fmla="*/ 0 w 7072739"/>
              <a:gd name="connsiteY0" fmla="*/ 124088 h 346195"/>
              <a:gd name="connsiteX1" fmla="*/ 711869 w 7072739"/>
              <a:gd name="connsiteY1" fmla="*/ 75462 h 346195"/>
              <a:gd name="connsiteX2" fmla="*/ 1310429 w 7072739"/>
              <a:gd name="connsiteY2" fmla="*/ 86150 h 346195"/>
              <a:gd name="connsiteX3" fmla="*/ 1984678 w 7072739"/>
              <a:gd name="connsiteY3" fmla="*/ 341735 h 346195"/>
              <a:gd name="connsiteX4" fmla="*/ 2602403 w 7072739"/>
              <a:gd name="connsiteY4" fmla="*/ 153595 h 346195"/>
              <a:gd name="connsiteX5" fmla="*/ 3984099 w 7072739"/>
              <a:gd name="connsiteY5" fmla="*/ 172278 h 346195"/>
              <a:gd name="connsiteX6" fmla="*/ 5574139 w 7072739"/>
              <a:gd name="connsiteY6" fmla="*/ 57978 h 346195"/>
              <a:gd name="connsiteX7" fmla="*/ 7072739 w 7072739"/>
              <a:gd name="connsiteY7" fmla="*/ 4638 h 346195"/>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296840 w 7072739"/>
              <a:gd name="connsiteY5" fmla="*/ 161878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84099 w 7072739"/>
              <a:gd name="connsiteY6" fmla="*/ 172278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124088 h 346229"/>
              <a:gd name="connsiteX1" fmla="*/ 711869 w 7072739"/>
              <a:gd name="connsiteY1" fmla="*/ 75462 h 346229"/>
              <a:gd name="connsiteX2" fmla="*/ 1310429 w 7072739"/>
              <a:gd name="connsiteY2" fmla="*/ 86150 h 346229"/>
              <a:gd name="connsiteX3" fmla="*/ 1984678 w 7072739"/>
              <a:gd name="connsiteY3" fmla="*/ 341735 h 346229"/>
              <a:gd name="connsiteX4" fmla="*/ 2602403 w 7072739"/>
              <a:gd name="connsiteY4" fmla="*/ 153595 h 346229"/>
              <a:gd name="connsiteX5" fmla="*/ 3304915 w 7072739"/>
              <a:gd name="connsiteY5" fmla="*/ 151229 h 346229"/>
              <a:gd name="connsiteX6" fmla="*/ 3919500 w 7072739"/>
              <a:gd name="connsiteY6" fmla="*/ 158079 h 346229"/>
              <a:gd name="connsiteX7" fmla="*/ 5574139 w 7072739"/>
              <a:gd name="connsiteY7" fmla="*/ 57978 h 346229"/>
              <a:gd name="connsiteX8" fmla="*/ 7072739 w 7072739"/>
              <a:gd name="connsiteY8" fmla="*/ 4638 h 346229"/>
              <a:gd name="connsiteX0" fmla="*/ 0 w 7072739"/>
              <a:gd name="connsiteY0" fmla="*/ 323624 h 543002"/>
              <a:gd name="connsiteX1" fmla="*/ 711869 w 7072739"/>
              <a:gd name="connsiteY1" fmla="*/ 274998 h 543002"/>
              <a:gd name="connsiteX2" fmla="*/ 1310429 w 7072739"/>
              <a:gd name="connsiteY2" fmla="*/ 285686 h 543002"/>
              <a:gd name="connsiteX3" fmla="*/ 1984678 w 7072739"/>
              <a:gd name="connsiteY3" fmla="*/ 541271 h 543002"/>
              <a:gd name="connsiteX4" fmla="*/ 2642777 w 7072739"/>
              <a:gd name="connsiteY4" fmla="*/ 1701 h 543002"/>
              <a:gd name="connsiteX5" fmla="*/ 3304915 w 7072739"/>
              <a:gd name="connsiteY5" fmla="*/ 350765 h 543002"/>
              <a:gd name="connsiteX6" fmla="*/ 3919500 w 7072739"/>
              <a:gd name="connsiteY6" fmla="*/ 357615 h 543002"/>
              <a:gd name="connsiteX7" fmla="*/ 5574139 w 7072739"/>
              <a:gd name="connsiteY7" fmla="*/ 257514 h 543002"/>
              <a:gd name="connsiteX8" fmla="*/ 7072739 w 7072739"/>
              <a:gd name="connsiteY8" fmla="*/ 204174 h 543002"/>
              <a:gd name="connsiteX0" fmla="*/ 0 w 7072739"/>
              <a:gd name="connsiteY0" fmla="*/ 324457 h 543835"/>
              <a:gd name="connsiteX1" fmla="*/ 711869 w 7072739"/>
              <a:gd name="connsiteY1" fmla="*/ 275831 h 543835"/>
              <a:gd name="connsiteX2" fmla="*/ 1310429 w 7072739"/>
              <a:gd name="connsiteY2" fmla="*/ 286519 h 543835"/>
              <a:gd name="connsiteX3" fmla="*/ 1984678 w 7072739"/>
              <a:gd name="connsiteY3" fmla="*/ 542104 h 543835"/>
              <a:gd name="connsiteX4" fmla="*/ 2642777 w 7072739"/>
              <a:gd name="connsiteY4" fmla="*/ 2534 h 543835"/>
              <a:gd name="connsiteX5" fmla="*/ 3288765 w 7072739"/>
              <a:gd name="connsiteY5" fmla="*/ 221439 h 543835"/>
              <a:gd name="connsiteX6" fmla="*/ 3919500 w 7072739"/>
              <a:gd name="connsiteY6" fmla="*/ 358448 h 543835"/>
              <a:gd name="connsiteX7" fmla="*/ 5574139 w 7072739"/>
              <a:gd name="connsiteY7" fmla="*/ 258347 h 543835"/>
              <a:gd name="connsiteX8" fmla="*/ 7072739 w 7072739"/>
              <a:gd name="connsiteY8" fmla="*/ 205007 h 543835"/>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911 h 544289"/>
              <a:gd name="connsiteX1" fmla="*/ 711869 w 7072739"/>
              <a:gd name="connsiteY1" fmla="*/ 276285 h 544289"/>
              <a:gd name="connsiteX2" fmla="*/ 1310429 w 7072739"/>
              <a:gd name="connsiteY2" fmla="*/ 286973 h 544289"/>
              <a:gd name="connsiteX3" fmla="*/ 1984678 w 7072739"/>
              <a:gd name="connsiteY3" fmla="*/ 542558 h 544289"/>
              <a:gd name="connsiteX4" fmla="*/ 2642777 w 7072739"/>
              <a:gd name="connsiteY4" fmla="*/ 2988 h 544289"/>
              <a:gd name="connsiteX5" fmla="*/ 3288765 w 7072739"/>
              <a:gd name="connsiteY5" fmla="*/ 221893 h 544289"/>
              <a:gd name="connsiteX6" fmla="*/ 3919500 w 7072739"/>
              <a:gd name="connsiteY6" fmla="*/ 358902 h 544289"/>
              <a:gd name="connsiteX7" fmla="*/ 5574139 w 7072739"/>
              <a:gd name="connsiteY7" fmla="*/ 258801 h 544289"/>
              <a:gd name="connsiteX8" fmla="*/ 7072739 w 7072739"/>
              <a:gd name="connsiteY8" fmla="*/ 205461 h 544289"/>
              <a:gd name="connsiteX0" fmla="*/ 0 w 7072739"/>
              <a:gd name="connsiteY0" fmla="*/ 324095 h 543473"/>
              <a:gd name="connsiteX1" fmla="*/ 711869 w 7072739"/>
              <a:gd name="connsiteY1" fmla="*/ 275469 h 543473"/>
              <a:gd name="connsiteX2" fmla="*/ 1310429 w 7072739"/>
              <a:gd name="connsiteY2" fmla="*/ 286157 h 543473"/>
              <a:gd name="connsiteX3" fmla="*/ 1984678 w 7072739"/>
              <a:gd name="connsiteY3" fmla="*/ 541742 h 543473"/>
              <a:gd name="connsiteX4" fmla="*/ 2642777 w 7072739"/>
              <a:gd name="connsiteY4" fmla="*/ 2172 h 543473"/>
              <a:gd name="connsiteX5" fmla="*/ 3345289 w 7072739"/>
              <a:gd name="connsiteY5" fmla="*/ 306272 h 543473"/>
              <a:gd name="connsiteX6" fmla="*/ 3919500 w 7072739"/>
              <a:gd name="connsiteY6" fmla="*/ 358086 h 543473"/>
              <a:gd name="connsiteX7" fmla="*/ 5574139 w 7072739"/>
              <a:gd name="connsiteY7" fmla="*/ 257985 h 543473"/>
              <a:gd name="connsiteX8" fmla="*/ 7072739 w 7072739"/>
              <a:gd name="connsiteY8" fmla="*/ 204645 h 543473"/>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19500 w 7072739"/>
              <a:gd name="connsiteY6" fmla="*/ 358078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5574139 w 7072739"/>
              <a:gd name="connsiteY7" fmla="*/ 257977 h 543465"/>
              <a:gd name="connsiteX8" fmla="*/ 7072739 w 7072739"/>
              <a:gd name="connsiteY8"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24087 h 543465"/>
              <a:gd name="connsiteX1" fmla="*/ 711869 w 7072739"/>
              <a:gd name="connsiteY1" fmla="*/ 275461 h 543465"/>
              <a:gd name="connsiteX2" fmla="*/ 1310429 w 7072739"/>
              <a:gd name="connsiteY2" fmla="*/ 286149 h 543465"/>
              <a:gd name="connsiteX3" fmla="*/ 1984678 w 7072739"/>
              <a:gd name="connsiteY3" fmla="*/ 541734 h 543465"/>
              <a:gd name="connsiteX4" fmla="*/ 2642777 w 7072739"/>
              <a:gd name="connsiteY4" fmla="*/ 2164 h 543465"/>
              <a:gd name="connsiteX5" fmla="*/ 3308952 w 7072739"/>
              <a:gd name="connsiteY5" fmla="*/ 307447 h 543465"/>
              <a:gd name="connsiteX6" fmla="*/ 3935650 w 7072739"/>
              <a:gd name="connsiteY6" fmla="*/ 355712 h 543465"/>
              <a:gd name="connsiteX7" fmla="*/ 4709936 w 7072739"/>
              <a:gd name="connsiteY7" fmla="*/ 333479 h 543465"/>
              <a:gd name="connsiteX8" fmla="*/ 5574139 w 7072739"/>
              <a:gd name="connsiteY8" fmla="*/ 257977 h 543465"/>
              <a:gd name="connsiteX9" fmla="*/ 7072739 w 7072739"/>
              <a:gd name="connsiteY9" fmla="*/ 204637 h 543465"/>
              <a:gd name="connsiteX0" fmla="*/ 0 w 7072739"/>
              <a:gd name="connsiteY0" fmla="*/ 343721 h 563099"/>
              <a:gd name="connsiteX1" fmla="*/ 711869 w 7072739"/>
              <a:gd name="connsiteY1" fmla="*/ 295095 h 563099"/>
              <a:gd name="connsiteX2" fmla="*/ 1310429 w 7072739"/>
              <a:gd name="connsiteY2" fmla="*/ 305783 h 563099"/>
              <a:gd name="connsiteX3" fmla="*/ 1984678 w 7072739"/>
              <a:gd name="connsiteY3" fmla="*/ 561368 h 563099"/>
              <a:gd name="connsiteX4" fmla="*/ 2642777 w 7072739"/>
              <a:gd name="connsiteY4" fmla="*/ 21798 h 563099"/>
              <a:gd name="connsiteX5" fmla="*/ 3308952 w 7072739"/>
              <a:gd name="connsiteY5" fmla="*/ 327081 h 563099"/>
              <a:gd name="connsiteX6" fmla="*/ 3935650 w 7072739"/>
              <a:gd name="connsiteY6" fmla="*/ 375346 h 563099"/>
              <a:gd name="connsiteX7" fmla="*/ 4560552 w 7072739"/>
              <a:gd name="connsiteY7" fmla="*/ 499 h 563099"/>
              <a:gd name="connsiteX8" fmla="*/ 5574139 w 7072739"/>
              <a:gd name="connsiteY8" fmla="*/ 277611 h 563099"/>
              <a:gd name="connsiteX9" fmla="*/ 7072739 w 7072739"/>
              <a:gd name="connsiteY9" fmla="*/ 224271 h 563099"/>
              <a:gd name="connsiteX0" fmla="*/ 0 w 7072739"/>
              <a:gd name="connsiteY0" fmla="*/ 343725 h 563103"/>
              <a:gd name="connsiteX1" fmla="*/ 711869 w 7072739"/>
              <a:gd name="connsiteY1" fmla="*/ 295099 h 563103"/>
              <a:gd name="connsiteX2" fmla="*/ 1310429 w 7072739"/>
              <a:gd name="connsiteY2" fmla="*/ 305787 h 563103"/>
              <a:gd name="connsiteX3" fmla="*/ 1984678 w 7072739"/>
              <a:gd name="connsiteY3" fmla="*/ 561372 h 563103"/>
              <a:gd name="connsiteX4" fmla="*/ 2642777 w 7072739"/>
              <a:gd name="connsiteY4" fmla="*/ 21802 h 563103"/>
              <a:gd name="connsiteX5" fmla="*/ 3308952 w 7072739"/>
              <a:gd name="connsiteY5" fmla="*/ 327085 h 563103"/>
              <a:gd name="connsiteX6" fmla="*/ 3935650 w 7072739"/>
              <a:gd name="connsiteY6" fmla="*/ 375350 h 563103"/>
              <a:gd name="connsiteX7" fmla="*/ 4560552 w 7072739"/>
              <a:gd name="connsiteY7" fmla="*/ 503 h 563103"/>
              <a:gd name="connsiteX8" fmla="*/ 5271333 w 7072739"/>
              <a:gd name="connsiteY8" fmla="*/ 275249 h 563103"/>
              <a:gd name="connsiteX9" fmla="*/ 7072739 w 7072739"/>
              <a:gd name="connsiteY9" fmla="*/ 224275 h 563103"/>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916 h 563294"/>
              <a:gd name="connsiteX1" fmla="*/ 711869 w 7072739"/>
              <a:gd name="connsiteY1" fmla="*/ 295290 h 563294"/>
              <a:gd name="connsiteX2" fmla="*/ 1310429 w 7072739"/>
              <a:gd name="connsiteY2" fmla="*/ 305978 h 563294"/>
              <a:gd name="connsiteX3" fmla="*/ 1984678 w 7072739"/>
              <a:gd name="connsiteY3" fmla="*/ 561563 h 563294"/>
              <a:gd name="connsiteX4" fmla="*/ 2642777 w 7072739"/>
              <a:gd name="connsiteY4" fmla="*/ 21993 h 563294"/>
              <a:gd name="connsiteX5" fmla="*/ 3308952 w 7072739"/>
              <a:gd name="connsiteY5" fmla="*/ 327276 h 563294"/>
              <a:gd name="connsiteX6" fmla="*/ 3935650 w 7072739"/>
              <a:gd name="connsiteY6" fmla="*/ 375541 h 563294"/>
              <a:gd name="connsiteX7" fmla="*/ 4560552 w 7072739"/>
              <a:gd name="connsiteY7" fmla="*/ 694 h 563294"/>
              <a:gd name="connsiteX8" fmla="*/ 5271333 w 7072739"/>
              <a:gd name="connsiteY8" fmla="*/ 275440 h 563294"/>
              <a:gd name="connsiteX9" fmla="*/ 7072739 w 7072739"/>
              <a:gd name="connsiteY9" fmla="*/ 224466 h 563294"/>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7072739 w 7072739"/>
              <a:gd name="connsiteY9"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450064 w 7072739"/>
              <a:gd name="connsiteY9" fmla="*/ 238399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6526774 w 7072739"/>
              <a:gd name="connsiteY9" fmla="*/ 8845 h 563162"/>
              <a:gd name="connsiteX10" fmla="*/ 7072739 w 7072739"/>
              <a:gd name="connsiteY10"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64638 w 7072739"/>
              <a:gd name="connsiteY9" fmla="*/ 166220 h 563162"/>
              <a:gd name="connsiteX10" fmla="*/ 6526774 w 7072739"/>
              <a:gd name="connsiteY10" fmla="*/ 8845 h 563162"/>
              <a:gd name="connsiteX11" fmla="*/ 7072739 w 7072739"/>
              <a:gd name="connsiteY11" fmla="*/ 224334 h 563162"/>
              <a:gd name="connsiteX0" fmla="*/ 0 w 7072739"/>
              <a:gd name="connsiteY0" fmla="*/ 343784 h 563162"/>
              <a:gd name="connsiteX1" fmla="*/ 711869 w 7072739"/>
              <a:gd name="connsiteY1" fmla="*/ 295158 h 563162"/>
              <a:gd name="connsiteX2" fmla="*/ 1310429 w 7072739"/>
              <a:gd name="connsiteY2" fmla="*/ 305846 h 563162"/>
              <a:gd name="connsiteX3" fmla="*/ 1984678 w 7072739"/>
              <a:gd name="connsiteY3" fmla="*/ 561431 h 563162"/>
              <a:gd name="connsiteX4" fmla="*/ 2642777 w 7072739"/>
              <a:gd name="connsiteY4" fmla="*/ 21861 h 563162"/>
              <a:gd name="connsiteX5" fmla="*/ 3308952 w 7072739"/>
              <a:gd name="connsiteY5" fmla="*/ 327144 h 563162"/>
              <a:gd name="connsiteX6" fmla="*/ 3935650 w 7072739"/>
              <a:gd name="connsiteY6" fmla="*/ 375409 h 563162"/>
              <a:gd name="connsiteX7" fmla="*/ 4560552 w 7072739"/>
              <a:gd name="connsiteY7" fmla="*/ 562 h 563162"/>
              <a:gd name="connsiteX8" fmla="*/ 5271333 w 7072739"/>
              <a:gd name="connsiteY8" fmla="*/ 275308 h 563162"/>
              <a:gd name="connsiteX9" fmla="*/ 5844451 w 7072739"/>
              <a:gd name="connsiteY9" fmla="*/ 285730 h 563162"/>
              <a:gd name="connsiteX10" fmla="*/ 6526774 w 7072739"/>
              <a:gd name="connsiteY10" fmla="*/ 8845 h 563162"/>
              <a:gd name="connsiteX11" fmla="*/ 7072739 w 7072739"/>
              <a:gd name="connsiteY11" fmla="*/ 224334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3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784 h 563162"/>
              <a:gd name="connsiteX1" fmla="*/ 711869 w 7129262"/>
              <a:gd name="connsiteY1" fmla="*/ 295158 h 563162"/>
              <a:gd name="connsiteX2" fmla="*/ 1310429 w 7129262"/>
              <a:gd name="connsiteY2" fmla="*/ 305846 h 563162"/>
              <a:gd name="connsiteX3" fmla="*/ 1984678 w 7129262"/>
              <a:gd name="connsiteY3" fmla="*/ 561431 h 563162"/>
              <a:gd name="connsiteX4" fmla="*/ 2642777 w 7129262"/>
              <a:gd name="connsiteY4" fmla="*/ 21861 h 563162"/>
              <a:gd name="connsiteX5" fmla="*/ 3308952 w 7129262"/>
              <a:gd name="connsiteY5" fmla="*/ 327144 h 563162"/>
              <a:gd name="connsiteX6" fmla="*/ 3935650 w 7129262"/>
              <a:gd name="connsiteY6" fmla="*/ 375409 h 563162"/>
              <a:gd name="connsiteX7" fmla="*/ 4560552 w 7129262"/>
              <a:gd name="connsiteY7" fmla="*/ 562 h 563162"/>
              <a:gd name="connsiteX8" fmla="*/ 5271334 w 7129262"/>
              <a:gd name="connsiteY8" fmla="*/ 275308 h 563162"/>
              <a:gd name="connsiteX9" fmla="*/ 5844451 w 7129262"/>
              <a:gd name="connsiteY9" fmla="*/ 285730 h 563162"/>
              <a:gd name="connsiteX10" fmla="*/ 6526774 w 7129262"/>
              <a:gd name="connsiteY10" fmla="*/ 8845 h 563162"/>
              <a:gd name="connsiteX11" fmla="*/ 7129262 w 7129262"/>
              <a:gd name="connsiteY11" fmla="*/ 304796 h 563162"/>
              <a:gd name="connsiteX0" fmla="*/ 0 w 7129262"/>
              <a:gd name="connsiteY0" fmla="*/ 343805 h 563183"/>
              <a:gd name="connsiteX1" fmla="*/ 711869 w 7129262"/>
              <a:gd name="connsiteY1" fmla="*/ 295179 h 563183"/>
              <a:gd name="connsiteX2" fmla="*/ 1310429 w 7129262"/>
              <a:gd name="connsiteY2" fmla="*/ 305867 h 563183"/>
              <a:gd name="connsiteX3" fmla="*/ 1984678 w 7129262"/>
              <a:gd name="connsiteY3" fmla="*/ 561452 h 563183"/>
              <a:gd name="connsiteX4" fmla="*/ 2642777 w 7129262"/>
              <a:gd name="connsiteY4" fmla="*/ 21882 h 563183"/>
              <a:gd name="connsiteX5" fmla="*/ 3308952 w 7129262"/>
              <a:gd name="connsiteY5" fmla="*/ 327165 h 563183"/>
              <a:gd name="connsiteX6" fmla="*/ 3935650 w 7129262"/>
              <a:gd name="connsiteY6" fmla="*/ 375430 h 563183"/>
              <a:gd name="connsiteX7" fmla="*/ 4560552 w 7129262"/>
              <a:gd name="connsiteY7" fmla="*/ 583 h 563183"/>
              <a:gd name="connsiteX8" fmla="*/ 5271334 w 7129262"/>
              <a:gd name="connsiteY8" fmla="*/ 275329 h 563183"/>
              <a:gd name="connsiteX9" fmla="*/ 5844451 w 7129262"/>
              <a:gd name="connsiteY9" fmla="*/ 285751 h 563183"/>
              <a:gd name="connsiteX10" fmla="*/ 6526774 w 7129262"/>
              <a:gd name="connsiteY10" fmla="*/ 8866 h 563183"/>
              <a:gd name="connsiteX11" fmla="*/ 7129262 w 7129262"/>
              <a:gd name="connsiteY11" fmla="*/ 304817 h 563183"/>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308952 w 7129262"/>
              <a:gd name="connsiteY5" fmla="*/ 327219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35650 w 7129262"/>
              <a:gd name="connsiteY6" fmla="*/ 375484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305921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29262"/>
              <a:gd name="connsiteY0" fmla="*/ 343859 h 563237"/>
              <a:gd name="connsiteX1" fmla="*/ 711869 w 7129262"/>
              <a:gd name="connsiteY1" fmla="*/ 295233 h 563237"/>
              <a:gd name="connsiteX2" fmla="*/ 1310429 w 7129262"/>
              <a:gd name="connsiteY2" fmla="*/ 230815 h 563237"/>
              <a:gd name="connsiteX3" fmla="*/ 1984678 w 7129262"/>
              <a:gd name="connsiteY3" fmla="*/ 561506 h 563237"/>
              <a:gd name="connsiteX4" fmla="*/ 2642777 w 7129262"/>
              <a:gd name="connsiteY4" fmla="*/ 21936 h 563237"/>
              <a:gd name="connsiteX5" fmla="*/ 3294715 w 7129262"/>
              <a:gd name="connsiteY5" fmla="*/ 366163 h 563237"/>
              <a:gd name="connsiteX6" fmla="*/ 3949887 w 7129262"/>
              <a:gd name="connsiteY6" fmla="*/ 367139 h 563237"/>
              <a:gd name="connsiteX7" fmla="*/ 4560552 w 7129262"/>
              <a:gd name="connsiteY7" fmla="*/ 637 h 563237"/>
              <a:gd name="connsiteX8" fmla="*/ 5271334 w 7129262"/>
              <a:gd name="connsiteY8" fmla="*/ 275383 h 563237"/>
              <a:gd name="connsiteX9" fmla="*/ 5844451 w 7129262"/>
              <a:gd name="connsiteY9" fmla="*/ 285805 h 563237"/>
              <a:gd name="connsiteX10" fmla="*/ 6526774 w 7129262"/>
              <a:gd name="connsiteY10" fmla="*/ 8920 h 563237"/>
              <a:gd name="connsiteX11" fmla="*/ 7129262 w 7129262"/>
              <a:gd name="connsiteY11" fmla="*/ 304871 h 563237"/>
              <a:gd name="connsiteX0" fmla="*/ 0 w 7136640"/>
              <a:gd name="connsiteY0" fmla="*/ 227103 h 563237"/>
              <a:gd name="connsiteX1" fmla="*/ 719247 w 7136640"/>
              <a:gd name="connsiteY1" fmla="*/ 29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3237"/>
              <a:gd name="connsiteX1" fmla="*/ 719247 w 7136640"/>
              <a:gd name="connsiteY1" fmla="*/ 375233 h 563237"/>
              <a:gd name="connsiteX2" fmla="*/ 1317807 w 7136640"/>
              <a:gd name="connsiteY2" fmla="*/ 230815 h 563237"/>
              <a:gd name="connsiteX3" fmla="*/ 1992056 w 7136640"/>
              <a:gd name="connsiteY3" fmla="*/ 561506 h 563237"/>
              <a:gd name="connsiteX4" fmla="*/ 2650155 w 7136640"/>
              <a:gd name="connsiteY4" fmla="*/ 21936 h 563237"/>
              <a:gd name="connsiteX5" fmla="*/ 3302093 w 7136640"/>
              <a:gd name="connsiteY5" fmla="*/ 366163 h 563237"/>
              <a:gd name="connsiteX6" fmla="*/ 3957265 w 7136640"/>
              <a:gd name="connsiteY6" fmla="*/ 367139 h 563237"/>
              <a:gd name="connsiteX7" fmla="*/ 4567930 w 7136640"/>
              <a:gd name="connsiteY7" fmla="*/ 637 h 563237"/>
              <a:gd name="connsiteX8" fmla="*/ 5278712 w 7136640"/>
              <a:gd name="connsiteY8" fmla="*/ 275383 h 563237"/>
              <a:gd name="connsiteX9" fmla="*/ 5851829 w 7136640"/>
              <a:gd name="connsiteY9" fmla="*/ 285805 h 563237"/>
              <a:gd name="connsiteX10" fmla="*/ 6534152 w 7136640"/>
              <a:gd name="connsiteY10" fmla="*/ 8920 h 563237"/>
              <a:gd name="connsiteX11" fmla="*/ 7136640 w 7136640"/>
              <a:gd name="connsiteY11" fmla="*/ 304871 h 563237"/>
              <a:gd name="connsiteX0" fmla="*/ 0 w 7136640"/>
              <a:gd name="connsiteY0" fmla="*/ 227103 h 561516"/>
              <a:gd name="connsiteX1" fmla="*/ 719247 w 7136640"/>
              <a:gd name="connsiteY1" fmla="*/ 375233 h 561516"/>
              <a:gd name="connsiteX2" fmla="*/ 1317807 w 7136640"/>
              <a:gd name="connsiteY2" fmla="*/ 230815 h 561516"/>
              <a:gd name="connsiteX3" fmla="*/ 1992056 w 7136640"/>
              <a:gd name="connsiteY3" fmla="*/ 561506 h 561516"/>
              <a:gd name="connsiteX4" fmla="*/ 2642777 w 7136640"/>
              <a:gd name="connsiteY4" fmla="*/ 218692 h 561516"/>
              <a:gd name="connsiteX5" fmla="*/ 3302093 w 7136640"/>
              <a:gd name="connsiteY5" fmla="*/ 366163 h 561516"/>
              <a:gd name="connsiteX6" fmla="*/ 3957265 w 7136640"/>
              <a:gd name="connsiteY6" fmla="*/ 367139 h 561516"/>
              <a:gd name="connsiteX7" fmla="*/ 4567930 w 7136640"/>
              <a:gd name="connsiteY7" fmla="*/ 637 h 561516"/>
              <a:gd name="connsiteX8" fmla="*/ 5278712 w 7136640"/>
              <a:gd name="connsiteY8" fmla="*/ 275383 h 561516"/>
              <a:gd name="connsiteX9" fmla="*/ 5851829 w 7136640"/>
              <a:gd name="connsiteY9" fmla="*/ 285805 h 561516"/>
              <a:gd name="connsiteX10" fmla="*/ 6534152 w 7136640"/>
              <a:gd name="connsiteY10" fmla="*/ 8920 h 561516"/>
              <a:gd name="connsiteX11" fmla="*/ 7136640 w 7136640"/>
              <a:gd name="connsiteY11" fmla="*/ 304871 h 561516"/>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36713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57265 w 7136640"/>
              <a:gd name="connsiteY6" fmla="*/ 22659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3 w 7136640"/>
              <a:gd name="connsiteY6" fmla="*/ 19632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27103 h 561914"/>
              <a:gd name="connsiteX1" fmla="*/ 719247 w 7136640"/>
              <a:gd name="connsiteY1" fmla="*/ 375233 h 561914"/>
              <a:gd name="connsiteX2" fmla="*/ 1317807 w 7136640"/>
              <a:gd name="connsiteY2" fmla="*/ 230815 h 561914"/>
              <a:gd name="connsiteX3" fmla="*/ 1992056 w 7136640"/>
              <a:gd name="connsiteY3" fmla="*/ 561506 h 561914"/>
              <a:gd name="connsiteX4" fmla="*/ 2642777 w 7136640"/>
              <a:gd name="connsiteY4" fmla="*/ 300854 h 561914"/>
              <a:gd name="connsiteX5" fmla="*/ 3302093 w 7136640"/>
              <a:gd name="connsiteY5" fmla="*/ 366163 h 561914"/>
              <a:gd name="connsiteX6" fmla="*/ 3964644 w 7136640"/>
              <a:gd name="connsiteY6" fmla="*/ 176869 h 561914"/>
              <a:gd name="connsiteX7" fmla="*/ 4567930 w 7136640"/>
              <a:gd name="connsiteY7" fmla="*/ 637 h 561914"/>
              <a:gd name="connsiteX8" fmla="*/ 5278712 w 7136640"/>
              <a:gd name="connsiteY8" fmla="*/ 275383 h 561914"/>
              <a:gd name="connsiteX9" fmla="*/ 5851829 w 7136640"/>
              <a:gd name="connsiteY9" fmla="*/ 285805 h 561914"/>
              <a:gd name="connsiteX10" fmla="*/ 6534152 w 7136640"/>
              <a:gd name="connsiteY10" fmla="*/ 8920 h 561914"/>
              <a:gd name="connsiteX11" fmla="*/ 7136640 w 7136640"/>
              <a:gd name="connsiteY11" fmla="*/ 304871 h 561914"/>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5241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20106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430917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466 h 553277"/>
              <a:gd name="connsiteX1" fmla="*/ 719247 w 7136640"/>
              <a:gd name="connsiteY1" fmla="*/ 366596 h 553277"/>
              <a:gd name="connsiteX2" fmla="*/ 1317807 w 7136640"/>
              <a:gd name="connsiteY2" fmla="*/ 222178 h 553277"/>
              <a:gd name="connsiteX3" fmla="*/ 1992056 w 7136640"/>
              <a:gd name="connsiteY3" fmla="*/ 552869 h 553277"/>
              <a:gd name="connsiteX4" fmla="*/ 2642777 w 7136640"/>
              <a:gd name="connsiteY4" fmla="*/ 292217 h 553277"/>
              <a:gd name="connsiteX5" fmla="*/ 3302093 w 7136640"/>
              <a:gd name="connsiteY5" fmla="*/ 357526 h 553277"/>
              <a:gd name="connsiteX6" fmla="*/ 3964644 w 7136640"/>
              <a:gd name="connsiteY6" fmla="*/ 168232 h 553277"/>
              <a:gd name="connsiteX7" fmla="*/ 4597439 w 7136640"/>
              <a:gd name="connsiteY7" fmla="*/ 379025 h 553277"/>
              <a:gd name="connsiteX8" fmla="*/ 5278712 w 7136640"/>
              <a:gd name="connsiteY8" fmla="*/ 266746 h 553277"/>
              <a:gd name="connsiteX9" fmla="*/ 5851829 w 7136640"/>
              <a:gd name="connsiteY9" fmla="*/ 277168 h 553277"/>
              <a:gd name="connsiteX10" fmla="*/ 6534152 w 7136640"/>
              <a:gd name="connsiteY10" fmla="*/ 283 h 553277"/>
              <a:gd name="connsiteX11" fmla="*/ 7136640 w 7136640"/>
              <a:gd name="connsiteY11" fmla="*/ 296234 h 553277"/>
              <a:gd name="connsiteX0" fmla="*/ 0 w 7136640"/>
              <a:gd name="connsiteY0" fmla="*/ 218501 h 553312"/>
              <a:gd name="connsiteX1" fmla="*/ 719247 w 7136640"/>
              <a:gd name="connsiteY1" fmla="*/ 366631 h 553312"/>
              <a:gd name="connsiteX2" fmla="*/ 1317807 w 7136640"/>
              <a:gd name="connsiteY2" fmla="*/ 222213 h 553312"/>
              <a:gd name="connsiteX3" fmla="*/ 1992056 w 7136640"/>
              <a:gd name="connsiteY3" fmla="*/ 552904 h 553312"/>
              <a:gd name="connsiteX4" fmla="*/ 2642777 w 7136640"/>
              <a:gd name="connsiteY4" fmla="*/ 292252 h 553312"/>
              <a:gd name="connsiteX5" fmla="*/ 3302093 w 7136640"/>
              <a:gd name="connsiteY5" fmla="*/ 357561 h 553312"/>
              <a:gd name="connsiteX6" fmla="*/ 3964644 w 7136640"/>
              <a:gd name="connsiteY6" fmla="*/ 168267 h 553312"/>
              <a:gd name="connsiteX7" fmla="*/ 4597439 w 7136640"/>
              <a:gd name="connsiteY7" fmla="*/ 379060 h 553312"/>
              <a:gd name="connsiteX8" fmla="*/ 5263957 w 7136640"/>
              <a:gd name="connsiteY8" fmla="*/ 437591 h 553312"/>
              <a:gd name="connsiteX9" fmla="*/ 5851829 w 7136640"/>
              <a:gd name="connsiteY9" fmla="*/ 277203 h 553312"/>
              <a:gd name="connsiteX10" fmla="*/ 6534152 w 7136640"/>
              <a:gd name="connsiteY10" fmla="*/ 318 h 553312"/>
              <a:gd name="connsiteX11" fmla="*/ 7136640 w 7136640"/>
              <a:gd name="connsiteY11" fmla="*/ 296269 h 553312"/>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79075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516 h 553327"/>
              <a:gd name="connsiteX1" fmla="*/ 719247 w 7136640"/>
              <a:gd name="connsiteY1" fmla="*/ 366646 h 553327"/>
              <a:gd name="connsiteX2" fmla="*/ 1317807 w 7136640"/>
              <a:gd name="connsiteY2" fmla="*/ 222228 h 553327"/>
              <a:gd name="connsiteX3" fmla="*/ 1992056 w 7136640"/>
              <a:gd name="connsiteY3" fmla="*/ 552919 h 553327"/>
              <a:gd name="connsiteX4" fmla="*/ 2642777 w 7136640"/>
              <a:gd name="connsiteY4" fmla="*/ 292267 h 553327"/>
              <a:gd name="connsiteX5" fmla="*/ 3302093 w 7136640"/>
              <a:gd name="connsiteY5" fmla="*/ 357576 h 553327"/>
              <a:gd name="connsiteX6" fmla="*/ 3964644 w 7136640"/>
              <a:gd name="connsiteY6" fmla="*/ 168282 h 553327"/>
              <a:gd name="connsiteX7" fmla="*/ 4597439 w 7136640"/>
              <a:gd name="connsiteY7" fmla="*/ 366102 h 553327"/>
              <a:gd name="connsiteX8" fmla="*/ 5249202 w 7136640"/>
              <a:gd name="connsiteY8" fmla="*/ 495984 h 553327"/>
              <a:gd name="connsiteX9" fmla="*/ 5851829 w 7136640"/>
              <a:gd name="connsiteY9" fmla="*/ 277218 h 553327"/>
              <a:gd name="connsiteX10" fmla="*/ 6534152 w 7136640"/>
              <a:gd name="connsiteY10" fmla="*/ 333 h 553327"/>
              <a:gd name="connsiteX11" fmla="*/ 7136640 w 7136640"/>
              <a:gd name="connsiteY11" fmla="*/ 296284 h 553327"/>
              <a:gd name="connsiteX0" fmla="*/ 0 w 7136640"/>
              <a:gd name="connsiteY0" fmla="*/ 218443 h 553254"/>
              <a:gd name="connsiteX1" fmla="*/ 719247 w 7136640"/>
              <a:gd name="connsiteY1" fmla="*/ 366573 h 553254"/>
              <a:gd name="connsiteX2" fmla="*/ 1317807 w 7136640"/>
              <a:gd name="connsiteY2" fmla="*/ 222155 h 553254"/>
              <a:gd name="connsiteX3" fmla="*/ 1992056 w 7136640"/>
              <a:gd name="connsiteY3" fmla="*/ 552846 h 553254"/>
              <a:gd name="connsiteX4" fmla="*/ 2642777 w 7136640"/>
              <a:gd name="connsiteY4" fmla="*/ 292194 h 553254"/>
              <a:gd name="connsiteX5" fmla="*/ 3302093 w 7136640"/>
              <a:gd name="connsiteY5" fmla="*/ 357503 h 553254"/>
              <a:gd name="connsiteX6" fmla="*/ 3964644 w 7136640"/>
              <a:gd name="connsiteY6" fmla="*/ 168209 h 553254"/>
              <a:gd name="connsiteX7" fmla="*/ 4597439 w 7136640"/>
              <a:gd name="connsiteY7" fmla="*/ 366029 h 553254"/>
              <a:gd name="connsiteX8" fmla="*/ 5249202 w 7136640"/>
              <a:gd name="connsiteY8" fmla="*/ 495911 h 553254"/>
              <a:gd name="connsiteX9" fmla="*/ 5851829 w 7136640"/>
              <a:gd name="connsiteY9" fmla="*/ 277145 h 553254"/>
              <a:gd name="connsiteX10" fmla="*/ 6534152 w 7136640"/>
              <a:gd name="connsiteY10" fmla="*/ 260 h 553254"/>
              <a:gd name="connsiteX11" fmla="*/ 7136640 w 7136640"/>
              <a:gd name="connsiteY11" fmla="*/ 296211 h 553254"/>
              <a:gd name="connsiteX0" fmla="*/ 0 w 7136640"/>
              <a:gd name="connsiteY0" fmla="*/ 218329 h 553140"/>
              <a:gd name="connsiteX1" fmla="*/ 719247 w 7136640"/>
              <a:gd name="connsiteY1" fmla="*/ 366459 h 553140"/>
              <a:gd name="connsiteX2" fmla="*/ 1317807 w 7136640"/>
              <a:gd name="connsiteY2" fmla="*/ 222041 h 553140"/>
              <a:gd name="connsiteX3" fmla="*/ 1992056 w 7136640"/>
              <a:gd name="connsiteY3" fmla="*/ 552732 h 553140"/>
              <a:gd name="connsiteX4" fmla="*/ 2642777 w 7136640"/>
              <a:gd name="connsiteY4" fmla="*/ 292080 h 553140"/>
              <a:gd name="connsiteX5" fmla="*/ 3302093 w 7136640"/>
              <a:gd name="connsiteY5" fmla="*/ 357389 h 553140"/>
              <a:gd name="connsiteX6" fmla="*/ 3964644 w 7136640"/>
              <a:gd name="connsiteY6" fmla="*/ 168095 h 553140"/>
              <a:gd name="connsiteX7" fmla="*/ 4597439 w 7136640"/>
              <a:gd name="connsiteY7" fmla="*/ 365915 h 553140"/>
              <a:gd name="connsiteX8" fmla="*/ 5249202 w 7136640"/>
              <a:gd name="connsiteY8" fmla="*/ 495797 h 553140"/>
              <a:gd name="connsiteX9" fmla="*/ 5800187 w 7136640"/>
              <a:gd name="connsiteY9" fmla="*/ 491084 h 553140"/>
              <a:gd name="connsiteX10" fmla="*/ 6534152 w 7136640"/>
              <a:gd name="connsiteY10" fmla="*/ 146 h 553140"/>
              <a:gd name="connsiteX11" fmla="*/ 7136640 w 7136640"/>
              <a:gd name="connsiteY11" fmla="*/ 296097 h 553140"/>
              <a:gd name="connsiteX0" fmla="*/ 0 w 7136640"/>
              <a:gd name="connsiteY0" fmla="*/ 218325 h 553136"/>
              <a:gd name="connsiteX1" fmla="*/ 719247 w 7136640"/>
              <a:gd name="connsiteY1" fmla="*/ 366455 h 553136"/>
              <a:gd name="connsiteX2" fmla="*/ 1317807 w 7136640"/>
              <a:gd name="connsiteY2" fmla="*/ 222037 h 553136"/>
              <a:gd name="connsiteX3" fmla="*/ 1992056 w 7136640"/>
              <a:gd name="connsiteY3" fmla="*/ 552728 h 553136"/>
              <a:gd name="connsiteX4" fmla="*/ 2642777 w 7136640"/>
              <a:gd name="connsiteY4" fmla="*/ 292076 h 553136"/>
              <a:gd name="connsiteX5" fmla="*/ 3302093 w 7136640"/>
              <a:gd name="connsiteY5" fmla="*/ 357385 h 553136"/>
              <a:gd name="connsiteX6" fmla="*/ 3964644 w 7136640"/>
              <a:gd name="connsiteY6" fmla="*/ 168091 h 553136"/>
              <a:gd name="connsiteX7" fmla="*/ 4597439 w 7136640"/>
              <a:gd name="connsiteY7" fmla="*/ 365911 h 553136"/>
              <a:gd name="connsiteX8" fmla="*/ 5249202 w 7136640"/>
              <a:gd name="connsiteY8" fmla="*/ 495793 h 553136"/>
              <a:gd name="connsiteX9" fmla="*/ 5800187 w 7136640"/>
              <a:gd name="connsiteY9" fmla="*/ 491080 h 553136"/>
              <a:gd name="connsiteX10" fmla="*/ 6534152 w 7136640"/>
              <a:gd name="connsiteY10" fmla="*/ 142 h 553136"/>
              <a:gd name="connsiteX11" fmla="*/ 7136640 w 7136640"/>
              <a:gd name="connsiteY11" fmla="*/ 296093 h 553136"/>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50242 h 385053"/>
              <a:gd name="connsiteX1" fmla="*/ 719247 w 7136640"/>
              <a:gd name="connsiteY1" fmla="*/ 198372 h 385053"/>
              <a:gd name="connsiteX2" fmla="*/ 1317807 w 7136640"/>
              <a:gd name="connsiteY2" fmla="*/ 53954 h 385053"/>
              <a:gd name="connsiteX3" fmla="*/ 1992056 w 7136640"/>
              <a:gd name="connsiteY3" fmla="*/ 384645 h 385053"/>
              <a:gd name="connsiteX4" fmla="*/ 2642777 w 7136640"/>
              <a:gd name="connsiteY4" fmla="*/ 123993 h 385053"/>
              <a:gd name="connsiteX5" fmla="*/ 3302093 w 7136640"/>
              <a:gd name="connsiteY5" fmla="*/ 189302 h 385053"/>
              <a:gd name="connsiteX6" fmla="*/ 3964644 w 7136640"/>
              <a:gd name="connsiteY6" fmla="*/ 8 h 385053"/>
              <a:gd name="connsiteX7" fmla="*/ 4597439 w 7136640"/>
              <a:gd name="connsiteY7" fmla="*/ 197828 h 385053"/>
              <a:gd name="connsiteX8" fmla="*/ 5249202 w 7136640"/>
              <a:gd name="connsiteY8" fmla="*/ 327710 h 385053"/>
              <a:gd name="connsiteX9" fmla="*/ 5800187 w 7136640"/>
              <a:gd name="connsiteY9" fmla="*/ 322997 h 385053"/>
              <a:gd name="connsiteX10" fmla="*/ 6482510 w 7136640"/>
              <a:gd name="connsiteY10" fmla="*/ 43950 h 385053"/>
              <a:gd name="connsiteX11" fmla="*/ 7136640 w 7136640"/>
              <a:gd name="connsiteY11" fmla="*/ 128010 h 385053"/>
              <a:gd name="connsiteX0" fmla="*/ 0 w 7136640"/>
              <a:gd name="connsiteY0" fmla="*/ 77098 h 411909"/>
              <a:gd name="connsiteX1" fmla="*/ 700803 w 7136640"/>
              <a:gd name="connsiteY1" fmla="*/ 4 h 411909"/>
              <a:gd name="connsiteX2" fmla="*/ 1317807 w 7136640"/>
              <a:gd name="connsiteY2" fmla="*/ 80810 h 411909"/>
              <a:gd name="connsiteX3" fmla="*/ 1992056 w 7136640"/>
              <a:gd name="connsiteY3" fmla="*/ 411501 h 411909"/>
              <a:gd name="connsiteX4" fmla="*/ 2642777 w 7136640"/>
              <a:gd name="connsiteY4" fmla="*/ 150849 h 411909"/>
              <a:gd name="connsiteX5" fmla="*/ 3302093 w 7136640"/>
              <a:gd name="connsiteY5" fmla="*/ 216158 h 411909"/>
              <a:gd name="connsiteX6" fmla="*/ 3964644 w 7136640"/>
              <a:gd name="connsiteY6" fmla="*/ 26864 h 411909"/>
              <a:gd name="connsiteX7" fmla="*/ 4597439 w 7136640"/>
              <a:gd name="connsiteY7" fmla="*/ 224684 h 411909"/>
              <a:gd name="connsiteX8" fmla="*/ 5249202 w 7136640"/>
              <a:gd name="connsiteY8" fmla="*/ 354566 h 411909"/>
              <a:gd name="connsiteX9" fmla="*/ 5800187 w 7136640"/>
              <a:gd name="connsiteY9" fmla="*/ 349853 h 411909"/>
              <a:gd name="connsiteX10" fmla="*/ 6482510 w 7136640"/>
              <a:gd name="connsiteY10" fmla="*/ 70806 h 411909"/>
              <a:gd name="connsiteX11" fmla="*/ 7136640 w 7136640"/>
              <a:gd name="connsiteY11" fmla="*/ 154866 h 411909"/>
              <a:gd name="connsiteX0" fmla="*/ 0 w 7136640"/>
              <a:gd name="connsiteY0" fmla="*/ 77098 h 378149"/>
              <a:gd name="connsiteX1" fmla="*/ 700803 w 7136640"/>
              <a:gd name="connsiteY1" fmla="*/ 4 h 378149"/>
              <a:gd name="connsiteX2" fmla="*/ 1317807 w 7136640"/>
              <a:gd name="connsiteY2" fmla="*/ 80810 h 378149"/>
              <a:gd name="connsiteX3" fmla="*/ 1992056 w 7136640"/>
              <a:gd name="connsiteY3" fmla="*/ 334024 h 378149"/>
              <a:gd name="connsiteX4" fmla="*/ 2642777 w 7136640"/>
              <a:gd name="connsiteY4" fmla="*/ 150849 h 378149"/>
              <a:gd name="connsiteX5" fmla="*/ 3302093 w 7136640"/>
              <a:gd name="connsiteY5" fmla="*/ 216158 h 378149"/>
              <a:gd name="connsiteX6" fmla="*/ 3964644 w 7136640"/>
              <a:gd name="connsiteY6" fmla="*/ 26864 h 378149"/>
              <a:gd name="connsiteX7" fmla="*/ 4597439 w 7136640"/>
              <a:gd name="connsiteY7" fmla="*/ 224684 h 378149"/>
              <a:gd name="connsiteX8" fmla="*/ 5249202 w 7136640"/>
              <a:gd name="connsiteY8" fmla="*/ 354566 h 378149"/>
              <a:gd name="connsiteX9" fmla="*/ 5800187 w 7136640"/>
              <a:gd name="connsiteY9" fmla="*/ 349853 h 378149"/>
              <a:gd name="connsiteX10" fmla="*/ 6482510 w 7136640"/>
              <a:gd name="connsiteY10" fmla="*/ 70806 h 378149"/>
              <a:gd name="connsiteX11" fmla="*/ 7136640 w 7136640"/>
              <a:gd name="connsiteY11" fmla="*/ 154866 h 378149"/>
              <a:gd name="connsiteX0" fmla="*/ 0 w 7136640"/>
              <a:gd name="connsiteY0" fmla="*/ 77098 h 375183"/>
              <a:gd name="connsiteX1" fmla="*/ 700803 w 7136640"/>
              <a:gd name="connsiteY1" fmla="*/ 4 h 375183"/>
              <a:gd name="connsiteX2" fmla="*/ 1317807 w 7136640"/>
              <a:gd name="connsiteY2" fmla="*/ 80810 h 375183"/>
              <a:gd name="connsiteX3" fmla="*/ 1992056 w 7136640"/>
              <a:gd name="connsiteY3" fmla="*/ 334024 h 375183"/>
              <a:gd name="connsiteX4" fmla="*/ 2642777 w 7136640"/>
              <a:gd name="connsiteY4" fmla="*/ 150849 h 375183"/>
              <a:gd name="connsiteX5" fmla="*/ 3302093 w 7136640"/>
              <a:gd name="connsiteY5" fmla="*/ 216158 h 375183"/>
              <a:gd name="connsiteX6" fmla="*/ 3964644 w 7136640"/>
              <a:gd name="connsiteY6" fmla="*/ 26864 h 375183"/>
              <a:gd name="connsiteX7" fmla="*/ 4578995 w 7136640"/>
              <a:gd name="connsiteY7" fmla="*/ 282341 h 375183"/>
              <a:gd name="connsiteX8" fmla="*/ 5249202 w 7136640"/>
              <a:gd name="connsiteY8" fmla="*/ 354566 h 375183"/>
              <a:gd name="connsiteX9" fmla="*/ 5800187 w 7136640"/>
              <a:gd name="connsiteY9" fmla="*/ 349853 h 375183"/>
              <a:gd name="connsiteX10" fmla="*/ 6482510 w 7136640"/>
              <a:gd name="connsiteY10" fmla="*/ 70806 h 375183"/>
              <a:gd name="connsiteX11" fmla="*/ 7136640 w 7136640"/>
              <a:gd name="connsiteY11" fmla="*/ 154866 h 375183"/>
              <a:gd name="connsiteX0" fmla="*/ 0 w 7136640"/>
              <a:gd name="connsiteY0" fmla="*/ 77098 h 350557"/>
              <a:gd name="connsiteX1" fmla="*/ 700803 w 7136640"/>
              <a:gd name="connsiteY1" fmla="*/ 4 h 350557"/>
              <a:gd name="connsiteX2" fmla="*/ 1317807 w 7136640"/>
              <a:gd name="connsiteY2" fmla="*/ 80810 h 350557"/>
              <a:gd name="connsiteX3" fmla="*/ 1992056 w 7136640"/>
              <a:gd name="connsiteY3" fmla="*/ 334024 h 350557"/>
              <a:gd name="connsiteX4" fmla="*/ 2642777 w 7136640"/>
              <a:gd name="connsiteY4" fmla="*/ 150849 h 350557"/>
              <a:gd name="connsiteX5" fmla="*/ 3302093 w 7136640"/>
              <a:gd name="connsiteY5" fmla="*/ 216158 h 350557"/>
              <a:gd name="connsiteX6" fmla="*/ 3964644 w 7136640"/>
              <a:gd name="connsiteY6" fmla="*/ 26864 h 350557"/>
              <a:gd name="connsiteX7" fmla="*/ 4578995 w 7136640"/>
              <a:gd name="connsiteY7" fmla="*/ 282341 h 350557"/>
              <a:gd name="connsiteX8" fmla="*/ 5236906 w 7136640"/>
              <a:gd name="connsiteY8" fmla="*/ 154567 h 350557"/>
              <a:gd name="connsiteX9" fmla="*/ 5800187 w 7136640"/>
              <a:gd name="connsiteY9" fmla="*/ 349853 h 350557"/>
              <a:gd name="connsiteX10" fmla="*/ 6482510 w 7136640"/>
              <a:gd name="connsiteY10" fmla="*/ 70806 h 350557"/>
              <a:gd name="connsiteX11" fmla="*/ 7136640 w 7136640"/>
              <a:gd name="connsiteY11" fmla="*/ 154866 h 350557"/>
              <a:gd name="connsiteX0" fmla="*/ 0 w 7136640"/>
              <a:gd name="connsiteY0" fmla="*/ 77098 h 334581"/>
              <a:gd name="connsiteX1" fmla="*/ 700803 w 7136640"/>
              <a:gd name="connsiteY1" fmla="*/ 4 h 334581"/>
              <a:gd name="connsiteX2" fmla="*/ 1317807 w 7136640"/>
              <a:gd name="connsiteY2" fmla="*/ 80810 h 334581"/>
              <a:gd name="connsiteX3" fmla="*/ 1992056 w 7136640"/>
              <a:gd name="connsiteY3" fmla="*/ 334024 h 334581"/>
              <a:gd name="connsiteX4" fmla="*/ 2642777 w 7136640"/>
              <a:gd name="connsiteY4" fmla="*/ 150849 h 334581"/>
              <a:gd name="connsiteX5" fmla="*/ 3302093 w 7136640"/>
              <a:gd name="connsiteY5" fmla="*/ 216158 h 334581"/>
              <a:gd name="connsiteX6" fmla="*/ 3964644 w 7136640"/>
              <a:gd name="connsiteY6" fmla="*/ 26864 h 334581"/>
              <a:gd name="connsiteX7" fmla="*/ 4578995 w 7136640"/>
              <a:gd name="connsiteY7" fmla="*/ 282341 h 334581"/>
              <a:gd name="connsiteX8" fmla="*/ 5236906 w 7136640"/>
              <a:gd name="connsiteY8" fmla="*/ 154567 h 334581"/>
              <a:gd name="connsiteX9" fmla="*/ 5843222 w 7136640"/>
              <a:gd name="connsiteY9" fmla="*/ 297601 h 334581"/>
              <a:gd name="connsiteX10" fmla="*/ 6482510 w 7136640"/>
              <a:gd name="connsiteY10" fmla="*/ 70806 h 334581"/>
              <a:gd name="connsiteX11" fmla="*/ 7136640 w 7136640"/>
              <a:gd name="connsiteY11" fmla="*/ 154866 h 334581"/>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68027 h 447742"/>
              <a:gd name="connsiteX0" fmla="*/ 0 w 7136640"/>
              <a:gd name="connsiteY0" fmla="*/ 190259 h 447742"/>
              <a:gd name="connsiteX1" fmla="*/ 700803 w 7136640"/>
              <a:gd name="connsiteY1" fmla="*/ 113165 h 447742"/>
              <a:gd name="connsiteX2" fmla="*/ 1317807 w 7136640"/>
              <a:gd name="connsiteY2" fmla="*/ 193971 h 447742"/>
              <a:gd name="connsiteX3" fmla="*/ 1992056 w 7136640"/>
              <a:gd name="connsiteY3" fmla="*/ 447185 h 447742"/>
              <a:gd name="connsiteX4" fmla="*/ 2642777 w 7136640"/>
              <a:gd name="connsiteY4" fmla="*/ 264010 h 447742"/>
              <a:gd name="connsiteX5" fmla="*/ 3302093 w 7136640"/>
              <a:gd name="connsiteY5" fmla="*/ 329319 h 447742"/>
              <a:gd name="connsiteX6" fmla="*/ 3964644 w 7136640"/>
              <a:gd name="connsiteY6" fmla="*/ 140025 h 447742"/>
              <a:gd name="connsiteX7" fmla="*/ 4578995 w 7136640"/>
              <a:gd name="connsiteY7" fmla="*/ 395502 h 447742"/>
              <a:gd name="connsiteX8" fmla="*/ 5236906 w 7136640"/>
              <a:gd name="connsiteY8" fmla="*/ 267728 h 447742"/>
              <a:gd name="connsiteX9" fmla="*/ 5843222 w 7136640"/>
              <a:gd name="connsiteY9" fmla="*/ 410762 h 447742"/>
              <a:gd name="connsiteX10" fmla="*/ 6500954 w 7136640"/>
              <a:gd name="connsiteY10" fmla="*/ 184 h 447742"/>
              <a:gd name="connsiteX11" fmla="*/ 7136640 w 7136640"/>
              <a:gd name="connsiteY11" fmla="*/ 280640 h 447742"/>
              <a:gd name="connsiteX0" fmla="*/ 0 w 7136640"/>
              <a:gd name="connsiteY0" fmla="*/ 77099 h 334582"/>
              <a:gd name="connsiteX1" fmla="*/ 700803 w 7136640"/>
              <a:gd name="connsiteY1" fmla="*/ 5 h 334582"/>
              <a:gd name="connsiteX2" fmla="*/ 1317807 w 7136640"/>
              <a:gd name="connsiteY2" fmla="*/ 80811 h 334582"/>
              <a:gd name="connsiteX3" fmla="*/ 1992056 w 7136640"/>
              <a:gd name="connsiteY3" fmla="*/ 334025 h 334582"/>
              <a:gd name="connsiteX4" fmla="*/ 2642777 w 7136640"/>
              <a:gd name="connsiteY4" fmla="*/ 150850 h 334582"/>
              <a:gd name="connsiteX5" fmla="*/ 3302093 w 7136640"/>
              <a:gd name="connsiteY5" fmla="*/ 216159 h 334582"/>
              <a:gd name="connsiteX6" fmla="*/ 3964644 w 7136640"/>
              <a:gd name="connsiteY6" fmla="*/ 26865 h 334582"/>
              <a:gd name="connsiteX7" fmla="*/ 4578995 w 7136640"/>
              <a:gd name="connsiteY7" fmla="*/ 282342 h 334582"/>
              <a:gd name="connsiteX8" fmla="*/ 5236906 w 7136640"/>
              <a:gd name="connsiteY8" fmla="*/ 154568 h 334582"/>
              <a:gd name="connsiteX9" fmla="*/ 5843222 w 7136640"/>
              <a:gd name="connsiteY9" fmla="*/ 297602 h 334582"/>
              <a:gd name="connsiteX10" fmla="*/ 6486411 w 7136640"/>
              <a:gd name="connsiteY10" fmla="*/ 44729 h 334582"/>
              <a:gd name="connsiteX11" fmla="*/ 7136640 w 7136640"/>
              <a:gd name="connsiteY11" fmla="*/ 167480 h 334582"/>
              <a:gd name="connsiteX0" fmla="*/ 0 w 7136640"/>
              <a:gd name="connsiteY0" fmla="*/ 50651 h 308134"/>
              <a:gd name="connsiteX1" fmla="*/ 1114078 w 7136640"/>
              <a:gd name="connsiteY1" fmla="*/ 212128 h 308134"/>
              <a:gd name="connsiteX2" fmla="*/ 1317807 w 7136640"/>
              <a:gd name="connsiteY2" fmla="*/ 54363 h 308134"/>
              <a:gd name="connsiteX3" fmla="*/ 1992056 w 7136640"/>
              <a:gd name="connsiteY3" fmla="*/ 307577 h 308134"/>
              <a:gd name="connsiteX4" fmla="*/ 2642777 w 7136640"/>
              <a:gd name="connsiteY4" fmla="*/ 124402 h 308134"/>
              <a:gd name="connsiteX5" fmla="*/ 3302093 w 7136640"/>
              <a:gd name="connsiteY5" fmla="*/ 189711 h 308134"/>
              <a:gd name="connsiteX6" fmla="*/ 3964644 w 7136640"/>
              <a:gd name="connsiteY6" fmla="*/ 417 h 308134"/>
              <a:gd name="connsiteX7" fmla="*/ 4578995 w 7136640"/>
              <a:gd name="connsiteY7" fmla="*/ 255894 h 308134"/>
              <a:gd name="connsiteX8" fmla="*/ 5236906 w 7136640"/>
              <a:gd name="connsiteY8" fmla="*/ 128120 h 308134"/>
              <a:gd name="connsiteX9" fmla="*/ 5843222 w 7136640"/>
              <a:gd name="connsiteY9" fmla="*/ 271154 h 308134"/>
              <a:gd name="connsiteX10" fmla="*/ 6486411 w 7136640"/>
              <a:gd name="connsiteY10" fmla="*/ 18281 h 308134"/>
              <a:gd name="connsiteX11" fmla="*/ 7136640 w 7136640"/>
              <a:gd name="connsiteY11" fmla="*/ 141032 h 308134"/>
              <a:gd name="connsiteX0" fmla="*/ 0 w 7136640"/>
              <a:gd name="connsiteY0" fmla="*/ 50651 h 307628"/>
              <a:gd name="connsiteX1" fmla="*/ 1114078 w 7136640"/>
              <a:gd name="connsiteY1" fmla="*/ 212128 h 307628"/>
              <a:gd name="connsiteX2" fmla="*/ 1762391 w 7136640"/>
              <a:gd name="connsiteY2" fmla="*/ 103912 h 307628"/>
              <a:gd name="connsiteX3" fmla="*/ 1992056 w 7136640"/>
              <a:gd name="connsiteY3" fmla="*/ 307577 h 307628"/>
              <a:gd name="connsiteX4" fmla="*/ 2642777 w 7136640"/>
              <a:gd name="connsiteY4" fmla="*/ 124402 h 307628"/>
              <a:gd name="connsiteX5" fmla="*/ 3302093 w 7136640"/>
              <a:gd name="connsiteY5" fmla="*/ 189711 h 307628"/>
              <a:gd name="connsiteX6" fmla="*/ 3964644 w 7136640"/>
              <a:gd name="connsiteY6" fmla="*/ 417 h 307628"/>
              <a:gd name="connsiteX7" fmla="*/ 4578995 w 7136640"/>
              <a:gd name="connsiteY7" fmla="*/ 255894 h 307628"/>
              <a:gd name="connsiteX8" fmla="*/ 5236906 w 7136640"/>
              <a:gd name="connsiteY8" fmla="*/ 128120 h 307628"/>
              <a:gd name="connsiteX9" fmla="*/ 5843222 w 7136640"/>
              <a:gd name="connsiteY9" fmla="*/ 271154 h 307628"/>
              <a:gd name="connsiteX10" fmla="*/ 6486411 w 7136640"/>
              <a:gd name="connsiteY10" fmla="*/ 18281 h 307628"/>
              <a:gd name="connsiteX11" fmla="*/ 7136640 w 7136640"/>
              <a:gd name="connsiteY11" fmla="*/ 141032 h 307628"/>
              <a:gd name="connsiteX0" fmla="*/ 0 w 7136640"/>
              <a:gd name="connsiteY0" fmla="*/ 50651 h 309088"/>
              <a:gd name="connsiteX1" fmla="*/ 1114078 w 7136640"/>
              <a:gd name="connsiteY1" fmla="*/ 212128 h 309088"/>
              <a:gd name="connsiteX2" fmla="*/ 1743606 w 7136640"/>
              <a:gd name="connsiteY2" fmla="*/ 4813 h 309088"/>
              <a:gd name="connsiteX3" fmla="*/ 1992056 w 7136640"/>
              <a:gd name="connsiteY3" fmla="*/ 307577 h 309088"/>
              <a:gd name="connsiteX4" fmla="*/ 2642777 w 7136640"/>
              <a:gd name="connsiteY4" fmla="*/ 124402 h 309088"/>
              <a:gd name="connsiteX5" fmla="*/ 3302093 w 7136640"/>
              <a:gd name="connsiteY5" fmla="*/ 189711 h 309088"/>
              <a:gd name="connsiteX6" fmla="*/ 3964644 w 7136640"/>
              <a:gd name="connsiteY6" fmla="*/ 417 h 309088"/>
              <a:gd name="connsiteX7" fmla="*/ 4578995 w 7136640"/>
              <a:gd name="connsiteY7" fmla="*/ 255894 h 309088"/>
              <a:gd name="connsiteX8" fmla="*/ 5236906 w 7136640"/>
              <a:gd name="connsiteY8" fmla="*/ 128120 h 309088"/>
              <a:gd name="connsiteX9" fmla="*/ 5843222 w 7136640"/>
              <a:gd name="connsiteY9" fmla="*/ 271154 h 309088"/>
              <a:gd name="connsiteX10" fmla="*/ 6486411 w 7136640"/>
              <a:gd name="connsiteY10" fmla="*/ 18281 h 309088"/>
              <a:gd name="connsiteX11" fmla="*/ 7136640 w 7136640"/>
              <a:gd name="connsiteY11" fmla="*/ 141032 h 309088"/>
              <a:gd name="connsiteX0" fmla="*/ 0 w 7136640"/>
              <a:gd name="connsiteY0" fmla="*/ 50651 h 272623"/>
              <a:gd name="connsiteX1" fmla="*/ 1114078 w 7136640"/>
              <a:gd name="connsiteY1" fmla="*/ 212128 h 272623"/>
              <a:gd name="connsiteX2" fmla="*/ 1743606 w 7136640"/>
              <a:gd name="connsiteY2" fmla="*/ 4813 h 272623"/>
              <a:gd name="connsiteX3" fmla="*/ 2642777 w 7136640"/>
              <a:gd name="connsiteY3" fmla="*/ 124402 h 272623"/>
              <a:gd name="connsiteX4" fmla="*/ 3302093 w 7136640"/>
              <a:gd name="connsiteY4" fmla="*/ 189711 h 272623"/>
              <a:gd name="connsiteX5" fmla="*/ 3964644 w 7136640"/>
              <a:gd name="connsiteY5" fmla="*/ 417 h 272623"/>
              <a:gd name="connsiteX6" fmla="*/ 4578995 w 7136640"/>
              <a:gd name="connsiteY6" fmla="*/ 255894 h 272623"/>
              <a:gd name="connsiteX7" fmla="*/ 5236906 w 7136640"/>
              <a:gd name="connsiteY7" fmla="*/ 128120 h 272623"/>
              <a:gd name="connsiteX8" fmla="*/ 5843222 w 7136640"/>
              <a:gd name="connsiteY8" fmla="*/ 271154 h 272623"/>
              <a:gd name="connsiteX9" fmla="*/ 6486411 w 7136640"/>
              <a:gd name="connsiteY9" fmla="*/ 18281 h 272623"/>
              <a:gd name="connsiteX10" fmla="*/ 7136640 w 7136640"/>
              <a:gd name="connsiteY10" fmla="*/ 141032 h 272623"/>
              <a:gd name="connsiteX0" fmla="*/ 0 w 7136640"/>
              <a:gd name="connsiteY0" fmla="*/ 50567 h 272549"/>
              <a:gd name="connsiteX1" fmla="*/ 1114078 w 7136640"/>
              <a:gd name="connsiteY1" fmla="*/ 212044 h 272549"/>
              <a:gd name="connsiteX2" fmla="*/ 1743606 w 7136640"/>
              <a:gd name="connsiteY2" fmla="*/ 4729 h 272549"/>
              <a:gd name="connsiteX3" fmla="*/ 2642777 w 7136640"/>
              <a:gd name="connsiteY3" fmla="*/ 124318 h 272549"/>
              <a:gd name="connsiteX4" fmla="*/ 3302093 w 7136640"/>
              <a:gd name="connsiteY4" fmla="*/ 189627 h 272549"/>
              <a:gd name="connsiteX5" fmla="*/ 3964644 w 7136640"/>
              <a:gd name="connsiteY5" fmla="*/ 333 h 272549"/>
              <a:gd name="connsiteX6" fmla="*/ 4723015 w 7136640"/>
              <a:gd name="connsiteY6" fmla="*/ 248469 h 272549"/>
              <a:gd name="connsiteX7" fmla="*/ 5236906 w 7136640"/>
              <a:gd name="connsiteY7" fmla="*/ 128036 h 272549"/>
              <a:gd name="connsiteX8" fmla="*/ 5843222 w 7136640"/>
              <a:gd name="connsiteY8" fmla="*/ 271070 h 272549"/>
              <a:gd name="connsiteX9" fmla="*/ 6486411 w 7136640"/>
              <a:gd name="connsiteY9" fmla="*/ 18197 h 272549"/>
              <a:gd name="connsiteX10" fmla="*/ 7136640 w 7136640"/>
              <a:gd name="connsiteY10" fmla="*/ 140948 h 272549"/>
              <a:gd name="connsiteX0" fmla="*/ 0 w 7136640"/>
              <a:gd name="connsiteY0" fmla="*/ 50567 h 292707"/>
              <a:gd name="connsiteX1" fmla="*/ 1114078 w 7136640"/>
              <a:gd name="connsiteY1" fmla="*/ 212044 h 292707"/>
              <a:gd name="connsiteX2" fmla="*/ 1743606 w 7136640"/>
              <a:gd name="connsiteY2" fmla="*/ 4729 h 292707"/>
              <a:gd name="connsiteX3" fmla="*/ 2642777 w 7136640"/>
              <a:gd name="connsiteY3" fmla="*/ 124318 h 292707"/>
              <a:gd name="connsiteX4" fmla="*/ 3302093 w 7136640"/>
              <a:gd name="connsiteY4" fmla="*/ 189627 h 292707"/>
              <a:gd name="connsiteX5" fmla="*/ 3964644 w 7136640"/>
              <a:gd name="connsiteY5" fmla="*/ 333 h 292707"/>
              <a:gd name="connsiteX6" fmla="*/ 4723015 w 7136640"/>
              <a:gd name="connsiteY6" fmla="*/ 248469 h 292707"/>
              <a:gd name="connsiteX7" fmla="*/ 5843222 w 7136640"/>
              <a:gd name="connsiteY7" fmla="*/ 271070 h 292707"/>
              <a:gd name="connsiteX8" fmla="*/ 6486411 w 7136640"/>
              <a:gd name="connsiteY8" fmla="*/ 18197 h 292707"/>
              <a:gd name="connsiteX9" fmla="*/ 7136640 w 7136640"/>
              <a:gd name="connsiteY9" fmla="*/ 140948 h 292707"/>
              <a:gd name="connsiteX0" fmla="*/ 0 w 7136640"/>
              <a:gd name="connsiteY0" fmla="*/ 50567 h 291500"/>
              <a:gd name="connsiteX1" fmla="*/ 1114078 w 7136640"/>
              <a:gd name="connsiteY1" fmla="*/ 212044 h 291500"/>
              <a:gd name="connsiteX2" fmla="*/ 1743606 w 7136640"/>
              <a:gd name="connsiteY2" fmla="*/ 4729 h 291500"/>
              <a:gd name="connsiteX3" fmla="*/ 2642777 w 7136640"/>
              <a:gd name="connsiteY3" fmla="*/ 124318 h 291500"/>
              <a:gd name="connsiteX4" fmla="*/ 3302093 w 7136640"/>
              <a:gd name="connsiteY4" fmla="*/ 189627 h 291500"/>
              <a:gd name="connsiteX5" fmla="*/ 3964644 w 7136640"/>
              <a:gd name="connsiteY5" fmla="*/ 333 h 291500"/>
              <a:gd name="connsiteX6" fmla="*/ 4723015 w 7136640"/>
              <a:gd name="connsiteY6" fmla="*/ 248469 h 291500"/>
              <a:gd name="connsiteX7" fmla="*/ 5555182 w 7136640"/>
              <a:gd name="connsiteY7" fmla="*/ 269235 h 291500"/>
              <a:gd name="connsiteX8" fmla="*/ 6486411 w 7136640"/>
              <a:gd name="connsiteY8" fmla="*/ 18197 h 291500"/>
              <a:gd name="connsiteX9" fmla="*/ 7136640 w 7136640"/>
              <a:gd name="connsiteY9" fmla="*/ 140948 h 291500"/>
              <a:gd name="connsiteX0" fmla="*/ 0 w 7136640"/>
              <a:gd name="connsiteY0" fmla="*/ 47246 h 288179"/>
              <a:gd name="connsiteX1" fmla="*/ 1114078 w 7136640"/>
              <a:gd name="connsiteY1" fmla="*/ 208723 h 288179"/>
              <a:gd name="connsiteX2" fmla="*/ 1743606 w 7136640"/>
              <a:gd name="connsiteY2" fmla="*/ 1408 h 288179"/>
              <a:gd name="connsiteX3" fmla="*/ 2642777 w 7136640"/>
              <a:gd name="connsiteY3" fmla="*/ 120997 h 288179"/>
              <a:gd name="connsiteX4" fmla="*/ 3302093 w 7136640"/>
              <a:gd name="connsiteY4" fmla="*/ 186306 h 288179"/>
              <a:gd name="connsiteX5" fmla="*/ 3964644 w 7136640"/>
              <a:gd name="connsiteY5" fmla="*/ 78036 h 288179"/>
              <a:gd name="connsiteX6" fmla="*/ 4723015 w 7136640"/>
              <a:gd name="connsiteY6" fmla="*/ 245148 h 288179"/>
              <a:gd name="connsiteX7" fmla="*/ 5555182 w 7136640"/>
              <a:gd name="connsiteY7" fmla="*/ 265914 h 288179"/>
              <a:gd name="connsiteX8" fmla="*/ 6486411 w 7136640"/>
              <a:gd name="connsiteY8" fmla="*/ 14876 h 288179"/>
              <a:gd name="connsiteX9" fmla="*/ 7136640 w 7136640"/>
              <a:gd name="connsiteY9" fmla="*/ 137627 h 288179"/>
              <a:gd name="connsiteX0" fmla="*/ 0 w 7136640"/>
              <a:gd name="connsiteY0" fmla="*/ 47246 h 245148"/>
              <a:gd name="connsiteX1" fmla="*/ 1114078 w 7136640"/>
              <a:gd name="connsiteY1" fmla="*/ 208723 h 245148"/>
              <a:gd name="connsiteX2" fmla="*/ 1743606 w 7136640"/>
              <a:gd name="connsiteY2" fmla="*/ 1408 h 245148"/>
              <a:gd name="connsiteX3" fmla="*/ 2642777 w 7136640"/>
              <a:gd name="connsiteY3" fmla="*/ 120997 h 245148"/>
              <a:gd name="connsiteX4" fmla="*/ 3302093 w 7136640"/>
              <a:gd name="connsiteY4" fmla="*/ 186306 h 245148"/>
              <a:gd name="connsiteX5" fmla="*/ 3964644 w 7136640"/>
              <a:gd name="connsiteY5" fmla="*/ 78036 h 245148"/>
              <a:gd name="connsiteX6" fmla="*/ 4723015 w 7136640"/>
              <a:gd name="connsiteY6" fmla="*/ 245148 h 245148"/>
              <a:gd name="connsiteX7" fmla="*/ 5569100 w 7136640"/>
              <a:gd name="connsiteY7" fmla="*/ 130871 h 245148"/>
              <a:gd name="connsiteX8" fmla="*/ 6486411 w 7136640"/>
              <a:gd name="connsiteY8" fmla="*/ 14876 h 245148"/>
              <a:gd name="connsiteX9" fmla="*/ 7136640 w 7136640"/>
              <a:gd name="connsiteY9" fmla="*/ 137627 h 245148"/>
              <a:gd name="connsiteX0" fmla="*/ 0 w 7136640"/>
              <a:gd name="connsiteY0" fmla="*/ 46561 h 244463"/>
              <a:gd name="connsiteX1" fmla="*/ 891393 w 7136640"/>
              <a:gd name="connsiteY1" fmla="*/ 181033 h 244463"/>
              <a:gd name="connsiteX2" fmla="*/ 1743606 w 7136640"/>
              <a:gd name="connsiteY2" fmla="*/ 723 h 244463"/>
              <a:gd name="connsiteX3" fmla="*/ 2642777 w 7136640"/>
              <a:gd name="connsiteY3" fmla="*/ 120312 h 244463"/>
              <a:gd name="connsiteX4" fmla="*/ 3302093 w 7136640"/>
              <a:gd name="connsiteY4" fmla="*/ 185621 h 244463"/>
              <a:gd name="connsiteX5" fmla="*/ 3964644 w 7136640"/>
              <a:gd name="connsiteY5" fmla="*/ 77351 h 244463"/>
              <a:gd name="connsiteX6" fmla="*/ 4723015 w 7136640"/>
              <a:gd name="connsiteY6" fmla="*/ 244463 h 244463"/>
              <a:gd name="connsiteX7" fmla="*/ 5569100 w 7136640"/>
              <a:gd name="connsiteY7" fmla="*/ 130186 h 244463"/>
              <a:gd name="connsiteX8" fmla="*/ 6486411 w 7136640"/>
              <a:gd name="connsiteY8" fmla="*/ 14191 h 244463"/>
              <a:gd name="connsiteX9" fmla="*/ 7136640 w 7136640"/>
              <a:gd name="connsiteY9" fmla="*/ 136942 h 244463"/>
              <a:gd name="connsiteX0" fmla="*/ 0 w 7122723"/>
              <a:gd name="connsiteY0" fmla="*/ 181603 h 244463"/>
              <a:gd name="connsiteX1" fmla="*/ 877476 w 7122723"/>
              <a:gd name="connsiteY1" fmla="*/ 181033 h 244463"/>
              <a:gd name="connsiteX2" fmla="*/ 1729689 w 7122723"/>
              <a:gd name="connsiteY2" fmla="*/ 723 h 244463"/>
              <a:gd name="connsiteX3" fmla="*/ 2628860 w 7122723"/>
              <a:gd name="connsiteY3" fmla="*/ 120312 h 244463"/>
              <a:gd name="connsiteX4" fmla="*/ 3288176 w 7122723"/>
              <a:gd name="connsiteY4" fmla="*/ 185621 h 244463"/>
              <a:gd name="connsiteX5" fmla="*/ 3950727 w 7122723"/>
              <a:gd name="connsiteY5" fmla="*/ 77351 h 244463"/>
              <a:gd name="connsiteX6" fmla="*/ 4709098 w 7122723"/>
              <a:gd name="connsiteY6" fmla="*/ 244463 h 244463"/>
              <a:gd name="connsiteX7" fmla="*/ 5555183 w 7122723"/>
              <a:gd name="connsiteY7" fmla="*/ 130186 h 244463"/>
              <a:gd name="connsiteX8" fmla="*/ 6472494 w 7122723"/>
              <a:gd name="connsiteY8" fmla="*/ 14191 h 244463"/>
              <a:gd name="connsiteX9" fmla="*/ 7122723 w 7122723"/>
              <a:gd name="connsiteY9" fmla="*/ 136942 h 244463"/>
              <a:gd name="connsiteX0" fmla="*/ 0 w 7122723"/>
              <a:gd name="connsiteY0" fmla="*/ 168028 h 230888"/>
              <a:gd name="connsiteX1" fmla="*/ 877476 w 7122723"/>
              <a:gd name="connsiteY1" fmla="*/ 167458 h 230888"/>
              <a:gd name="connsiteX2" fmla="*/ 1743606 w 7122723"/>
              <a:gd name="connsiteY2" fmla="*/ 95181 h 230888"/>
              <a:gd name="connsiteX3" fmla="*/ 2628860 w 7122723"/>
              <a:gd name="connsiteY3" fmla="*/ 106737 h 230888"/>
              <a:gd name="connsiteX4" fmla="*/ 3288176 w 7122723"/>
              <a:gd name="connsiteY4" fmla="*/ 172046 h 230888"/>
              <a:gd name="connsiteX5" fmla="*/ 3950727 w 7122723"/>
              <a:gd name="connsiteY5" fmla="*/ 63776 h 230888"/>
              <a:gd name="connsiteX6" fmla="*/ 4709098 w 7122723"/>
              <a:gd name="connsiteY6" fmla="*/ 230888 h 230888"/>
              <a:gd name="connsiteX7" fmla="*/ 5555183 w 7122723"/>
              <a:gd name="connsiteY7" fmla="*/ 116611 h 230888"/>
              <a:gd name="connsiteX8" fmla="*/ 6472494 w 7122723"/>
              <a:gd name="connsiteY8" fmla="*/ 616 h 230888"/>
              <a:gd name="connsiteX9" fmla="*/ 7122723 w 7122723"/>
              <a:gd name="connsiteY9" fmla="*/ 123367 h 230888"/>
              <a:gd name="connsiteX0" fmla="*/ 0 w 7122723"/>
              <a:gd name="connsiteY0" fmla="*/ 168028 h 230888"/>
              <a:gd name="connsiteX1" fmla="*/ 877476 w 7122723"/>
              <a:gd name="connsiteY1" fmla="*/ 167458 h 230888"/>
              <a:gd name="connsiteX2" fmla="*/ 1750564 w 7122723"/>
              <a:gd name="connsiteY2" fmla="*/ 203217 h 230888"/>
              <a:gd name="connsiteX3" fmla="*/ 2628860 w 7122723"/>
              <a:gd name="connsiteY3" fmla="*/ 106737 h 230888"/>
              <a:gd name="connsiteX4" fmla="*/ 3288176 w 7122723"/>
              <a:gd name="connsiteY4" fmla="*/ 172046 h 230888"/>
              <a:gd name="connsiteX5" fmla="*/ 3950727 w 7122723"/>
              <a:gd name="connsiteY5" fmla="*/ 63776 h 230888"/>
              <a:gd name="connsiteX6" fmla="*/ 4709098 w 7122723"/>
              <a:gd name="connsiteY6" fmla="*/ 230888 h 230888"/>
              <a:gd name="connsiteX7" fmla="*/ 5555183 w 7122723"/>
              <a:gd name="connsiteY7" fmla="*/ 116611 h 230888"/>
              <a:gd name="connsiteX8" fmla="*/ 6472494 w 7122723"/>
              <a:gd name="connsiteY8" fmla="*/ 616 h 230888"/>
              <a:gd name="connsiteX9" fmla="*/ 7122723 w 7122723"/>
              <a:gd name="connsiteY9" fmla="*/ 123367 h 230888"/>
              <a:gd name="connsiteX0" fmla="*/ 0 w 7122723"/>
              <a:gd name="connsiteY0" fmla="*/ 168028 h 230888"/>
              <a:gd name="connsiteX1" fmla="*/ 877476 w 7122723"/>
              <a:gd name="connsiteY1" fmla="*/ 167458 h 230888"/>
              <a:gd name="connsiteX2" fmla="*/ 1750564 w 7122723"/>
              <a:gd name="connsiteY2" fmla="*/ 203217 h 230888"/>
              <a:gd name="connsiteX3" fmla="*/ 2580147 w 7122723"/>
              <a:gd name="connsiteY3" fmla="*/ 160751 h 230888"/>
              <a:gd name="connsiteX4" fmla="*/ 3288176 w 7122723"/>
              <a:gd name="connsiteY4" fmla="*/ 172046 h 230888"/>
              <a:gd name="connsiteX5" fmla="*/ 3950727 w 7122723"/>
              <a:gd name="connsiteY5" fmla="*/ 63776 h 230888"/>
              <a:gd name="connsiteX6" fmla="*/ 4709098 w 7122723"/>
              <a:gd name="connsiteY6" fmla="*/ 230888 h 230888"/>
              <a:gd name="connsiteX7" fmla="*/ 5555183 w 7122723"/>
              <a:gd name="connsiteY7" fmla="*/ 116611 h 230888"/>
              <a:gd name="connsiteX8" fmla="*/ 6472494 w 7122723"/>
              <a:gd name="connsiteY8" fmla="*/ 616 h 230888"/>
              <a:gd name="connsiteX9" fmla="*/ 7122723 w 7122723"/>
              <a:gd name="connsiteY9" fmla="*/ 123367 h 230888"/>
              <a:gd name="connsiteX0" fmla="*/ 0 w 7122723"/>
              <a:gd name="connsiteY0" fmla="*/ 168028 h 268787"/>
              <a:gd name="connsiteX1" fmla="*/ 877476 w 7122723"/>
              <a:gd name="connsiteY1" fmla="*/ 167458 h 268787"/>
              <a:gd name="connsiteX2" fmla="*/ 1750564 w 7122723"/>
              <a:gd name="connsiteY2" fmla="*/ 203217 h 268787"/>
              <a:gd name="connsiteX3" fmla="*/ 2489682 w 7122723"/>
              <a:gd name="connsiteY3" fmla="*/ 268787 h 268787"/>
              <a:gd name="connsiteX4" fmla="*/ 3288176 w 7122723"/>
              <a:gd name="connsiteY4" fmla="*/ 172046 h 268787"/>
              <a:gd name="connsiteX5" fmla="*/ 3950727 w 7122723"/>
              <a:gd name="connsiteY5" fmla="*/ 63776 h 268787"/>
              <a:gd name="connsiteX6" fmla="*/ 4709098 w 7122723"/>
              <a:gd name="connsiteY6" fmla="*/ 230888 h 268787"/>
              <a:gd name="connsiteX7" fmla="*/ 5555183 w 7122723"/>
              <a:gd name="connsiteY7" fmla="*/ 116611 h 268787"/>
              <a:gd name="connsiteX8" fmla="*/ 6472494 w 7122723"/>
              <a:gd name="connsiteY8" fmla="*/ 616 h 268787"/>
              <a:gd name="connsiteX9" fmla="*/ 7122723 w 7122723"/>
              <a:gd name="connsiteY9" fmla="*/ 123367 h 268787"/>
              <a:gd name="connsiteX0" fmla="*/ 0 w 7122723"/>
              <a:gd name="connsiteY0" fmla="*/ 168028 h 281032"/>
              <a:gd name="connsiteX1" fmla="*/ 877476 w 7122723"/>
              <a:gd name="connsiteY1" fmla="*/ 167458 h 281032"/>
              <a:gd name="connsiteX2" fmla="*/ 1750564 w 7122723"/>
              <a:gd name="connsiteY2" fmla="*/ 203217 h 281032"/>
              <a:gd name="connsiteX3" fmla="*/ 2489682 w 7122723"/>
              <a:gd name="connsiteY3" fmla="*/ 268787 h 281032"/>
              <a:gd name="connsiteX4" fmla="*/ 3288176 w 7122723"/>
              <a:gd name="connsiteY4" fmla="*/ 280078 h 281032"/>
              <a:gd name="connsiteX5" fmla="*/ 3950727 w 7122723"/>
              <a:gd name="connsiteY5" fmla="*/ 63776 h 281032"/>
              <a:gd name="connsiteX6" fmla="*/ 4709098 w 7122723"/>
              <a:gd name="connsiteY6" fmla="*/ 230888 h 281032"/>
              <a:gd name="connsiteX7" fmla="*/ 5555183 w 7122723"/>
              <a:gd name="connsiteY7" fmla="*/ 116611 h 281032"/>
              <a:gd name="connsiteX8" fmla="*/ 6472494 w 7122723"/>
              <a:gd name="connsiteY8" fmla="*/ 616 h 281032"/>
              <a:gd name="connsiteX9" fmla="*/ 7122723 w 7122723"/>
              <a:gd name="connsiteY9" fmla="*/ 123367 h 281032"/>
              <a:gd name="connsiteX0" fmla="*/ 0 w 7122723"/>
              <a:gd name="connsiteY0" fmla="*/ 168028 h 469167"/>
              <a:gd name="connsiteX1" fmla="*/ 877476 w 7122723"/>
              <a:gd name="connsiteY1" fmla="*/ 167458 h 469167"/>
              <a:gd name="connsiteX2" fmla="*/ 1750564 w 7122723"/>
              <a:gd name="connsiteY2" fmla="*/ 203217 h 469167"/>
              <a:gd name="connsiteX3" fmla="*/ 2489682 w 7122723"/>
              <a:gd name="connsiteY3" fmla="*/ 268787 h 469167"/>
              <a:gd name="connsiteX4" fmla="*/ 3288176 w 7122723"/>
              <a:gd name="connsiteY4" fmla="*/ 280078 h 469167"/>
              <a:gd name="connsiteX5" fmla="*/ 3999440 w 7122723"/>
              <a:gd name="connsiteY5" fmla="*/ 468903 h 469167"/>
              <a:gd name="connsiteX6" fmla="*/ 4709098 w 7122723"/>
              <a:gd name="connsiteY6" fmla="*/ 230888 h 469167"/>
              <a:gd name="connsiteX7" fmla="*/ 5555183 w 7122723"/>
              <a:gd name="connsiteY7" fmla="*/ 116611 h 469167"/>
              <a:gd name="connsiteX8" fmla="*/ 6472494 w 7122723"/>
              <a:gd name="connsiteY8" fmla="*/ 616 h 469167"/>
              <a:gd name="connsiteX9" fmla="*/ 7122723 w 7122723"/>
              <a:gd name="connsiteY9" fmla="*/ 123367 h 469167"/>
              <a:gd name="connsiteX0" fmla="*/ 0 w 7122723"/>
              <a:gd name="connsiteY0" fmla="*/ 168028 h 287490"/>
              <a:gd name="connsiteX1" fmla="*/ 877476 w 7122723"/>
              <a:gd name="connsiteY1" fmla="*/ 167458 h 287490"/>
              <a:gd name="connsiteX2" fmla="*/ 1750564 w 7122723"/>
              <a:gd name="connsiteY2" fmla="*/ 203217 h 287490"/>
              <a:gd name="connsiteX3" fmla="*/ 2489682 w 7122723"/>
              <a:gd name="connsiteY3" fmla="*/ 268787 h 287490"/>
              <a:gd name="connsiteX4" fmla="*/ 3288176 w 7122723"/>
              <a:gd name="connsiteY4" fmla="*/ 280078 h 287490"/>
              <a:gd name="connsiteX5" fmla="*/ 4006399 w 7122723"/>
              <a:gd name="connsiteY5" fmla="*/ 279846 h 287490"/>
              <a:gd name="connsiteX6" fmla="*/ 4709098 w 7122723"/>
              <a:gd name="connsiteY6" fmla="*/ 230888 h 287490"/>
              <a:gd name="connsiteX7" fmla="*/ 5555183 w 7122723"/>
              <a:gd name="connsiteY7" fmla="*/ 116611 h 287490"/>
              <a:gd name="connsiteX8" fmla="*/ 6472494 w 7122723"/>
              <a:gd name="connsiteY8" fmla="*/ 616 h 287490"/>
              <a:gd name="connsiteX9" fmla="*/ 7122723 w 7122723"/>
              <a:gd name="connsiteY9" fmla="*/ 123367 h 287490"/>
              <a:gd name="connsiteX0" fmla="*/ 0 w 7122723"/>
              <a:gd name="connsiteY0" fmla="*/ 168028 h 289109"/>
              <a:gd name="connsiteX1" fmla="*/ 877476 w 7122723"/>
              <a:gd name="connsiteY1" fmla="*/ 167458 h 289109"/>
              <a:gd name="connsiteX2" fmla="*/ 1750564 w 7122723"/>
              <a:gd name="connsiteY2" fmla="*/ 203217 h 289109"/>
              <a:gd name="connsiteX3" fmla="*/ 2489682 w 7122723"/>
              <a:gd name="connsiteY3" fmla="*/ 268787 h 289109"/>
              <a:gd name="connsiteX4" fmla="*/ 3288176 w 7122723"/>
              <a:gd name="connsiteY4" fmla="*/ 280078 h 289109"/>
              <a:gd name="connsiteX5" fmla="*/ 4006399 w 7122723"/>
              <a:gd name="connsiteY5" fmla="*/ 279846 h 289109"/>
              <a:gd name="connsiteX6" fmla="*/ 4723016 w 7122723"/>
              <a:gd name="connsiteY6" fmla="*/ 203879 h 289109"/>
              <a:gd name="connsiteX7" fmla="*/ 5555183 w 7122723"/>
              <a:gd name="connsiteY7" fmla="*/ 116611 h 289109"/>
              <a:gd name="connsiteX8" fmla="*/ 6472494 w 7122723"/>
              <a:gd name="connsiteY8" fmla="*/ 616 h 289109"/>
              <a:gd name="connsiteX9" fmla="*/ 7122723 w 7122723"/>
              <a:gd name="connsiteY9" fmla="*/ 123367 h 289109"/>
              <a:gd name="connsiteX0" fmla="*/ 0 w 7122723"/>
              <a:gd name="connsiteY0" fmla="*/ 168028 h 285041"/>
              <a:gd name="connsiteX1" fmla="*/ 877476 w 7122723"/>
              <a:gd name="connsiteY1" fmla="*/ 167458 h 285041"/>
              <a:gd name="connsiteX2" fmla="*/ 1750564 w 7122723"/>
              <a:gd name="connsiteY2" fmla="*/ 203217 h 285041"/>
              <a:gd name="connsiteX3" fmla="*/ 2489682 w 7122723"/>
              <a:gd name="connsiteY3" fmla="*/ 268787 h 285041"/>
              <a:gd name="connsiteX4" fmla="*/ 3288176 w 7122723"/>
              <a:gd name="connsiteY4" fmla="*/ 280078 h 285041"/>
              <a:gd name="connsiteX5" fmla="*/ 4006399 w 7122723"/>
              <a:gd name="connsiteY5" fmla="*/ 279846 h 285041"/>
              <a:gd name="connsiteX6" fmla="*/ 4729975 w 7122723"/>
              <a:gd name="connsiteY6" fmla="*/ 284906 h 285041"/>
              <a:gd name="connsiteX7" fmla="*/ 5555183 w 7122723"/>
              <a:gd name="connsiteY7" fmla="*/ 116611 h 285041"/>
              <a:gd name="connsiteX8" fmla="*/ 6472494 w 7122723"/>
              <a:gd name="connsiteY8" fmla="*/ 616 h 285041"/>
              <a:gd name="connsiteX9" fmla="*/ 7122723 w 7122723"/>
              <a:gd name="connsiteY9" fmla="*/ 123367 h 285041"/>
              <a:gd name="connsiteX0" fmla="*/ 0 w 7122723"/>
              <a:gd name="connsiteY0" fmla="*/ 167667 h 284680"/>
              <a:gd name="connsiteX1" fmla="*/ 877476 w 7122723"/>
              <a:gd name="connsiteY1" fmla="*/ 167097 h 284680"/>
              <a:gd name="connsiteX2" fmla="*/ 1750564 w 7122723"/>
              <a:gd name="connsiteY2" fmla="*/ 202856 h 284680"/>
              <a:gd name="connsiteX3" fmla="*/ 2489682 w 7122723"/>
              <a:gd name="connsiteY3" fmla="*/ 268426 h 284680"/>
              <a:gd name="connsiteX4" fmla="*/ 3288176 w 7122723"/>
              <a:gd name="connsiteY4" fmla="*/ 279717 h 284680"/>
              <a:gd name="connsiteX5" fmla="*/ 4006399 w 7122723"/>
              <a:gd name="connsiteY5" fmla="*/ 279485 h 284680"/>
              <a:gd name="connsiteX6" fmla="*/ 4729975 w 7122723"/>
              <a:gd name="connsiteY6" fmla="*/ 284545 h 284680"/>
              <a:gd name="connsiteX7" fmla="*/ 5583019 w 7122723"/>
              <a:gd name="connsiteY7" fmla="*/ 278302 h 284680"/>
              <a:gd name="connsiteX8" fmla="*/ 6472494 w 7122723"/>
              <a:gd name="connsiteY8" fmla="*/ 255 h 284680"/>
              <a:gd name="connsiteX9" fmla="*/ 7122723 w 7122723"/>
              <a:gd name="connsiteY9" fmla="*/ 123006 h 284680"/>
              <a:gd name="connsiteX0" fmla="*/ 0 w 7122723"/>
              <a:gd name="connsiteY0" fmla="*/ 45417 h 162430"/>
              <a:gd name="connsiteX1" fmla="*/ 877476 w 7122723"/>
              <a:gd name="connsiteY1" fmla="*/ 44847 h 162430"/>
              <a:gd name="connsiteX2" fmla="*/ 1750564 w 7122723"/>
              <a:gd name="connsiteY2" fmla="*/ 80606 h 162430"/>
              <a:gd name="connsiteX3" fmla="*/ 2489682 w 7122723"/>
              <a:gd name="connsiteY3" fmla="*/ 146176 h 162430"/>
              <a:gd name="connsiteX4" fmla="*/ 3288176 w 7122723"/>
              <a:gd name="connsiteY4" fmla="*/ 157467 h 162430"/>
              <a:gd name="connsiteX5" fmla="*/ 4006399 w 7122723"/>
              <a:gd name="connsiteY5" fmla="*/ 157235 h 162430"/>
              <a:gd name="connsiteX6" fmla="*/ 4729975 w 7122723"/>
              <a:gd name="connsiteY6" fmla="*/ 162295 h 162430"/>
              <a:gd name="connsiteX7" fmla="*/ 5583019 w 7122723"/>
              <a:gd name="connsiteY7" fmla="*/ 156052 h 162430"/>
              <a:gd name="connsiteX8" fmla="*/ 6416822 w 7122723"/>
              <a:gd name="connsiteY8" fmla="*/ 121081 h 162430"/>
              <a:gd name="connsiteX9" fmla="*/ 7122723 w 7122723"/>
              <a:gd name="connsiteY9" fmla="*/ 756 h 162430"/>
              <a:gd name="connsiteX0" fmla="*/ 0 w 7122723"/>
              <a:gd name="connsiteY0" fmla="*/ 45300 h 162313"/>
              <a:gd name="connsiteX1" fmla="*/ 877476 w 7122723"/>
              <a:gd name="connsiteY1" fmla="*/ 44730 h 162313"/>
              <a:gd name="connsiteX2" fmla="*/ 1750564 w 7122723"/>
              <a:gd name="connsiteY2" fmla="*/ 80489 h 162313"/>
              <a:gd name="connsiteX3" fmla="*/ 2489682 w 7122723"/>
              <a:gd name="connsiteY3" fmla="*/ 146059 h 162313"/>
              <a:gd name="connsiteX4" fmla="*/ 3288176 w 7122723"/>
              <a:gd name="connsiteY4" fmla="*/ 157350 h 162313"/>
              <a:gd name="connsiteX5" fmla="*/ 4006399 w 7122723"/>
              <a:gd name="connsiteY5" fmla="*/ 157118 h 162313"/>
              <a:gd name="connsiteX6" fmla="*/ 4729975 w 7122723"/>
              <a:gd name="connsiteY6" fmla="*/ 162178 h 162313"/>
              <a:gd name="connsiteX7" fmla="*/ 5583019 w 7122723"/>
              <a:gd name="connsiteY7" fmla="*/ 155935 h 162313"/>
              <a:gd name="connsiteX8" fmla="*/ 6361151 w 7122723"/>
              <a:gd name="connsiteY8" fmla="*/ 147973 h 162313"/>
              <a:gd name="connsiteX9" fmla="*/ 7122723 w 7122723"/>
              <a:gd name="connsiteY9" fmla="*/ 639 h 162313"/>
              <a:gd name="connsiteX0" fmla="*/ 0 w 7129682"/>
              <a:gd name="connsiteY0" fmla="*/ 4954 h 149354"/>
              <a:gd name="connsiteX1" fmla="*/ 877476 w 7129682"/>
              <a:gd name="connsiteY1" fmla="*/ 4384 h 149354"/>
              <a:gd name="connsiteX2" fmla="*/ 1750564 w 7129682"/>
              <a:gd name="connsiteY2" fmla="*/ 40143 h 149354"/>
              <a:gd name="connsiteX3" fmla="*/ 2489682 w 7129682"/>
              <a:gd name="connsiteY3" fmla="*/ 105713 h 149354"/>
              <a:gd name="connsiteX4" fmla="*/ 3288176 w 7129682"/>
              <a:gd name="connsiteY4" fmla="*/ 117004 h 149354"/>
              <a:gd name="connsiteX5" fmla="*/ 4006399 w 7129682"/>
              <a:gd name="connsiteY5" fmla="*/ 116772 h 149354"/>
              <a:gd name="connsiteX6" fmla="*/ 4729975 w 7129682"/>
              <a:gd name="connsiteY6" fmla="*/ 121832 h 149354"/>
              <a:gd name="connsiteX7" fmla="*/ 5583019 w 7129682"/>
              <a:gd name="connsiteY7" fmla="*/ 115589 h 149354"/>
              <a:gd name="connsiteX8" fmla="*/ 6361151 w 7129682"/>
              <a:gd name="connsiteY8" fmla="*/ 107627 h 149354"/>
              <a:gd name="connsiteX9" fmla="*/ 7129682 w 7129682"/>
              <a:gd name="connsiteY9" fmla="*/ 149354 h 149354"/>
              <a:gd name="connsiteX0" fmla="*/ 0 w 7122723"/>
              <a:gd name="connsiteY0" fmla="*/ 168639 h 168639"/>
              <a:gd name="connsiteX1" fmla="*/ 870517 w 7122723"/>
              <a:gd name="connsiteY1" fmla="*/ 6020 h 168639"/>
              <a:gd name="connsiteX2" fmla="*/ 1743605 w 7122723"/>
              <a:gd name="connsiteY2" fmla="*/ 41779 h 168639"/>
              <a:gd name="connsiteX3" fmla="*/ 2482723 w 7122723"/>
              <a:gd name="connsiteY3" fmla="*/ 107349 h 168639"/>
              <a:gd name="connsiteX4" fmla="*/ 3281217 w 7122723"/>
              <a:gd name="connsiteY4" fmla="*/ 118640 h 168639"/>
              <a:gd name="connsiteX5" fmla="*/ 3999440 w 7122723"/>
              <a:gd name="connsiteY5" fmla="*/ 118408 h 168639"/>
              <a:gd name="connsiteX6" fmla="*/ 4723016 w 7122723"/>
              <a:gd name="connsiteY6" fmla="*/ 123468 h 168639"/>
              <a:gd name="connsiteX7" fmla="*/ 5576060 w 7122723"/>
              <a:gd name="connsiteY7" fmla="*/ 117225 h 168639"/>
              <a:gd name="connsiteX8" fmla="*/ 6354192 w 7122723"/>
              <a:gd name="connsiteY8" fmla="*/ 109263 h 168639"/>
              <a:gd name="connsiteX9" fmla="*/ 7122723 w 7122723"/>
              <a:gd name="connsiteY9" fmla="*/ 150990 h 168639"/>
              <a:gd name="connsiteX0" fmla="*/ 0 w 7122723"/>
              <a:gd name="connsiteY0" fmla="*/ 126886 h 126886"/>
              <a:gd name="connsiteX1" fmla="*/ 877476 w 7122723"/>
              <a:gd name="connsiteY1" fmla="*/ 72300 h 126886"/>
              <a:gd name="connsiteX2" fmla="*/ 1743605 w 7122723"/>
              <a:gd name="connsiteY2" fmla="*/ 26 h 126886"/>
              <a:gd name="connsiteX3" fmla="*/ 2482723 w 7122723"/>
              <a:gd name="connsiteY3" fmla="*/ 65596 h 126886"/>
              <a:gd name="connsiteX4" fmla="*/ 3281217 w 7122723"/>
              <a:gd name="connsiteY4" fmla="*/ 76887 h 126886"/>
              <a:gd name="connsiteX5" fmla="*/ 3999440 w 7122723"/>
              <a:gd name="connsiteY5" fmla="*/ 76655 h 126886"/>
              <a:gd name="connsiteX6" fmla="*/ 4723016 w 7122723"/>
              <a:gd name="connsiteY6" fmla="*/ 81715 h 126886"/>
              <a:gd name="connsiteX7" fmla="*/ 5576060 w 7122723"/>
              <a:gd name="connsiteY7" fmla="*/ 75472 h 126886"/>
              <a:gd name="connsiteX8" fmla="*/ 6354192 w 7122723"/>
              <a:gd name="connsiteY8" fmla="*/ 67510 h 126886"/>
              <a:gd name="connsiteX9" fmla="*/ 7122723 w 7122723"/>
              <a:gd name="connsiteY9" fmla="*/ 109237 h 126886"/>
              <a:gd name="connsiteX0" fmla="*/ 0 w 7122723"/>
              <a:gd name="connsiteY0" fmla="*/ 132350 h 215552"/>
              <a:gd name="connsiteX1" fmla="*/ 877476 w 7122723"/>
              <a:gd name="connsiteY1" fmla="*/ 212807 h 215552"/>
              <a:gd name="connsiteX2" fmla="*/ 1743605 w 7122723"/>
              <a:gd name="connsiteY2" fmla="*/ 5490 h 215552"/>
              <a:gd name="connsiteX3" fmla="*/ 2482723 w 7122723"/>
              <a:gd name="connsiteY3" fmla="*/ 71060 h 215552"/>
              <a:gd name="connsiteX4" fmla="*/ 3281217 w 7122723"/>
              <a:gd name="connsiteY4" fmla="*/ 82351 h 215552"/>
              <a:gd name="connsiteX5" fmla="*/ 3999440 w 7122723"/>
              <a:gd name="connsiteY5" fmla="*/ 82119 h 215552"/>
              <a:gd name="connsiteX6" fmla="*/ 4723016 w 7122723"/>
              <a:gd name="connsiteY6" fmla="*/ 87179 h 215552"/>
              <a:gd name="connsiteX7" fmla="*/ 5576060 w 7122723"/>
              <a:gd name="connsiteY7" fmla="*/ 80936 h 215552"/>
              <a:gd name="connsiteX8" fmla="*/ 6354192 w 7122723"/>
              <a:gd name="connsiteY8" fmla="*/ 72974 h 215552"/>
              <a:gd name="connsiteX9" fmla="*/ 7122723 w 7122723"/>
              <a:gd name="connsiteY9" fmla="*/ 114701 h 215552"/>
              <a:gd name="connsiteX0" fmla="*/ 0 w 7122723"/>
              <a:gd name="connsiteY0" fmla="*/ 127388 h 127388"/>
              <a:gd name="connsiteX1" fmla="*/ 877476 w 7122723"/>
              <a:gd name="connsiteY1" fmla="*/ 99811 h 127388"/>
              <a:gd name="connsiteX2" fmla="*/ 1743605 w 7122723"/>
              <a:gd name="connsiteY2" fmla="*/ 528 h 127388"/>
              <a:gd name="connsiteX3" fmla="*/ 2482723 w 7122723"/>
              <a:gd name="connsiteY3" fmla="*/ 66098 h 127388"/>
              <a:gd name="connsiteX4" fmla="*/ 3281217 w 7122723"/>
              <a:gd name="connsiteY4" fmla="*/ 77389 h 127388"/>
              <a:gd name="connsiteX5" fmla="*/ 3999440 w 7122723"/>
              <a:gd name="connsiteY5" fmla="*/ 77157 h 127388"/>
              <a:gd name="connsiteX6" fmla="*/ 4723016 w 7122723"/>
              <a:gd name="connsiteY6" fmla="*/ 82217 h 127388"/>
              <a:gd name="connsiteX7" fmla="*/ 5576060 w 7122723"/>
              <a:gd name="connsiteY7" fmla="*/ 75974 h 127388"/>
              <a:gd name="connsiteX8" fmla="*/ 6354192 w 7122723"/>
              <a:gd name="connsiteY8" fmla="*/ 68012 h 127388"/>
              <a:gd name="connsiteX9" fmla="*/ 7122723 w 7122723"/>
              <a:gd name="connsiteY9" fmla="*/ 109739 h 127388"/>
              <a:gd name="connsiteX0" fmla="*/ 0 w 7122723"/>
              <a:gd name="connsiteY0" fmla="*/ 80741 h 80741"/>
              <a:gd name="connsiteX1" fmla="*/ 877476 w 7122723"/>
              <a:gd name="connsiteY1" fmla="*/ 53164 h 80741"/>
              <a:gd name="connsiteX2" fmla="*/ 1757523 w 7122723"/>
              <a:gd name="connsiteY2" fmla="*/ 7896 h 80741"/>
              <a:gd name="connsiteX3" fmla="*/ 2482723 w 7122723"/>
              <a:gd name="connsiteY3" fmla="*/ 19451 h 80741"/>
              <a:gd name="connsiteX4" fmla="*/ 3281217 w 7122723"/>
              <a:gd name="connsiteY4" fmla="*/ 30742 h 80741"/>
              <a:gd name="connsiteX5" fmla="*/ 3999440 w 7122723"/>
              <a:gd name="connsiteY5" fmla="*/ 30510 h 80741"/>
              <a:gd name="connsiteX6" fmla="*/ 4723016 w 7122723"/>
              <a:gd name="connsiteY6" fmla="*/ 35570 h 80741"/>
              <a:gd name="connsiteX7" fmla="*/ 5576060 w 7122723"/>
              <a:gd name="connsiteY7" fmla="*/ 29327 h 80741"/>
              <a:gd name="connsiteX8" fmla="*/ 6354192 w 7122723"/>
              <a:gd name="connsiteY8" fmla="*/ 21365 h 80741"/>
              <a:gd name="connsiteX9" fmla="*/ 7122723 w 7122723"/>
              <a:gd name="connsiteY9" fmla="*/ 63092 h 80741"/>
              <a:gd name="connsiteX0" fmla="*/ 0 w 7115764"/>
              <a:gd name="connsiteY0" fmla="*/ 26726 h 63092"/>
              <a:gd name="connsiteX1" fmla="*/ 870517 w 7115764"/>
              <a:gd name="connsiteY1" fmla="*/ 53164 h 63092"/>
              <a:gd name="connsiteX2" fmla="*/ 1750564 w 7115764"/>
              <a:gd name="connsiteY2" fmla="*/ 7896 h 63092"/>
              <a:gd name="connsiteX3" fmla="*/ 2475764 w 7115764"/>
              <a:gd name="connsiteY3" fmla="*/ 19451 h 63092"/>
              <a:gd name="connsiteX4" fmla="*/ 3274258 w 7115764"/>
              <a:gd name="connsiteY4" fmla="*/ 30742 h 63092"/>
              <a:gd name="connsiteX5" fmla="*/ 3992481 w 7115764"/>
              <a:gd name="connsiteY5" fmla="*/ 30510 h 63092"/>
              <a:gd name="connsiteX6" fmla="*/ 4716057 w 7115764"/>
              <a:gd name="connsiteY6" fmla="*/ 35570 h 63092"/>
              <a:gd name="connsiteX7" fmla="*/ 5569101 w 7115764"/>
              <a:gd name="connsiteY7" fmla="*/ 29327 h 63092"/>
              <a:gd name="connsiteX8" fmla="*/ 6347233 w 7115764"/>
              <a:gd name="connsiteY8" fmla="*/ 21365 h 63092"/>
              <a:gd name="connsiteX9" fmla="*/ 7115764 w 7115764"/>
              <a:gd name="connsiteY9" fmla="*/ 63092 h 63092"/>
              <a:gd name="connsiteX0" fmla="*/ 0 w 7122723"/>
              <a:gd name="connsiteY0" fmla="*/ 378 h 90760"/>
              <a:gd name="connsiteX1" fmla="*/ 877476 w 7122723"/>
              <a:gd name="connsiteY1" fmla="*/ 80832 h 90760"/>
              <a:gd name="connsiteX2" fmla="*/ 1757523 w 7122723"/>
              <a:gd name="connsiteY2" fmla="*/ 35564 h 90760"/>
              <a:gd name="connsiteX3" fmla="*/ 2482723 w 7122723"/>
              <a:gd name="connsiteY3" fmla="*/ 47119 h 90760"/>
              <a:gd name="connsiteX4" fmla="*/ 3281217 w 7122723"/>
              <a:gd name="connsiteY4" fmla="*/ 58410 h 90760"/>
              <a:gd name="connsiteX5" fmla="*/ 3999440 w 7122723"/>
              <a:gd name="connsiteY5" fmla="*/ 58178 h 90760"/>
              <a:gd name="connsiteX6" fmla="*/ 4723016 w 7122723"/>
              <a:gd name="connsiteY6" fmla="*/ 63238 h 90760"/>
              <a:gd name="connsiteX7" fmla="*/ 5576060 w 7122723"/>
              <a:gd name="connsiteY7" fmla="*/ 56995 h 90760"/>
              <a:gd name="connsiteX8" fmla="*/ 6354192 w 7122723"/>
              <a:gd name="connsiteY8" fmla="*/ 49033 h 90760"/>
              <a:gd name="connsiteX9" fmla="*/ 7122723 w 7122723"/>
              <a:gd name="connsiteY9" fmla="*/ 90760 h 90760"/>
              <a:gd name="connsiteX0" fmla="*/ 0 w 7300634"/>
              <a:gd name="connsiteY0" fmla="*/ 6 h 7620121"/>
              <a:gd name="connsiteX1" fmla="*/ 1055387 w 7300634"/>
              <a:gd name="connsiteY1" fmla="*/ 7107289 h 7620121"/>
              <a:gd name="connsiteX2" fmla="*/ 1935434 w 7300634"/>
              <a:gd name="connsiteY2" fmla="*/ 7062021 h 7620121"/>
              <a:gd name="connsiteX3" fmla="*/ 2660634 w 7300634"/>
              <a:gd name="connsiteY3" fmla="*/ 7073576 h 7620121"/>
              <a:gd name="connsiteX4" fmla="*/ 3459128 w 7300634"/>
              <a:gd name="connsiteY4" fmla="*/ 7084867 h 7620121"/>
              <a:gd name="connsiteX5" fmla="*/ 4177351 w 7300634"/>
              <a:gd name="connsiteY5" fmla="*/ 7084635 h 7620121"/>
              <a:gd name="connsiteX6" fmla="*/ 4900927 w 7300634"/>
              <a:gd name="connsiteY6" fmla="*/ 7089695 h 7620121"/>
              <a:gd name="connsiteX7" fmla="*/ 5753971 w 7300634"/>
              <a:gd name="connsiteY7" fmla="*/ 7083452 h 7620121"/>
              <a:gd name="connsiteX8" fmla="*/ 6532103 w 7300634"/>
              <a:gd name="connsiteY8" fmla="*/ 7075490 h 7620121"/>
              <a:gd name="connsiteX9" fmla="*/ 7300634 w 7300634"/>
              <a:gd name="connsiteY9" fmla="*/ 7117217 h 7620121"/>
              <a:gd name="connsiteX0" fmla="*/ 0 w 7363426"/>
              <a:gd name="connsiteY0" fmla="*/ 3 h 8754375"/>
              <a:gd name="connsiteX1" fmla="*/ 1118179 w 7363426"/>
              <a:gd name="connsiteY1" fmla="*/ 8163343 h 8754375"/>
              <a:gd name="connsiteX2" fmla="*/ 1998226 w 7363426"/>
              <a:gd name="connsiteY2" fmla="*/ 8118075 h 8754375"/>
              <a:gd name="connsiteX3" fmla="*/ 2723426 w 7363426"/>
              <a:gd name="connsiteY3" fmla="*/ 8129630 h 8754375"/>
              <a:gd name="connsiteX4" fmla="*/ 3521920 w 7363426"/>
              <a:gd name="connsiteY4" fmla="*/ 8140921 h 8754375"/>
              <a:gd name="connsiteX5" fmla="*/ 4240143 w 7363426"/>
              <a:gd name="connsiteY5" fmla="*/ 8140689 h 8754375"/>
              <a:gd name="connsiteX6" fmla="*/ 4963719 w 7363426"/>
              <a:gd name="connsiteY6" fmla="*/ 8145749 h 8754375"/>
              <a:gd name="connsiteX7" fmla="*/ 5816763 w 7363426"/>
              <a:gd name="connsiteY7" fmla="*/ 8139506 h 8754375"/>
              <a:gd name="connsiteX8" fmla="*/ 6594895 w 7363426"/>
              <a:gd name="connsiteY8" fmla="*/ 8131544 h 8754375"/>
              <a:gd name="connsiteX9" fmla="*/ 7363426 w 7363426"/>
              <a:gd name="connsiteY9" fmla="*/ 8173271 h 8754375"/>
              <a:gd name="connsiteX0" fmla="*/ 0 w 7363426"/>
              <a:gd name="connsiteY0" fmla="*/ 344 h 8611528"/>
              <a:gd name="connsiteX1" fmla="*/ 867011 w 7363426"/>
              <a:gd name="connsiteY1" fmla="*/ 1421177 h 8611528"/>
              <a:gd name="connsiteX2" fmla="*/ 1998226 w 7363426"/>
              <a:gd name="connsiteY2" fmla="*/ 8118416 h 8611528"/>
              <a:gd name="connsiteX3" fmla="*/ 2723426 w 7363426"/>
              <a:gd name="connsiteY3" fmla="*/ 8129971 h 8611528"/>
              <a:gd name="connsiteX4" fmla="*/ 3521920 w 7363426"/>
              <a:gd name="connsiteY4" fmla="*/ 8141262 h 8611528"/>
              <a:gd name="connsiteX5" fmla="*/ 4240143 w 7363426"/>
              <a:gd name="connsiteY5" fmla="*/ 8141030 h 8611528"/>
              <a:gd name="connsiteX6" fmla="*/ 4963719 w 7363426"/>
              <a:gd name="connsiteY6" fmla="*/ 8146090 h 8611528"/>
              <a:gd name="connsiteX7" fmla="*/ 5816763 w 7363426"/>
              <a:gd name="connsiteY7" fmla="*/ 8139847 h 8611528"/>
              <a:gd name="connsiteX8" fmla="*/ 6594895 w 7363426"/>
              <a:gd name="connsiteY8" fmla="*/ 8131885 h 8611528"/>
              <a:gd name="connsiteX9" fmla="*/ 7363426 w 7363426"/>
              <a:gd name="connsiteY9" fmla="*/ 8173612 h 8611528"/>
              <a:gd name="connsiteX0" fmla="*/ 0 w 7363426"/>
              <a:gd name="connsiteY0" fmla="*/ 0 h 8611184"/>
              <a:gd name="connsiteX1" fmla="*/ 867011 w 7363426"/>
              <a:gd name="connsiteY1" fmla="*/ 1420833 h 8611184"/>
              <a:gd name="connsiteX2" fmla="*/ 1998226 w 7363426"/>
              <a:gd name="connsiteY2" fmla="*/ 8118072 h 8611184"/>
              <a:gd name="connsiteX3" fmla="*/ 2723426 w 7363426"/>
              <a:gd name="connsiteY3" fmla="*/ 8129627 h 8611184"/>
              <a:gd name="connsiteX4" fmla="*/ 3521920 w 7363426"/>
              <a:gd name="connsiteY4" fmla="*/ 8140918 h 8611184"/>
              <a:gd name="connsiteX5" fmla="*/ 4240143 w 7363426"/>
              <a:gd name="connsiteY5" fmla="*/ 8140686 h 8611184"/>
              <a:gd name="connsiteX6" fmla="*/ 4963719 w 7363426"/>
              <a:gd name="connsiteY6" fmla="*/ 8145746 h 8611184"/>
              <a:gd name="connsiteX7" fmla="*/ 5816763 w 7363426"/>
              <a:gd name="connsiteY7" fmla="*/ 8139503 h 8611184"/>
              <a:gd name="connsiteX8" fmla="*/ 6594895 w 7363426"/>
              <a:gd name="connsiteY8" fmla="*/ 8131541 h 8611184"/>
              <a:gd name="connsiteX9" fmla="*/ 7363426 w 7363426"/>
              <a:gd name="connsiteY9" fmla="*/ 8173268 h 8611184"/>
              <a:gd name="connsiteX0" fmla="*/ 0 w 7363426"/>
              <a:gd name="connsiteY0" fmla="*/ 0 h 8611184"/>
              <a:gd name="connsiteX1" fmla="*/ 867011 w 7363426"/>
              <a:gd name="connsiteY1" fmla="*/ 1420833 h 8611184"/>
              <a:gd name="connsiteX2" fmla="*/ 1998226 w 7363426"/>
              <a:gd name="connsiteY2" fmla="*/ 8118072 h 8611184"/>
              <a:gd name="connsiteX3" fmla="*/ 2723426 w 7363426"/>
              <a:gd name="connsiteY3" fmla="*/ 8129627 h 8611184"/>
              <a:gd name="connsiteX4" fmla="*/ 3521920 w 7363426"/>
              <a:gd name="connsiteY4" fmla="*/ 8140918 h 8611184"/>
              <a:gd name="connsiteX5" fmla="*/ 4240143 w 7363426"/>
              <a:gd name="connsiteY5" fmla="*/ 8140686 h 8611184"/>
              <a:gd name="connsiteX6" fmla="*/ 4963719 w 7363426"/>
              <a:gd name="connsiteY6" fmla="*/ 8145746 h 8611184"/>
              <a:gd name="connsiteX7" fmla="*/ 5816763 w 7363426"/>
              <a:gd name="connsiteY7" fmla="*/ 8139503 h 8611184"/>
              <a:gd name="connsiteX8" fmla="*/ 6594895 w 7363426"/>
              <a:gd name="connsiteY8" fmla="*/ 8131541 h 8611184"/>
              <a:gd name="connsiteX9" fmla="*/ 7363426 w 7363426"/>
              <a:gd name="connsiteY9" fmla="*/ 8173268 h 8611184"/>
              <a:gd name="connsiteX0" fmla="*/ 0 w 7363426"/>
              <a:gd name="connsiteY0" fmla="*/ 0 h 8173268"/>
              <a:gd name="connsiteX1" fmla="*/ 867011 w 7363426"/>
              <a:gd name="connsiteY1" fmla="*/ 1420833 h 8173268"/>
              <a:gd name="connsiteX2" fmla="*/ 1663336 w 7363426"/>
              <a:gd name="connsiteY2" fmla="*/ 421055 h 8173268"/>
              <a:gd name="connsiteX3" fmla="*/ 2723426 w 7363426"/>
              <a:gd name="connsiteY3" fmla="*/ 8129627 h 8173268"/>
              <a:gd name="connsiteX4" fmla="*/ 3521920 w 7363426"/>
              <a:gd name="connsiteY4" fmla="*/ 8140918 h 8173268"/>
              <a:gd name="connsiteX5" fmla="*/ 4240143 w 7363426"/>
              <a:gd name="connsiteY5" fmla="*/ 8140686 h 8173268"/>
              <a:gd name="connsiteX6" fmla="*/ 4963719 w 7363426"/>
              <a:gd name="connsiteY6" fmla="*/ 8145746 h 8173268"/>
              <a:gd name="connsiteX7" fmla="*/ 5816763 w 7363426"/>
              <a:gd name="connsiteY7" fmla="*/ 8139503 h 8173268"/>
              <a:gd name="connsiteX8" fmla="*/ 6594895 w 7363426"/>
              <a:gd name="connsiteY8" fmla="*/ 8131541 h 8173268"/>
              <a:gd name="connsiteX9" fmla="*/ 7363426 w 7363426"/>
              <a:gd name="connsiteY9" fmla="*/ 8173268 h 8173268"/>
              <a:gd name="connsiteX0" fmla="*/ 0 w 7363426"/>
              <a:gd name="connsiteY0" fmla="*/ 0 h 8173268"/>
              <a:gd name="connsiteX1" fmla="*/ 867011 w 7363426"/>
              <a:gd name="connsiteY1" fmla="*/ 1420833 h 8173268"/>
              <a:gd name="connsiteX2" fmla="*/ 1663336 w 7363426"/>
              <a:gd name="connsiteY2" fmla="*/ 421055 h 8173268"/>
              <a:gd name="connsiteX3" fmla="*/ 2723426 w 7363426"/>
              <a:gd name="connsiteY3" fmla="*/ 8129627 h 8173268"/>
              <a:gd name="connsiteX4" fmla="*/ 3521920 w 7363426"/>
              <a:gd name="connsiteY4" fmla="*/ 8140918 h 8173268"/>
              <a:gd name="connsiteX5" fmla="*/ 4240143 w 7363426"/>
              <a:gd name="connsiteY5" fmla="*/ 8140686 h 8173268"/>
              <a:gd name="connsiteX6" fmla="*/ 4963719 w 7363426"/>
              <a:gd name="connsiteY6" fmla="*/ 8145746 h 8173268"/>
              <a:gd name="connsiteX7" fmla="*/ 5816763 w 7363426"/>
              <a:gd name="connsiteY7" fmla="*/ 8139503 h 8173268"/>
              <a:gd name="connsiteX8" fmla="*/ 6594895 w 7363426"/>
              <a:gd name="connsiteY8" fmla="*/ 8131541 h 8173268"/>
              <a:gd name="connsiteX9" fmla="*/ 7363426 w 7363426"/>
              <a:gd name="connsiteY9" fmla="*/ 8173268 h 8173268"/>
              <a:gd name="connsiteX0" fmla="*/ 0 w 7363426"/>
              <a:gd name="connsiteY0" fmla="*/ 0 h 8173268"/>
              <a:gd name="connsiteX1" fmla="*/ 867011 w 7363426"/>
              <a:gd name="connsiteY1" fmla="*/ 1420833 h 8173268"/>
              <a:gd name="connsiteX2" fmla="*/ 1605777 w 7363426"/>
              <a:gd name="connsiteY2" fmla="*/ 278893 h 8173268"/>
              <a:gd name="connsiteX3" fmla="*/ 2723426 w 7363426"/>
              <a:gd name="connsiteY3" fmla="*/ 8129627 h 8173268"/>
              <a:gd name="connsiteX4" fmla="*/ 3521920 w 7363426"/>
              <a:gd name="connsiteY4" fmla="*/ 8140918 h 8173268"/>
              <a:gd name="connsiteX5" fmla="*/ 4240143 w 7363426"/>
              <a:gd name="connsiteY5" fmla="*/ 8140686 h 8173268"/>
              <a:gd name="connsiteX6" fmla="*/ 4963719 w 7363426"/>
              <a:gd name="connsiteY6" fmla="*/ 8145746 h 8173268"/>
              <a:gd name="connsiteX7" fmla="*/ 5816763 w 7363426"/>
              <a:gd name="connsiteY7" fmla="*/ 8139503 h 8173268"/>
              <a:gd name="connsiteX8" fmla="*/ 6594895 w 7363426"/>
              <a:gd name="connsiteY8" fmla="*/ 8131541 h 8173268"/>
              <a:gd name="connsiteX9" fmla="*/ 7363426 w 7363426"/>
              <a:gd name="connsiteY9" fmla="*/ 8173268 h 8173268"/>
              <a:gd name="connsiteX0" fmla="*/ 0 w 7363426"/>
              <a:gd name="connsiteY0" fmla="*/ 0 h 8173268"/>
              <a:gd name="connsiteX1" fmla="*/ 867011 w 7363426"/>
              <a:gd name="connsiteY1" fmla="*/ 1420833 h 8173268"/>
              <a:gd name="connsiteX2" fmla="*/ 1605777 w 7363426"/>
              <a:gd name="connsiteY2" fmla="*/ 278893 h 8173268"/>
              <a:gd name="connsiteX3" fmla="*/ 2341442 w 7363426"/>
              <a:gd name="connsiteY3" fmla="*/ 1651137 h 8173268"/>
              <a:gd name="connsiteX4" fmla="*/ 3521920 w 7363426"/>
              <a:gd name="connsiteY4" fmla="*/ 8140918 h 8173268"/>
              <a:gd name="connsiteX5" fmla="*/ 4240143 w 7363426"/>
              <a:gd name="connsiteY5" fmla="*/ 8140686 h 8173268"/>
              <a:gd name="connsiteX6" fmla="*/ 4963719 w 7363426"/>
              <a:gd name="connsiteY6" fmla="*/ 8145746 h 8173268"/>
              <a:gd name="connsiteX7" fmla="*/ 5816763 w 7363426"/>
              <a:gd name="connsiteY7" fmla="*/ 8139503 h 8173268"/>
              <a:gd name="connsiteX8" fmla="*/ 6594895 w 7363426"/>
              <a:gd name="connsiteY8" fmla="*/ 8131541 h 8173268"/>
              <a:gd name="connsiteX9" fmla="*/ 7363426 w 7363426"/>
              <a:gd name="connsiteY9" fmla="*/ 8173268 h 8173268"/>
              <a:gd name="connsiteX0" fmla="*/ 0 w 7363426"/>
              <a:gd name="connsiteY0" fmla="*/ 0 h 8173268"/>
              <a:gd name="connsiteX1" fmla="*/ 867011 w 7363426"/>
              <a:gd name="connsiteY1" fmla="*/ 1420833 h 8173268"/>
              <a:gd name="connsiteX2" fmla="*/ 1605777 w 7363426"/>
              <a:gd name="connsiteY2" fmla="*/ 278893 h 8173268"/>
              <a:gd name="connsiteX3" fmla="*/ 2341442 w 7363426"/>
              <a:gd name="connsiteY3" fmla="*/ 1651137 h 8173268"/>
              <a:gd name="connsiteX4" fmla="*/ 3521920 w 7363426"/>
              <a:gd name="connsiteY4" fmla="*/ 8140918 h 8173268"/>
              <a:gd name="connsiteX5" fmla="*/ 4240143 w 7363426"/>
              <a:gd name="connsiteY5" fmla="*/ 8140686 h 8173268"/>
              <a:gd name="connsiteX6" fmla="*/ 4963719 w 7363426"/>
              <a:gd name="connsiteY6" fmla="*/ 8145746 h 8173268"/>
              <a:gd name="connsiteX7" fmla="*/ 5816763 w 7363426"/>
              <a:gd name="connsiteY7" fmla="*/ 8139503 h 8173268"/>
              <a:gd name="connsiteX8" fmla="*/ 6594895 w 7363426"/>
              <a:gd name="connsiteY8" fmla="*/ 8131541 h 8173268"/>
              <a:gd name="connsiteX9" fmla="*/ 7363426 w 7363426"/>
              <a:gd name="connsiteY9" fmla="*/ 8173268 h 8173268"/>
              <a:gd name="connsiteX0" fmla="*/ 0 w 7363426"/>
              <a:gd name="connsiteY0" fmla="*/ 0 h 8173268"/>
              <a:gd name="connsiteX1" fmla="*/ 867011 w 7363426"/>
              <a:gd name="connsiteY1" fmla="*/ 1420833 h 8173268"/>
              <a:gd name="connsiteX2" fmla="*/ 1605777 w 7363426"/>
              <a:gd name="connsiteY2" fmla="*/ 278893 h 8173268"/>
              <a:gd name="connsiteX3" fmla="*/ 2341442 w 7363426"/>
              <a:gd name="connsiteY3" fmla="*/ 1651137 h 8173268"/>
              <a:gd name="connsiteX4" fmla="*/ 3119005 w 7363426"/>
              <a:gd name="connsiteY4" fmla="*/ 281431 h 8173268"/>
              <a:gd name="connsiteX5" fmla="*/ 4240143 w 7363426"/>
              <a:gd name="connsiteY5" fmla="*/ 8140686 h 8173268"/>
              <a:gd name="connsiteX6" fmla="*/ 4963719 w 7363426"/>
              <a:gd name="connsiteY6" fmla="*/ 8145746 h 8173268"/>
              <a:gd name="connsiteX7" fmla="*/ 5816763 w 7363426"/>
              <a:gd name="connsiteY7" fmla="*/ 8139503 h 8173268"/>
              <a:gd name="connsiteX8" fmla="*/ 6594895 w 7363426"/>
              <a:gd name="connsiteY8" fmla="*/ 8131541 h 8173268"/>
              <a:gd name="connsiteX9" fmla="*/ 7363426 w 7363426"/>
              <a:gd name="connsiteY9" fmla="*/ 8173268 h 8173268"/>
              <a:gd name="connsiteX0" fmla="*/ 0 w 7363426"/>
              <a:gd name="connsiteY0" fmla="*/ 0 h 8173268"/>
              <a:gd name="connsiteX1" fmla="*/ 867011 w 7363426"/>
              <a:gd name="connsiteY1" fmla="*/ 1420833 h 8173268"/>
              <a:gd name="connsiteX2" fmla="*/ 1605777 w 7363426"/>
              <a:gd name="connsiteY2" fmla="*/ 278893 h 8173268"/>
              <a:gd name="connsiteX3" fmla="*/ 2341442 w 7363426"/>
              <a:gd name="connsiteY3" fmla="*/ 1651137 h 8173268"/>
              <a:gd name="connsiteX4" fmla="*/ 3119005 w 7363426"/>
              <a:gd name="connsiteY4" fmla="*/ 281431 h 8173268"/>
              <a:gd name="connsiteX5" fmla="*/ 3889555 w 7363426"/>
              <a:gd name="connsiteY5" fmla="*/ 2799484 h 8173268"/>
              <a:gd name="connsiteX6" fmla="*/ 4963719 w 7363426"/>
              <a:gd name="connsiteY6" fmla="*/ 8145746 h 8173268"/>
              <a:gd name="connsiteX7" fmla="*/ 5816763 w 7363426"/>
              <a:gd name="connsiteY7" fmla="*/ 8139503 h 8173268"/>
              <a:gd name="connsiteX8" fmla="*/ 6594895 w 7363426"/>
              <a:gd name="connsiteY8" fmla="*/ 8131541 h 8173268"/>
              <a:gd name="connsiteX9" fmla="*/ 7363426 w 7363426"/>
              <a:gd name="connsiteY9" fmla="*/ 8173268 h 8173268"/>
              <a:gd name="connsiteX0" fmla="*/ 0 w 7363426"/>
              <a:gd name="connsiteY0" fmla="*/ 0 h 8173268"/>
              <a:gd name="connsiteX1" fmla="*/ 867011 w 7363426"/>
              <a:gd name="connsiteY1" fmla="*/ 1420833 h 8173268"/>
              <a:gd name="connsiteX2" fmla="*/ 1605777 w 7363426"/>
              <a:gd name="connsiteY2" fmla="*/ 278893 h 8173268"/>
              <a:gd name="connsiteX3" fmla="*/ 2341442 w 7363426"/>
              <a:gd name="connsiteY3" fmla="*/ 1651137 h 8173268"/>
              <a:gd name="connsiteX4" fmla="*/ 3119005 w 7363426"/>
              <a:gd name="connsiteY4" fmla="*/ 281431 h 8173268"/>
              <a:gd name="connsiteX5" fmla="*/ 3889555 w 7363426"/>
              <a:gd name="connsiteY5" fmla="*/ 2799484 h 8173268"/>
              <a:gd name="connsiteX6" fmla="*/ 4963719 w 7363426"/>
              <a:gd name="connsiteY6" fmla="*/ 8145746 h 8173268"/>
              <a:gd name="connsiteX7" fmla="*/ 5816763 w 7363426"/>
              <a:gd name="connsiteY7" fmla="*/ 8139503 h 8173268"/>
              <a:gd name="connsiteX8" fmla="*/ 6594895 w 7363426"/>
              <a:gd name="connsiteY8" fmla="*/ 8131541 h 8173268"/>
              <a:gd name="connsiteX9" fmla="*/ 7363426 w 7363426"/>
              <a:gd name="connsiteY9" fmla="*/ 8173268 h 8173268"/>
              <a:gd name="connsiteX0" fmla="*/ 0 w 7363426"/>
              <a:gd name="connsiteY0" fmla="*/ 0 h 8173268"/>
              <a:gd name="connsiteX1" fmla="*/ 867011 w 7363426"/>
              <a:gd name="connsiteY1" fmla="*/ 1420833 h 8173268"/>
              <a:gd name="connsiteX2" fmla="*/ 1605777 w 7363426"/>
              <a:gd name="connsiteY2" fmla="*/ 278893 h 8173268"/>
              <a:gd name="connsiteX3" fmla="*/ 2341442 w 7363426"/>
              <a:gd name="connsiteY3" fmla="*/ 1651137 h 8173268"/>
              <a:gd name="connsiteX4" fmla="*/ 3119005 w 7363426"/>
              <a:gd name="connsiteY4" fmla="*/ 281431 h 8173268"/>
              <a:gd name="connsiteX5" fmla="*/ 3889555 w 7363426"/>
              <a:gd name="connsiteY5" fmla="*/ 2799484 h 8173268"/>
              <a:gd name="connsiteX6" fmla="*/ 4963719 w 7363426"/>
              <a:gd name="connsiteY6" fmla="*/ 8145746 h 8173268"/>
              <a:gd name="connsiteX7" fmla="*/ 5816763 w 7363426"/>
              <a:gd name="connsiteY7" fmla="*/ 8139503 h 8173268"/>
              <a:gd name="connsiteX8" fmla="*/ 6594895 w 7363426"/>
              <a:gd name="connsiteY8" fmla="*/ 8131541 h 8173268"/>
              <a:gd name="connsiteX9" fmla="*/ 7363426 w 7363426"/>
              <a:gd name="connsiteY9" fmla="*/ 8173268 h 8173268"/>
              <a:gd name="connsiteX0" fmla="*/ 0 w 7363426"/>
              <a:gd name="connsiteY0" fmla="*/ 0 h 8173268"/>
              <a:gd name="connsiteX1" fmla="*/ 867011 w 7363426"/>
              <a:gd name="connsiteY1" fmla="*/ 1420833 h 8173268"/>
              <a:gd name="connsiteX2" fmla="*/ 1605777 w 7363426"/>
              <a:gd name="connsiteY2" fmla="*/ 278893 h 8173268"/>
              <a:gd name="connsiteX3" fmla="*/ 2341442 w 7363426"/>
              <a:gd name="connsiteY3" fmla="*/ 1651137 h 8173268"/>
              <a:gd name="connsiteX4" fmla="*/ 3119005 w 7363426"/>
              <a:gd name="connsiteY4" fmla="*/ 281431 h 8173268"/>
              <a:gd name="connsiteX5" fmla="*/ 3889555 w 7363426"/>
              <a:gd name="connsiteY5" fmla="*/ 2799484 h 8173268"/>
              <a:gd name="connsiteX6" fmla="*/ 4654992 w 7363426"/>
              <a:gd name="connsiteY6" fmla="*/ 1545401 h 8173268"/>
              <a:gd name="connsiteX7" fmla="*/ 5816763 w 7363426"/>
              <a:gd name="connsiteY7" fmla="*/ 8139503 h 8173268"/>
              <a:gd name="connsiteX8" fmla="*/ 6594895 w 7363426"/>
              <a:gd name="connsiteY8" fmla="*/ 8131541 h 8173268"/>
              <a:gd name="connsiteX9" fmla="*/ 7363426 w 7363426"/>
              <a:gd name="connsiteY9" fmla="*/ 8173268 h 8173268"/>
              <a:gd name="connsiteX0" fmla="*/ 0 w 7363426"/>
              <a:gd name="connsiteY0" fmla="*/ 0 h 8173268"/>
              <a:gd name="connsiteX1" fmla="*/ 867011 w 7363426"/>
              <a:gd name="connsiteY1" fmla="*/ 1420833 h 8173268"/>
              <a:gd name="connsiteX2" fmla="*/ 1605777 w 7363426"/>
              <a:gd name="connsiteY2" fmla="*/ 278893 h 8173268"/>
              <a:gd name="connsiteX3" fmla="*/ 2341442 w 7363426"/>
              <a:gd name="connsiteY3" fmla="*/ 1651137 h 8173268"/>
              <a:gd name="connsiteX4" fmla="*/ 3119005 w 7363426"/>
              <a:gd name="connsiteY4" fmla="*/ 281431 h 8173268"/>
              <a:gd name="connsiteX5" fmla="*/ 3889555 w 7363426"/>
              <a:gd name="connsiteY5" fmla="*/ 2799484 h 8173268"/>
              <a:gd name="connsiteX6" fmla="*/ 4654992 w 7363426"/>
              <a:gd name="connsiteY6" fmla="*/ 1545401 h 8173268"/>
              <a:gd name="connsiteX7" fmla="*/ 5413849 w 7363426"/>
              <a:gd name="connsiteY7" fmla="*/ 4504235 h 8173268"/>
              <a:gd name="connsiteX8" fmla="*/ 6594895 w 7363426"/>
              <a:gd name="connsiteY8" fmla="*/ 8131541 h 8173268"/>
              <a:gd name="connsiteX9" fmla="*/ 7363426 w 7363426"/>
              <a:gd name="connsiteY9" fmla="*/ 8173268 h 8173268"/>
              <a:gd name="connsiteX0" fmla="*/ 0 w 7363426"/>
              <a:gd name="connsiteY0" fmla="*/ 0 h 8173268"/>
              <a:gd name="connsiteX1" fmla="*/ 867011 w 7363426"/>
              <a:gd name="connsiteY1" fmla="*/ 1420833 h 8173268"/>
              <a:gd name="connsiteX2" fmla="*/ 1605777 w 7363426"/>
              <a:gd name="connsiteY2" fmla="*/ 278893 h 8173268"/>
              <a:gd name="connsiteX3" fmla="*/ 2341442 w 7363426"/>
              <a:gd name="connsiteY3" fmla="*/ 1651137 h 8173268"/>
              <a:gd name="connsiteX4" fmla="*/ 3119005 w 7363426"/>
              <a:gd name="connsiteY4" fmla="*/ 281431 h 8173268"/>
              <a:gd name="connsiteX5" fmla="*/ 3889555 w 7363426"/>
              <a:gd name="connsiteY5" fmla="*/ 2799484 h 8173268"/>
              <a:gd name="connsiteX6" fmla="*/ 4654992 w 7363426"/>
              <a:gd name="connsiteY6" fmla="*/ 1545401 h 8173268"/>
              <a:gd name="connsiteX7" fmla="*/ 5392918 w 7363426"/>
              <a:gd name="connsiteY7" fmla="*/ 4158987 h 8173268"/>
              <a:gd name="connsiteX8" fmla="*/ 6594895 w 7363426"/>
              <a:gd name="connsiteY8" fmla="*/ 8131541 h 8173268"/>
              <a:gd name="connsiteX9" fmla="*/ 7363426 w 7363426"/>
              <a:gd name="connsiteY9" fmla="*/ 8173268 h 8173268"/>
              <a:gd name="connsiteX0" fmla="*/ 0 w 7363426"/>
              <a:gd name="connsiteY0" fmla="*/ 0 h 8173268"/>
              <a:gd name="connsiteX1" fmla="*/ 867011 w 7363426"/>
              <a:gd name="connsiteY1" fmla="*/ 1420833 h 8173268"/>
              <a:gd name="connsiteX2" fmla="*/ 1605777 w 7363426"/>
              <a:gd name="connsiteY2" fmla="*/ 278893 h 8173268"/>
              <a:gd name="connsiteX3" fmla="*/ 2341442 w 7363426"/>
              <a:gd name="connsiteY3" fmla="*/ 1651137 h 8173268"/>
              <a:gd name="connsiteX4" fmla="*/ 3119005 w 7363426"/>
              <a:gd name="connsiteY4" fmla="*/ 281431 h 8173268"/>
              <a:gd name="connsiteX5" fmla="*/ 3889555 w 7363426"/>
              <a:gd name="connsiteY5" fmla="*/ 2799484 h 8173268"/>
              <a:gd name="connsiteX6" fmla="*/ 4654992 w 7363426"/>
              <a:gd name="connsiteY6" fmla="*/ 1545401 h 8173268"/>
              <a:gd name="connsiteX7" fmla="*/ 5392918 w 7363426"/>
              <a:gd name="connsiteY7" fmla="*/ 4158987 h 8173268"/>
              <a:gd name="connsiteX8" fmla="*/ 6191981 w 7363426"/>
              <a:gd name="connsiteY8" fmla="*/ 2242002 h 8173268"/>
              <a:gd name="connsiteX9" fmla="*/ 7363426 w 7363426"/>
              <a:gd name="connsiteY9" fmla="*/ 8173268 h 8173268"/>
              <a:gd name="connsiteX0" fmla="*/ 0 w 6918649"/>
              <a:gd name="connsiteY0" fmla="*/ 0 h 4158987"/>
              <a:gd name="connsiteX1" fmla="*/ 867011 w 6918649"/>
              <a:gd name="connsiteY1" fmla="*/ 1420833 h 4158987"/>
              <a:gd name="connsiteX2" fmla="*/ 1605777 w 6918649"/>
              <a:gd name="connsiteY2" fmla="*/ 278893 h 4158987"/>
              <a:gd name="connsiteX3" fmla="*/ 2341442 w 6918649"/>
              <a:gd name="connsiteY3" fmla="*/ 1651137 h 4158987"/>
              <a:gd name="connsiteX4" fmla="*/ 3119005 w 6918649"/>
              <a:gd name="connsiteY4" fmla="*/ 281431 h 4158987"/>
              <a:gd name="connsiteX5" fmla="*/ 3889555 w 6918649"/>
              <a:gd name="connsiteY5" fmla="*/ 2799484 h 4158987"/>
              <a:gd name="connsiteX6" fmla="*/ 4654992 w 6918649"/>
              <a:gd name="connsiteY6" fmla="*/ 1545401 h 4158987"/>
              <a:gd name="connsiteX7" fmla="*/ 5392918 w 6918649"/>
              <a:gd name="connsiteY7" fmla="*/ 4158987 h 4158987"/>
              <a:gd name="connsiteX8" fmla="*/ 6191981 w 6918649"/>
              <a:gd name="connsiteY8" fmla="*/ 2242002 h 4158987"/>
              <a:gd name="connsiteX9" fmla="*/ 6918649 w 6918649"/>
              <a:gd name="connsiteY9" fmla="*/ 1593231 h 4158987"/>
              <a:gd name="connsiteX0" fmla="*/ 0 w 6918649"/>
              <a:gd name="connsiteY0" fmla="*/ 0 h 4158987"/>
              <a:gd name="connsiteX1" fmla="*/ 867011 w 6918649"/>
              <a:gd name="connsiteY1" fmla="*/ 1420833 h 4158987"/>
              <a:gd name="connsiteX2" fmla="*/ 1605777 w 6918649"/>
              <a:gd name="connsiteY2" fmla="*/ 278893 h 4158987"/>
              <a:gd name="connsiteX3" fmla="*/ 2341442 w 6918649"/>
              <a:gd name="connsiteY3" fmla="*/ 1651137 h 4158987"/>
              <a:gd name="connsiteX4" fmla="*/ 3119005 w 6918649"/>
              <a:gd name="connsiteY4" fmla="*/ 281431 h 4158987"/>
              <a:gd name="connsiteX5" fmla="*/ 3889555 w 6918649"/>
              <a:gd name="connsiteY5" fmla="*/ 2799484 h 4158987"/>
              <a:gd name="connsiteX6" fmla="*/ 4654992 w 6918649"/>
              <a:gd name="connsiteY6" fmla="*/ 1545401 h 4158987"/>
              <a:gd name="connsiteX7" fmla="*/ 5392918 w 6918649"/>
              <a:gd name="connsiteY7" fmla="*/ 4158987 h 4158987"/>
              <a:gd name="connsiteX8" fmla="*/ 6191981 w 6918649"/>
              <a:gd name="connsiteY8" fmla="*/ 2242002 h 4158987"/>
              <a:gd name="connsiteX9" fmla="*/ 6918649 w 6918649"/>
              <a:gd name="connsiteY9" fmla="*/ 1593231 h 415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18649" h="4158987">
                <a:moveTo>
                  <a:pt x="0" y="0"/>
                </a:moveTo>
                <a:cubicBezTo>
                  <a:pt x="489664" y="724536"/>
                  <a:pt x="599382" y="1374351"/>
                  <a:pt x="867011" y="1420833"/>
                </a:cubicBezTo>
                <a:cubicBezTo>
                  <a:pt x="1134640" y="1467315"/>
                  <a:pt x="1360038" y="240509"/>
                  <a:pt x="1605777" y="278893"/>
                </a:cubicBezTo>
                <a:cubicBezTo>
                  <a:pt x="1851516" y="317277"/>
                  <a:pt x="2045066" y="1051673"/>
                  <a:pt x="2341442" y="1651137"/>
                </a:cubicBezTo>
                <a:cubicBezTo>
                  <a:pt x="2559781" y="1631493"/>
                  <a:pt x="2925205" y="288795"/>
                  <a:pt x="3119005" y="281431"/>
                </a:cubicBezTo>
                <a:cubicBezTo>
                  <a:pt x="3434332" y="293119"/>
                  <a:pt x="3644022" y="1986328"/>
                  <a:pt x="3889555" y="2799484"/>
                </a:cubicBezTo>
                <a:lnTo>
                  <a:pt x="4654992" y="1545401"/>
                </a:lnTo>
                <a:lnTo>
                  <a:pt x="5392918" y="4158987"/>
                </a:lnTo>
                <a:cubicBezTo>
                  <a:pt x="5601169" y="4140681"/>
                  <a:pt x="5990631" y="2232316"/>
                  <a:pt x="6191981" y="2242002"/>
                </a:cubicBezTo>
                <a:cubicBezTo>
                  <a:pt x="6364549" y="2248357"/>
                  <a:pt x="6666178" y="1865390"/>
                  <a:pt x="6918649" y="1593231"/>
                </a:cubicBezTo>
              </a:path>
            </a:pathLst>
          </a:custGeom>
          <a:noFill/>
          <a:ln w="136525" cap="rnd" cmpd="sng" algn="ctr">
            <a:solidFill>
              <a:srgbClr val="32E9FF"/>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78130" marR="0" lvl="0" indent="-278130" algn="l" defTabSz="1097280" rtl="0" eaLnBrk="1" fontAlgn="base" latinLnBrk="0" hangingPunct="1">
              <a:lnSpc>
                <a:spcPct val="106000"/>
              </a:lnSpc>
              <a:spcBef>
                <a:spcPct val="0"/>
              </a:spcBef>
              <a:spcAft>
                <a:spcPct val="0"/>
              </a:spcAft>
              <a:buClrTx/>
              <a:buSzTx/>
              <a:buFontTx/>
              <a:buNone/>
              <a:tabLst/>
              <a:defRPr/>
            </a:pPr>
            <a:endParaRPr kumimoji="0" lang="en-US" sz="288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0161708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Group 29"/>
          <p:cNvGraphicFramePr>
            <a:graphicFrameLocks noGrp="1"/>
          </p:cNvGraphicFramePr>
          <p:nvPr>
            <p:extLst>
              <p:ext uri="{D42A27DB-BD31-4B8C-83A1-F6EECF244321}">
                <p14:modId xmlns:p14="http://schemas.microsoft.com/office/powerpoint/2010/main" val="2171267236"/>
              </p:ext>
            </p:extLst>
          </p:nvPr>
        </p:nvGraphicFramePr>
        <p:xfrm>
          <a:off x="373085" y="881551"/>
          <a:ext cx="11445832" cy="5873728"/>
        </p:xfrm>
        <a:graphic>
          <a:graphicData uri="http://schemas.openxmlformats.org/drawingml/2006/table">
            <a:tbl>
              <a:tblPr/>
              <a:tblGrid>
                <a:gridCol w="1923228">
                  <a:extLst>
                    <a:ext uri="{9D8B030D-6E8A-4147-A177-3AD203B41FA5}">
                      <a16:colId xmlns:a16="http://schemas.microsoft.com/office/drawing/2014/main" val="20000"/>
                    </a:ext>
                  </a:extLst>
                </a:gridCol>
                <a:gridCol w="4761302">
                  <a:extLst>
                    <a:ext uri="{9D8B030D-6E8A-4147-A177-3AD203B41FA5}">
                      <a16:colId xmlns:a16="http://schemas.microsoft.com/office/drawing/2014/main" val="20001"/>
                    </a:ext>
                  </a:extLst>
                </a:gridCol>
                <a:gridCol w="4761302">
                  <a:extLst>
                    <a:ext uri="{9D8B030D-6E8A-4147-A177-3AD203B41FA5}">
                      <a16:colId xmlns:a16="http://schemas.microsoft.com/office/drawing/2014/main" val="20002"/>
                    </a:ext>
                  </a:extLst>
                </a:gridCol>
              </a:tblGrid>
              <a:tr h="374456">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900" b="1" i="0" u="none" strike="noStrike" cap="none" normalizeH="0" baseline="0" dirty="0">
                        <a:ln>
                          <a:noFill/>
                        </a:ln>
                        <a:solidFill>
                          <a:srgbClr val="002776"/>
                        </a:solidFill>
                        <a:effectLst/>
                        <a:latin typeface="+mj-lt"/>
                        <a:cs typeface="Arial" pitchFamily="34" charset="0"/>
                      </a:endParaRPr>
                    </a:p>
                  </a:txBody>
                  <a:tcPr marL="54864" marR="54864" marT="36576" marB="3657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eaLnBrk="0" hangingPunct="0">
                        <a:lnSpc>
                          <a:spcPct val="90000"/>
                        </a:lnSpc>
                        <a:buSzPct val="100000"/>
                        <a:buFont typeface="Wingdings 2" pitchFamily="18" charset="2"/>
                        <a:buNone/>
                      </a:pPr>
                      <a:r>
                        <a:rPr lang="en-US" altLang="en-US" sz="900" b="1" kern="1200" dirty="0">
                          <a:solidFill>
                            <a:schemeClr val="bg1"/>
                          </a:solidFill>
                          <a:latin typeface="+mn-lt"/>
                          <a:ea typeface="+mn-ea"/>
                          <a:cs typeface="+mn-cs"/>
                        </a:rPr>
                        <a:t>Key</a:t>
                      </a:r>
                      <a:r>
                        <a:rPr lang="en-US" altLang="en-US" sz="900" b="1" kern="1200" baseline="0" dirty="0">
                          <a:solidFill>
                            <a:schemeClr val="bg1"/>
                          </a:solidFill>
                          <a:latin typeface="+mn-lt"/>
                          <a:ea typeface="+mn-ea"/>
                          <a:cs typeface="+mn-cs"/>
                        </a:rPr>
                        <a:t> Observations</a:t>
                      </a:r>
                      <a:endParaRPr lang="en-US" altLang="en-US" sz="900" b="1" kern="1200" dirty="0">
                        <a:solidFill>
                          <a:schemeClr val="bg1"/>
                        </a:solidFill>
                        <a:latin typeface="+mn-lt"/>
                        <a:ea typeface="+mn-ea"/>
                        <a:cs typeface="+mn-cs"/>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algn="ctr" eaLnBrk="0" hangingPunct="0">
                        <a:lnSpc>
                          <a:spcPct val="90000"/>
                        </a:lnSpc>
                        <a:buSzPct val="100000"/>
                        <a:buFont typeface="Wingdings 2" pitchFamily="18" charset="2"/>
                        <a:buNone/>
                      </a:pPr>
                      <a:r>
                        <a:rPr lang="en-US" altLang="en-US" sz="900" b="1" kern="1200" dirty="0">
                          <a:solidFill>
                            <a:schemeClr val="bg1"/>
                          </a:solidFill>
                          <a:latin typeface="+mn-lt"/>
                          <a:ea typeface="+mn-ea"/>
                          <a:cs typeface="+mn-cs"/>
                        </a:rPr>
                        <a:t>Business Implica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792042">
                <a:tc>
                  <a:txBody>
                    <a:bodyPr/>
                    <a:lstStyle/>
                    <a:p>
                      <a:pPr algn="l"/>
                      <a:r>
                        <a:rPr kumimoji="0" lang="en-US" sz="900" b="1" i="0" u="none" strike="noStrike" kern="1200" cap="none" spc="0" normalizeH="0" baseline="0" noProof="0" dirty="0">
                          <a:ln>
                            <a:noFill/>
                          </a:ln>
                          <a:solidFill>
                            <a:prstClr val="white"/>
                          </a:solidFill>
                          <a:effectLst/>
                          <a:uLnTx/>
                          <a:uFillTx/>
                          <a:latin typeface="+mn-lt"/>
                          <a:ea typeface="+mn-ea"/>
                          <a:cs typeface="Arial" pitchFamily="34" charset="0"/>
                        </a:rPr>
                        <a:t>Contracting &amp; Sourcing Strategy</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0" dirty="0">
                          <a:solidFill>
                            <a:schemeClr val="tx1"/>
                          </a:solidFill>
                        </a:rPr>
                        <a:t>Has been dropped from the overall strategy to the strategy of external resources. (PSBU)</a:t>
                      </a:r>
                    </a:p>
                    <a:p>
                      <a:pPr marL="171450" indent="-171450">
                        <a:lnSpc>
                          <a:spcPct val="100000"/>
                        </a:lnSpc>
                        <a:spcBef>
                          <a:spcPts val="0"/>
                        </a:spcBef>
                        <a:buFont typeface="Arial" panose="020B0604020202020204" pitchFamily="34" charset="0"/>
                        <a:buChar char="•"/>
                      </a:pPr>
                      <a:r>
                        <a:rPr lang="en-US" sz="900" b="0" dirty="0">
                          <a:solidFill>
                            <a:schemeClr val="tx1"/>
                          </a:solidFill>
                        </a:rPr>
                        <a:t>Similar to the above. There are many areas of the process that use outsourcing. Internal design may be less expensive but may lack capacity. (M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900" dirty="0">
                          <a:solidFill>
                            <a:schemeClr val="tx1"/>
                          </a:solidFill>
                        </a:rPr>
                        <a:t>Increase the utilization ratio of external resources and optimize the resource cost.</a:t>
                      </a:r>
                      <a:endParaRPr lang="ja-JP" altLang="en-US" sz="90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74456">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Operating Model</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An operation model is defined. Capacity allows flexible use of outsourcing.</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dirty="0">
                          <a:solidFill>
                            <a:schemeClr val="tx1"/>
                          </a:solidFill>
                        </a:rPr>
                        <a:t>Would like to strengthen relationships with suppliers (vendors), but business importance is not so important</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792042">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Governance</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I have advanced level, but I can not be constant. If standardization can not be thoroughly implemented or there is a lack of tool functions. (PSBU)</a:t>
                      </a:r>
                    </a:p>
                    <a:p>
                      <a:pPr marL="171450" indent="-171450">
                        <a:lnSpc>
                          <a:spcPct val="100000"/>
                        </a:lnSpc>
                        <a:spcBef>
                          <a:spcPts val="0"/>
                        </a:spcBef>
                        <a:buFont typeface="Arial" panose="020B0604020202020204" pitchFamily="34" charset="0"/>
                        <a:buChar char="•"/>
                      </a:pPr>
                      <a:r>
                        <a:rPr lang="en-US" sz="900" b="0" baseline="0" dirty="0">
                          <a:solidFill>
                            <a:schemeClr val="tx1"/>
                          </a:solidFill>
                        </a:rPr>
                        <a:t>Each product release has a steering committee and governance is working. (M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aseline="0" dirty="0">
                          <a:solidFill>
                            <a:schemeClr val="tx1"/>
                          </a:solidFill>
                        </a:rPr>
                        <a:t>Need to strengthen relationships with partners, should be Advance, but not top of the market.</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792042">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Contract Development and Compliance</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dirty="0"/>
                        <a:t>The relationship with the partner is weak and there is no management standard. A few partners have good relationships . (MSBU)</a:t>
                      </a:r>
                    </a:p>
                    <a:p>
                      <a:pPr marL="171450" indent="-171450">
                        <a:lnSpc>
                          <a:spcPct val="100000"/>
                        </a:lnSpc>
                        <a:spcBef>
                          <a:spcPts val="0"/>
                        </a:spcBef>
                        <a:buFont typeface="Arial" panose="020B0604020202020204" pitchFamily="34" charset="0"/>
                        <a:buChar char="•"/>
                      </a:pPr>
                      <a:r>
                        <a:rPr lang="en-US" sz="900" dirty="0"/>
                        <a:t>Have a good relationship with some partners who are far away.</a:t>
                      </a:r>
                      <a:r>
                        <a:rPr lang="en-US" sz="900" baseline="0" dirty="0"/>
                        <a:t> (PSBU)</a:t>
                      </a:r>
                      <a:endParaRPr lang="en-US" sz="900" dirty="0"/>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aseline="0" dirty="0">
                          <a:solidFill>
                            <a:schemeClr val="tx1"/>
                          </a:solidFill>
                        </a:rPr>
                        <a:t>Will not become a major business risk as a document contract with a partner.</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96658287"/>
                  </a:ext>
                </a:extLst>
              </a:tr>
              <a:tr h="501765">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Performance</a:t>
                      </a:r>
                    </a:p>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Metric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There are global performance indicators but not across suppliers. There are items that can not be used in the criteria, and is room for improvement.</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Performance indicators are needed, but low priority</a:t>
                      </a:r>
                      <a:r>
                        <a:rPr lang="ja-JP" altLang="en-US" sz="900" b="0" baseline="0" dirty="0">
                          <a:solidFill>
                            <a:schemeClr val="tx1"/>
                          </a:solidFill>
                        </a:rPr>
                        <a:t> </a:t>
                      </a:r>
                      <a:r>
                        <a:rPr lang="en-US" altLang="ja-JP" sz="900" b="0" baseline="0" dirty="0">
                          <a:solidFill>
                            <a:schemeClr val="tx1"/>
                          </a:solidFill>
                        </a:rPr>
                        <a:t>than other.</a:t>
                      </a:r>
                      <a:endParaRPr lang="en-US" sz="9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3551714"/>
                  </a:ext>
                </a:extLst>
              </a:tr>
              <a:tr h="374456">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Review Proces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Started utilizing the vendor review process. Not yet applied to all.</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Low to Middle Advance up to business impact. (PSBU)</a:t>
                      </a:r>
                    </a:p>
                    <a:p>
                      <a:pPr marL="171450" indent="-171450">
                        <a:lnSpc>
                          <a:spcPct val="100000"/>
                        </a:lnSpc>
                        <a:spcBef>
                          <a:spcPts val="0"/>
                        </a:spcBef>
                        <a:buFont typeface="Arial" panose="020B0604020202020204" pitchFamily="34" charset="0"/>
                        <a:buChar char="•"/>
                      </a:pPr>
                      <a:r>
                        <a:rPr lang="en-US" sz="900" b="0" baseline="0" dirty="0">
                          <a:solidFill>
                            <a:schemeClr val="tx1"/>
                          </a:solidFill>
                        </a:rPr>
                        <a:t>Middle Advance up to business impact. (P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86354471"/>
                  </a:ext>
                </a:extLst>
              </a:tr>
              <a:tr h="501765">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Issue and Dispute Resolution Mechanism</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Requires a standardized process. It takes a lot of time to solve problems. (MSBU)</a:t>
                      </a:r>
                    </a:p>
                    <a:p>
                      <a:pPr marL="171450" indent="-171450">
                        <a:lnSpc>
                          <a:spcPct val="100000"/>
                        </a:lnSpc>
                        <a:spcBef>
                          <a:spcPts val="0"/>
                        </a:spcBef>
                        <a:buFont typeface="Arial" panose="020B0604020202020204" pitchFamily="34" charset="0"/>
                        <a:buChar char="•"/>
                      </a:pPr>
                      <a:r>
                        <a:rPr lang="en-US" sz="900" b="0" baseline="0" dirty="0">
                          <a:solidFill>
                            <a:schemeClr val="tx1"/>
                          </a:solidFill>
                        </a:rPr>
                        <a:t>There is a standardized process but it is not complete. (P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aseline="0" dirty="0">
                          <a:solidFill>
                            <a:schemeClr val="tx1"/>
                          </a:solidFill>
                        </a:rPr>
                        <a:t>An efficient standardization process is enough. Don’t have to be industry standard.</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46147242"/>
                  </a:ext>
                </a:extLst>
              </a:tr>
              <a:tr h="374456">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Tools &amp; Document Collabor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There is no tool or standardized format</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a:solidFill>
                            <a:schemeClr val="tx1"/>
                          </a:solidFill>
                        </a:rPr>
                        <a:t>Although there is a need, the priority is not high. Need to eliminate the trouble of converting to partner format.</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9054611"/>
                  </a:ext>
                </a:extLst>
              </a:tr>
              <a:tr h="374456">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Strategic Sourcing</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aseline="0" dirty="0">
                          <a:solidFill>
                            <a:schemeClr val="tx1"/>
                          </a:solidFill>
                        </a:rPr>
                        <a:t>There is a strategy for external use, but </a:t>
                      </a:r>
                      <a:r>
                        <a:rPr lang="en-US" altLang="ja-JP" sz="900" baseline="0" dirty="0">
                          <a:solidFill>
                            <a:schemeClr val="tx1"/>
                          </a:solidFill>
                        </a:rPr>
                        <a:t>not</a:t>
                      </a:r>
                      <a:r>
                        <a:rPr lang="en-US" sz="900" baseline="0" dirty="0">
                          <a:solidFill>
                            <a:schemeClr val="tx1"/>
                          </a:solidFill>
                        </a:rPr>
                        <a:t> involves other departments. (PSBU)</a:t>
                      </a:r>
                    </a:p>
                    <a:p>
                      <a:pPr marL="171450" indent="-171450">
                        <a:lnSpc>
                          <a:spcPct val="100000"/>
                        </a:lnSpc>
                        <a:spcBef>
                          <a:spcPts val="0"/>
                        </a:spcBef>
                        <a:buFont typeface="Arial" panose="020B0604020202020204" pitchFamily="34" charset="0"/>
                        <a:buChar char="•"/>
                      </a:pPr>
                      <a:r>
                        <a:rPr lang="en-US" sz="900" baseline="0" dirty="0">
                          <a:solidFill>
                            <a:schemeClr val="tx1"/>
                          </a:solidFill>
                        </a:rPr>
                        <a:t>There is a strategy, but the involvement of other departments and partners are weak. (M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High </a:t>
                      </a:r>
                      <a:r>
                        <a:rPr lang="en-US" sz="900" b="0" baseline="0" dirty="0" err="1">
                          <a:solidFill>
                            <a:schemeClr val="tx1"/>
                          </a:solidFill>
                        </a:rPr>
                        <a:t>Advance（MSBU</a:t>
                      </a:r>
                      <a:r>
                        <a:rPr lang="en-US" sz="900" b="0" baseline="0" dirty="0">
                          <a:solidFill>
                            <a:schemeClr val="tx1"/>
                          </a:solidFill>
                        </a:rPr>
                        <a:t>）</a:t>
                      </a:r>
                    </a:p>
                    <a:p>
                      <a:pPr marL="171450" indent="-171450">
                        <a:lnSpc>
                          <a:spcPct val="100000"/>
                        </a:lnSpc>
                        <a:spcBef>
                          <a:spcPts val="0"/>
                        </a:spcBef>
                        <a:buFont typeface="Arial" panose="020B0604020202020204" pitchFamily="34" charset="0"/>
                        <a:buChar char="•"/>
                      </a:pPr>
                      <a:r>
                        <a:rPr lang="en-US" sz="900" b="0" baseline="0" dirty="0">
                          <a:solidFill>
                            <a:schemeClr val="tx1"/>
                          </a:solidFill>
                        </a:rPr>
                        <a:t>Middle </a:t>
                      </a:r>
                      <a:r>
                        <a:rPr lang="en-US" sz="900" b="0" baseline="0" dirty="0" err="1">
                          <a:solidFill>
                            <a:schemeClr val="tx1"/>
                          </a:solidFill>
                        </a:rPr>
                        <a:t>Advance（PSBU</a:t>
                      </a:r>
                      <a:r>
                        <a:rPr lang="en-US" sz="900" b="0" baseline="0" dirty="0">
                          <a:solidFill>
                            <a:schemeClr val="tx1"/>
                          </a:solidFill>
                        </a:rPr>
                        <a:t>）</a:t>
                      </a:r>
                    </a:p>
                    <a:p>
                      <a:pPr marL="0" indent="0">
                        <a:lnSpc>
                          <a:spcPct val="100000"/>
                        </a:lnSpc>
                        <a:spcBef>
                          <a:spcPts val="0"/>
                        </a:spcBef>
                        <a:buFont typeface="Arial" panose="020B0604020202020204" pitchFamily="34" charset="0"/>
                        <a:buNone/>
                      </a:pPr>
                      <a:endParaRPr lang="en-US" sz="90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4600831"/>
                  </a:ext>
                </a:extLst>
              </a:tr>
              <a:tr h="374456">
                <a:tc>
                  <a:txBody>
                    <a:bodyPr/>
                    <a:lstStyle/>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Re-Sourcing</a:t>
                      </a:r>
                    </a:p>
                    <a:p>
                      <a:r>
                        <a:rPr kumimoji="0" lang="en-US" sz="900" b="1" i="0" u="none" strike="noStrike" kern="1200" cap="none" spc="0" normalizeH="0" baseline="0" dirty="0">
                          <a:ln>
                            <a:noFill/>
                          </a:ln>
                          <a:solidFill>
                            <a:prstClr val="white"/>
                          </a:solidFill>
                          <a:effectLst/>
                          <a:uLnTx/>
                          <a:uFillTx/>
                          <a:latin typeface="+mn-lt"/>
                          <a:ea typeface="+mn-ea"/>
                          <a:cs typeface="Arial" pitchFamily="34" charset="0"/>
                        </a:rPr>
                        <a:t>(Changing Supplier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sz="900" b="0" baseline="0" dirty="0">
                          <a:solidFill>
                            <a:schemeClr val="tx1"/>
                          </a:solidFill>
                        </a:rPr>
                        <a:t>It is moving towards implementation at Basic level, but it is still insufficient at the start stage. (</a:t>
                      </a:r>
                      <a:r>
                        <a:rPr lang="en-US" altLang="ja-JP" sz="900" b="0" baseline="0" dirty="0">
                          <a:solidFill>
                            <a:schemeClr val="tx1"/>
                          </a:solidFill>
                        </a:rPr>
                        <a:t>need to</a:t>
                      </a:r>
                      <a:r>
                        <a:rPr lang="en-US" sz="900" b="0" baseline="0" dirty="0">
                          <a:solidFill>
                            <a:schemeClr val="tx1"/>
                          </a:solidFill>
                        </a:rPr>
                        <a:t> consider the operation of Spread Sheet etc.)</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sz="900" baseline="0" dirty="0">
                          <a:solidFill>
                            <a:schemeClr val="tx1"/>
                          </a:solidFill>
                        </a:rPr>
                        <a:t>System and data integration required but don’t need all.</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572184056"/>
                  </a:ext>
                </a:extLst>
              </a:tr>
            </a:tbl>
          </a:graphicData>
        </a:graphic>
      </p:graphicFrame>
      <p:sp>
        <p:nvSpPr>
          <p:cNvPr id="4" name="Title 3">
            <a:extLst>
              <a:ext uri="{FF2B5EF4-FFF2-40B4-BE49-F238E27FC236}">
                <a16:creationId xmlns:a16="http://schemas.microsoft.com/office/drawing/2014/main" id="{026705D2-9A1E-4A1F-80F4-6BC1AE8E4025}"/>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lvl="0" defTabSz="914400">
              <a:defRPr/>
            </a:pPr>
            <a:r>
              <a:rPr lang="en-US" sz="2400" b="1" dirty="0">
                <a:solidFill>
                  <a:prstClr val="black"/>
                </a:solidFill>
              </a:rPr>
              <a:t>Product Development Collaboration</a:t>
            </a:r>
          </a:p>
        </p:txBody>
      </p:sp>
    </p:spTree>
    <p:extLst>
      <p:ext uri="{BB962C8B-B14F-4D97-AF65-F5344CB8AC3E}">
        <p14:creationId xmlns:p14="http://schemas.microsoft.com/office/powerpoint/2010/main" val="35295562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3592157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60" imgH="360" progId="TCLayout.ActiveDocument.1">
                  <p:embed/>
                </p:oleObj>
              </mc:Choice>
              <mc:Fallback>
                <p:oleObj name="think-cell スライド"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正方形/長方形 2"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spcBef>
                <a:spcPct val="0"/>
              </a:spcBef>
              <a:spcAft>
                <a:spcPct val="0"/>
              </a:spcAft>
              <a:buFont typeface="Wingdings 2" pitchFamily="18" charset="2"/>
              <a:buNone/>
            </a:pPr>
            <a:endParaRPr kumimoji="1" lang="en-US" altLang="ja-JP" b="1" dirty="0">
              <a:solidFill>
                <a:schemeClr val="bg1"/>
              </a:solidFill>
              <a:latin typeface="Verdana" panose="020B0604030504040204" pitchFamily="34" charset="0"/>
              <a:ea typeface="+mj-ea"/>
              <a:cs typeface="+mj-cs"/>
              <a:sym typeface="Verdana" panose="020B0604030504040204" pitchFamily="34" charset="0"/>
            </a:endParaRPr>
          </a:p>
        </p:txBody>
      </p:sp>
      <p:sp>
        <p:nvSpPr>
          <p:cNvPr id="105" name="Rectangle 91">
            <a:extLst>
              <a:ext uri="{FF2B5EF4-FFF2-40B4-BE49-F238E27FC236}">
                <a16:creationId xmlns:a16="http://schemas.microsoft.com/office/drawing/2014/main" id="{831ED43A-D54A-49C8-B9DF-CBEDFA48B67E}"/>
              </a:ext>
            </a:extLst>
          </p:cNvPr>
          <p:cNvSpPr/>
          <p:nvPr/>
        </p:nvSpPr>
        <p:spPr>
          <a:xfrm>
            <a:off x="3524485" y="6245517"/>
            <a:ext cx="1190988" cy="630942"/>
          </a:xfrm>
          <a:prstGeom prst="rect">
            <a:avLst/>
          </a:prstGeom>
        </p:spPr>
        <p:txBody>
          <a:bodyPr wrap="square">
            <a:spAutoFit/>
          </a:bodyPr>
          <a:lstStyle/>
          <a:p>
            <a:r>
              <a:rPr lang="en-US" sz="700" i="1" kern="0" dirty="0">
                <a:solidFill>
                  <a:prstClr val="black"/>
                </a:solidFill>
                <a:ea typeface="Tahoma" pitchFamily="34" charset="0"/>
                <a:cs typeface="Tahoma" pitchFamily="34" charset="0"/>
              </a:rPr>
              <a:t>*Process of ensuring the requirements captures stakeholders needs efficiently (SMART)</a:t>
            </a:r>
            <a:endParaRPr lang="en-US" sz="700" dirty="0"/>
          </a:p>
        </p:txBody>
      </p:sp>
      <p:sp>
        <p:nvSpPr>
          <p:cNvPr id="106" name="Rectangle 92">
            <a:extLst>
              <a:ext uri="{FF2B5EF4-FFF2-40B4-BE49-F238E27FC236}">
                <a16:creationId xmlns:a16="http://schemas.microsoft.com/office/drawing/2014/main" id="{3C4B6C21-AB1E-4EE3-9ED5-1801C2850002}"/>
              </a:ext>
            </a:extLst>
          </p:cNvPr>
          <p:cNvSpPr/>
          <p:nvPr/>
        </p:nvSpPr>
        <p:spPr>
          <a:xfrm>
            <a:off x="4616761" y="6245517"/>
            <a:ext cx="1190988" cy="523220"/>
          </a:xfrm>
          <a:prstGeom prst="rect">
            <a:avLst/>
          </a:prstGeom>
        </p:spPr>
        <p:txBody>
          <a:bodyPr wrap="square">
            <a:spAutoFit/>
          </a:bodyPr>
          <a:lstStyle/>
          <a:p>
            <a:r>
              <a:rPr lang="en-US" sz="700" i="1" kern="0" dirty="0">
                <a:solidFill>
                  <a:prstClr val="black"/>
                </a:solidFill>
                <a:ea typeface="Tahoma" pitchFamily="34" charset="0"/>
                <a:cs typeface="Tahoma" pitchFamily="34" charset="0"/>
              </a:rPr>
              <a:t>*Process of checking that the component meets the requirement</a:t>
            </a:r>
            <a:endParaRPr lang="en-US" sz="700" dirty="0"/>
          </a:p>
        </p:txBody>
      </p:sp>
      <p:sp>
        <p:nvSpPr>
          <p:cNvPr id="107" name="Text Box 14">
            <a:extLst>
              <a:ext uri="{FF2B5EF4-FFF2-40B4-BE49-F238E27FC236}">
                <a16:creationId xmlns:a16="http://schemas.microsoft.com/office/drawing/2014/main" id="{3EDA581D-CC28-476C-A36B-3FE4F8EE9147}"/>
              </a:ext>
            </a:extLst>
          </p:cNvPr>
          <p:cNvSpPr txBox="1">
            <a:spLocks noChangeArrowheads="1"/>
          </p:cNvSpPr>
          <p:nvPr/>
        </p:nvSpPr>
        <p:spPr bwMode="gray">
          <a:xfrm>
            <a:off x="1632547" y="5703180"/>
            <a:ext cx="930104" cy="594843"/>
          </a:xfrm>
          <a:prstGeom prst="roundRect">
            <a:avLst/>
          </a:prstGeom>
          <a:solidFill>
            <a:srgbClr val="CC0000"/>
          </a:solidFill>
          <a:ln w="12700" algn="ctr">
            <a:noFill/>
            <a:miter lim="800000"/>
            <a:headEnd/>
            <a:tailEnd/>
          </a:ln>
        </p:spPr>
        <p:txBody>
          <a:bodyPr lIns="0" tIns="0" rIns="0" bIns="0" anchor="ctr"/>
          <a:lstStyle/>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Voice </a:t>
            </a:r>
          </a:p>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Driven</a:t>
            </a:r>
          </a:p>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Requirement</a:t>
            </a:r>
          </a:p>
        </p:txBody>
      </p:sp>
      <p:sp>
        <p:nvSpPr>
          <p:cNvPr id="108" name="Text Box 18">
            <a:extLst>
              <a:ext uri="{FF2B5EF4-FFF2-40B4-BE49-F238E27FC236}">
                <a16:creationId xmlns:a16="http://schemas.microsoft.com/office/drawing/2014/main" id="{B927EB47-12FB-42A2-993F-70916E5CC3B6}"/>
              </a:ext>
            </a:extLst>
          </p:cNvPr>
          <p:cNvSpPr txBox="1">
            <a:spLocks noChangeArrowheads="1"/>
          </p:cNvSpPr>
          <p:nvPr/>
        </p:nvSpPr>
        <p:spPr bwMode="gray">
          <a:xfrm>
            <a:off x="7788193" y="5680375"/>
            <a:ext cx="930104" cy="594843"/>
          </a:xfrm>
          <a:prstGeom prst="roundRect">
            <a:avLst/>
          </a:prstGeom>
          <a:solidFill>
            <a:srgbClr val="CC0000"/>
          </a:solidFill>
          <a:ln w="12700" algn="ctr">
            <a:noFill/>
            <a:miter lim="800000"/>
            <a:headEnd/>
            <a:tailEnd/>
          </a:ln>
        </p:spPr>
        <p:txBody>
          <a:bodyPr lIns="0" tIns="0" rIns="0" bIns="0" anchor="ctr"/>
          <a:lstStyle/>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Release </a:t>
            </a:r>
          </a:p>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and </a:t>
            </a:r>
          </a:p>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Governance</a:t>
            </a:r>
          </a:p>
        </p:txBody>
      </p:sp>
      <p:sp>
        <p:nvSpPr>
          <p:cNvPr id="109" name="Text Box 22">
            <a:extLst>
              <a:ext uri="{FF2B5EF4-FFF2-40B4-BE49-F238E27FC236}">
                <a16:creationId xmlns:a16="http://schemas.microsoft.com/office/drawing/2014/main" id="{3882E8F3-3E90-480E-9E20-510A77F4F121}"/>
              </a:ext>
            </a:extLst>
          </p:cNvPr>
          <p:cNvSpPr txBox="1">
            <a:spLocks noChangeArrowheads="1"/>
          </p:cNvSpPr>
          <p:nvPr/>
        </p:nvSpPr>
        <p:spPr bwMode="gray">
          <a:xfrm>
            <a:off x="8844273" y="5680375"/>
            <a:ext cx="930104" cy="594843"/>
          </a:xfrm>
          <a:prstGeom prst="roundRect">
            <a:avLst/>
          </a:prstGeom>
          <a:solidFill>
            <a:srgbClr val="CC0000"/>
          </a:solidFill>
          <a:ln w="12700" algn="ctr">
            <a:noFill/>
            <a:miter lim="800000"/>
            <a:headEnd/>
            <a:tailEnd/>
          </a:ln>
        </p:spPr>
        <p:txBody>
          <a:bodyPr lIns="0" tIns="0" rIns="0" bIns="0" anchor="ctr"/>
          <a:lstStyle/>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Requirement Storage </a:t>
            </a:r>
          </a:p>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and </a:t>
            </a:r>
          </a:p>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Collaboration</a:t>
            </a:r>
          </a:p>
        </p:txBody>
      </p:sp>
      <p:sp>
        <p:nvSpPr>
          <p:cNvPr id="110" name="Text Box 26">
            <a:extLst>
              <a:ext uri="{FF2B5EF4-FFF2-40B4-BE49-F238E27FC236}">
                <a16:creationId xmlns:a16="http://schemas.microsoft.com/office/drawing/2014/main" id="{01B1B6D7-4A9D-458B-AB3B-4ADE620385DA}"/>
              </a:ext>
            </a:extLst>
          </p:cNvPr>
          <p:cNvSpPr txBox="1">
            <a:spLocks noChangeArrowheads="1"/>
          </p:cNvSpPr>
          <p:nvPr/>
        </p:nvSpPr>
        <p:spPr bwMode="gray">
          <a:xfrm>
            <a:off x="9859044" y="5680375"/>
            <a:ext cx="930104" cy="594843"/>
          </a:xfrm>
          <a:prstGeom prst="roundRect">
            <a:avLst/>
          </a:prstGeom>
          <a:solidFill>
            <a:srgbClr val="CC0000"/>
          </a:solidFill>
          <a:ln w="12700" algn="ctr">
            <a:noFill/>
            <a:miter lim="800000"/>
            <a:headEnd/>
            <a:tailEnd/>
          </a:ln>
        </p:spPr>
        <p:txBody>
          <a:bodyPr lIns="0" tIns="0" rIns="0" bIns="0" anchor="ctr"/>
          <a:lstStyle/>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Reuse </a:t>
            </a:r>
          </a:p>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and </a:t>
            </a:r>
          </a:p>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Standardize</a:t>
            </a:r>
          </a:p>
        </p:txBody>
      </p:sp>
      <p:sp>
        <p:nvSpPr>
          <p:cNvPr id="111" name="Text Box 4">
            <a:extLst>
              <a:ext uri="{FF2B5EF4-FFF2-40B4-BE49-F238E27FC236}">
                <a16:creationId xmlns:a16="http://schemas.microsoft.com/office/drawing/2014/main" id="{A79AC1B4-44AA-4B29-8504-C715732FD1EB}"/>
              </a:ext>
            </a:extLst>
          </p:cNvPr>
          <p:cNvSpPr txBox="1">
            <a:spLocks noChangeArrowheads="1"/>
          </p:cNvSpPr>
          <p:nvPr/>
        </p:nvSpPr>
        <p:spPr bwMode="gray">
          <a:xfrm>
            <a:off x="2629100" y="5699027"/>
            <a:ext cx="930104" cy="594843"/>
          </a:xfrm>
          <a:prstGeom prst="roundRect">
            <a:avLst/>
          </a:prstGeom>
          <a:solidFill>
            <a:srgbClr val="CC0000"/>
          </a:solidFill>
          <a:ln w="12700" algn="ctr">
            <a:noFill/>
            <a:miter lim="800000"/>
            <a:headEnd/>
            <a:tailEnd/>
          </a:ln>
        </p:spPr>
        <p:txBody>
          <a:bodyPr lIns="0" tIns="0" rIns="0" bIns="0" anchor="ctr"/>
          <a:lstStyle/>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Flow-Down</a:t>
            </a:r>
          </a:p>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 and </a:t>
            </a:r>
          </a:p>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Traceability</a:t>
            </a:r>
          </a:p>
        </p:txBody>
      </p:sp>
      <p:sp>
        <p:nvSpPr>
          <p:cNvPr id="112" name="Text Box 26">
            <a:extLst>
              <a:ext uri="{FF2B5EF4-FFF2-40B4-BE49-F238E27FC236}">
                <a16:creationId xmlns:a16="http://schemas.microsoft.com/office/drawing/2014/main" id="{CF636E4E-0FF8-4639-A50F-31A72FD86F94}"/>
              </a:ext>
            </a:extLst>
          </p:cNvPr>
          <p:cNvSpPr txBox="1">
            <a:spLocks noChangeArrowheads="1"/>
          </p:cNvSpPr>
          <p:nvPr/>
        </p:nvSpPr>
        <p:spPr bwMode="gray">
          <a:xfrm>
            <a:off x="637071" y="5703180"/>
            <a:ext cx="930104" cy="594843"/>
          </a:xfrm>
          <a:prstGeom prst="roundRect">
            <a:avLst/>
          </a:prstGeom>
          <a:solidFill>
            <a:srgbClr val="CC0000"/>
          </a:solidFill>
          <a:ln w="12700" algn="ctr">
            <a:noFill/>
            <a:miter lim="800000"/>
            <a:headEnd/>
            <a:tailEnd/>
          </a:ln>
        </p:spPr>
        <p:txBody>
          <a:bodyPr lIns="0" tIns="0" rIns="0" bIns="0" anchor="ctr"/>
          <a:lstStyle/>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Systems </a:t>
            </a:r>
          </a:p>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Engineering</a:t>
            </a:r>
          </a:p>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Approach</a:t>
            </a:r>
          </a:p>
        </p:txBody>
      </p:sp>
      <p:sp>
        <p:nvSpPr>
          <p:cNvPr id="113" name="Rectangle 7">
            <a:extLst>
              <a:ext uri="{FF2B5EF4-FFF2-40B4-BE49-F238E27FC236}">
                <a16:creationId xmlns:a16="http://schemas.microsoft.com/office/drawing/2014/main" id="{65F1D5DE-E979-4BB0-A4FA-E0DEA88FC1CD}"/>
              </a:ext>
            </a:extLst>
          </p:cNvPr>
          <p:cNvSpPr>
            <a:spLocks noChangeArrowheads="1"/>
          </p:cNvSpPr>
          <p:nvPr/>
        </p:nvSpPr>
        <p:spPr bwMode="auto">
          <a:xfrm>
            <a:off x="5724518" y="5691795"/>
            <a:ext cx="930104" cy="594843"/>
          </a:xfrm>
          <a:prstGeom prst="roundRect">
            <a:avLst/>
          </a:prstGeom>
          <a:solidFill>
            <a:srgbClr val="CC0000"/>
          </a:solidFill>
          <a:ln w="12700" algn="ctr">
            <a:noFill/>
            <a:miter lim="800000"/>
            <a:headEnd/>
            <a:tailEnd/>
          </a:ln>
        </p:spPr>
        <p:txBody>
          <a:bodyPr lIns="0" tIns="0" rIns="0" bIns="0" anchor="ctr"/>
          <a:lstStyle/>
          <a:p>
            <a:pPr algn="ctr" defTabSz="548640" eaLnBrk="0" hangingPunct="0">
              <a:lnSpc>
                <a:spcPct val="90000"/>
              </a:lnSpc>
              <a:buSzPct val="100000"/>
              <a:defRPr/>
            </a:pPr>
            <a:r>
              <a:rPr lang="en-US" sz="840" b="1" dirty="0">
                <a:solidFill>
                  <a:schemeClr val="bg1"/>
                </a:solidFill>
              </a:rPr>
              <a:t>Systems Eng. Interface Mgmt.</a:t>
            </a:r>
            <a:endParaRPr lang="en-US" sz="840" b="1" dirty="0">
              <a:solidFill>
                <a:schemeClr val="bg1"/>
              </a:solidFill>
              <a:latin typeface="+mj-lt"/>
              <a:ea typeface="Tahoma" pitchFamily="34" charset="0"/>
              <a:cs typeface="Tahoma" pitchFamily="34" charset="0"/>
            </a:endParaRPr>
          </a:p>
        </p:txBody>
      </p:sp>
      <p:sp>
        <p:nvSpPr>
          <p:cNvPr id="114" name="Rectangle 7">
            <a:extLst>
              <a:ext uri="{FF2B5EF4-FFF2-40B4-BE49-F238E27FC236}">
                <a16:creationId xmlns:a16="http://schemas.microsoft.com/office/drawing/2014/main" id="{ACCF2C89-D77C-49ED-B32A-74F7411CDE07}"/>
              </a:ext>
            </a:extLst>
          </p:cNvPr>
          <p:cNvSpPr>
            <a:spLocks noChangeArrowheads="1"/>
          </p:cNvSpPr>
          <p:nvPr/>
        </p:nvSpPr>
        <p:spPr bwMode="auto">
          <a:xfrm>
            <a:off x="6762001" y="5691795"/>
            <a:ext cx="930104" cy="594843"/>
          </a:xfrm>
          <a:prstGeom prst="roundRect">
            <a:avLst/>
          </a:prstGeom>
          <a:solidFill>
            <a:srgbClr val="CC0000"/>
          </a:solidFill>
          <a:ln w="12700" algn="ctr">
            <a:noFill/>
            <a:miter lim="800000"/>
            <a:headEnd/>
            <a:tailEnd/>
          </a:ln>
        </p:spPr>
        <p:txBody>
          <a:bodyPr lIns="0" tIns="0" rIns="0" bIns="0" anchor="ctr"/>
          <a:lstStyle/>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Design and Requirement Integration</a:t>
            </a:r>
          </a:p>
        </p:txBody>
      </p:sp>
      <p:sp>
        <p:nvSpPr>
          <p:cNvPr id="145" name="Rectangle 7">
            <a:extLst>
              <a:ext uri="{FF2B5EF4-FFF2-40B4-BE49-F238E27FC236}">
                <a16:creationId xmlns:a16="http://schemas.microsoft.com/office/drawing/2014/main" id="{ED92CFE0-87ED-4B6F-9238-59046DD06859}"/>
              </a:ext>
            </a:extLst>
          </p:cNvPr>
          <p:cNvSpPr>
            <a:spLocks noChangeArrowheads="1"/>
          </p:cNvSpPr>
          <p:nvPr/>
        </p:nvSpPr>
        <p:spPr bwMode="auto">
          <a:xfrm>
            <a:off x="4687036" y="5691795"/>
            <a:ext cx="930104" cy="594843"/>
          </a:xfrm>
          <a:prstGeom prst="roundRect">
            <a:avLst/>
          </a:prstGeom>
          <a:solidFill>
            <a:srgbClr val="CC0000"/>
          </a:solidFill>
          <a:ln w="12700" algn="ctr">
            <a:noFill/>
            <a:miter lim="800000"/>
            <a:headEnd/>
            <a:tailEnd/>
          </a:ln>
        </p:spPr>
        <p:txBody>
          <a:bodyPr lIns="0" tIns="0" rIns="0" bIns="0" anchor="ctr"/>
          <a:lstStyle/>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Verification**</a:t>
            </a:r>
          </a:p>
        </p:txBody>
      </p:sp>
      <p:sp>
        <p:nvSpPr>
          <p:cNvPr id="146" name="Rectangle 7">
            <a:extLst>
              <a:ext uri="{FF2B5EF4-FFF2-40B4-BE49-F238E27FC236}">
                <a16:creationId xmlns:a16="http://schemas.microsoft.com/office/drawing/2014/main" id="{D86E01F9-B869-47A1-B58E-49891BCA7611}"/>
              </a:ext>
            </a:extLst>
          </p:cNvPr>
          <p:cNvSpPr>
            <a:spLocks noChangeArrowheads="1"/>
          </p:cNvSpPr>
          <p:nvPr/>
        </p:nvSpPr>
        <p:spPr bwMode="auto">
          <a:xfrm>
            <a:off x="3654927" y="5691795"/>
            <a:ext cx="930104" cy="594843"/>
          </a:xfrm>
          <a:prstGeom prst="roundRect">
            <a:avLst/>
          </a:prstGeom>
          <a:solidFill>
            <a:srgbClr val="CC0000"/>
          </a:solidFill>
          <a:ln w="12700" algn="ctr">
            <a:noFill/>
            <a:miter lim="800000"/>
            <a:headEnd/>
            <a:tailEnd/>
          </a:ln>
        </p:spPr>
        <p:txBody>
          <a:bodyPr lIns="0" tIns="0" rIns="0" bIns="0" anchor="ctr"/>
          <a:lstStyle/>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Validation*</a:t>
            </a:r>
          </a:p>
        </p:txBody>
      </p:sp>
      <p:sp>
        <p:nvSpPr>
          <p:cNvPr id="147" name="Text Box 26">
            <a:extLst>
              <a:ext uri="{FF2B5EF4-FFF2-40B4-BE49-F238E27FC236}">
                <a16:creationId xmlns:a16="http://schemas.microsoft.com/office/drawing/2014/main" id="{A0BF5D29-5B2E-4CEA-BB5E-E98A60DFD538}"/>
              </a:ext>
            </a:extLst>
          </p:cNvPr>
          <p:cNvSpPr txBox="1">
            <a:spLocks noChangeArrowheads="1"/>
          </p:cNvSpPr>
          <p:nvPr/>
        </p:nvSpPr>
        <p:spPr bwMode="gray">
          <a:xfrm>
            <a:off x="10948229" y="5680375"/>
            <a:ext cx="930104" cy="594843"/>
          </a:xfrm>
          <a:prstGeom prst="roundRect">
            <a:avLst/>
          </a:prstGeom>
          <a:solidFill>
            <a:srgbClr val="CC0000"/>
          </a:solidFill>
          <a:ln w="12700" algn="ctr">
            <a:noFill/>
            <a:miter lim="800000"/>
            <a:headEnd/>
            <a:tailEnd/>
          </a:ln>
        </p:spPr>
        <p:txBody>
          <a:bodyPr lIns="0" tIns="0" rIns="0" bIns="0" anchor="ctr"/>
          <a:lstStyle/>
          <a:p>
            <a:pPr algn="ctr" defTabSz="548640" eaLnBrk="0" hangingPunct="0">
              <a:lnSpc>
                <a:spcPct val="90000"/>
              </a:lnSpc>
              <a:buSzPct val="100000"/>
              <a:defRPr/>
            </a:pPr>
            <a:r>
              <a:rPr lang="en-US" sz="840" b="1" dirty="0">
                <a:solidFill>
                  <a:srgbClr val="FFFFFF"/>
                </a:solidFill>
                <a:latin typeface="+mj-lt"/>
                <a:ea typeface="Tahoma" pitchFamily="34" charset="0"/>
                <a:cs typeface="Tahoma" pitchFamily="34" charset="0"/>
              </a:rPr>
              <a:t>Digital Product Enablement </a:t>
            </a:r>
          </a:p>
        </p:txBody>
      </p:sp>
      <p:sp>
        <p:nvSpPr>
          <p:cNvPr id="4" name="Title 3">
            <a:extLst>
              <a:ext uri="{FF2B5EF4-FFF2-40B4-BE49-F238E27FC236}">
                <a16:creationId xmlns:a16="http://schemas.microsoft.com/office/drawing/2014/main" id="{026705D2-9A1E-4A1F-80F4-6BC1AE8E4025}"/>
              </a:ext>
            </a:extLst>
          </p:cNvPr>
          <p:cNvSpPr>
            <a:spLocks noGrp="1"/>
          </p:cNvSpPr>
          <p:nvPr>
            <p:ph type="title"/>
          </p:nvPr>
        </p:nvSpPr>
        <p:spPr>
          <a:xfrm>
            <a:off x="469900" y="402587"/>
            <a:ext cx="11252200" cy="334102"/>
          </a:xfrm>
        </p:spPr>
        <p:txBody>
          <a:bodyPr/>
          <a:lstStyle/>
          <a:p>
            <a:r>
              <a:rPr lang="en-US" sz="2400" b="1" dirty="0"/>
              <a:t>Requirements Mgmt. &amp; Systems Engineering</a:t>
            </a:r>
          </a:p>
        </p:txBody>
      </p:sp>
      <p:sp>
        <p:nvSpPr>
          <p:cNvPr id="115" name="Text Box 15">
            <a:extLst>
              <a:ext uri="{FF2B5EF4-FFF2-40B4-BE49-F238E27FC236}">
                <a16:creationId xmlns:a16="http://schemas.microsoft.com/office/drawing/2014/main" id="{DDC04975-17E1-4A44-B14F-AFDB8C07E353}"/>
              </a:ext>
            </a:extLst>
          </p:cNvPr>
          <p:cNvSpPr txBox="1">
            <a:spLocks noChangeArrowheads="1"/>
          </p:cNvSpPr>
          <p:nvPr/>
        </p:nvSpPr>
        <p:spPr bwMode="gray">
          <a:xfrm>
            <a:off x="1632546" y="4314911"/>
            <a:ext cx="930104" cy="1146957"/>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Engineering driven requirements, unlinked to business strategy or roadmaps</a:t>
            </a:r>
          </a:p>
        </p:txBody>
      </p:sp>
      <p:sp>
        <p:nvSpPr>
          <p:cNvPr id="116" name="Text Box 16">
            <a:extLst>
              <a:ext uri="{FF2B5EF4-FFF2-40B4-BE49-F238E27FC236}">
                <a16:creationId xmlns:a16="http://schemas.microsoft.com/office/drawing/2014/main" id="{4E950A9F-43F2-4FEF-AFB9-E09313E0B711}"/>
              </a:ext>
            </a:extLst>
          </p:cNvPr>
          <p:cNvSpPr txBox="1">
            <a:spLocks noChangeArrowheads="1"/>
          </p:cNvSpPr>
          <p:nvPr/>
        </p:nvSpPr>
        <p:spPr bwMode="gray">
          <a:xfrm>
            <a:off x="1632547" y="1206833"/>
            <a:ext cx="930104" cy="1426244"/>
          </a:xfrm>
          <a:prstGeom prst="roundRect">
            <a:avLst/>
          </a:prstGeom>
          <a:noFill/>
          <a:ln w="19050" algn="ctr">
            <a:solidFill>
              <a:schemeClr val="tx1"/>
            </a:solidFill>
            <a:miter lim="800000"/>
            <a:headEnd/>
            <a:tailEnd/>
          </a:ln>
        </p:spPr>
        <p:txBody>
          <a:bodyPr lIns="0" tIns="0" rIns="0" bIns="0" anchor="ctr"/>
          <a:lstStyle>
            <a:defPPr>
              <a:defRPr lang="en-US"/>
            </a:defPPr>
            <a:lvl1pPr algn="ctr" eaLnBrk="0" hangingPunct="0">
              <a:lnSpc>
                <a:spcPct val="80000"/>
              </a:lnSpc>
              <a:spcBef>
                <a:spcPct val="50000"/>
              </a:spcBef>
              <a:buClr>
                <a:srgbClr val="8099CC"/>
              </a:buClr>
              <a:buSzPct val="100000"/>
              <a:buFont typeface="Monotype Sorts" pitchFamily="2" charset="2"/>
              <a:buNone/>
              <a:defRPr sz="800">
                <a:solidFill>
                  <a:srgbClr val="FFFFFF"/>
                </a:solidFill>
                <a:latin typeface="+mn-lt"/>
                <a:ea typeface="Tahoma" pitchFamily="34" charset="0"/>
                <a:cs typeface="Tahoma" pitchFamily="34" charset="0"/>
              </a:defRPr>
            </a:lvl1pPr>
          </a:lstStyle>
          <a:p>
            <a:pPr defTabSz="548640">
              <a:defRPr/>
            </a:pPr>
            <a:r>
              <a:rPr lang="en-US" altLang="en-US" dirty="0">
                <a:solidFill>
                  <a:schemeClr val="tx1"/>
                </a:solidFill>
                <a:latin typeface="+mj-lt"/>
              </a:rPr>
              <a:t>Strong collaboration with customer to define and prioritize requirements. Strong understanding of user developed through VoC, balanced to VoB and VoR</a:t>
            </a:r>
          </a:p>
        </p:txBody>
      </p:sp>
      <p:sp>
        <p:nvSpPr>
          <p:cNvPr id="117" name="Text Box 17">
            <a:extLst>
              <a:ext uri="{FF2B5EF4-FFF2-40B4-BE49-F238E27FC236}">
                <a16:creationId xmlns:a16="http://schemas.microsoft.com/office/drawing/2014/main" id="{A4B21791-D476-48AD-A421-0B1E0ED897D1}"/>
              </a:ext>
            </a:extLst>
          </p:cNvPr>
          <p:cNvSpPr txBox="1">
            <a:spLocks noChangeArrowheads="1"/>
          </p:cNvSpPr>
          <p:nvPr/>
        </p:nvSpPr>
        <p:spPr bwMode="gray">
          <a:xfrm>
            <a:off x="1632546" y="2751668"/>
            <a:ext cx="930104" cy="1322900"/>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Limited collaboration with customer, VoC/VoB/VoR analysis. Strategy and roadmaps jumpstart requirements</a:t>
            </a:r>
          </a:p>
        </p:txBody>
      </p:sp>
      <p:sp>
        <p:nvSpPr>
          <p:cNvPr id="118" name="Text Box 19">
            <a:extLst>
              <a:ext uri="{FF2B5EF4-FFF2-40B4-BE49-F238E27FC236}">
                <a16:creationId xmlns:a16="http://schemas.microsoft.com/office/drawing/2014/main" id="{BAF57C60-8D57-4F04-8215-C02066EC3D62}"/>
              </a:ext>
            </a:extLst>
          </p:cNvPr>
          <p:cNvSpPr txBox="1">
            <a:spLocks noChangeArrowheads="1"/>
          </p:cNvSpPr>
          <p:nvPr/>
        </p:nvSpPr>
        <p:spPr bwMode="gray">
          <a:xfrm>
            <a:off x="7788192" y="4314911"/>
            <a:ext cx="930104" cy="1146957"/>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Disparate, non-integrated  releases, with out-of-sync rollups. Ad-hoc change processes and inadequate analyses drive churn</a:t>
            </a:r>
          </a:p>
        </p:txBody>
      </p:sp>
      <p:sp>
        <p:nvSpPr>
          <p:cNvPr id="119" name="Text Box 20">
            <a:extLst>
              <a:ext uri="{FF2B5EF4-FFF2-40B4-BE49-F238E27FC236}">
                <a16:creationId xmlns:a16="http://schemas.microsoft.com/office/drawing/2014/main" id="{37F3D6C5-AA32-449B-9F93-C0C80BE3FB7A}"/>
              </a:ext>
            </a:extLst>
          </p:cNvPr>
          <p:cNvSpPr txBox="1">
            <a:spLocks noChangeArrowheads="1"/>
          </p:cNvSpPr>
          <p:nvPr/>
        </p:nvSpPr>
        <p:spPr bwMode="gray">
          <a:xfrm>
            <a:off x="7788192" y="1206833"/>
            <a:ext cx="930104" cy="1426244"/>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Common release process across functions / customer to synchronize flow, integration, roll-up, and execution. Changes require business case  justification</a:t>
            </a:r>
          </a:p>
        </p:txBody>
      </p:sp>
      <p:sp>
        <p:nvSpPr>
          <p:cNvPr id="120" name="Text Box 21">
            <a:extLst>
              <a:ext uri="{FF2B5EF4-FFF2-40B4-BE49-F238E27FC236}">
                <a16:creationId xmlns:a16="http://schemas.microsoft.com/office/drawing/2014/main" id="{C27CBB0A-7932-41DF-93BD-2728505B25B8}"/>
              </a:ext>
            </a:extLst>
          </p:cNvPr>
          <p:cNvSpPr txBox="1">
            <a:spLocks noChangeArrowheads="1"/>
          </p:cNvSpPr>
          <p:nvPr/>
        </p:nvSpPr>
        <p:spPr bwMode="gray">
          <a:xfrm>
            <a:off x="7788192" y="2751668"/>
            <a:ext cx="930104" cy="1322901"/>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Well-defined release criteria and metrics to track stability and growth. Engineering responsible for release</a:t>
            </a:r>
          </a:p>
        </p:txBody>
      </p:sp>
      <p:sp>
        <p:nvSpPr>
          <p:cNvPr id="121" name="Text Box 23">
            <a:extLst>
              <a:ext uri="{FF2B5EF4-FFF2-40B4-BE49-F238E27FC236}">
                <a16:creationId xmlns:a16="http://schemas.microsoft.com/office/drawing/2014/main" id="{10C5673C-DDEA-41B0-B7D8-8A4DD598EF52}"/>
              </a:ext>
            </a:extLst>
          </p:cNvPr>
          <p:cNvSpPr txBox="1">
            <a:spLocks noChangeArrowheads="1"/>
          </p:cNvSpPr>
          <p:nvPr/>
        </p:nvSpPr>
        <p:spPr bwMode="gray">
          <a:xfrm>
            <a:off x="8844272" y="4314911"/>
            <a:ext cx="930104" cy="1146957"/>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Unstructured content stored in various formats and systems. Tribal knowledge is typical. Collaboration is manual</a:t>
            </a:r>
          </a:p>
        </p:txBody>
      </p:sp>
      <p:sp>
        <p:nvSpPr>
          <p:cNvPr id="122" name="Text Box 24">
            <a:extLst>
              <a:ext uri="{FF2B5EF4-FFF2-40B4-BE49-F238E27FC236}">
                <a16:creationId xmlns:a16="http://schemas.microsoft.com/office/drawing/2014/main" id="{8DE896DF-6E0F-44AB-9CFD-126034AB8628}"/>
              </a:ext>
            </a:extLst>
          </p:cNvPr>
          <p:cNvSpPr txBox="1">
            <a:spLocks noChangeArrowheads="1"/>
          </p:cNvSpPr>
          <p:nvPr/>
        </p:nvSpPr>
        <p:spPr bwMode="gray">
          <a:xfrm>
            <a:off x="8844271" y="1206833"/>
            <a:ext cx="930104" cy="1426244"/>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Centralized and structured electronic repository for efficient mgmt.. and secure collaboration. Complete top-down, and cross-functional integration / visibility</a:t>
            </a:r>
          </a:p>
        </p:txBody>
      </p:sp>
      <p:sp>
        <p:nvSpPr>
          <p:cNvPr id="123" name="Text Box 25">
            <a:extLst>
              <a:ext uri="{FF2B5EF4-FFF2-40B4-BE49-F238E27FC236}">
                <a16:creationId xmlns:a16="http://schemas.microsoft.com/office/drawing/2014/main" id="{D6FD416F-21D1-47DA-B374-200E7013C84C}"/>
              </a:ext>
            </a:extLst>
          </p:cNvPr>
          <p:cNvSpPr txBox="1">
            <a:spLocks noChangeArrowheads="1"/>
          </p:cNvSpPr>
          <p:nvPr/>
        </p:nvSpPr>
        <p:spPr bwMode="gray">
          <a:xfrm>
            <a:off x="8844272" y="2751668"/>
            <a:ext cx="930104" cy="1322901"/>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Structured content stored in standard formats in several  intranet repositories. Automated processes to secure access and manage change</a:t>
            </a:r>
          </a:p>
        </p:txBody>
      </p:sp>
      <p:sp>
        <p:nvSpPr>
          <p:cNvPr id="124" name="Text Box 27">
            <a:extLst>
              <a:ext uri="{FF2B5EF4-FFF2-40B4-BE49-F238E27FC236}">
                <a16:creationId xmlns:a16="http://schemas.microsoft.com/office/drawing/2014/main" id="{C1FA04B6-AC96-409D-A3EE-ADA192A03B1F}"/>
              </a:ext>
            </a:extLst>
          </p:cNvPr>
          <p:cNvSpPr txBox="1">
            <a:spLocks noChangeArrowheads="1"/>
          </p:cNvSpPr>
          <p:nvPr/>
        </p:nvSpPr>
        <p:spPr bwMode="gray">
          <a:xfrm>
            <a:off x="9859043" y="4314911"/>
            <a:ext cx="930104" cy="1146957"/>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Limited use of standardized requirements or structures at individual level</a:t>
            </a:r>
          </a:p>
        </p:txBody>
      </p:sp>
      <p:sp>
        <p:nvSpPr>
          <p:cNvPr id="125" name="Text Box 28">
            <a:extLst>
              <a:ext uri="{FF2B5EF4-FFF2-40B4-BE49-F238E27FC236}">
                <a16:creationId xmlns:a16="http://schemas.microsoft.com/office/drawing/2014/main" id="{1AF03402-E18E-49A3-A3A7-3D560551451F}"/>
              </a:ext>
            </a:extLst>
          </p:cNvPr>
          <p:cNvSpPr txBox="1">
            <a:spLocks noChangeArrowheads="1"/>
          </p:cNvSpPr>
          <p:nvPr/>
        </p:nvSpPr>
        <p:spPr bwMode="gray">
          <a:xfrm>
            <a:off x="9859043" y="1206833"/>
            <a:ext cx="930104" cy="1426244"/>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Domain libraries to manage reuse of voice, requirements and designs. Standard templates and best-in-class examples drive consistency</a:t>
            </a:r>
          </a:p>
        </p:txBody>
      </p:sp>
      <p:sp>
        <p:nvSpPr>
          <p:cNvPr id="126" name="Text Box 29">
            <a:extLst>
              <a:ext uri="{FF2B5EF4-FFF2-40B4-BE49-F238E27FC236}">
                <a16:creationId xmlns:a16="http://schemas.microsoft.com/office/drawing/2014/main" id="{A50ECC72-437D-4EF6-97D0-79759EA25B9C}"/>
              </a:ext>
            </a:extLst>
          </p:cNvPr>
          <p:cNvSpPr txBox="1">
            <a:spLocks noChangeArrowheads="1"/>
          </p:cNvSpPr>
          <p:nvPr/>
        </p:nvSpPr>
        <p:spPr bwMode="gray">
          <a:xfrm>
            <a:off x="9859043" y="2751668"/>
            <a:ext cx="930104" cy="1322901"/>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Limited reuse in some functional areas. Limited capture and sharing of best practices</a:t>
            </a:r>
          </a:p>
        </p:txBody>
      </p:sp>
      <p:sp>
        <p:nvSpPr>
          <p:cNvPr id="127" name="Text Box 5">
            <a:extLst>
              <a:ext uri="{FF2B5EF4-FFF2-40B4-BE49-F238E27FC236}">
                <a16:creationId xmlns:a16="http://schemas.microsoft.com/office/drawing/2014/main" id="{C8171275-1404-4A6A-9781-659A1E91B168}"/>
              </a:ext>
            </a:extLst>
          </p:cNvPr>
          <p:cNvSpPr txBox="1">
            <a:spLocks noChangeArrowheads="1"/>
          </p:cNvSpPr>
          <p:nvPr/>
        </p:nvSpPr>
        <p:spPr bwMode="gray">
          <a:xfrm>
            <a:off x="2629099" y="4314911"/>
            <a:ext cx="930104" cy="1146957"/>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Ad-hoc decomposition and traceability to voice. Lack of clarity / priority drives “over” engineering of requirements</a:t>
            </a:r>
          </a:p>
        </p:txBody>
      </p:sp>
      <p:sp>
        <p:nvSpPr>
          <p:cNvPr id="128" name="Text Box 6">
            <a:extLst>
              <a:ext uri="{FF2B5EF4-FFF2-40B4-BE49-F238E27FC236}">
                <a16:creationId xmlns:a16="http://schemas.microsoft.com/office/drawing/2014/main" id="{22A5520D-A1AE-46B3-AAEC-DABB851E89D3}"/>
              </a:ext>
            </a:extLst>
          </p:cNvPr>
          <p:cNvSpPr txBox="1">
            <a:spLocks noChangeArrowheads="1"/>
          </p:cNvSpPr>
          <p:nvPr/>
        </p:nvSpPr>
        <p:spPr bwMode="gray">
          <a:xfrm>
            <a:off x="2629099" y="2751668"/>
            <a:ext cx="930104" cy="1322901"/>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Formal decomposition and hand-off to downstream systems. Prioritization and traceability to voice in silos</a:t>
            </a:r>
          </a:p>
        </p:txBody>
      </p:sp>
      <p:sp>
        <p:nvSpPr>
          <p:cNvPr id="129" name="Text Box 7">
            <a:extLst>
              <a:ext uri="{FF2B5EF4-FFF2-40B4-BE49-F238E27FC236}">
                <a16:creationId xmlns:a16="http://schemas.microsoft.com/office/drawing/2014/main" id="{1D72B8C5-7CAF-4B1C-A254-9D779858B647}"/>
              </a:ext>
            </a:extLst>
          </p:cNvPr>
          <p:cNvSpPr txBox="1">
            <a:spLocks noChangeArrowheads="1"/>
          </p:cNvSpPr>
          <p:nvPr/>
        </p:nvSpPr>
        <p:spPr bwMode="gray">
          <a:xfrm>
            <a:off x="2629098" y="1206833"/>
            <a:ext cx="930104" cy="1426244"/>
          </a:xfrm>
          <a:prstGeom prst="roundRect">
            <a:avLst/>
          </a:prstGeom>
          <a:noFill/>
          <a:ln w="19050" algn="ctr">
            <a:solidFill>
              <a:schemeClr val="tx1"/>
            </a:solidFill>
            <a:miter lim="800000"/>
            <a:headEnd/>
            <a:tailEnd/>
          </a:ln>
        </p:spPr>
        <p:txBody>
          <a:bodyPr lIns="0" tIns="0" rIns="0" bIns="0" anchor="ctr"/>
          <a:lstStyle/>
          <a:p>
            <a:pPr indent="-108586" algn="ctr" defTabSz="548640" eaLnBrk="0" hangingPunct="0">
              <a:lnSpc>
                <a:spcPct val="80000"/>
              </a:lnSpc>
              <a:spcBef>
                <a:spcPct val="50000"/>
              </a:spcBef>
              <a:buClr>
                <a:srgbClr val="8099CC"/>
              </a:buClr>
              <a:buSzPct val="100000"/>
              <a:defRPr/>
            </a:pPr>
            <a:r>
              <a:rPr lang="en-US" altLang="en-US" sz="800" dirty="0">
                <a:latin typeface="+mj-lt"/>
                <a:cs typeface="Tahoma" pitchFamily="34" charset="0"/>
              </a:rPr>
              <a:t>Formal requirements flow-down process across all systems, and functions. Complete up/ down stream traceability and linkage</a:t>
            </a:r>
          </a:p>
        </p:txBody>
      </p:sp>
      <p:sp>
        <p:nvSpPr>
          <p:cNvPr id="130" name="Text Box 28">
            <a:extLst>
              <a:ext uri="{FF2B5EF4-FFF2-40B4-BE49-F238E27FC236}">
                <a16:creationId xmlns:a16="http://schemas.microsoft.com/office/drawing/2014/main" id="{8B784865-DF71-48F2-94CA-8DDDA2F2A0EF}"/>
              </a:ext>
            </a:extLst>
          </p:cNvPr>
          <p:cNvSpPr txBox="1">
            <a:spLocks noChangeArrowheads="1"/>
          </p:cNvSpPr>
          <p:nvPr/>
        </p:nvSpPr>
        <p:spPr bwMode="gray">
          <a:xfrm>
            <a:off x="637070" y="1206833"/>
            <a:ext cx="930104" cy="1426244"/>
          </a:xfrm>
          <a:prstGeom prst="roundRect">
            <a:avLst/>
          </a:prstGeom>
          <a:noFill/>
          <a:ln w="19050" algn="ctr">
            <a:solidFill>
              <a:schemeClr val="tx1"/>
            </a:solidFill>
            <a:miter lim="800000"/>
            <a:headEnd/>
            <a:tailEnd/>
          </a:ln>
        </p:spPr>
        <p:txBody>
          <a:bodyPr lIns="0" tIns="0" rIns="0" bIns="0" anchor="ctr"/>
          <a:lstStyle>
            <a:defPPr>
              <a:defRPr lang="en-US"/>
            </a:defPPr>
            <a:lvl1pPr algn="ctr" eaLnBrk="0" hangingPunct="0">
              <a:lnSpc>
                <a:spcPct val="80000"/>
              </a:lnSpc>
              <a:spcBef>
                <a:spcPct val="50000"/>
              </a:spcBef>
              <a:buClr>
                <a:srgbClr val="8099CC"/>
              </a:buClr>
              <a:buSzPct val="100000"/>
              <a:buFont typeface="Monotype Sorts" pitchFamily="2" charset="2"/>
              <a:buNone/>
              <a:defRPr sz="900">
                <a:solidFill>
                  <a:srgbClr val="FFFFFF"/>
                </a:solidFill>
                <a:latin typeface="+mn-lt"/>
                <a:ea typeface="Tahoma" pitchFamily="34" charset="0"/>
                <a:cs typeface="Tahoma" pitchFamily="34" charset="0"/>
              </a:defRPr>
            </a:lvl1pPr>
          </a:lstStyle>
          <a:p>
            <a:pPr defTabSz="548640">
              <a:defRPr/>
            </a:pPr>
            <a:r>
              <a:rPr lang="en-US" altLang="en-US" sz="800" dirty="0">
                <a:solidFill>
                  <a:schemeClr val="tx1"/>
                </a:solidFill>
                <a:latin typeface="+mj-lt"/>
              </a:rPr>
              <a:t>Alignment across functions flow-down, de-composition and integration. Complete traceability across interfaces. Formal roll-up</a:t>
            </a:r>
          </a:p>
        </p:txBody>
      </p:sp>
      <p:sp>
        <p:nvSpPr>
          <p:cNvPr id="131" name="Text Box 29">
            <a:extLst>
              <a:ext uri="{FF2B5EF4-FFF2-40B4-BE49-F238E27FC236}">
                <a16:creationId xmlns:a16="http://schemas.microsoft.com/office/drawing/2014/main" id="{C7E514D5-FA05-49A7-ACEE-30B869ADAA47}"/>
              </a:ext>
            </a:extLst>
          </p:cNvPr>
          <p:cNvSpPr txBox="1">
            <a:spLocks noChangeArrowheads="1"/>
          </p:cNvSpPr>
          <p:nvPr/>
        </p:nvSpPr>
        <p:spPr bwMode="gray">
          <a:xfrm>
            <a:off x="637070" y="2751668"/>
            <a:ext cx="930104" cy="1322901"/>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Non-standard processes drive design decomposition and integration in silos. Limited traceability across interfaces. Inconsistent verification/ validation </a:t>
            </a:r>
          </a:p>
        </p:txBody>
      </p:sp>
      <p:sp>
        <p:nvSpPr>
          <p:cNvPr id="132" name="Text Box 27">
            <a:extLst>
              <a:ext uri="{FF2B5EF4-FFF2-40B4-BE49-F238E27FC236}">
                <a16:creationId xmlns:a16="http://schemas.microsoft.com/office/drawing/2014/main" id="{D470DAAF-DCB5-41D2-9611-0661068684D0}"/>
              </a:ext>
            </a:extLst>
          </p:cNvPr>
          <p:cNvSpPr txBox="1">
            <a:spLocks noChangeArrowheads="1"/>
          </p:cNvSpPr>
          <p:nvPr/>
        </p:nvSpPr>
        <p:spPr bwMode="gray">
          <a:xfrm>
            <a:off x="637070" y="4314911"/>
            <a:ext cx="930104" cy="1146957"/>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Design and verification at the component levels only. Little traceability and visibility of interfaces</a:t>
            </a:r>
          </a:p>
        </p:txBody>
      </p:sp>
      <p:sp>
        <p:nvSpPr>
          <p:cNvPr id="133" name="Rectangle 21">
            <a:extLst>
              <a:ext uri="{FF2B5EF4-FFF2-40B4-BE49-F238E27FC236}">
                <a16:creationId xmlns:a16="http://schemas.microsoft.com/office/drawing/2014/main" id="{4C1C4600-3390-458C-B44B-993C42F31CD5}"/>
              </a:ext>
            </a:extLst>
          </p:cNvPr>
          <p:cNvSpPr>
            <a:spLocks noChangeArrowheads="1"/>
          </p:cNvSpPr>
          <p:nvPr/>
        </p:nvSpPr>
        <p:spPr bwMode="auto">
          <a:xfrm>
            <a:off x="5724517" y="4314911"/>
            <a:ext cx="930104" cy="1146957"/>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00" dirty="0">
                <a:latin typeface="+mj-lt"/>
                <a:cs typeface="Tahoma" pitchFamily="34" charset="0"/>
              </a:rPr>
              <a:t>Ad-hoc integration across interfaces. Validation driven at  component levels. </a:t>
            </a:r>
          </a:p>
        </p:txBody>
      </p:sp>
      <p:sp>
        <p:nvSpPr>
          <p:cNvPr id="134" name="Rectangle 29">
            <a:extLst>
              <a:ext uri="{FF2B5EF4-FFF2-40B4-BE49-F238E27FC236}">
                <a16:creationId xmlns:a16="http://schemas.microsoft.com/office/drawing/2014/main" id="{D77A0791-03BC-48C9-9A4F-864B2B1A85C3}"/>
              </a:ext>
            </a:extLst>
          </p:cNvPr>
          <p:cNvSpPr>
            <a:spLocks noChangeArrowheads="1"/>
          </p:cNvSpPr>
          <p:nvPr/>
        </p:nvSpPr>
        <p:spPr bwMode="auto">
          <a:xfrm>
            <a:off x="5724517" y="1206833"/>
            <a:ext cx="930104" cy="1426244"/>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00" dirty="0">
                <a:latin typeface="+mj-lt"/>
                <a:cs typeface="Tahoma" pitchFamily="34" charset="0"/>
              </a:rPr>
              <a:t>Alignment across systems to enable seamless integration across interfaces. Visibility and roll-up of product attributes at all levels</a:t>
            </a:r>
          </a:p>
        </p:txBody>
      </p:sp>
      <p:sp>
        <p:nvSpPr>
          <p:cNvPr id="135" name="Rectangle 37">
            <a:extLst>
              <a:ext uri="{FF2B5EF4-FFF2-40B4-BE49-F238E27FC236}">
                <a16:creationId xmlns:a16="http://schemas.microsoft.com/office/drawing/2014/main" id="{580B5C23-9644-4722-BFE3-72F3F66379A2}"/>
              </a:ext>
            </a:extLst>
          </p:cNvPr>
          <p:cNvSpPr>
            <a:spLocks noChangeArrowheads="1"/>
          </p:cNvSpPr>
          <p:nvPr/>
        </p:nvSpPr>
        <p:spPr bwMode="auto">
          <a:xfrm>
            <a:off x="5724517" y="2751668"/>
            <a:ext cx="930104" cy="1322901"/>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00" dirty="0">
                <a:latin typeface="+mj-lt"/>
                <a:cs typeface="Tahoma" pitchFamily="34" charset="0"/>
              </a:rPr>
              <a:t>Integration across interfaces driven by non-standard processes. Limited traceability across interfaces. </a:t>
            </a:r>
          </a:p>
        </p:txBody>
      </p:sp>
      <p:sp>
        <p:nvSpPr>
          <p:cNvPr id="136" name="Rectangle 21">
            <a:extLst>
              <a:ext uri="{FF2B5EF4-FFF2-40B4-BE49-F238E27FC236}">
                <a16:creationId xmlns:a16="http://schemas.microsoft.com/office/drawing/2014/main" id="{CF8BD3D2-F6F8-4784-84AD-A5B37C5B9489}"/>
              </a:ext>
            </a:extLst>
          </p:cNvPr>
          <p:cNvSpPr>
            <a:spLocks noChangeArrowheads="1"/>
          </p:cNvSpPr>
          <p:nvPr/>
        </p:nvSpPr>
        <p:spPr bwMode="auto">
          <a:xfrm>
            <a:off x="6761999" y="4314911"/>
            <a:ext cx="930104" cy="1146957"/>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00" dirty="0">
                <a:latin typeface="+mj-lt"/>
                <a:cs typeface="Tahoma" pitchFamily="34" charset="0"/>
              </a:rPr>
              <a:t>No traceability or link to requirements, collaterals or process partners. Ad-hoc decomposition</a:t>
            </a:r>
          </a:p>
        </p:txBody>
      </p:sp>
      <p:sp>
        <p:nvSpPr>
          <p:cNvPr id="137" name="Rectangle 29">
            <a:extLst>
              <a:ext uri="{FF2B5EF4-FFF2-40B4-BE49-F238E27FC236}">
                <a16:creationId xmlns:a16="http://schemas.microsoft.com/office/drawing/2014/main" id="{6DB67B18-EFE0-4042-AEC5-E2FCECB6AC75}"/>
              </a:ext>
            </a:extLst>
          </p:cNvPr>
          <p:cNvSpPr>
            <a:spLocks noChangeArrowheads="1"/>
          </p:cNvSpPr>
          <p:nvPr/>
        </p:nvSpPr>
        <p:spPr bwMode="auto">
          <a:xfrm>
            <a:off x="6762001" y="1206833"/>
            <a:ext cx="930104" cy="1426244"/>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00" dirty="0">
                <a:latin typeface="+mj-lt"/>
                <a:cs typeface="Tahoma" pitchFamily="34" charset="0"/>
              </a:rPr>
              <a:t>Synchronized traceability and linkage to requirements, dependencies, and  collaterals. Formal design flow-down  across all systems</a:t>
            </a:r>
          </a:p>
        </p:txBody>
      </p:sp>
      <p:sp>
        <p:nvSpPr>
          <p:cNvPr id="138" name="Rectangle 37">
            <a:extLst>
              <a:ext uri="{FF2B5EF4-FFF2-40B4-BE49-F238E27FC236}">
                <a16:creationId xmlns:a16="http://schemas.microsoft.com/office/drawing/2014/main" id="{2D3FC197-5874-4206-8260-82CB108A4A78}"/>
              </a:ext>
            </a:extLst>
          </p:cNvPr>
          <p:cNvSpPr>
            <a:spLocks noChangeArrowheads="1"/>
          </p:cNvSpPr>
          <p:nvPr/>
        </p:nvSpPr>
        <p:spPr bwMode="auto">
          <a:xfrm>
            <a:off x="6761999" y="2751668"/>
            <a:ext cx="930104" cy="1322901"/>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00" dirty="0">
                <a:latin typeface="+mj-lt"/>
                <a:cs typeface="Tahoma" pitchFamily="34" charset="0"/>
              </a:rPr>
              <a:t>Static traceability to requirements, collaterals and process partners. Formally decompose requirements to design</a:t>
            </a:r>
          </a:p>
        </p:txBody>
      </p:sp>
      <p:sp>
        <p:nvSpPr>
          <p:cNvPr id="139" name="Rectangle 21">
            <a:extLst>
              <a:ext uri="{FF2B5EF4-FFF2-40B4-BE49-F238E27FC236}">
                <a16:creationId xmlns:a16="http://schemas.microsoft.com/office/drawing/2014/main" id="{76039131-C43E-4AD0-AEF9-59D687B849EA}"/>
              </a:ext>
            </a:extLst>
          </p:cNvPr>
          <p:cNvSpPr>
            <a:spLocks noChangeArrowheads="1"/>
          </p:cNvSpPr>
          <p:nvPr/>
        </p:nvSpPr>
        <p:spPr bwMode="auto">
          <a:xfrm>
            <a:off x="4687035" y="4314911"/>
            <a:ext cx="930104" cy="1146957"/>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00" dirty="0">
                <a:latin typeface="+mj-lt"/>
                <a:cs typeface="Tahoma" pitchFamily="34" charset="0"/>
              </a:rPr>
              <a:t>Verification after design only at the component level. Late discovery of errors, correction is costly </a:t>
            </a:r>
          </a:p>
        </p:txBody>
      </p:sp>
      <p:sp>
        <p:nvSpPr>
          <p:cNvPr id="140" name="Rectangle 29">
            <a:extLst>
              <a:ext uri="{FF2B5EF4-FFF2-40B4-BE49-F238E27FC236}">
                <a16:creationId xmlns:a16="http://schemas.microsoft.com/office/drawing/2014/main" id="{EFC89380-073D-4786-9001-AF142252275F}"/>
              </a:ext>
            </a:extLst>
          </p:cNvPr>
          <p:cNvSpPr>
            <a:spLocks noChangeArrowheads="1"/>
          </p:cNvSpPr>
          <p:nvPr/>
        </p:nvSpPr>
        <p:spPr bwMode="auto">
          <a:xfrm>
            <a:off x="4687035" y="1206833"/>
            <a:ext cx="930104" cy="1426244"/>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00" dirty="0">
                <a:latin typeface="+mj-lt"/>
                <a:cs typeface="Tahoma" pitchFamily="34" charset="0"/>
              </a:rPr>
              <a:t>Structured verification process. Verification methods planned early in the design phase. Simulation used for verification &amp; results linked to product data</a:t>
            </a:r>
          </a:p>
        </p:txBody>
      </p:sp>
      <p:sp>
        <p:nvSpPr>
          <p:cNvPr id="141" name="Rectangle: Rounded Corners 140">
            <a:extLst>
              <a:ext uri="{FF2B5EF4-FFF2-40B4-BE49-F238E27FC236}">
                <a16:creationId xmlns:a16="http://schemas.microsoft.com/office/drawing/2014/main" id="{66A13BF6-3F20-400D-A593-33A3CD6CBA32}"/>
              </a:ext>
            </a:extLst>
          </p:cNvPr>
          <p:cNvSpPr>
            <a:spLocks noChangeArrowheads="1"/>
          </p:cNvSpPr>
          <p:nvPr/>
        </p:nvSpPr>
        <p:spPr bwMode="auto">
          <a:xfrm>
            <a:off x="4687035" y="2751668"/>
            <a:ext cx="930104" cy="1322901"/>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00" dirty="0">
                <a:latin typeface="+mj-lt"/>
                <a:cs typeface="Tahoma" pitchFamily="34" charset="0"/>
              </a:rPr>
              <a:t>Tools for verification for some scenarios, executed manually. Minimal physical prototyping for verification. </a:t>
            </a:r>
          </a:p>
        </p:txBody>
      </p:sp>
      <p:sp>
        <p:nvSpPr>
          <p:cNvPr id="142" name="Rectangle 21">
            <a:extLst>
              <a:ext uri="{FF2B5EF4-FFF2-40B4-BE49-F238E27FC236}">
                <a16:creationId xmlns:a16="http://schemas.microsoft.com/office/drawing/2014/main" id="{8B3F0D7A-DE4C-4365-83C6-5F59F45F0F20}"/>
              </a:ext>
            </a:extLst>
          </p:cNvPr>
          <p:cNvSpPr>
            <a:spLocks noChangeArrowheads="1"/>
          </p:cNvSpPr>
          <p:nvPr/>
        </p:nvSpPr>
        <p:spPr bwMode="auto">
          <a:xfrm>
            <a:off x="3654927" y="4314911"/>
            <a:ext cx="930104" cy="1146957"/>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00" dirty="0">
                <a:latin typeface="+mj-lt"/>
                <a:cs typeface="Tahoma" pitchFamily="34" charset="0"/>
              </a:rPr>
              <a:t>Product requirements are vaguely defined. No clearly defined validation process. </a:t>
            </a:r>
          </a:p>
        </p:txBody>
      </p:sp>
      <p:sp>
        <p:nvSpPr>
          <p:cNvPr id="143" name="Rectangle 29">
            <a:extLst>
              <a:ext uri="{FF2B5EF4-FFF2-40B4-BE49-F238E27FC236}">
                <a16:creationId xmlns:a16="http://schemas.microsoft.com/office/drawing/2014/main" id="{912DF00F-6944-43B6-9C6C-4B5D14C72619}"/>
              </a:ext>
            </a:extLst>
          </p:cNvPr>
          <p:cNvSpPr>
            <a:spLocks noChangeArrowheads="1"/>
          </p:cNvSpPr>
          <p:nvPr/>
        </p:nvSpPr>
        <p:spPr bwMode="auto">
          <a:xfrm>
            <a:off x="3651836" y="1206833"/>
            <a:ext cx="930104" cy="1426244"/>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00" dirty="0">
                <a:latin typeface="+mj-lt"/>
                <a:cs typeface="Tahoma" pitchFamily="34" charset="0"/>
              </a:rPr>
              <a:t>Digitized validation and approval process. Product requirements are validated to ensure that they are correct &amp; complete</a:t>
            </a:r>
          </a:p>
        </p:txBody>
      </p:sp>
      <p:sp>
        <p:nvSpPr>
          <p:cNvPr id="144" name="Rectangle 37">
            <a:extLst>
              <a:ext uri="{FF2B5EF4-FFF2-40B4-BE49-F238E27FC236}">
                <a16:creationId xmlns:a16="http://schemas.microsoft.com/office/drawing/2014/main" id="{04BD7AC5-BF13-4758-AA17-C25EBC01F1CB}"/>
              </a:ext>
            </a:extLst>
          </p:cNvPr>
          <p:cNvSpPr>
            <a:spLocks noChangeArrowheads="1"/>
          </p:cNvSpPr>
          <p:nvPr/>
        </p:nvSpPr>
        <p:spPr bwMode="auto">
          <a:xfrm>
            <a:off x="3651835" y="2751668"/>
            <a:ext cx="930104" cy="1322901"/>
          </a:xfrm>
          <a:prstGeom prst="roundRect">
            <a:avLst/>
          </a:prstGeom>
          <a:noFill/>
          <a:ln w="19050" algn="ctr">
            <a:solidFill>
              <a:schemeClr val="tx1"/>
            </a:solidFill>
            <a:miter lim="800000"/>
            <a:headEnd/>
            <a:tailEnd/>
          </a:ln>
        </p:spPr>
        <p:txBody>
          <a:bodyPr lIns="0" tIns="0" rIns="0" bIns="0" anchor="ctr"/>
          <a:lstStyle/>
          <a:p>
            <a:pPr algn="ctr" defTabSz="548640" eaLnBrk="0" hangingPunct="0">
              <a:lnSpc>
                <a:spcPct val="80000"/>
              </a:lnSpc>
              <a:spcBef>
                <a:spcPct val="50000"/>
              </a:spcBef>
              <a:buClr>
                <a:srgbClr val="8099CC"/>
              </a:buClr>
              <a:buSzPct val="100000"/>
              <a:defRPr/>
            </a:pPr>
            <a:r>
              <a:rPr lang="en-US" sz="800" dirty="0">
                <a:latin typeface="+mj-lt"/>
                <a:cs typeface="Tahoma" pitchFamily="34" charset="0"/>
              </a:rPr>
              <a:t>Lack of consistency in completing validation process. Unstructured validation approval process </a:t>
            </a:r>
          </a:p>
        </p:txBody>
      </p:sp>
      <p:cxnSp>
        <p:nvCxnSpPr>
          <p:cNvPr id="155" name="Straight Arrow Connector 154">
            <a:extLst>
              <a:ext uri="{FF2B5EF4-FFF2-40B4-BE49-F238E27FC236}">
                <a16:creationId xmlns:a16="http://schemas.microsoft.com/office/drawing/2014/main" id="{F16B0510-F720-4FBE-BAAB-F7BBC2805017}"/>
              </a:ext>
            </a:extLst>
          </p:cNvPr>
          <p:cNvCxnSpPr>
            <a:cxnSpLocks/>
          </p:cNvCxnSpPr>
          <p:nvPr/>
        </p:nvCxnSpPr>
        <p:spPr>
          <a:xfrm flipV="1">
            <a:off x="10324094" y="4074568"/>
            <a:ext cx="0" cy="182880"/>
          </a:xfrm>
          <a:prstGeom prst="straightConnector1">
            <a:avLst/>
          </a:prstGeom>
          <a:ln w="190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56" name="Straight Arrow Connector 155">
            <a:extLst>
              <a:ext uri="{FF2B5EF4-FFF2-40B4-BE49-F238E27FC236}">
                <a16:creationId xmlns:a16="http://schemas.microsoft.com/office/drawing/2014/main" id="{43ED248E-79FE-4821-A062-2F6ED35E56A4}"/>
              </a:ext>
            </a:extLst>
          </p:cNvPr>
          <p:cNvCxnSpPr>
            <a:cxnSpLocks/>
          </p:cNvCxnSpPr>
          <p:nvPr/>
        </p:nvCxnSpPr>
        <p:spPr>
          <a:xfrm flipV="1">
            <a:off x="9309323" y="4074568"/>
            <a:ext cx="0" cy="182880"/>
          </a:xfrm>
          <a:prstGeom prst="straightConnector1">
            <a:avLst/>
          </a:prstGeom>
          <a:ln w="190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57" name="Straight Arrow Connector 156">
            <a:extLst>
              <a:ext uri="{FF2B5EF4-FFF2-40B4-BE49-F238E27FC236}">
                <a16:creationId xmlns:a16="http://schemas.microsoft.com/office/drawing/2014/main" id="{8FF115A9-515B-4B3F-8E1E-0154206F13EA}"/>
              </a:ext>
            </a:extLst>
          </p:cNvPr>
          <p:cNvCxnSpPr>
            <a:cxnSpLocks/>
          </p:cNvCxnSpPr>
          <p:nvPr/>
        </p:nvCxnSpPr>
        <p:spPr>
          <a:xfrm flipV="1">
            <a:off x="8253244" y="4074568"/>
            <a:ext cx="0" cy="182880"/>
          </a:xfrm>
          <a:prstGeom prst="straightConnector1">
            <a:avLst/>
          </a:prstGeom>
          <a:ln w="190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58" name="Straight Arrow Connector 157">
            <a:extLst>
              <a:ext uri="{FF2B5EF4-FFF2-40B4-BE49-F238E27FC236}">
                <a16:creationId xmlns:a16="http://schemas.microsoft.com/office/drawing/2014/main" id="{2B26ADA8-8C1B-4C30-995E-44B6AA4AC02F}"/>
              </a:ext>
            </a:extLst>
          </p:cNvPr>
          <p:cNvCxnSpPr>
            <a:cxnSpLocks/>
          </p:cNvCxnSpPr>
          <p:nvPr/>
        </p:nvCxnSpPr>
        <p:spPr>
          <a:xfrm flipV="1">
            <a:off x="7227052" y="4074568"/>
            <a:ext cx="0" cy="182880"/>
          </a:xfrm>
          <a:prstGeom prst="straightConnector1">
            <a:avLst/>
          </a:prstGeom>
          <a:ln w="190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59" name="Straight Arrow Connector 158">
            <a:extLst>
              <a:ext uri="{FF2B5EF4-FFF2-40B4-BE49-F238E27FC236}">
                <a16:creationId xmlns:a16="http://schemas.microsoft.com/office/drawing/2014/main" id="{125DA4DD-03D5-4ED9-AD93-D8B524BCAE87}"/>
              </a:ext>
            </a:extLst>
          </p:cNvPr>
          <p:cNvCxnSpPr>
            <a:cxnSpLocks/>
          </p:cNvCxnSpPr>
          <p:nvPr/>
        </p:nvCxnSpPr>
        <p:spPr>
          <a:xfrm flipV="1">
            <a:off x="6189570" y="4074568"/>
            <a:ext cx="0" cy="182880"/>
          </a:xfrm>
          <a:prstGeom prst="straightConnector1">
            <a:avLst/>
          </a:prstGeom>
          <a:ln w="190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60" name="Straight Arrow Connector 159">
            <a:extLst>
              <a:ext uri="{FF2B5EF4-FFF2-40B4-BE49-F238E27FC236}">
                <a16:creationId xmlns:a16="http://schemas.microsoft.com/office/drawing/2014/main" id="{060E5881-19AA-4B57-A47A-DAED873AD6B1}"/>
              </a:ext>
            </a:extLst>
          </p:cNvPr>
          <p:cNvCxnSpPr>
            <a:cxnSpLocks/>
          </p:cNvCxnSpPr>
          <p:nvPr/>
        </p:nvCxnSpPr>
        <p:spPr>
          <a:xfrm flipV="1">
            <a:off x="5152087" y="4074568"/>
            <a:ext cx="0" cy="182880"/>
          </a:xfrm>
          <a:prstGeom prst="straightConnector1">
            <a:avLst/>
          </a:prstGeom>
          <a:ln w="190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61" name="Straight Arrow Connector 160">
            <a:extLst>
              <a:ext uri="{FF2B5EF4-FFF2-40B4-BE49-F238E27FC236}">
                <a16:creationId xmlns:a16="http://schemas.microsoft.com/office/drawing/2014/main" id="{F1031276-26BA-4B77-A4C3-1589E4F2F5F9}"/>
              </a:ext>
            </a:extLst>
          </p:cNvPr>
          <p:cNvCxnSpPr>
            <a:cxnSpLocks/>
          </p:cNvCxnSpPr>
          <p:nvPr/>
        </p:nvCxnSpPr>
        <p:spPr>
          <a:xfrm flipV="1">
            <a:off x="4116888" y="4074568"/>
            <a:ext cx="0" cy="182880"/>
          </a:xfrm>
          <a:prstGeom prst="straightConnector1">
            <a:avLst/>
          </a:prstGeom>
          <a:ln w="190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62" name="Straight Arrow Connector 161">
            <a:extLst>
              <a:ext uri="{FF2B5EF4-FFF2-40B4-BE49-F238E27FC236}">
                <a16:creationId xmlns:a16="http://schemas.microsoft.com/office/drawing/2014/main" id="{69C88BE3-2B12-442F-B2AD-103FD0332DCC}"/>
              </a:ext>
            </a:extLst>
          </p:cNvPr>
          <p:cNvCxnSpPr>
            <a:cxnSpLocks/>
          </p:cNvCxnSpPr>
          <p:nvPr/>
        </p:nvCxnSpPr>
        <p:spPr>
          <a:xfrm flipV="1">
            <a:off x="3094149" y="4074567"/>
            <a:ext cx="0" cy="182880"/>
          </a:xfrm>
          <a:prstGeom prst="straightConnector1">
            <a:avLst/>
          </a:prstGeom>
          <a:ln w="190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63" name="Straight Arrow Connector 162">
            <a:extLst>
              <a:ext uri="{FF2B5EF4-FFF2-40B4-BE49-F238E27FC236}">
                <a16:creationId xmlns:a16="http://schemas.microsoft.com/office/drawing/2014/main" id="{D782149F-28F0-4192-BD5D-9B5849218C21}"/>
              </a:ext>
            </a:extLst>
          </p:cNvPr>
          <p:cNvCxnSpPr>
            <a:cxnSpLocks/>
          </p:cNvCxnSpPr>
          <p:nvPr/>
        </p:nvCxnSpPr>
        <p:spPr>
          <a:xfrm flipV="1">
            <a:off x="2097599" y="4074567"/>
            <a:ext cx="0" cy="182880"/>
          </a:xfrm>
          <a:prstGeom prst="straightConnector1">
            <a:avLst/>
          </a:prstGeom>
          <a:ln w="190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64" name="Straight Arrow Connector 163">
            <a:extLst>
              <a:ext uri="{FF2B5EF4-FFF2-40B4-BE49-F238E27FC236}">
                <a16:creationId xmlns:a16="http://schemas.microsoft.com/office/drawing/2014/main" id="{68708B7F-8C84-454E-A460-5DDF18870BCC}"/>
              </a:ext>
            </a:extLst>
          </p:cNvPr>
          <p:cNvCxnSpPr>
            <a:cxnSpLocks/>
          </p:cNvCxnSpPr>
          <p:nvPr/>
        </p:nvCxnSpPr>
        <p:spPr>
          <a:xfrm flipV="1">
            <a:off x="1102121" y="4074567"/>
            <a:ext cx="0" cy="182880"/>
          </a:xfrm>
          <a:prstGeom prst="straightConnector1">
            <a:avLst/>
          </a:prstGeom>
          <a:ln w="190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65" name="Text Box 27">
            <a:extLst>
              <a:ext uri="{FF2B5EF4-FFF2-40B4-BE49-F238E27FC236}">
                <a16:creationId xmlns:a16="http://schemas.microsoft.com/office/drawing/2014/main" id="{669627EB-1011-4BF3-BE94-0132A88B13EE}"/>
              </a:ext>
            </a:extLst>
          </p:cNvPr>
          <p:cNvSpPr txBox="1">
            <a:spLocks noChangeArrowheads="1"/>
          </p:cNvSpPr>
          <p:nvPr/>
        </p:nvSpPr>
        <p:spPr bwMode="gray">
          <a:xfrm>
            <a:off x="10948228" y="4314911"/>
            <a:ext cx="930104" cy="1146957"/>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Product requirements and systems engineering approach does not consider digital  capabilities (i.e. IOT, digital twin, VR/AR) </a:t>
            </a:r>
          </a:p>
        </p:txBody>
      </p:sp>
      <p:sp>
        <p:nvSpPr>
          <p:cNvPr id="166" name="Text Box 28">
            <a:extLst>
              <a:ext uri="{FF2B5EF4-FFF2-40B4-BE49-F238E27FC236}">
                <a16:creationId xmlns:a16="http://schemas.microsoft.com/office/drawing/2014/main" id="{D74915F4-ED63-424D-9973-8B2C358CEF34}"/>
              </a:ext>
            </a:extLst>
          </p:cNvPr>
          <p:cNvSpPr txBox="1">
            <a:spLocks noChangeArrowheads="1"/>
          </p:cNvSpPr>
          <p:nvPr/>
        </p:nvSpPr>
        <p:spPr bwMode="gray">
          <a:xfrm>
            <a:off x="10948228" y="1206833"/>
            <a:ext cx="930104" cy="1426244"/>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IOT enabled product loop receives product data from mfg. / in-service and is able to influence the product ecosystem</a:t>
            </a:r>
          </a:p>
        </p:txBody>
      </p:sp>
      <p:sp>
        <p:nvSpPr>
          <p:cNvPr id="167" name="Text Box 29">
            <a:extLst>
              <a:ext uri="{FF2B5EF4-FFF2-40B4-BE49-F238E27FC236}">
                <a16:creationId xmlns:a16="http://schemas.microsoft.com/office/drawing/2014/main" id="{727EFC69-7C9B-49DA-ACBF-CB2B59EB2F79}"/>
              </a:ext>
            </a:extLst>
          </p:cNvPr>
          <p:cNvSpPr txBox="1">
            <a:spLocks noChangeArrowheads="1"/>
          </p:cNvSpPr>
          <p:nvPr/>
        </p:nvSpPr>
        <p:spPr bwMode="gray">
          <a:xfrm>
            <a:off x="10948228" y="2751668"/>
            <a:ext cx="930104" cy="1322901"/>
          </a:xfrm>
          <a:prstGeom prst="roundRect">
            <a:avLst/>
          </a:prstGeom>
          <a:noFill/>
          <a:ln w="19050" algn="ctr">
            <a:solidFill>
              <a:schemeClr val="tx1"/>
            </a:solidFill>
            <a:miter lim="800000"/>
            <a:headEnd/>
            <a:tailEnd/>
          </a:ln>
        </p:spPr>
        <p:txBody>
          <a:bodyPr lIns="0" tIns="0" rIns="0" bIns="0" anchor="ctr"/>
          <a:lstStyle>
            <a:defPPr>
              <a:defRPr lang="en-US"/>
            </a:defPPr>
            <a:lvl1pPr indent="-90488" algn="ctr" eaLnBrk="0" hangingPunct="0">
              <a:lnSpc>
                <a:spcPct val="80000"/>
              </a:lnSpc>
              <a:spcBef>
                <a:spcPct val="50000"/>
              </a:spcBef>
              <a:buClr>
                <a:srgbClr val="8099CC"/>
              </a:buClr>
              <a:buSzPct val="100000"/>
              <a:defRPr sz="800">
                <a:solidFill>
                  <a:srgbClr val="FFFFFF"/>
                </a:solidFill>
                <a:cs typeface="Tahoma" pitchFamily="34" charset="0"/>
              </a:defRPr>
            </a:lvl1pPr>
          </a:lstStyle>
          <a:p>
            <a:pPr indent="-108586" defTabSz="548640">
              <a:defRPr/>
            </a:pPr>
            <a:r>
              <a:rPr lang="en-US" altLang="en-US" dirty="0">
                <a:solidFill>
                  <a:schemeClr val="tx1"/>
                </a:solidFill>
                <a:latin typeface="+mj-lt"/>
              </a:rPr>
              <a:t>Systems engineering and requirements mgmt.. accounts for digital product, enabling digital to physical feedback loop </a:t>
            </a:r>
          </a:p>
        </p:txBody>
      </p:sp>
      <p:cxnSp>
        <p:nvCxnSpPr>
          <p:cNvPr id="169" name="Straight Arrow Connector 168">
            <a:extLst>
              <a:ext uri="{FF2B5EF4-FFF2-40B4-BE49-F238E27FC236}">
                <a16:creationId xmlns:a16="http://schemas.microsoft.com/office/drawing/2014/main" id="{9F9DE02A-D22B-4C2E-8C94-7813728FAC1E}"/>
              </a:ext>
            </a:extLst>
          </p:cNvPr>
          <p:cNvCxnSpPr>
            <a:cxnSpLocks/>
          </p:cNvCxnSpPr>
          <p:nvPr/>
        </p:nvCxnSpPr>
        <p:spPr>
          <a:xfrm flipV="1">
            <a:off x="11413281" y="4074568"/>
            <a:ext cx="0" cy="182880"/>
          </a:xfrm>
          <a:prstGeom prst="straightConnector1">
            <a:avLst/>
          </a:prstGeom>
          <a:ln w="190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04" name="Text Box 28">
            <a:extLst>
              <a:ext uri="{FF2B5EF4-FFF2-40B4-BE49-F238E27FC236}">
                <a16:creationId xmlns:a16="http://schemas.microsoft.com/office/drawing/2014/main" id="{737C9507-91B5-4B49-B0BD-98965E1C42F0}"/>
              </a:ext>
            </a:extLst>
          </p:cNvPr>
          <p:cNvSpPr txBox="1">
            <a:spLocks noChangeArrowheads="1"/>
          </p:cNvSpPr>
          <p:nvPr/>
        </p:nvSpPr>
        <p:spPr bwMode="auto">
          <a:xfrm>
            <a:off x="125503" y="954777"/>
            <a:ext cx="900717" cy="236337"/>
          </a:xfrm>
          <a:prstGeom prst="rect">
            <a:avLst/>
          </a:prstGeom>
          <a:noFill/>
          <a:ln w="25400">
            <a:noFill/>
            <a:miter lim="800000"/>
            <a:headEnd/>
            <a:tailEnd type="none" w="med" len="lg"/>
          </a:ln>
        </p:spPr>
        <p:txBody>
          <a:bodyPr wrap="square" lIns="0" tIns="54859" rIns="109718" bIns="54859">
            <a:spAutoFit/>
          </a:bodyPr>
          <a:lstStyle/>
          <a:p>
            <a:pPr marL="274320" indent="-274320" algn="r" defTabSz="1082040" eaLnBrk="0" fontAlgn="base" hangingPunct="0">
              <a:lnSpc>
                <a:spcPct val="85000"/>
              </a:lnSpc>
              <a:spcBef>
                <a:spcPct val="0"/>
              </a:spcBef>
              <a:spcAft>
                <a:spcPct val="0"/>
              </a:spcAft>
              <a:buClr>
                <a:srgbClr val="8099CC"/>
              </a:buClr>
              <a:defRPr/>
            </a:pPr>
            <a:r>
              <a:rPr lang="en-US" altLang="en-US" sz="960" b="1" dirty="0">
                <a:solidFill>
                  <a:srgbClr val="000000"/>
                </a:solidFill>
                <a:latin typeface="+mj-lt"/>
                <a:cs typeface="Arial" charset="0"/>
              </a:rPr>
              <a:t>Maturity</a:t>
            </a:r>
          </a:p>
        </p:txBody>
      </p:sp>
      <p:sp>
        <p:nvSpPr>
          <p:cNvPr id="205" name="Text Box 11">
            <a:extLst>
              <a:ext uri="{FF2B5EF4-FFF2-40B4-BE49-F238E27FC236}">
                <a16:creationId xmlns:a16="http://schemas.microsoft.com/office/drawing/2014/main" id="{9EAF6433-35B6-409C-A898-DEB420091EB9}"/>
              </a:ext>
            </a:extLst>
          </p:cNvPr>
          <p:cNvSpPr txBox="1">
            <a:spLocks noChangeArrowheads="1"/>
          </p:cNvSpPr>
          <p:nvPr/>
        </p:nvSpPr>
        <p:spPr bwMode="auto">
          <a:xfrm rot="16200000">
            <a:off x="-7022" y="4451080"/>
            <a:ext cx="574558" cy="341945"/>
          </a:xfrm>
          <a:prstGeom prst="rect">
            <a:avLst/>
          </a:prstGeom>
          <a:noFill/>
          <a:ln w="12700" algn="ctr">
            <a:noFill/>
            <a:miter lim="800000"/>
            <a:headEnd/>
            <a:tailEnd/>
          </a:ln>
        </p:spPr>
        <p:txBody>
          <a:bodyPr lIns="0" tIns="0" rIns="0" bIns="0" anchor="b"/>
          <a:lstStyle/>
          <a:p>
            <a:pPr algn="ctr" defTabSz="1082040" eaLnBrk="0" fontAlgn="base" hangingPunct="0">
              <a:lnSpc>
                <a:spcPct val="90000"/>
              </a:lnSpc>
              <a:spcBef>
                <a:spcPct val="50000"/>
              </a:spcBef>
              <a:spcAft>
                <a:spcPct val="0"/>
              </a:spcAft>
              <a:buClr>
                <a:srgbClr val="8099CC"/>
              </a:buClr>
              <a:buSzPct val="100000"/>
              <a:defRPr/>
            </a:pPr>
            <a:r>
              <a:rPr lang="en-US" sz="960" b="1" dirty="0">
                <a:solidFill>
                  <a:srgbClr val="000000"/>
                </a:solidFill>
                <a:latin typeface="+mj-lt"/>
                <a:cs typeface="Arial" charset="0"/>
              </a:rPr>
              <a:t>Low</a:t>
            </a:r>
          </a:p>
        </p:txBody>
      </p:sp>
      <p:grpSp>
        <p:nvGrpSpPr>
          <p:cNvPr id="201" name="Group 200">
            <a:extLst>
              <a:ext uri="{FF2B5EF4-FFF2-40B4-BE49-F238E27FC236}">
                <a16:creationId xmlns:a16="http://schemas.microsoft.com/office/drawing/2014/main" id="{F72E6132-C9F5-49DF-99A4-B31CFBD4BEE0}"/>
              </a:ext>
            </a:extLst>
          </p:cNvPr>
          <p:cNvGrpSpPr/>
          <p:nvPr/>
        </p:nvGrpSpPr>
        <p:grpSpPr>
          <a:xfrm>
            <a:off x="517581" y="1211825"/>
            <a:ext cx="11385555" cy="4359416"/>
            <a:chOff x="1092839" y="1211825"/>
            <a:chExt cx="10290659" cy="4031777"/>
          </a:xfrm>
        </p:grpSpPr>
        <p:sp>
          <p:nvSpPr>
            <p:cNvPr id="202" name="Line 16">
              <a:extLst>
                <a:ext uri="{FF2B5EF4-FFF2-40B4-BE49-F238E27FC236}">
                  <a16:creationId xmlns:a16="http://schemas.microsoft.com/office/drawing/2014/main" id="{CFB4B60E-83C9-4759-8513-4A6D12910087}"/>
                </a:ext>
              </a:extLst>
            </p:cNvPr>
            <p:cNvSpPr>
              <a:spLocks noChangeShapeType="1"/>
            </p:cNvSpPr>
            <p:nvPr/>
          </p:nvSpPr>
          <p:spPr bwMode="auto">
            <a:xfrm flipV="1">
              <a:off x="1092839" y="5243602"/>
              <a:ext cx="10290659" cy="0"/>
            </a:xfrm>
            <a:prstGeom prst="line">
              <a:avLst/>
            </a:prstGeom>
            <a:noFill/>
            <a:ln w="38100">
              <a:solidFill>
                <a:schemeClr val="tx1"/>
              </a:solidFill>
              <a:round/>
              <a:headEnd/>
              <a:tailEnd/>
            </a:ln>
          </p:spPr>
          <p:txBody>
            <a:bodyPr/>
            <a:lstStyle/>
            <a:p>
              <a:pPr defTabSz="1097280" fontAlgn="base">
                <a:spcBef>
                  <a:spcPct val="0"/>
                </a:spcBef>
                <a:spcAft>
                  <a:spcPct val="0"/>
                </a:spcAft>
                <a:defRPr/>
              </a:pPr>
              <a:endParaRPr lang="en-US" sz="960" dirty="0">
                <a:solidFill>
                  <a:srgbClr val="000000"/>
                </a:solidFill>
                <a:latin typeface="+mj-lt"/>
                <a:cs typeface="Arial" charset="0"/>
              </a:endParaRPr>
            </a:p>
          </p:txBody>
        </p:sp>
        <p:sp>
          <p:nvSpPr>
            <p:cNvPr id="203" name="Line 15">
              <a:extLst>
                <a:ext uri="{FF2B5EF4-FFF2-40B4-BE49-F238E27FC236}">
                  <a16:creationId xmlns:a16="http://schemas.microsoft.com/office/drawing/2014/main" id="{98BFC8BF-2277-476B-AEBC-9EF18492826C}"/>
                </a:ext>
              </a:extLst>
            </p:cNvPr>
            <p:cNvSpPr>
              <a:spLocks noChangeShapeType="1"/>
            </p:cNvSpPr>
            <p:nvPr/>
          </p:nvSpPr>
          <p:spPr bwMode="auto">
            <a:xfrm flipV="1">
              <a:off x="1111657" y="1211825"/>
              <a:ext cx="0" cy="4031776"/>
            </a:xfrm>
            <a:prstGeom prst="line">
              <a:avLst/>
            </a:prstGeom>
            <a:noFill/>
            <a:ln w="38100">
              <a:solidFill>
                <a:srgbClr val="000066"/>
              </a:solidFill>
              <a:round/>
              <a:headEnd/>
              <a:tailEnd type="triangle" w="med" len="med"/>
            </a:ln>
          </p:spPr>
          <p:txBody>
            <a:bodyPr/>
            <a:lstStyle/>
            <a:p>
              <a:pPr defTabSz="1097280" eaLnBrk="0" hangingPunct="0">
                <a:lnSpc>
                  <a:spcPct val="106000"/>
                </a:lnSpc>
                <a:spcBef>
                  <a:spcPct val="50000"/>
                </a:spcBef>
                <a:buSzPct val="100000"/>
                <a:defRPr/>
              </a:pPr>
              <a:endParaRPr lang="en-US" sz="960" kern="0" dirty="0">
                <a:solidFill>
                  <a:srgbClr val="000000"/>
                </a:solidFill>
                <a:latin typeface="+mj-lt"/>
                <a:cs typeface="Arial" charset="0"/>
              </a:endParaRPr>
            </a:p>
          </p:txBody>
        </p:sp>
      </p:grpSp>
      <p:sp>
        <p:nvSpPr>
          <p:cNvPr id="206" name="Text Box 12">
            <a:extLst>
              <a:ext uri="{FF2B5EF4-FFF2-40B4-BE49-F238E27FC236}">
                <a16:creationId xmlns:a16="http://schemas.microsoft.com/office/drawing/2014/main" id="{28BC69AA-1112-4FDB-909B-E7738EA7C9A1}"/>
              </a:ext>
            </a:extLst>
          </p:cNvPr>
          <p:cNvSpPr txBox="1">
            <a:spLocks noChangeArrowheads="1"/>
          </p:cNvSpPr>
          <p:nvPr/>
        </p:nvSpPr>
        <p:spPr bwMode="auto">
          <a:xfrm rot="16200000">
            <a:off x="-41217" y="1651837"/>
            <a:ext cx="824084" cy="263610"/>
          </a:xfrm>
          <a:prstGeom prst="rect">
            <a:avLst/>
          </a:prstGeom>
          <a:noFill/>
          <a:ln w="12700" algn="ctr">
            <a:noFill/>
            <a:miter lim="800000"/>
            <a:headEnd/>
            <a:tailEnd/>
          </a:ln>
        </p:spPr>
        <p:txBody>
          <a:bodyPr wrap="square" lIns="0" rIns="0" anchor="b">
            <a:spAutoFit/>
          </a:bodyPr>
          <a:lstStyle/>
          <a:p>
            <a:pPr algn="ctr" defTabSz="1097280" eaLnBrk="0" fontAlgn="base" hangingPunct="0">
              <a:lnSpc>
                <a:spcPct val="106000"/>
              </a:lnSpc>
              <a:spcBef>
                <a:spcPct val="50000"/>
              </a:spcBef>
              <a:spcAft>
                <a:spcPct val="0"/>
              </a:spcAft>
              <a:buSzPct val="100000"/>
              <a:defRPr/>
            </a:pPr>
            <a:r>
              <a:rPr lang="en-US" sz="960" b="1" dirty="0">
                <a:solidFill>
                  <a:srgbClr val="000000"/>
                </a:solidFill>
                <a:latin typeface="+mj-lt"/>
                <a:cs typeface="Arial" charset="0"/>
              </a:rPr>
              <a:t>Advanced</a:t>
            </a:r>
          </a:p>
        </p:txBody>
      </p:sp>
      <p:sp>
        <p:nvSpPr>
          <p:cNvPr id="2" name="Freeform: Shape 1">
            <a:extLst>
              <a:ext uri="{FF2B5EF4-FFF2-40B4-BE49-F238E27FC236}">
                <a16:creationId xmlns:a16="http://schemas.microsoft.com/office/drawing/2014/main" id="{B97CD9D3-FC8B-483B-913A-C9462764AFFD}"/>
              </a:ext>
            </a:extLst>
          </p:cNvPr>
          <p:cNvSpPr/>
          <p:nvPr/>
        </p:nvSpPr>
        <p:spPr bwMode="gray">
          <a:xfrm>
            <a:off x="901195" y="1914550"/>
            <a:ext cx="4220891" cy="4024990"/>
          </a:xfrm>
          <a:custGeom>
            <a:avLst/>
            <a:gdLst>
              <a:gd name="connsiteX0" fmla="*/ 110067 w 3985586"/>
              <a:gd name="connsiteY0" fmla="*/ 1108050 h 4024990"/>
              <a:gd name="connsiteX1" fmla="*/ 1168400 w 3985586"/>
              <a:gd name="connsiteY1" fmla="*/ 1226583 h 4024990"/>
              <a:gd name="connsiteX2" fmla="*/ 2133600 w 3985586"/>
              <a:gd name="connsiteY2" fmla="*/ 2979183 h 4024990"/>
              <a:gd name="connsiteX3" fmla="*/ 3937000 w 3985586"/>
              <a:gd name="connsiteY3" fmla="*/ 7383 h 4024990"/>
              <a:gd name="connsiteX4" fmla="*/ 0 w 3985586"/>
              <a:gd name="connsiteY4" fmla="*/ 4020583 h 4024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5586" h="4024990">
                <a:moveTo>
                  <a:pt x="110067" y="1108050"/>
                </a:moveTo>
                <a:cubicBezTo>
                  <a:pt x="470606" y="1011389"/>
                  <a:pt x="831145" y="914728"/>
                  <a:pt x="1168400" y="1226583"/>
                </a:cubicBezTo>
                <a:cubicBezTo>
                  <a:pt x="1505655" y="1538438"/>
                  <a:pt x="1672167" y="3182383"/>
                  <a:pt x="2133600" y="2979183"/>
                </a:cubicBezTo>
                <a:cubicBezTo>
                  <a:pt x="2595033" y="2775983"/>
                  <a:pt x="4292600" y="-166184"/>
                  <a:pt x="3937000" y="7383"/>
                </a:cubicBezTo>
                <a:cubicBezTo>
                  <a:pt x="3581400" y="180950"/>
                  <a:pt x="127000" y="4175805"/>
                  <a:pt x="0" y="4020583"/>
                </a:cubicBezTo>
              </a:path>
            </a:pathLst>
          </a:custGeom>
          <a:noFill/>
          <a:ln w="19050" algn="ctr">
            <a:noFill/>
            <a:miter lim="800000"/>
            <a:headEnd/>
            <a:tailEnd/>
          </a:ln>
        </p:spPr>
        <p:txBody>
          <a:bodyPr rtlCol="0" anchor="ctr"/>
          <a:lstStyle/>
          <a:p>
            <a:pPr algn="ctr"/>
            <a:endParaRPr lang="en-US" dirty="0"/>
          </a:p>
        </p:txBody>
      </p:sp>
      <p:sp>
        <p:nvSpPr>
          <p:cNvPr id="5" name="Freeform: Shape 4">
            <a:extLst>
              <a:ext uri="{FF2B5EF4-FFF2-40B4-BE49-F238E27FC236}">
                <a16:creationId xmlns:a16="http://schemas.microsoft.com/office/drawing/2014/main" id="{820277C8-4BD3-4768-B11B-8D8EB7D1FBA6}"/>
              </a:ext>
            </a:extLst>
          </p:cNvPr>
          <p:cNvSpPr/>
          <p:nvPr/>
        </p:nvSpPr>
        <p:spPr bwMode="gray">
          <a:xfrm>
            <a:off x="1089492" y="2353733"/>
            <a:ext cx="2949988" cy="2480734"/>
          </a:xfrm>
          <a:custGeom>
            <a:avLst/>
            <a:gdLst>
              <a:gd name="connsiteX0" fmla="*/ 0 w 2785533"/>
              <a:gd name="connsiteY0" fmla="*/ 2480734 h 2480734"/>
              <a:gd name="connsiteX1" fmla="*/ 855133 w 2785533"/>
              <a:gd name="connsiteY1" fmla="*/ 1058334 h 2480734"/>
              <a:gd name="connsiteX2" fmla="*/ 1896533 w 2785533"/>
              <a:gd name="connsiteY2" fmla="*/ 2065867 h 2480734"/>
              <a:gd name="connsiteX3" fmla="*/ 2785533 w 2785533"/>
              <a:gd name="connsiteY3" fmla="*/ 0 h 2480734"/>
            </a:gdLst>
            <a:ahLst/>
            <a:cxnLst>
              <a:cxn ang="0">
                <a:pos x="connsiteX0" y="connsiteY0"/>
              </a:cxn>
              <a:cxn ang="0">
                <a:pos x="connsiteX1" y="connsiteY1"/>
              </a:cxn>
              <a:cxn ang="0">
                <a:pos x="connsiteX2" y="connsiteY2"/>
              </a:cxn>
              <a:cxn ang="0">
                <a:pos x="connsiteX3" y="connsiteY3"/>
              </a:cxn>
            </a:cxnLst>
            <a:rect l="l" t="t" r="r" b="b"/>
            <a:pathLst>
              <a:path w="2785533" h="2480734">
                <a:moveTo>
                  <a:pt x="0" y="2480734"/>
                </a:moveTo>
                <a:cubicBezTo>
                  <a:pt x="269522" y="1804106"/>
                  <a:pt x="539044" y="1127479"/>
                  <a:pt x="855133" y="1058334"/>
                </a:cubicBezTo>
                <a:cubicBezTo>
                  <a:pt x="1171222" y="989189"/>
                  <a:pt x="1574800" y="2242256"/>
                  <a:pt x="1896533" y="2065867"/>
                </a:cubicBezTo>
                <a:cubicBezTo>
                  <a:pt x="2218266" y="1889478"/>
                  <a:pt x="2501899" y="944739"/>
                  <a:pt x="2785533" y="0"/>
                </a:cubicBezTo>
              </a:path>
            </a:pathLst>
          </a:custGeom>
          <a:noFill/>
          <a:ln w="19050" algn="ctr">
            <a:noFill/>
            <a:miter lim="800000"/>
            <a:headEnd/>
            <a:tailEnd/>
          </a:ln>
        </p:spPr>
        <p:txBody>
          <a:bodyPr rtlCol="0" anchor="ctr"/>
          <a:lstStyle/>
          <a:p>
            <a:pPr algn="ctr"/>
            <a:endParaRPr lang="en-US" sz="2800" dirty="0"/>
          </a:p>
        </p:txBody>
      </p:sp>
      <p:sp>
        <p:nvSpPr>
          <p:cNvPr id="194" name="Freeform: Shape 107">
            <a:extLst>
              <a:ext uri="{FF2B5EF4-FFF2-40B4-BE49-F238E27FC236}">
                <a16:creationId xmlns:a16="http://schemas.microsoft.com/office/drawing/2014/main" id="{5F5EE060-E92F-49EE-A05D-531223EE6A10}"/>
              </a:ext>
            </a:extLst>
          </p:cNvPr>
          <p:cNvSpPr/>
          <p:nvPr/>
        </p:nvSpPr>
        <p:spPr bwMode="gray">
          <a:xfrm flipV="1">
            <a:off x="1068750" y="1312876"/>
            <a:ext cx="10346787" cy="2073703"/>
          </a:xfrm>
          <a:custGeom>
            <a:avLst/>
            <a:gdLst>
              <a:gd name="connsiteX0" fmla="*/ 0 w 9855200"/>
              <a:gd name="connsiteY0" fmla="*/ 2713159 h 3112619"/>
              <a:gd name="connsiteX1" fmla="*/ 939800 w 9855200"/>
              <a:gd name="connsiteY1" fmla="*/ 731959 h 3112619"/>
              <a:gd name="connsiteX2" fmla="*/ 1972733 w 9855200"/>
              <a:gd name="connsiteY2" fmla="*/ 1070626 h 3112619"/>
              <a:gd name="connsiteX3" fmla="*/ 2921000 w 9855200"/>
              <a:gd name="connsiteY3" fmla="*/ 1620959 h 3112619"/>
              <a:gd name="connsiteX4" fmla="*/ 3877733 w 9855200"/>
              <a:gd name="connsiteY4" fmla="*/ 706559 h 3112619"/>
              <a:gd name="connsiteX5" fmla="*/ 4910666 w 9855200"/>
              <a:gd name="connsiteY5" fmla="*/ 672692 h 3112619"/>
              <a:gd name="connsiteX6" fmla="*/ 5808133 w 9855200"/>
              <a:gd name="connsiteY6" fmla="*/ 173159 h 3112619"/>
              <a:gd name="connsiteX7" fmla="*/ 6874933 w 9855200"/>
              <a:gd name="connsiteY7" fmla="*/ 113892 h 3112619"/>
              <a:gd name="connsiteX8" fmla="*/ 7882466 w 9855200"/>
              <a:gd name="connsiteY8" fmla="*/ 1637892 h 3112619"/>
              <a:gd name="connsiteX9" fmla="*/ 8805333 w 9855200"/>
              <a:gd name="connsiteY9" fmla="*/ 2975626 h 3112619"/>
              <a:gd name="connsiteX10" fmla="*/ 9855200 w 9855200"/>
              <a:gd name="connsiteY10" fmla="*/ 3068759 h 3112619"/>
              <a:gd name="connsiteX11" fmla="*/ 9855200 w 9855200"/>
              <a:gd name="connsiteY11" fmla="*/ 3068759 h 3112619"/>
              <a:gd name="connsiteX0" fmla="*/ 0 w 9855200"/>
              <a:gd name="connsiteY0" fmla="*/ 2564478 h 2963938"/>
              <a:gd name="connsiteX1" fmla="*/ 939800 w 9855200"/>
              <a:gd name="connsiteY1" fmla="*/ 583278 h 2963938"/>
              <a:gd name="connsiteX2" fmla="*/ 1972733 w 9855200"/>
              <a:gd name="connsiteY2" fmla="*/ 921945 h 2963938"/>
              <a:gd name="connsiteX3" fmla="*/ 2921000 w 9855200"/>
              <a:gd name="connsiteY3" fmla="*/ 1472278 h 2963938"/>
              <a:gd name="connsiteX4" fmla="*/ 3877733 w 9855200"/>
              <a:gd name="connsiteY4" fmla="*/ 557878 h 2963938"/>
              <a:gd name="connsiteX5" fmla="*/ 4910666 w 9855200"/>
              <a:gd name="connsiteY5" fmla="*/ 524011 h 2963938"/>
              <a:gd name="connsiteX6" fmla="*/ 5808133 w 9855200"/>
              <a:gd name="connsiteY6" fmla="*/ 24478 h 2963938"/>
              <a:gd name="connsiteX7" fmla="*/ 6671569 w 9855200"/>
              <a:gd name="connsiteY7" fmla="*/ 1404544 h 2963938"/>
              <a:gd name="connsiteX8" fmla="*/ 7882466 w 9855200"/>
              <a:gd name="connsiteY8" fmla="*/ 1489211 h 2963938"/>
              <a:gd name="connsiteX9" fmla="*/ 8805333 w 9855200"/>
              <a:gd name="connsiteY9" fmla="*/ 2826945 h 2963938"/>
              <a:gd name="connsiteX10" fmla="*/ 9855200 w 9855200"/>
              <a:gd name="connsiteY10" fmla="*/ 2920078 h 2963938"/>
              <a:gd name="connsiteX11" fmla="*/ 9855200 w 9855200"/>
              <a:gd name="connsiteY11" fmla="*/ 2920078 h 2963938"/>
              <a:gd name="connsiteX0" fmla="*/ 0 w 9855200"/>
              <a:gd name="connsiteY0" fmla="*/ 2124213 h 2523673"/>
              <a:gd name="connsiteX1" fmla="*/ 939800 w 9855200"/>
              <a:gd name="connsiteY1" fmla="*/ 143013 h 2523673"/>
              <a:gd name="connsiteX2" fmla="*/ 1972733 w 9855200"/>
              <a:gd name="connsiteY2" fmla="*/ 481680 h 2523673"/>
              <a:gd name="connsiteX3" fmla="*/ 2921000 w 9855200"/>
              <a:gd name="connsiteY3" fmla="*/ 1032013 h 2523673"/>
              <a:gd name="connsiteX4" fmla="*/ 3877733 w 9855200"/>
              <a:gd name="connsiteY4" fmla="*/ 117613 h 2523673"/>
              <a:gd name="connsiteX5" fmla="*/ 4910666 w 9855200"/>
              <a:gd name="connsiteY5" fmla="*/ 83746 h 2523673"/>
              <a:gd name="connsiteX6" fmla="*/ 5850501 w 9855200"/>
              <a:gd name="connsiteY6" fmla="*/ 778013 h 2523673"/>
              <a:gd name="connsiteX7" fmla="*/ 6671569 w 9855200"/>
              <a:gd name="connsiteY7" fmla="*/ 964279 h 2523673"/>
              <a:gd name="connsiteX8" fmla="*/ 7882466 w 9855200"/>
              <a:gd name="connsiteY8" fmla="*/ 1048946 h 2523673"/>
              <a:gd name="connsiteX9" fmla="*/ 8805333 w 9855200"/>
              <a:gd name="connsiteY9" fmla="*/ 2386680 h 2523673"/>
              <a:gd name="connsiteX10" fmla="*/ 9855200 w 9855200"/>
              <a:gd name="connsiteY10" fmla="*/ 2479813 h 2523673"/>
              <a:gd name="connsiteX11" fmla="*/ 9855200 w 9855200"/>
              <a:gd name="connsiteY11" fmla="*/ 2479813 h 2523673"/>
              <a:gd name="connsiteX0" fmla="*/ 0 w 9810080"/>
              <a:gd name="connsiteY0" fmla="*/ 71509606 h 71509607"/>
              <a:gd name="connsiteX1" fmla="*/ 894680 w 9810080"/>
              <a:gd name="connsiteY1" fmla="*/ 4857891 h 71509607"/>
              <a:gd name="connsiteX2" fmla="*/ 1927613 w 9810080"/>
              <a:gd name="connsiteY2" fmla="*/ 5196558 h 71509607"/>
              <a:gd name="connsiteX3" fmla="*/ 2875880 w 9810080"/>
              <a:gd name="connsiteY3" fmla="*/ 5746891 h 71509607"/>
              <a:gd name="connsiteX4" fmla="*/ 3832613 w 9810080"/>
              <a:gd name="connsiteY4" fmla="*/ 4832491 h 71509607"/>
              <a:gd name="connsiteX5" fmla="*/ 4865546 w 9810080"/>
              <a:gd name="connsiteY5" fmla="*/ 4798624 h 71509607"/>
              <a:gd name="connsiteX6" fmla="*/ 5805381 w 9810080"/>
              <a:gd name="connsiteY6" fmla="*/ 5492891 h 71509607"/>
              <a:gd name="connsiteX7" fmla="*/ 6626449 w 9810080"/>
              <a:gd name="connsiteY7" fmla="*/ 5679157 h 71509607"/>
              <a:gd name="connsiteX8" fmla="*/ 7837346 w 9810080"/>
              <a:gd name="connsiteY8" fmla="*/ 5763824 h 71509607"/>
              <a:gd name="connsiteX9" fmla="*/ 8760213 w 9810080"/>
              <a:gd name="connsiteY9" fmla="*/ 7101558 h 71509607"/>
              <a:gd name="connsiteX10" fmla="*/ 9810080 w 9810080"/>
              <a:gd name="connsiteY10" fmla="*/ 7194691 h 71509607"/>
              <a:gd name="connsiteX11" fmla="*/ 9810080 w 9810080"/>
              <a:gd name="connsiteY11" fmla="*/ 7194691 h 71509607"/>
              <a:gd name="connsiteX0" fmla="*/ 0 w 9810080"/>
              <a:gd name="connsiteY0" fmla="*/ 71509607 h 71509607"/>
              <a:gd name="connsiteX1" fmla="*/ 894680 w 9810080"/>
              <a:gd name="connsiteY1" fmla="*/ 4857891 h 71509607"/>
              <a:gd name="connsiteX2" fmla="*/ 1927613 w 9810080"/>
              <a:gd name="connsiteY2" fmla="*/ 5196558 h 71509607"/>
              <a:gd name="connsiteX3" fmla="*/ 2875880 w 9810080"/>
              <a:gd name="connsiteY3" fmla="*/ 5746891 h 71509607"/>
              <a:gd name="connsiteX4" fmla="*/ 3832613 w 9810080"/>
              <a:gd name="connsiteY4" fmla="*/ 4832491 h 71509607"/>
              <a:gd name="connsiteX5" fmla="*/ 4865546 w 9810080"/>
              <a:gd name="connsiteY5" fmla="*/ 4798624 h 71509607"/>
              <a:gd name="connsiteX6" fmla="*/ 5805381 w 9810080"/>
              <a:gd name="connsiteY6" fmla="*/ 5492891 h 71509607"/>
              <a:gd name="connsiteX7" fmla="*/ 6626449 w 9810080"/>
              <a:gd name="connsiteY7" fmla="*/ 5679157 h 71509607"/>
              <a:gd name="connsiteX8" fmla="*/ 7837346 w 9810080"/>
              <a:gd name="connsiteY8" fmla="*/ 5763824 h 71509607"/>
              <a:gd name="connsiteX9" fmla="*/ 8760213 w 9810080"/>
              <a:gd name="connsiteY9" fmla="*/ 7101558 h 71509607"/>
              <a:gd name="connsiteX10" fmla="*/ 9810080 w 9810080"/>
              <a:gd name="connsiteY10" fmla="*/ 7194691 h 71509607"/>
              <a:gd name="connsiteX11" fmla="*/ 9810080 w 9810080"/>
              <a:gd name="connsiteY11" fmla="*/ 7194691 h 71509607"/>
              <a:gd name="connsiteX0" fmla="*/ 0 w 9810080"/>
              <a:gd name="connsiteY0" fmla="*/ 76881361 h 156801961"/>
              <a:gd name="connsiteX1" fmla="*/ 975896 w 9810080"/>
              <a:gd name="connsiteY1" fmla="*/ 155869804 h 156801961"/>
              <a:gd name="connsiteX2" fmla="*/ 1927613 w 9810080"/>
              <a:gd name="connsiteY2" fmla="*/ 10568312 h 156801961"/>
              <a:gd name="connsiteX3" fmla="*/ 2875880 w 9810080"/>
              <a:gd name="connsiteY3" fmla="*/ 11118645 h 156801961"/>
              <a:gd name="connsiteX4" fmla="*/ 3832613 w 9810080"/>
              <a:gd name="connsiteY4" fmla="*/ 10204245 h 156801961"/>
              <a:gd name="connsiteX5" fmla="*/ 4865546 w 9810080"/>
              <a:gd name="connsiteY5" fmla="*/ 10170378 h 156801961"/>
              <a:gd name="connsiteX6" fmla="*/ 5805381 w 9810080"/>
              <a:gd name="connsiteY6" fmla="*/ 10864645 h 156801961"/>
              <a:gd name="connsiteX7" fmla="*/ 6626449 w 9810080"/>
              <a:gd name="connsiteY7" fmla="*/ 11050911 h 156801961"/>
              <a:gd name="connsiteX8" fmla="*/ 7837346 w 9810080"/>
              <a:gd name="connsiteY8" fmla="*/ 11135578 h 156801961"/>
              <a:gd name="connsiteX9" fmla="*/ 8760213 w 9810080"/>
              <a:gd name="connsiteY9" fmla="*/ 12473312 h 156801961"/>
              <a:gd name="connsiteX10" fmla="*/ 9810080 w 9810080"/>
              <a:gd name="connsiteY10" fmla="*/ 12566445 h 156801961"/>
              <a:gd name="connsiteX11" fmla="*/ 9810080 w 9810080"/>
              <a:gd name="connsiteY11" fmla="*/ 12566445 h 156801961"/>
              <a:gd name="connsiteX0" fmla="*/ 0 w 9810080"/>
              <a:gd name="connsiteY0" fmla="*/ 76491983 h 151207476"/>
              <a:gd name="connsiteX1" fmla="*/ 975896 w 9810080"/>
              <a:gd name="connsiteY1" fmla="*/ 150222659 h 151207476"/>
              <a:gd name="connsiteX2" fmla="*/ 1927613 w 9810080"/>
              <a:gd name="connsiteY2" fmla="*/ 10178934 h 151207476"/>
              <a:gd name="connsiteX3" fmla="*/ 2875880 w 9810080"/>
              <a:gd name="connsiteY3" fmla="*/ 10729267 h 151207476"/>
              <a:gd name="connsiteX4" fmla="*/ 3832613 w 9810080"/>
              <a:gd name="connsiteY4" fmla="*/ 9814867 h 151207476"/>
              <a:gd name="connsiteX5" fmla="*/ 4865546 w 9810080"/>
              <a:gd name="connsiteY5" fmla="*/ 9781000 h 151207476"/>
              <a:gd name="connsiteX6" fmla="*/ 5805381 w 9810080"/>
              <a:gd name="connsiteY6" fmla="*/ 10475267 h 151207476"/>
              <a:gd name="connsiteX7" fmla="*/ 6626449 w 9810080"/>
              <a:gd name="connsiteY7" fmla="*/ 10661533 h 151207476"/>
              <a:gd name="connsiteX8" fmla="*/ 7837346 w 9810080"/>
              <a:gd name="connsiteY8" fmla="*/ 10746200 h 151207476"/>
              <a:gd name="connsiteX9" fmla="*/ 8760213 w 9810080"/>
              <a:gd name="connsiteY9" fmla="*/ 12083934 h 151207476"/>
              <a:gd name="connsiteX10" fmla="*/ 9810080 w 9810080"/>
              <a:gd name="connsiteY10" fmla="*/ 12177067 h 151207476"/>
              <a:gd name="connsiteX11" fmla="*/ 9810080 w 9810080"/>
              <a:gd name="connsiteY11" fmla="*/ 12177067 h 151207476"/>
              <a:gd name="connsiteX0" fmla="*/ 0 w 9810080"/>
              <a:gd name="connsiteY0" fmla="*/ 68463690 h 142468211"/>
              <a:gd name="connsiteX1" fmla="*/ 975896 w 9810080"/>
              <a:gd name="connsiteY1" fmla="*/ 142194366 h 142468211"/>
              <a:gd name="connsiteX2" fmla="*/ 2071996 w 9810080"/>
              <a:gd name="connsiteY2" fmla="*/ 35274567 h 142468211"/>
              <a:gd name="connsiteX3" fmla="*/ 2875880 w 9810080"/>
              <a:gd name="connsiteY3" fmla="*/ 2700974 h 142468211"/>
              <a:gd name="connsiteX4" fmla="*/ 3832613 w 9810080"/>
              <a:gd name="connsiteY4" fmla="*/ 1786574 h 142468211"/>
              <a:gd name="connsiteX5" fmla="*/ 4865546 w 9810080"/>
              <a:gd name="connsiteY5" fmla="*/ 1752707 h 142468211"/>
              <a:gd name="connsiteX6" fmla="*/ 5805381 w 9810080"/>
              <a:gd name="connsiteY6" fmla="*/ 2446974 h 142468211"/>
              <a:gd name="connsiteX7" fmla="*/ 6626449 w 9810080"/>
              <a:gd name="connsiteY7" fmla="*/ 2633240 h 142468211"/>
              <a:gd name="connsiteX8" fmla="*/ 7837346 w 9810080"/>
              <a:gd name="connsiteY8" fmla="*/ 2717907 h 142468211"/>
              <a:gd name="connsiteX9" fmla="*/ 8760213 w 9810080"/>
              <a:gd name="connsiteY9" fmla="*/ 4055641 h 142468211"/>
              <a:gd name="connsiteX10" fmla="*/ 9810080 w 9810080"/>
              <a:gd name="connsiteY10" fmla="*/ 4148774 h 142468211"/>
              <a:gd name="connsiteX11" fmla="*/ 9810080 w 9810080"/>
              <a:gd name="connsiteY11" fmla="*/ 4148774 h 142468211"/>
              <a:gd name="connsiteX0" fmla="*/ 0 w 9810080"/>
              <a:gd name="connsiteY0" fmla="*/ 70324746 h 144072589"/>
              <a:gd name="connsiteX1" fmla="*/ 975896 w 9810080"/>
              <a:gd name="connsiteY1" fmla="*/ 144055422 h 144072589"/>
              <a:gd name="connsiteX2" fmla="*/ 1900541 w 9810080"/>
              <a:gd name="connsiteY2" fmla="*/ 62372905 h 144072589"/>
              <a:gd name="connsiteX3" fmla="*/ 2875880 w 9810080"/>
              <a:gd name="connsiteY3" fmla="*/ 4562030 h 144072589"/>
              <a:gd name="connsiteX4" fmla="*/ 3832613 w 9810080"/>
              <a:gd name="connsiteY4" fmla="*/ 3647630 h 144072589"/>
              <a:gd name="connsiteX5" fmla="*/ 4865546 w 9810080"/>
              <a:gd name="connsiteY5" fmla="*/ 3613763 h 144072589"/>
              <a:gd name="connsiteX6" fmla="*/ 5805381 w 9810080"/>
              <a:gd name="connsiteY6" fmla="*/ 4308030 h 144072589"/>
              <a:gd name="connsiteX7" fmla="*/ 6626449 w 9810080"/>
              <a:gd name="connsiteY7" fmla="*/ 4494296 h 144072589"/>
              <a:gd name="connsiteX8" fmla="*/ 7837346 w 9810080"/>
              <a:gd name="connsiteY8" fmla="*/ 4578963 h 144072589"/>
              <a:gd name="connsiteX9" fmla="*/ 8760213 w 9810080"/>
              <a:gd name="connsiteY9" fmla="*/ 5916697 h 144072589"/>
              <a:gd name="connsiteX10" fmla="*/ 9810080 w 9810080"/>
              <a:gd name="connsiteY10" fmla="*/ 6009830 h 144072589"/>
              <a:gd name="connsiteX11" fmla="*/ 9810080 w 9810080"/>
              <a:gd name="connsiteY11" fmla="*/ 6009830 h 144072589"/>
              <a:gd name="connsiteX0" fmla="*/ 0 w 9810080"/>
              <a:gd name="connsiteY0" fmla="*/ 71763194 h 145558950"/>
              <a:gd name="connsiteX1" fmla="*/ 975896 w 9810080"/>
              <a:gd name="connsiteY1" fmla="*/ 145493870 h 145558950"/>
              <a:gd name="connsiteX2" fmla="*/ 1891517 w 9810080"/>
              <a:gd name="connsiteY2" fmla="*/ 83265091 h 145558950"/>
              <a:gd name="connsiteX3" fmla="*/ 2875880 w 9810080"/>
              <a:gd name="connsiteY3" fmla="*/ 6000478 h 145558950"/>
              <a:gd name="connsiteX4" fmla="*/ 3832613 w 9810080"/>
              <a:gd name="connsiteY4" fmla="*/ 5086078 h 145558950"/>
              <a:gd name="connsiteX5" fmla="*/ 4865546 w 9810080"/>
              <a:gd name="connsiteY5" fmla="*/ 5052211 h 145558950"/>
              <a:gd name="connsiteX6" fmla="*/ 5805381 w 9810080"/>
              <a:gd name="connsiteY6" fmla="*/ 5746478 h 145558950"/>
              <a:gd name="connsiteX7" fmla="*/ 6626449 w 9810080"/>
              <a:gd name="connsiteY7" fmla="*/ 5932744 h 145558950"/>
              <a:gd name="connsiteX8" fmla="*/ 7837346 w 9810080"/>
              <a:gd name="connsiteY8" fmla="*/ 6017411 h 145558950"/>
              <a:gd name="connsiteX9" fmla="*/ 8760213 w 9810080"/>
              <a:gd name="connsiteY9" fmla="*/ 7355145 h 145558950"/>
              <a:gd name="connsiteX10" fmla="*/ 9810080 w 9810080"/>
              <a:gd name="connsiteY10" fmla="*/ 7448278 h 145558950"/>
              <a:gd name="connsiteX11" fmla="*/ 9810080 w 9810080"/>
              <a:gd name="connsiteY11" fmla="*/ 7448278 h 145558950"/>
              <a:gd name="connsiteX0" fmla="*/ 0 w 9810080"/>
              <a:gd name="connsiteY0" fmla="*/ 70907710 h 144638385"/>
              <a:gd name="connsiteX1" fmla="*/ 975896 w 9810080"/>
              <a:gd name="connsiteY1" fmla="*/ 144638386 h 144638385"/>
              <a:gd name="connsiteX2" fmla="*/ 1954685 w 9810080"/>
              <a:gd name="connsiteY2" fmla="*/ 70842519 h 144638385"/>
              <a:gd name="connsiteX3" fmla="*/ 2875880 w 9810080"/>
              <a:gd name="connsiteY3" fmla="*/ 5144994 h 144638385"/>
              <a:gd name="connsiteX4" fmla="*/ 3832613 w 9810080"/>
              <a:gd name="connsiteY4" fmla="*/ 4230594 h 144638385"/>
              <a:gd name="connsiteX5" fmla="*/ 4865546 w 9810080"/>
              <a:gd name="connsiteY5" fmla="*/ 4196727 h 144638385"/>
              <a:gd name="connsiteX6" fmla="*/ 5805381 w 9810080"/>
              <a:gd name="connsiteY6" fmla="*/ 4890994 h 144638385"/>
              <a:gd name="connsiteX7" fmla="*/ 6626449 w 9810080"/>
              <a:gd name="connsiteY7" fmla="*/ 5077260 h 144638385"/>
              <a:gd name="connsiteX8" fmla="*/ 7837346 w 9810080"/>
              <a:gd name="connsiteY8" fmla="*/ 5161927 h 144638385"/>
              <a:gd name="connsiteX9" fmla="*/ 8760213 w 9810080"/>
              <a:gd name="connsiteY9" fmla="*/ 6499661 h 144638385"/>
              <a:gd name="connsiteX10" fmla="*/ 9810080 w 9810080"/>
              <a:gd name="connsiteY10" fmla="*/ 6592794 h 144638385"/>
              <a:gd name="connsiteX11" fmla="*/ 9810080 w 9810080"/>
              <a:gd name="connsiteY11" fmla="*/ 6592794 h 144638385"/>
              <a:gd name="connsiteX0" fmla="*/ 0 w 9810080"/>
              <a:gd name="connsiteY0" fmla="*/ 77101498 h 151672201"/>
              <a:gd name="connsiteX1" fmla="*/ 975896 w 9810080"/>
              <a:gd name="connsiteY1" fmla="*/ 150832174 h 151672201"/>
              <a:gd name="connsiteX2" fmla="*/ 1954685 w 9810080"/>
              <a:gd name="connsiteY2" fmla="*/ 77036307 h 151672201"/>
              <a:gd name="connsiteX3" fmla="*/ 2875880 w 9810080"/>
              <a:gd name="connsiteY3" fmla="*/ 150669610 h 151672201"/>
              <a:gd name="connsiteX4" fmla="*/ 3832613 w 9810080"/>
              <a:gd name="connsiteY4" fmla="*/ 10424382 h 151672201"/>
              <a:gd name="connsiteX5" fmla="*/ 4865546 w 9810080"/>
              <a:gd name="connsiteY5" fmla="*/ 10390515 h 151672201"/>
              <a:gd name="connsiteX6" fmla="*/ 5805381 w 9810080"/>
              <a:gd name="connsiteY6" fmla="*/ 11084782 h 151672201"/>
              <a:gd name="connsiteX7" fmla="*/ 6626449 w 9810080"/>
              <a:gd name="connsiteY7" fmla="*/ 11271048 h 151672201"/>
              <a:gd name="connsiteX8" fmla="*/ 7837346 w 9810080"/>
              <a:gd name="connsiteY8" fmla="*/ 11355715 h 151672201"/>
              <a:gd name="connsiteX9" fmla="*/ 8760213 w 9810080"/>
              <a:gd name="connsiteY9" fmla="*/ 12693449 h 151672201"/>
              <a:gd name="connsiteX10" fmla="*/ 9810080 w 9810080"/>
              <a:gd name="connsiteY10" fmla="*/ 12786582 h 151672201"/>
              <a:gd name="connsiteX11" fmla="*/ 9810080 w 9810080"/>
              <a:gd name="connsiteY11" fmla="*/ 12786582 h 151672201"/>
              <a:gd name="connsiteX0" fmla="*/ 0 w 9810080"/>
              <a:gd name="connsiteY0" fmla="*/ 75747395 h 154788994"/>
              <a:gd name="connsiteX1" fmla="*/ 975896 w 9810080"/>
              <a:gd name="connsiteY1" fmla="*/ 149478071 h 154788994"/>
              <a:gd name="connsiteX2" fmla="*/ 1954685 w 9810080"/>
              <a:gd name="connsiteY2" fmla="*/ 75682204 h 154788994"/>
              <a:gd name="connsiteX3" fmla="*/ 2875880 w 9810080"/>
              <a:gd name="connsiteY3" fmla="*/ 149315507 h 154788994"/>
              <a:gd name="connsiteX4" fmla="*/ 3940901 w 9810080"/>
              <a:gd name="connsiteY4" fmla="*/ 133679377 h 154788994"/>
              <a:gd name="connsiteX5" fmla="*/ 4865546 w 9810080"/>
              <a:gd name="connsiteY5" fmla="*/ 9036412 h 154788994"/>
              <a:gd name="connsiteX6" fmla="*/ 5805381 w 9810080"/>
              <a:gd name="connsiteY6" fmla="*/ 9730679 h 154788994"/>
              <a:gd name="connsiteX7" fmla="*/ 6626449 w 9810080"/>
              <a:gd name="connsiteY7" fmla="*/ 9916945 h 154788994"/>
              <a:gd name="connsiteX8" fmla="*/ 7837346 w 9810080"/>
              <a:gd name="connsiteY8" fmla="*/ 10001612 h 154788994"/>
              <a:gd name="connsiteX9" fmla="*/ 8760213 w 9810080"/>
              <a:gd name="connsiteY9" fmla="*/ 11339346 h 154788994"/>
              <a:gd name="connsiteX10" fmla="*/ 9810080 w 9810080"/>
              <a:gd name="connsiteY10" fmla="*/ 11432479 h 154788994"/>
              <a:gd name="connsiteX11" fmla="*/ 9810080 w 9810080"/>
              <a:gd name="connsiteY11" fmla="*/ 11432479 h 154788994"/>
              <a:gd name="connsiteX0" fmla="*/ 0 w 9810080"/>
              <a:gd name="connsiteY0" fmla="*/ 75747395 h 154658888"/>
              <a:gd name="connsiteX1" fmla="*/ 975896 w 9810080"/>
              <a:gd name="connsiteY1" fmla="*/ 149478071 h 154658888"/>
              <a:gd name="connsiteX2" fmla="*/ 1954685 w 9810080"/>
              <a:gd name="connsiteY2" fmla="*/ 75682204 h 154658888"/>
              <a:gd name="connsiteX3" fmla="*/ 2875880 w 9810080"/>
              <a:gd name="connsiteY3" fmla="*/ 149315507 h 154658888"/>
              <a:gd name="connsiteX4" fmla="*/ 3940901 w 9810080"/>
              <a:gd name="connsiteY4" fmla="*/ 133679377 h 154658888"/>
              <a:gd name="connsiteX5" fmla="*/ 4865546 w 9810080"/>
              <a:gd name="connsiteY5" fmla="*/ 9036412 h 154658888"/>
              <a:gd name="connsiteX6" fmla="*/ 5805381 w 9810080"/>
              <a:gd name="connsiteY6" fmla="*/ 9730679 h 154658888"/>
              <a:gd name="connsiteX7" fmla="*/ 6626449 w 9810080"/>
              <a:gd name="connsiteY7" fmla="*/ 9916945 h 154658888"/>
              <a:gd name="connsiteX8" fmla="*/ 7837346 w 9810080"/>
              <a:gd name="connsiteY8" fmla="*/ 10001612 h 154658888"/>
              <a:gd name="connsiteX9" fmla="*/ 8760213 w 9810080"/>
              <a:gd name="connsiteY9" fmla="*/ 11339346 h 154658888"/>
              <a:gd name="connsiteX10" fmla="*/ 9810080 w 9810080"/>
              <a:gd name="connsiteY10" fmla="*/ 11432479 h 154658888"/>
              <a:gd name="connsiteX11" fmla="*/ 9810080 w 9810080"/>
              <a:gd name="connsiteY11" fmla="*/ 11432479 h 154658888"/>
              <a:gd name="connsiteX0" fmla="*/ 0 w 9810080"/>
              <a:gd name="connsiteY0" fmla="*/ 75747395 h 153336967"/>
              <a:gd name="connsiteX1" fmla="*/ 975896 w 9810080"/>
              <a:gd name="connsiteY1" fmla="*/ 149478071 h 153336967"/>
              <a:gd name="connsiteX2" fmla="*/ 1954685 w 9810080"/>
              <a:gd name="connsiteY2" fmla="*/ 75682204 h 153336967"/>
              <a:gd name="connsiteX3" fmla="*/ 2875880 w 9810080"/>
              <a:gd name="connsiteY3" fmla="*/ 149315507 h 153336967"/>
              <a:gd name="connsiteX4" fmla="*/ 3940901 w 9810080"/>
              <a:gd name="connsiteY4" fmla="*/ 133679377 h 153336967"/>
              <a:gd name="connsiteX5" fmla="*/ 4865546 w 9810080"/>
              <a:gd name="connsiteY5" fmla="*/ 9036412 h 153336967"/>
              <a:gd name="connsiteX6" fmla="*/ 5805381 w 9810080"/>
              <a:gd name="connsiteY6" fmla="*/ 9730679 h 153336967"/>
              <a:gd name="connsiteX7" fmla="*/ 6626449 w 9810080"/>
              <a:gd name="connsiteY7" fmla="*/ 9916945 h 153336967"/>
              <a:gd name="connsiteX8" fmla="*/ 7837346 w 9810080"/>
              <a:gd name="connsiteY8" fmla="*/ 10001612 h 153336967"/>
              <a:gd name="connsiteX9" fmla="*/ 8760213 w 9810080"/>
              <a:gd name="connsiteY9" fmla="*/ 11339346 h 153336967"/>
              <a:gd name="connsiteX10" fmla="*/ 9810080 w 9810080"/>
              <a:gd name="connsiteY10" fmla="*/ 11432479 h 153336967"/>
              <a:gd name="connsiteX11" fmla="*/ 9810080 w 9810080"/>
              <a:gd name="connsiteY11" fmla="*/ 11432479 h 153336967"/>
              <a:gd name="connsiteX0" fmla="*/ 0 w 9810080"/>
              <a:gd name="connsiteY0" fmla="*/ 76915530 h 161432935"/>
              <a:gd name="connsiteX1" fmla="*/ 975896 w 9810080"/>
              <a:gd name="connsiteY1" fmla="*/ 150646206 h 161432935"/>
              <a:gd name="connsiteX2" fmla="*/ 1954685 w 9810080"/>
              <a:gd name="connsiteY2" fmla="*/ 76850339 h 161432935"/>
              <a:gd name="connsiteX3" fmla="*/ 2875880 w 9810080"/>
              <a:gd name="connsiteY3" fmla="*/ 150483642 h 161432935"/>
              <a:gd name="connsiteX4" fmla="*/ 3913830 w 9810080"/>
              <a:gd name="connsiteY4" fmla="*/ 150620813 h 161432935"/>
              <a:gd name="connsiteX5" fmla="*/ 4865546 w 9810080"/>
              <a:gd name="connsiteY5" fmla="*/ 10204547 h 161432935"/>
              <a:gd name="connsiteX6" fmla="*/ 5805381 w 9810080"/>
              <a:gd name="connsiteY6" fmla="*/ 10898814 h 161432935"/>
              <a:gd name="connsiteX7" fmla="*/ 6626449 w 9810080"/>
              <a:gd name="connsiteY7" fmla="*/ 11085080 h 161432935"/>
              <a:gd name="connsiteX8" fmla="*/ 7837346 w 9810080"/>
              <a:gd name="connsiteY8" fmla="*/ 11169747 h 161432935"/>
              <a:gd name="connsiteX9" fmla="*/ 8760213 w 9810080"/>
              <a:gd name="connsiteY9" fmla="*/ 12507481 h 161432935"/>
              <a:gd name="connsiteX10" fmla="*/ 9810080 w 9810080"/>
              <a:gd name="connsiteY10" fmla="*/ 12600614 h 161432935"/>
              <a:gd name="connsiteX11" fmla="*/ 9810080 w 9810080"/>
              <a:gd name="connsiteY11" fmla="*/ 12600614 h 161432935"/>
              <a:gd name="connsiteX0" fmla="*/ 0 w 9810080"/>
              <a:gd name="connsiteY0" fmla="*/ 76915530 h 157932559"/>
              <a:gd name="connsiteX1" fmla="*/ 975896 w 9810080"/>
              <a:gd name="connsiteY1" fmla="*/ 150646206 h 157932559"/>
              <a:gd name="connsiteX2" fmla="*/ 1954685 w 9810080"/>
              <a:gd name="connsiteY2" fmla="*/ 76850339 h 157932559"/>
              <a:gd name="connsiteX3" fmla="*/ 2875880 w 9810080"/>
              <a:gd name="connsiteY3" fmla="*/ 150483642 h 157932559"/>
              <a:gd name="connsiteX4" fmla="*/ 3913830 w 9810080"/>
              <a:gd name="connsiteY4" fmla="*/ 150620813 h 157932559"/>
              <a:gd name="connsiteX5" fmla="*/ 4865546 w 9810080"/>
              <a:gd name="connsiteY5" fmla="*/ 10204547 h 157932559"/>
              <a:gd name="connsiteX6" fmla="*/ 5805381 w 9810080"/>
              <a:gd name="connsiteY6" fmla="*/ 10898814 h 157932559"/>
              <a:gd name="connsiteX7" fmla="*/ 6626449 w 9810080"/>
              <a:gd name="connsiteY7" fmla="*/ 11085080 h 157932559"/>
              <a:gd name="connsiteX8" fmla="*/ 7837346 w 9810080"/>
              <a:gd name="connsiteY8" fmla="*/ 11169747 h 157932559"/>
              <a:gd name="connsiteX9" fmla="*/ 8760213 w 9810080"/>
              <a:gd name="connsiteY9" fmla="*/ 12507481 h 157932559"/>
              <a:gd name="connsiteX10" fmla="*/ 9810080 w 9810080"/>
              <a:gd name="connsiteY10" fmla="*/ 12600614 h 157932559"/>
              <a:gd name="connsiteX11" fmla="*/ 9810080 w 9810080"/>
              <a:gd name="connsiteY11" fmla="*/ 12600614 h 157932559"/>
              <a:gd name="connsiteX0" fmla="*/ 0 w 9810080"/>
              <a:gd name="connsiteY0" fmla="*/ 76798728 h 157098216"/>
              <a:gd name="connsiteX1" fmla="*/ 975896 w 9810080"/>
              <a:gd name="connsiteY1" fmla="*/ 150529404 h 157098216"/>
              <a:gd name="connsiteX2" fmla="*/ 1954685 w 9810080"/>
              <a:gd name="connsiteY2" fmla="*/ 76733537 h 157098216"/>
              <a:gd name="connsiteX3" fmla="*/ 2875880 w 9810080"/>
              <a:gd name="connsiteY3" fmla="*/ 150366840 h 157098216"/>
              <a:gd name="connsiteX4" fmla="*/ 3913831 w 9810080"/>
              <a:gd name="connsiteY4" fmla="*/ 148926681 h 157098216"/>
              <a:gd name="connsiteX5" fmla="*/ 4865546 w 9810080"/>
              <a:gd name="connsiteY5" fmla="*/ 10087745 h 157098216"/>
              <a:gd name="connsiteX6" fmla="*/ 5805381 w 9810080"/>
              <a:gd name="connsiteY6" fmla="*/ 10782012 h 157098216"/>
              <a:gd name="connsiteX7" fmla="*/ 6626449 w 9810080"/>
              <a:gd name="connsiteY7" fmla="*/ 10968278 h 157098216"/>
              <a:gd name="connsiteX8" fmla="*/ 7837346 w 9810080"/>
              <a:gd name="connsiteY8" fmla="*/ 11052945 h 157098216"/>
              <a:gd name="connsiteX9" fmla="*/ 8760213 w 9810080"/>
              <a:gd name="connsiteY9" fmla="*/ 12390679 h 157098216"/>
              <a:gd name="connsiteX10" fmla="*/ 9810080 w 9810080"/>
              <a:gd name="connsiteY10" fmla="*/ 12483812 h 157098216"/>
              <a:gd name="connsiteX11" fmla="*/ 9810080 w 9810080"/>
              <a:gd name="connsiteY11" fmla="*/ 12483812 h 157098216"/>
              <a:gd name="connsiteX0" fmla="*/ 0 w 9810080"/>
              <a:gd name="connsiteY0" fmla="*/ 77927947 h 168213439"/>
              <a:gd name="connsiteX1" fmla="*/ 975896 w 9810080"/>
              <a:gd name="connsiteY1" fmla="*/ 151658623 h 168213439"/>
              <a:gd name="connsiteX2" fmla="*/ 1954685 w 9810080"/>
              <a:gd name="connsiteY2" fmla="*/ 77862756 h 168213439"/>
              <a:gd name="connsiteX3" fmla="*/ 2875880 w 9810080"/>
              <a:gd name="connsiteY3" fmla="*/ 151496059 h 168213439"/>
              <a:gd name="connsiteX4" fmla="*/ 3976999 w 9810080"/>
              <a:gd name="connsiteY4" fmla="*/ 165303423 h 168213439"/>
              <a:gd name="connsiteX5" fmla="*/ 4865546 w 9810080"/>
              <a:gd name="connsiteY5" fmla="*/ 11216964 h 168213439"/>
              <a:gd name="connsiteX6" fmla="*/ 5805381 w 9810080"/>
              <a:gd name="connsiteY6" fmla="*/ 11911231 h 168213439"/>
              <a:gd name="connsiteX7" fmla="*/ 6626449 w 9810080"/>
              <a:gd name="connsiteY7" fmla="*/ 12097497 h 168213439"/>
              <a:gd name="connsiteX8" fmla="*/ 7837346 w 9810080"/>
              <a:gd name="connsiteY8" fmla="*/ 12182164 h 168213439"/>
              <a:gd name="connsiteX9" fmla="*/ 8760213 w 9810080"/>
              <a:gd name="connsiteY9" fmla="*/ 13519898 h 168213439"/>
              <a:gd name="connsiteX10" fmla="*/ 9810080 w 9810080"/>
              <a:gd name="connsiteY10" fmla="*/ 13613031 h 168213439"/>
              <a:gd name="connsiteX11" fmla="*/ 9810080 w 9810080"/>
              <a:gd name="connsiteY11" fmla="*/ 13613031 h 168213439"/>
              <a:gd name="connsiteX0" fmla="*/ 0 w 9810080"/>
              <a:gd name="connsiteY0" fmla="*/ 76876559 h 157646238"/>
              <a:gd name="connsiteX1" fmla="*/ 975896 w 9810080"/>
              <a:gd name="connsiteY1" fmla="*/ 150607235 h 157646238"/>
              <a:gd name="connsiteX2" fmla="*/ 1954685 w 9810080"/>
              <a:gd name="connsiteY2" fmla="*/ 76811368 h 157646238"/>
              <a:gd name="connsiteX3" fmla="*/ 2875880 w 9810080"/>
              <a:gd name="connsiteY3" fmla="*/ 150444671 h 157646238"/>
              <a:gd name="connsiteX4" fmla="*/ 3895784 w 9810080"/>
              <a:gd name="connsiteY4" fmla="*/ 150056065 h 157646238"/>
              <a:gd name="connsiteX5" fmla="*/ 4865546 w 9810080"/>
              <a:gd name="connsiteY5" fmla="*/ 10165576 h 157646238"/>
              <a:gd name="connsiteX6" fmla="*/ 5805381 w 9810080"/>
              <a:gd name="connsiteY6" fmla="*/ 10859843 h 157646238"/>
              <a:gd name="connsiteX7" fmla="*/ 6626449 w 9810080"/>
              <a:gd name="connsiteY7" fmla="*/ 11046109 h 157646238"/>
              <a:gd name="connsiteX8" fmla="*/ 7837346 w 9810080"/>
              <a:gd name="connsiteY8" fmla="*/ 11130776 h 157646238"/>
              <a:gd name="connsiteX9" fmla="*/ 8760213 w 9810080"/>
              <a:gd name="connsiteY9" fmla="*/ 12468510 h 157646238"/>
              <a:gd name="connsiteX10" fmla="*/ 9810080 w 9810080"/>
              <a:gd name="connsiteY10" fmla="*/ 12561643 h 157646238"/>
              <a:gd name="connsiteX11" fmla="*/ 9810080 w 9810080"/>
              <a:gd name="connsiteY11" fmla="*/ 12561643 h 157646238"/>
              <a:gd name="connsiteX0" fmla="*/ 0 w 9810080"/>
              <a:gd name="connsiteY0" fmla="*/ 74403725 h 154345906"/>
              <a:gd name="connsiteX1" fmla="*/ 975896 w 9810080"/>
              <a:gd name="connsiteY1" fmla="*/ 148134401 h 154345906"/>
              <a:gd name="connsiteX2" fmla="*/ 1954685 w 9810080"/>
              <a:gd name="connsiteY2" fmla="*/ 74338534 h 154345906"/>
              <a:gd name="connsiteX3" fmla="*/ 2875880 w 9810080"/>
              <a:gd name="connsiteY3" fmla="*/ 147971837 h 154345906"/>
              <a:gd name="connsiteX4" fmla="*/ 3895784 w 9810080"/>
              <a:gd name="connsiteY4" fmla="*/ 147583231 h 154345906"/>
              <a:gd name="connsiteX5" fmla="*/ 4829451 w 9810080"/>
              <a:gd name="connsiteY5" fmla="*/ 122312056 h 154345906"/>
              <a:gd name="connsiteX6" fmla="*/ 5805381 w 9810080"/>
              <a:gd name="connsiteY6" fmla="*/ 8387009 h 154345906"/>
              <a:gd name="connsiteX7" fmla="*/ 6626449 w 9810080"/>
              <a:gd name="connsiteY7" fmla="*/ 8573275 h 154345906"/>
              <a:gd name="connsiteX8" fmla="*/ 7837346 w 9810080"/>
              <a:gd name="connsiteY8" fmla="*/ 8657942 h 154345906"/>
              <a:gd name="connsiteX9" fmla="*/ 8760213 w 9810080"/>
              <a:gd name="connsiteY9" fmla="*/ 9995676 h 154345906"/>
              <a:gd name="connsiteX10" fmla="*/ 9810080 w 9810080"/>
              <a:gd name="connsiteY10" fmla="*/ 10088809 h 154345906"/>
              <a:gd name="connsiteX11" fmla="*/ 9810080 w 9810080"/>
              <a:gd name="connsiteY11" fmla="*/ 10088809 h 154345906"/>
              <a:gd name="connsiteX0" fmla="*/ 0 w 9810080"/>
              <a:gd name="connsiteY0" fmla="*/ 74403725 h 154345906"/>
              <a:gd name="connsiteX1" fmla="*/ 975896 w 9810080"/>
              <a:gd name="connsiteY1" fmla="*/ 148134401 h 154345906"/>
              <a:gd name="connsiteX2" fmla="*/ 1954685 w 9810080"/>
              <a:gd name="connsiteY2" fmla="*/ 74338534 h 154345906"/>
              <a:gd name="connsiteX3" fmla="*/ 2875880 w 9810080"/>
              <a:gd name="connsiteY3" fmla="*/ 147971837 h 154345906"/>
              <a:gd name="connsiteX4" fmla="*/ 3895784 w 9810080"/>
              <a:gd name="connsiteY4" fmla="*/ 147583231 h 154345906"/>
              <a:gd name="connsiteX5" fmla="*/ 4829451 w 9810080"/>
              <a:gd name="connsiteY5" fmla="*/ 122312056 h 154345906"/>
              <a:gd name="connsiteX6" fmla="*/ 5805381 w 9810080"/>
              <a:gd name="connsiteY6" fmla="*/ 8387009 h 154345906"/>
              <a:gd name="connsiteX7" fmla="*/ 6626449 w 9810080"/>
              <a:gd name="connsiteY7" fmla="*/ 8573275 h 154345906"/>
              <a:gd name="connsiteX8" fmla="*/ 7837346 w 9810080"/>
              <a:gd name="connsiteY8" fmla="*/ 8657942 h 154345906"/>
              <a:gd name="connsiteX9" fmla="*/ 8760213 w 9810080"/>
              <a:gd name="connsiteY9" fmla="*/ 9995676 h 154345906"/>
              <a:gd name="connsiteX10" fmla="*/ 9810080 w 9810080"/>
              <a:gd name="connsiteY10" fmla="*/ 10088809 h 154345906"/>
              <a:gd name="connsiteX11" fmla="*/ 9810080 w 9810080"/>
              <a:gd name="connsiteY11" fmla="*/ 10088809 h 154345906"/>
              <a:gd name="connsiteX0" fmla="*/ 0 w 9810080"/>
              <a:gd name="connsiteY0" fmla="*/ 71716495 h 153568584"/>
              <a:gd name="connsiteX1" fmla="*/ 975896 w 9810080"/>
              <a:gd name="connsiteY1" fmla="*/ 145447171 h 153568584"/>
              <a:gd name="connsiteX2" fmla="*/ 1954685 w 9810080"/>
              <a:gd name="connsiteY2" fmla="*/ 71651304 h 153568584"/>
              <a:gd name="connsiteX3" fmla="*/ 2875880 w 9810080"/>
              <a:gd name="connsiteY3" fmla="*/ 145284607 h 153568584"/>
              <a:gd name="connsiteX4" fmla="*/ 3895784 w 9810080"/>
              <a:gd name="connsiteY4" fmla="*/ 144896001 h 153568584"/>
              <a:gd name="connsiteX5" fmla="*/ 4856523 w 9810080"/>
              <a:gd name="connsiteY5" fmla="*/ 83346233 h 153568584"/>
              <a:gd name="connsiteX6" fmla="*/ 5805381 w 9810080"/>
              <a:gd name="connsiteY6" fmla="*/ 5699779 h 153568584"/>
              <a:gd name="connsiteX7" fmla="*/ 6626449 w 9810080"/>
              <a:gd name="connsiteY7" fmla="*/ 5886045 h 153568584"/>
              <a:gd name="connsiteX8" fmla="*/ 7837346 w 9810080"/>
              <a:gd name="connsiteY8" fmla="*/ 5970712 h 153568584"/>
              <a:gd name="connsiteX9" fmla="*/ 8760213 w 9810080"/>
              <a:gd name="connsiteY9" fmla="*/ 7308446 h 153568584"/>
              <a:gd name="connsiteX10" fmla="*/ 9810080 w 9810080"/>
              <a:gd name="connsiteY10" fmla="*/ 7401579 h 153568584"/>
              <a:gd name="connsiteX11" fmla="*/ 9810080 w 9810080"/>
              <a:gd name="connsiteY11" fmla="*/ 7401579 h 153568584"/>
              <a:gd name="connsiteX0" fmla="*/ 0 w 9810080"/>
              <a:gd name="connsiteY0" fmla="*/ 70236647 h 153309753"/>
              <a:gd name="connsiteX1" fmla="*/ 975896 w 9810080"/>
              <a:gd name="connsiteY1" fmla="*/ 143967323 h 153309753"/>
              <a:gd name="connsiteX2" fmla="*/ 1954685 w 9810080"/>
              <a:gd name="connsiteY2" fmla="*/ 70171456 h 153309753"/>
              <a:gd name="connsiteX3" fmla="*/ 2875880 w 9810080"/>
              <a:gd name="connsiteY3" fmla="*/ 143804759 h 153309753"/>
              <a:gd name="connsiteX4" fmla="*/ 3895784 w 9810080"/>
              <a:gd name="connsiteY4" fmla="*/ 143416153 h 153309753"/>
              <a:gd name="connsiteX5" fmla="*/ 4874572 w 9810080"/>
              <a:gd name="connsiteY5" fmla="*/ 61886871 h 153309753"/>
              <a:gd name="connsiteX6" fmla="*/ 5805381 w 9810080"/>
              <a:gd name="connsiteY6" fmla="*/ 4219931 h 153309753"/>
              <a:gd name="connsiteX7" fmla="*/ 6626449 w 9810080"/>
              <a:gd name="connsiteY7" fmla="*/ 4406197 h 153309753"/>
              <a:gd name="connsiteX8" fmla="*/ 7837346 w 9810080"/>
              <a:gd name="connsiteY8" fmla="*/ 4490864 h 153309753"/>
              <a:gd name="connsiteX9" fmla="*/ 8760213 w 9810080"/>
              <a:gd name="connsiteY9" fmla="*/ 5828598 h 153309753"/>
              <a:gd name="connsiteX10" fmla="*/ 9810080 w 9810080"/>
              <a:gd name="connsiteY10" fmla="*/ 5921731 h 153309753"/>
              <a:gd name="connsiteX11" fmla="*/ 9810080 w 9810080"/>
              <a:gd name="connsiteY11" fmla="*/ 5921731 h 153309753"/>
              <a:gd name="connsiteX0" fmla="*/ 0 w 9810080"/>
              <a:gd name="connsiteY0" fmla="*/ 74214665 h 157287771"/>
              <a:gd name="connsiteX1" fmla="*/ 975896 w 9810080"/>
              <a:gd name="connsiteY1" fmla="*/ 147945341 h 157287771"/>
              <a:gd name="connsiteX2" fmla="*/ 1954685 w 9810080"/>
              <a:gd name="connsiteY2" fmla="*/ 74149474 h 157287771"/>
              <a:gd name="connsiteX3" fmla="*/ 2875880 w 9810080"/>
              <a:gd name="connsiteY3" fmla="*/ 147782777 h 157287771"/>
              <a:gd name="connsiteX4" fmla="*/ 3895784 w 9810080"/>
              <a:gd name="connsiteY4" fmla="*/ 147394171 h 157287771"/>
              <a:gd name="connsiteX5" fmla="*/ 4874572 w 9810080"/>
              <a:gd name="connsiteY5" fmla="*/ 65864889 h 157287771"/>
              <a:gd name="connsiteX6" fmla="*/ 5832453 w 9810080"/>
              <a:gd name="connsiteY6" fmla="*/ 121239968 h 157287771"/>
              <a:gd name="connsiteX7" fmla="*/ 6626449 w 9810080"/>
              <a:gd name="connsiteY7" fmla="*/ 8384215 h 157287771"/>
              <a:gd name="connsiteX8" fmla="*/ 7837346 w 9810080"/>
              <a:gd name="connsiteY8" fmla="*/ 8468882 h 157287771"/>
              <a:gd name="connsiteX9" fmla="*/ 8760213 w 9810080"/>
              <a:gd name="connsiteY9" fmla="*/ 9806616 h 157287771"/>
              <a:gd name="connsiteX10" fmla="*/ 9810080 w 9810080"/>
              <a:gd name="connsiteY10" fmla="*/ 9899749 h 157287771"/>
              <a:gd name="connsiteX11" fmla="*/ 9810080 w 9810080"/>
              <a:gd name="connsiteY11" fmla="*/ 9899749 h 157287771"/>
              <a:gd name="connsiteX0" fmla="*/ 0 w 9810080"/>
              <a:gd name="connsiteY0" fmla="*/ 74214665 h 157287771"/>
              <a:gd name="connsiteX1" fmla="*/ 975896 w 9810080"/>
              <a:gd name="connsiteY1" fmla="*/ 147945341 h 157287771"/>
              <a:gd name="connsiteX2" fmla="*/ 1954685 w 9810080"/>
              <a:gd name="connsiteY2" fmla="*/ 74149474 h 157287771"/>
              <a:gd name="connsiteX3" fmla="*/ 2875880 w 9810080"/>
              <a:gd name="connsiteY3" fmla="*/ 147782777 h 157287771"/>
              <a:gd name="connsiteX4" fmla="*/ 3895784 w 9810080"/>
              <a:gd name="connsiteY4" fmla="*/ 147394171 h 157287771"/>
              <a:gd name="connsiteX5" fmla="*/ 4874572 w 9810080"/>
              <a:gd name="connsiteY5" fmla="*/ 65864889 h 157287771"/>
              <a:gd name="connsiteX6" fmla="*/ 5832453 w 9810080"/>
              <a:gd name="connsiteY6" fmla="*/ 121239968 h 157287771"/>
              <a:gd name="connsiteX7" fmla="*/ 6626449 w 9810080"/>
              <a:gd name="connsiteY7" fmla="*/ 8384215 h 157287771"/>
              <a:gd name="connsiteX8" fmla="*/ 7837346 w 9810080"/>
              <a:gd name="connsiteY8" fmla="*/ 8468882 h 157287771"/>
              <a:gd name="connsiteX9" fmla="*/ 8760213 w 9810080"/>
              <a:gd name="connsiteY9" fmla="*/ 9806616 h 157287771"/>
              <a:gd name="connsiteX10" fmla="*/ 9810080 w 9810080"/>
              <a:gd name="connsiteY10" fmla="*/ 9899749 h 157287771"/>
              <a:gd name="connsiteX11" fmla="*/ 9810080 w 9810080"/>
              <a:gd name="connsiteY11" fmla="*/ 9899749 h 157287771"/>
              <a:gd name="connsiteX0" fmla="*/ 0 w 9810080"/>
              <a:gd name="connsiteY0" fmla="*/ 76006170 h 159079276"/>
              <a:gd name="connsiteX1" fmla="*/ 975896 w 9810080"/>
              <a:gd name="connsiteY1" fmla="*/ 149736846 h 159079276"/>
              <a:gd name="connsiteX2" fmla="*/ 1954685 w 9810080"/>
              <a:gd name="connsiteY2" fmla="*/ 75940979 h 159079276"/>
              <a:gd name="connsiteX3" fmla="*/ 2875880 w 9810080"/>
              <a:gd name="connsiteY3" fmla="*/ 149574282 h 159079276"/>
              <a:gd name="connsiteX4" fmla="*/ 3895784 w 9810080"/>
              <a:gd name="connsiteY4" fmla="*/ 149185676 h 159079276"/>
              <a:gd name="connsiteX5" fmla="*/ 4874572 w 9810080"/>
              <a:gd name="connsiteY5" fmla="*/ 67656394 h 159079276"/>
              <a:gd name="connsiteX6" fmla="*/ 5814405 w 9810080"/>
              <a:gd name="connsiteY6" fmla="*/ 147217202 h 159079276"/>
              <a:gd name="connsiteX7" fmla="*/ 6626449 w 9810080"/>
              <a:gd name="connsiteY7" fmla="*/ 10175720 h 159079276"/>
              <a:gd name="connsiteX8" fmla="*/ 7837346 w 9810080"/>
              <a:gd name="connsiteY8" fmla="*/ 10260387 h 159079276"/>
              <a:gd name="connsiteX9" fmla="*/ 8760213 w 9810080"/>
              <a:gd name="connsiteY9" fmla="*/ 11598121 h 159079276"/>
              <a:gd name="connsiteX10" fmla="*/ 9810080 w 9810080"/>
              <a:gd name="connsiteY10" fmla="*/ 11691254 h 159079276"/>
              <a:gd name="connsiteX11" fmla="*/ 9810080 w 9810080"/>
              <a:gd name="connsiteY11" fmla="*/ 11691254 h 159079276"/>
              <a:gd name="connsiteX0" fmla="*/ 0 w 9810080"/>
              <a:gd name="connsiteY0" fmla="*/ 74002699 h 157075805"/>
              <a:gd name="connsiteX1" fmla="*/ 975896 w 9810080"/>
              <a:gd name="connsiteY1" fmla="*/ 147733375 h 157075805"/>
              <a:gd name="connsiteX2" fmla="*/ 1954685 w 9810080"/>
              <a:gd name="connsiteY2" fmla="*/ 73937508 h 157075805"/>
              <a:gd name="connsiteX3" fmla="*/ 2875880 w 9810080"/>
              <a:gd name="connsiteY3" fmla="*/ 147570811 h 157075805"/>
              <a:gd name="connsiteX4" fmla="*/ 3895784 w 9810080"/>
              <a:gd name="connsiteY4" fmla="*/ 147182205 h 157075805"/>
              <a:gd name="connsiteX5" fmla="*/ 4874572 w 9810080"/>
              <a:gd name="connsiteY5" fmla="*/ 65652923 h 157075805"/>
              <a:gd name="connsiteX6" fmla="*/ 5814405 w 9810080"/>
              <a:gd name="connsiteY6" fmla="*/ 145213731 h 157075805"/>
              <a:gd name="connsiteX7" fmla="*/ 6852049 w 9810080"/>
              <a:gd name="connsiteY7" fmla="*/ 124894683 h 157075805"/>
              <a:gd name="connsiteX8" fmla="*/ 7837346 w 9810080"/>
              <a:gd name="connsiteY8" fmla="*/ 8256916 h 157075805"/>
              <a:gd name="connsiteX9" fmla="*/ 8760213 w 9810080"/>
              <a:gd name="connsiteY9" fmla="*/ 9594650 h 157075805"/>
              <a:gd name="connsiteX10" fmla="*/ 9810080 w 9810080"/>
              <a:gd name="connsiteY10" fmla="*/ 9687783 h 157075805"/>
              <a:gd name="connsiteX11" fmla="*/ 9810080 w 9810080"/>
              <a:gd name="connsiteY11" fmla="*/ 9687783 h 157075805"/>
              <a:gd name="connsiteX0" fmla="*/ 0 w 9810080"/>
              <a:gd name="connsiteY0" fmla="*/ 74002699 h 157075805"/>
              <a:gd name="connsiteX1" fmla="*/ 975896 w 9810080"/>
              <a:gd name="connsiteY1" fmla="*/ 147733375 h 157075805"/>
              <a:gd name="connsiteX2" fmla="*/ 1954685 w 9810080"/>
              <a:gd name="connsiteY2" fmla="*/ 73937508 h 157075805"/>
              <a:gd name="connsiteX3" fmla="*/ 2875880 w 9810080"/>
              <a:gd name="connsiteY3" fmla="*/ 147570811 h 157075805"/>
              <a:gd name="connsiteX4" fmla="*/ 3895784 w 9810080"/>
              <a:gd name="connsiteY4" fmla="*/ 147182205 h 157075805"/>
              <a:gd name="connsiteX5" fmla="*/ 4874572 w 9810080"/>
              <a:gd name="connsiteY5" fmla="*/ 65652923 h 157075805"/>
              <a:gd name="connsiteX6" fmla="*/ 5814405 w 9810080"/>
              <a:gd name="connsiteY6" fmla="*/ 145213731 h 157075805"/>
              <a:gd name="connsiteX7" fmla="*/ 6852049 w 9810080"/>
              <a:gd name="connsiteY7" fmla="*/ 124894683 h 157075805"/>
              <a:gd name="connsiteX8" fmla="*/ 7837346 w 9810080"/>
              <a:gd name="connsiteY8" fmla="*/ 8256916 h 157075805"/>
              <a:gd name="connsiteX9" fmla="*/ 8760213 w 9810080"/>
              <a:gd name="connsiteY9" fmla="*/ 9594650 h 157075805"/>
              <a:gd name="connsiteX10" fmla="*/ 9810080 w 9810080"/>
              <a:gd name="connsiteY10" fmla="*/ 9687783 h 157075805"/>
              <a:gd name="connsiteX11" fmla="*/ 9810080 w 9810080"/>
              <a:gd name="connsiteY11" fmla="*/ 9687783 h 157075805"/>
              <a:gd name="connsiteX0" fmla="*/ 0 w 9810080"/>
              <a:gd name="connsiteY0" fmla="*/ 74080475 h 157153581"/>
              <a:gd name="connsiteX1" fmla="*/ 975896 w 9810080"/>
              <a:gd name="connsiteY1" fmla="*/ 147811151 h 157153581"/>
              <a:gd name="connsiteX2" fmla="*/ 1954685 w 9810080"/>
              <a:gd name="connsiteY2" fmla="*/ 74015284 h 157153581"/>
              <a:gd name="connsiteX3" fmla="*/ 2875880 w 9810080"/>
              <a:gd name="connsiteY3" fmla="*/ 147648587 h 157153581"/>
              <a:gd name="connsiteX4" fmla="*/ 3895784 w 9810080"/>
              <a:gd name="connsiteY4" fmla="*/ 147259981 h 157153581"/>
              <a:gd name="connsiteX5" fmla="*/ 4874572 w 9810080"/>
              <a:gd name="connsiteY5" fmla="*/ 65730699 h 157153581"/>
              <a:gd name="connsiteX6" fmla="*/ 5814405 w 9810080"/>
              <a:gd name="connsiteY6" fmla="*/ 145291507 h 157153581"/>
              <a:gd name="connsiteX7" fmla="*/ 6770833 w 9810080"/>
              <a:gd name="connsiteY7" fmla="*/ 126024012 h 157153581"/>
              <a:gd name="connsiteX8" fmla="*/ 7837346 w 9810080"/>
              <a:gd name="connsiteY8" fmla="*/ 8334692 h 157153581"/>
              <a:gd name="connsiteX9" fmla="*/ 8760213 w 9810080"/>
              <a:gd name="connsiteY9" fmla="*/ 9672426 h 157153581"/>
              <a:gd name="connsiteX10" fmla="*/ 9810080 w 9810080"/>
              <a:gd name="connsiteY10" fmla="*/ 9765559 h 157153581"/>
              <a:gd name="connsiteX11" fmla="*/ 9810080 w 9810080"/>
              <a:gd name="connsiteY11" fmla="*/ 9765559 h 157153581"/>
              <a:gd name="connsiteX0" fmla="*/ 0 w 9810080"/>
              <a:gd name="connsiteY0" fmla="*/ 70970085 h 154043191"/>
              <a:gd name="connsiteX1" fmla="*/ 975896 w 9810080"/>
              <a:gd name="connsiteY1" fmla="*/ 144700761 h 154043191"/>
              <a:gd name="connsiteX2" fmla="*/ 1954685 w 9810080"/>
              <a:gd name="connsiteY2" fmla="*/ 70904894 h 154043191"/>
              <a:gd name="connsiteX3" fmla="*/ 2875880 w 9810080"/>
              <a:gd name="connsiteY3" fmla="*/ 144538197 h 154043191"/>
              <a:gd name="connsiteX4" fmla="*/ 3895784 w 9810080"/>
              <a:gd name="connsiteY4" fmla="*/ 144149591 h 154043191"/>
              <a:gd name="connsiteX5" fmla="*/ 4874572 w 9810080"/>
              <a:gd name="connsiteY5" fmla="*/ 62620309 h 154043191"/>
              <a:gd name="connsiteX6" fmla="*/ 5814405 w 9810080"/>
              <a:gd name="connsiteY6" fmla="*/ 142181117 h 154043191"/>
              <a:gd name="connsiteX7" fmla="*/ 6806929 w 9810080"/>
              <a:gd name="connsiteY7" fmla="*/ 80851486 h 154043191"/>
              <a:gd name="connsiteX8" fmla="*/ 7837346 w 9810080"/>
              <a:gd name="connsiteY8" fmla="*/ 5224302 h 154043191"/>
              <a:gd name="connsiteX9" fmla="*/ 8760213 w 9810080"/>
              <a:gd name="connsiteY9" fmla="*/ 6562036 h 154043191"/>
              <a:gd name="connsiteX10" fmla="*/ 9810080 w 9810080"/>
              <a:gd name="connsiteY10" fmla="*/ 6655169 h 154043191"/>
              <a:gd name="connsiteX11" fmla="*/ 9810080 w 9810080"/>
              <a:gd name="connsiteY11" fmla="*/ 6655169 h 154043191"/>
              <a:gd name="connsiteX0" fmla="*/ 0 w 9810080"/>
              <a:gd name="connsiteY0" fmla="*/ 70003153 h 153076259"/>
              <a:gd name="connsiteX1" fmla="*/ 975896 w 9810080"/>
              <a:gd name="connsiteY1" fmla="*/ 143733829 h 153076259"/>
              <a:gd name="connsiteX2" fmla="*/ 1954685 w 9810080"/>
              <a:gd name="connsiteY2" fmla="*/ 69937962 h 153076259"/>
              <a:gd name="connsiteX3" fmla="*/ 2875880 w 9810080"/>
              <a:gd name="connsiteY3" fmla="*/ 143571265 h 153076259"/>
              <a:gd name="connsiteX4" fmla="*/ 3895784 w 9810080"/>
              <a:gd name="connsiteY4" fmla="*/ 143182659 h 153076259"/>
              <a:gd name="connsiteX5" fmla="*/ 4874572 w 9810080"/>
              <a:gd name="connsiteY5" fmla="*/ 61653377 h 153076259"/>
              <a:gd name="connsiteX6" fmla="*/ 5814405 w 9810080"/>
              <a:gd name="connsiteY6" fmla="*/ 141214185 h 153076259"/>
              <a:gd name="connsiteX7" fmla="*/ 6806929 w 9810080"/>
              <a:gd name="connsiteY7" fmla="*/ 79884554 h 153076259"/>
              <a:gd name="connsiteX8" fmla="*/ 7891490 w 9810080"/>
              <a:gd name="connsiteY8" fmla="*/ 81546560 h 153076259"/>
              <a:gd name="connsiteX9" fmla="*/ 8760213 w 9810080"/>
              <a:gd name="connsiteY9" fmla="*/ 5595104 h 153076259"/>
              <a:gd name="connsiteX10" fmla="*/ 9810080 w 9810080"/>
              <a:gd name="connsiteY10" fmla="*/ 5688237 h 153076259"/>
              <a:gd name="connsiteX11" fmla="*/ 9810080 w 9810080"/>
              <a:gd name="connsiteY11" fmla="*/ 5688237 h 153076259"/>
              <a:gd name="connsiteX0" fmla="*/ 0 w 9810080"/>
              <a:gd name="connsiteY0" fmla="*/ 70003153 h 153076259"/>
              <a:gd name="connsiteX1" fmla="*/ 975896 w 9810080"/>
              <a:gd name="connsiteY1" fmla="*/ 143733829 h 153076259"/>
              <a:gd name="connsiteX2" fmla="*/ 1954685 w 9810080"/>
              <a:gd name="connsiteY2" fmla="*/ 69937962 h 153076259"/>
              <a:gd name="connsiteX3" fmla="*/ 2875880 w 9810080"/>
              <a:gd name="connsiteY3" fmla="*/ 143571265 h 153076259"/>
              <a:gd name="connsiteX4" fmla="*/ 3895784 w 9810080"/>
              <a:gd name="connsiteY4" fmla="*/ 143182659 h 153076259"/>
              <a:gd name="connsiteX5" fmla="*/ 4874572 w 9810080"/>
              <a:gd name="connsiteY5" fmla="*/ 61653377 h 153076259"/>
              <a:gd name="connsiteX6" fmla="*/ 5814405 w 9810080"/>
              <a:gd name="connsiteY6" fmla="*/ 141214185 h 153076259"/>
              <a:gd name="connsiteX7" fmla="*/ 6806929 w 9810080"/>
              <a:gd name="connsiteY7" fmla="*/ 79884554 h 153076259"/>
              <a:gd name="connsiteX8" fmla="*/ 7891490 w 9810080"/>
              <a:gd name="connsiteY8" fmla="*/ 81546560 h 153076259"/>
              <a:gd name="connsiteX9" fmla="*/ 8760213 w 9810080"/>
              <a:gd name="connsiteY9" fmla="*/ 5595104 h 153076259"/>
              <a:gd name="connsiteX10" fmla="*/ 9810080 w 9810080"/>
              <a:gd name="connsiteY10" fmla="*/ 5688237 h 153076259"/>
              <a:gd name="connsiteX11" fmla="*/ 9810080 w 9810080"/>
              <a:gd name="connsiteY11" fmla="*/ 5688237 h 153076259"/>
              <a:gd name="connsiteX0" fmla="*/ 0 w 9810080"/>
              <a:gd name="connsiteY0" fmla="*/ 70197842 h 153270948"/>
              <a:gd name="connsiteX1" fmla="*/ 975896 w 9810080"/>
              <a:gd name="connsiteY1" fmla="*/ 143928518 h 153270948"/>
              <a:gd name="connsiteX2" fmla="*/ 1954685 w 9810080"/>
              <a:gd name="connsiteY2" fmla="*/ 70132651 h 153270948"/>
              <a:gd name="connsiteX3" fmla="*/ 2875880 w 9810080"/>
              <a:gd name="connsiteY3" fmla="*/ 143765954 h 153270948"/>
              <a:gd name="connsiteX4" fmla="*/ 3895784 w 9810080"/>
              <a:gd name="connsiteY4" fmla="*/ 143377348 h 153270948"/>
              <a:gd name="connsiteX5" fmla="*/ 4874572 w 9810080"/>
              <a:gd name="connsiteY5" fmla="*/ 61848066 h 153270948"/>
              <a:gd name="connsiteX6" fmla="*/ 5814405 w 9810080"/>
              <a:gd name="connsiteY6" fmla="*/ 141408874 h 153270948"/>
              <a:gd name="connsiteX7" fmla="*/ 6806929 w 9810080"/>
              <a:gd name="connsiteY7" fmla="*/ 80079243 h 153270948"/>
              <a:gd name="connsiteX8" fmla="*/ 7774179 w 9810080"/>
              <a:gd name="connsiteY8" fmla="*/ 84370132 h 153270948"/>
              <a:gd name="connsiteX9" fmla="*/ 8760213 w 9810080"/>
              <a:gd name="connsiteY9" fmla="*/ 5789793 h 153270948"/>
              <a:gd name="connsiteX10" fmla="*/ 9810080 w 9810080"/>
              <a:gd name="connsiteY10" fmla="*/ 5882926 h 153270948"/>
              <a:gd name="connsiteX11" fmla="*/ 9810080 w 9810080"/>
              <a:gd name="connsiteY11" fmla="*/ 5882926 h 153270948"/>
              <a:gd name="connsiteX0" fmla="*/ 0 w 9810080"/>
              <a:gd name="connsiteY0" fmla="*/ 64314939 h 160662568"/>
              <a:gd name="connsiteX1" fmla="*/ 975896 w 9810080"/>
              <a:gd name="connsiteY1" fmla="*/ 138045615 h 160662568"/>
              <a:gd name="connsiteX2" fmla="*/ 1954685 w 9810080"/>
              <a:gd name="connsiteY2" fmla="*/ 64249748 h 160662568"/>
              <a:gd name="connsiteX3" fmla="*/ 2875880 w 9810080"/>
              <a:gd name="connsiteY3" fmla="*/ 137883051 h 160662568"/>
              <a:gd name="connsiteX4" fmla="*/ 3895784 w 9810080"/>
              <a:gd name="connsiteY4" fmla="*/ 137494445 h 160662568"/>
              <a:gd name="connsiteX5" fmla="*/ 4874572 w 9810080"/>
              <a:gd name="connsiteY5" fmla="*/ 55965163 h 160662568"/>
              <a:gd name="connsiteX6" fmla="*/ 5814405 w 9810080"/>
              <a:gd name="connsiteY6" fmla="*/ 135525971 h 160662568"/>
              <a:gd name="connsiteX7" fmla="*/ 6806929 w 9810080"/>
              <a:gd name="connsiteY7" fmla="*/ 74196340 h 160662568"/>
              <a:gd name="connsiteX8" fmla="*/ 7774179 w 9810080"/>
              <a:gd name="connsiteY8" fmla="*/ 78487229 h 160662568"/>
              <a:gd name="connsiteX9" fmla="*/ 8769237 w 9810080"/>
              <a:gd name="connsiteY9" fmla="*/ 159217221 h 160662568"/>
              <a:gd name="connsiteX10" fmla="*/ 9810080 w 9810080"/>
              <a:gd name="connsiteY10" fmla="*/ 23 h 160662568"/>
              <a:gd name="connsiteX11" fmla="*/ 9810080 w 9810080"/>
              <a:gd name="connsiteY11" fmla="*/ 23 h 160662568"/>
              <a:gd name="connsiteX0" fmla="*/ 0 w 9810080"/>
              <a:gd name="connsiteY0" fmla="*/ 64314939 h 159436639"/>
              <a:gd name="connsiteX1" fmla="*/ 975896 w 9810080"/>
              <a:gd name="connsiteY1" fmla="*/ 138045615 h 159436639"/>
              <a:gd name="connsiteX2" fmla="*/ 1954685 w 9810080"/>
              <a:gd name="connsiteY2" fmla="*/ 64249748 h 159436639"/>
              <a:gd name="connsiteX3" fmla="*/ 2875880 w 9810080"/>
              <a:gd name="connsiteY3" fmla="*/ 137883051 h 159436639"/>
              <a:gd name="connsiteX4" fmla="*/ 3895784 w 9810080"/>
              <a:gd name="connsiteY4" fmla="*/ 137494445 h 159436639"/>
              <a:gd name="connsiteX5" fmla="*/ 4874572 w 9810080"/>
              <a:gd name="connsiteY5" fmla="*/ 55965163 h 159436639"/>
              <a:gd name="connsiteX6" fmla="*/ 5814405 w 9810080"/>
              <a:gd name="connsiteY6" fmla="*/ 135525971 h 159436639"/>
              <a:gd name="connsiteX7" fmla="*/ 6806929 w 9810080"/>
              <a:gd name="connsiteY7" fmla="*/ 74196340 h 159436639"/>
              <a:gd name="connsiteX8" fmla="*/ 7774179 w 9810080"/>
              <a:gd name="connsiteY8" fmla="*/ 78487229 h 159436639"/>
              <a:gd name="connsiteX9" fmla="*/ 8769237 w 9810080"/>
              <a:gd name="connsiteY9" fmla="*/ 159217221 h 159436639"/>
              <a:gd name="connsiteX10" fmla="*/ 9810080 w 9810080"/>
              <a:gd name="connsiteY10" fmla="*/ 23 h 159436639"/>
              <a:gd name="connsiteX11" fmla="*/ 9810080 w 9810080"/>
              <a:gd name="connsiteY11" fmla="*/ 23 h 159436639"/>
              <a:gd name="connsiteX0" fmla="*/ 0 w 9810080"/>
              <a:gd name="connsiteY0" fmla="*/ 64314939 h 159436639"/>
              <a:gd name="connsiteX1" fmla="*/ 975896 w 9810080"/>
              <a:gd name="connsiteY1" fmla="*/ 138045615 h 159436639"/>
              <a:gd name="connsiteX2" fmla="*/ 1954685 w 9810080"/>
              <a:gd name="connsiteY2" fmla="*/ 64249748 h 159436639"/>
              <a:gd name="connsiteX3" fmla="*/ 2875880 w 9810080"/>
              <a:gd name="connsiteY3" fmla="*/ 137883051 h 159436639"/>
              <a:gd name="connsiteX4" fmla="*/ 3895784 w 9810080"/>
              <a:gd name="connsiteY4" fmla="*/ 137494445 h 159436639"/>
              <a:gd name="connsiteX5" fmla="*/ 4874572 w 9810080"/>
              <a:gd name="connsiteY5" fmla="*/ 55965163 h 159436639"/>
              <a:gd name="connsiteX6" fmla="*/ 5814405 w 9810080"/>
              <a:gd name="connsiteY6" fmla="*/ 135525971 h 159436639"/>
              <a:gd name="connsiteX7" fmla="*/ 6806929 w 9810080"/>
              <a:gd name="connsiteY7" fmla="*/ 74196340 h 159436639"/>
              <a:gd name="connsiteX8" fmla="*/ 7774179 w 9810080"/>
              <a:gd name="connsiteY8" fmla="*/ 78487229 h 159436639"/>
              <a:gd name="connsiteX9" fmla="*/ 8769237 w 9810080"/>
              <a:gd name="connsiteY9" fmla="*/ 159217221 h 159436639"/>
              <a:gd name="connsiteX10" fmla="*/ 9810080 w 9810080"/>
              <a:gd name="connsiteY10" fmla="*/ 23 h 159436639"/>
              <a:gd name="connsiteX11" fmla="*/ 9810080 w 9810080"/>
              <a:gd name="connsiteY11" fmla="*/ 83072720 h 159436639"/>
              <a:gd name="connsiteX0" fmla="*/ 0 w 9810080"/>
              <a:gd name="connsiteY0" fmla="*/ 8350825 h 103316144"/>
              <a:gd name="connsiteX1" fmla="*/ 975896 w 9810080"/>
              <a:gd name="connsiteY1" fmla="*/ 82081501 h 103316144"/>
              <a:gd name="connsiteX2" fmla="*/ 1954685 w 9810080"/>
              <a:gd name="connsiteY2" fmla="*/ 8285634 h 103316144"/>
              <a:gd name="connsiteX3" fmla="*/ 2875880 w 9810080"/>
              <a:gd name="connsiteY3" fmla="*/ 81918937 h 103316144"/>
              <a:gd name="connsiteX4" fmla="*/ 3895784 w 9810080"/>
              <a:gd name="connsiteY4" fmla="*/ 81530331 h 103316144"/>
              <a:gd name="connsiteX5" fmla="*/ 4874572 w 9810080"/>
              <a:gd name="connsiteY5" fmla="*/ 1049 h 103316144"/>
              <a:gd name="connsiteX6" fmla="*/ 5814405 w 9810080"/>
              <a:gd name="connsiteY6" fmla="*/ 79561857 h 103316144"/>
              <a:gd name="connsiteX7" fmla="*/ 6806929 w 9810080"/>
              <a:gd name="connsiteY7" fmla="*/ 18232226 h 103316144"/>
              <a:gd name="connsiteX8" fmla="*/ 7774179 w 9810080"/>
              <a:gd name="connsiteY8" fmla="*/ 22523115 h 103316144"/>
              <a:gd name="connsiteX9" fmla="*/ 8769237 w 9810080"/>
              <a:gd name="connsiteY9" fmla="*/ 103253107 h 103316144"/>
              <a:gd name="connsiteX10" fmla="*/ 9593504 w 9810080"/>
              <a:gd name="connsiteY10" fmla="*/ 37098363 h 103316144"/>
              <a:gd name="connsiteX11" fmla="*/ 9810080 w 9810080"/>
              <a:gd name="connsiteY11" fmla="*/ 27108606 h 103316144"/>
              <a:gd name="connsiteX0" fmla="*/ 0 w 9593504"/>
              <a:gd name="connsiteY0" fmla="*/ 8350825 h 103316144"/>
              <a:gd name="connsiteX1" fmla="*/ 975896 w 9593504"/>
              <a:gd name="connsiteY1" fmla="*/ 82081501 h 103316144"/>
              <a:gd name="connsiteX2" fmla="*/ 1954685 w 9593504"/>
              <a:gd name="connsiteY2" fmla="*/ 8285634 h 103316144"/>
              <a:gd name="connsiteX3" fmla="*/ 2875880 w 9593504"/>
              <a:gd name="connsiteY3" fmla="*/ 81918937 h 103316144"/>
              <a:gd name="connsiteX4" fmla="*/ 3895784 w 9593504"/>
              <a:gd name="connsiteY4" fmla="*/ 81530331 h 103316144"/>
              <a:gd name="connsiteX5" fmla="*/ 4874572 w 9593504"/>
              <a:gd name="connsiteY5" fmla="*/ 1049 h 103316144"/>
              <a:gd name="connsiteX6" fmla="*/ 5814405 w 9593504"/>
              <a:gd name="connsiteY6" fmla="*/ 79561857 h 103316144"/>
              <a:gd name="connsiteX7" fmla="*/ 6806929 w 9593504"/>
              <a:gd name="connsiteY7" fmla="*/ 18232226 h 103316144"/>
              <a:gd name="connsiteX8" fmla="*/ 7774179 w 9593504"/>
              <a:gd name="connsiteY8" fmla="*/ 22523115 h 103316144"/>
              <a:gd name="connsiteX9" fmla="*/ 8769237 w 9593504"/>
              <a:gd name="connsiteY9" fmla="*/ 103253107 h 103316144"/>
              <a:gd name="connsiteX10" fmla="*/ 9593504 w 9593504"/>
              <a:gd name="connsiteY10" fmla="*/ 37098363 h 103316144"/>
              <a:gd name="connsiteX0" fmla="*/ 0 w 9873247"/>
              <a:gd name="connsiteY0" fmla="*/ 8350825 h 103287054"/>
              <a:gd name="connsiteX1" fmla="*/ 975896 w 9873247"/>
              <a:gd name="connsiteY1" fmla="*/ 82081501 h 103287054"/>
              <a:gd name="connsiteX2" fmla="*/ 1954685 w 9873247"/>
              <a:gd name="connsiteY2" fmla="*/ 8285634 h 103287054"/>
              <a:gd name="connsiteX3" fmla="*/ 2875880 w 9873247"/>
              <a:gd name="connsiteY3" fmla="*/ 81918937 h 103287054"/>
              <a:gd name="connsiteX4" fmla="*/ 3895784 w 9873247"/>
              <a:gd name="connsiteY4" fmla="*/ 81530331 h 103287054"/>
              <a:gd name="connsiteX5" fmla="*/ 4874572 w 9873247"/>
              <a:gd name="connsiteY5" fmla="*/ 1049 h 103287054"/>
              <a:gd name="connsiteX6" fmla="*/ 5814405 w 9873247"/>
              <a:gd name="connsiteY6" fmla="*/ 79561857 h 103287054"/>
              <a:gd name="connsiteX7" fmla="*/ 6806929 w 9873247"/>
              <a:gd name="connsiteY7" fmla="*/ 18232226 h 103287054"/>
              <a:gd name="connsiteX8" fmla="*/ 7774179 w 9873247"/>
              <a:gd name="connsiteY8" fmla="*/ 22523115 h 103287054"/>
              <a:gd name="connsiteX9" fmla="*/ 8769237 w 9873247"/>
              <a:gd name="connsiteY9" fmla="*/ 103253107 h 103287054"/>
              <a:gd name="connsiteX10" fmla="*/ 9873247 w 9873247"/>
              <a:gd name="connsiteY10" fmla="*/ 33417926 h 103287054"/>
              <a:gd name="connsiteX0" fmla="*/ 0 w 9846175"/>
              <a:gd name="connsiteY0" fmla="*/ 10159938 h 105230137"/>
              <a:gd name="connsiteX1" fmla="*/ 975896 w 9846175"/>
              <a:gd name="connsiteY1" fmla="*/ 83890614 h 105230137"/>
              <a:gd name="connsiteX2" fmla="*/ 1954685 w 9846175"/>
              <a:gd name="connsiteY2" fmla="*/ 10094747 h 105230137"/>
              <a:gd name="connsiteX3" fmla="*/ 2875880 w 9846175"/>
              <a:gd name="connsiteY3" fmla="*/ 83728050 h 105230137"/>
              <a:gd name="connsiteX4" fmla="*/ 3895784 w 9846175"/>
              <a:gd name="connsiteY4" fmla="*/ 83339444 h 105230137"/>
              <a:gd name="connsiteX5" fmla="*/ 4874572 w 9846175"/>
              <a:gd name="connsiteY5" fmla="*/ 1810162 h 105230137"/>
              <a:gd name="connsiteX6" fmla="*/ 5814405 w 9846175"/>
              <a:gd name="connsiteY6" fmla="*/ 81370970 h 105230137"/>
              <a:gd name="connsiteX7" fmla="*/ 6806929 w 9846175"/>
              <a:gd name="connsiteY7" fmla="*/ 20041339 h 105230137"/>
              <a:gd name="connsiteX8" fmla="*/ 7774179 w 9846175"/>
              <a:gd name="connsiteY8" fmla="*/ 24332228 h 105230137"/>
              <a:gd name="connsiteX9" fmla="*/ 8769237 w 9846175"/>
              <a:gd name="connsiteY9" fmla="*/ 105062220 h 105230137"/>
              <a:gd name="connsiteX10" fmla="*/ 9846175 w 9846175"/>
              <a:gd name="connsiteY10" fmla="*/ 0 h 105230137"/>
              <a:gd name="connsiteX0" fmla="*/ 0 w 9846175"/>
              <a:gd name="connsiteY0" fmla="*/ 10159938 h 105230137"/>
              <a:gd name="connsiteX1" fmla="*/ 1013157 w 9846175"/>
              <a:gd name="connsiteY1" fmla="*/ 12249300 h 105230137"/>
              <a:gd name="connsiteX2" fmla="*/ 1954685 w 9846175"/>
              <a:gd name="connsiteY2" fmla="*/ 10094747 h 105230137"/>
              <a:gd name="connsiteX3" fmla="*/ 2875880 w 9846175"/>
              <a:gd name="connsiteY3" fmla="*/ 83728050 h 105230137"/>
              <a:gd name="connsiteX4" fmla="*/ 3895784 w 9846175"/>
              <a:gd name="connsiteY4" fmla="*/ 83339444 h 105230137"/>
              <a:gd name="connsiteX5" fmla="*/ 4874572 w 9846175"/>
              <a:gd name="connsiteY5" fmla="*/ 1810162 h 105230137"/>
              <a:gd name="connsiteX6" fmla="*/ 5814405 w 9846175"/>
              <a:gd name="connsiteY6" fmla="*/ 81370970 h 105230137"/>
              <a:gd name="connsiteX7" fmla="*/ 6806929 w 9846175"/>
              <a:gd name="connsiteY7" fmla="*/ 20041339 h 105230137"/>
              <a:gd name="connsiteX8" fmla="*/ 7774179 w 9846175"/>
              <a:gd name="connsiteY8" fmla="*/ 24332228 h 105230137"/>
              <a:gd name="connsiteX9" fmla="*/ 8769237 w 9846175"/>
              <a:gd name="connsiteY9" fmla="*/ 105062220 h 105230137"/>
              <a:gd name="connsiteX10" fmla="*/ 9846175 w 9846175"/>
              <a:gd name="connsiteY10" fmla="*/ 0 h 105230137"/>
              <a:gd name="connsiteX0" fmla="*/ 0 w 9846175"/>
              <a:gd name="connsiteY0" fmla="*/ 10159938 h 105230137"/>
              <a:gd name="connsiteX1" fmla="*/ 1013157 w 9846175"/>
              <a:gd name="connsiteY1" fmla="*/ 12249300 h 105230137"/>
              <a:gd name="connsiteX2" fmla="*/ 1954685 w 9846175"/>
              <a:gd name="connsiteY2" fmla="*/ 10094747 h 105230137"/>
              <a:gd name="connsiteX3" fmla="*/ 2894510 w 9846175"/>
              <a:gd name="connsiteY3" fmla="*/ 13714961 h 105230137"/>
              <a:gd name="connsiteX4" fmla="*/ 3895784 w 9846175"/>
              <a:gd name="connsiteY4" fmla="*/ 83339444 h 105230137"/>
              <a:gd name="connsiteX5" fmla="*/ 4874572 w 9846175"/>
              <a:gd name="connsiteY5" fmla="*/ 1810162 h 105230137"/>
              <a:gd name="connsiteX6" fmla="*/ 5814405 w 9846175"/>
              <a:gd name="connsiteY6" fmla="*/ 81370970 h 105230137"/>
              <a:gd name="connsiteX7" fmla="*/ 6806929 w 9846175"/>
              <a:gd name="connsiteY7" fmla="*/ 20041339 h 105230137"/>
              <a:gd name="connsiteX8" fmla="*/ 7774179 w 9846175"/>
              <a:gd name="connsiteY8" fmla="*/ 24332228 h 105230137"/>
              <a:gd name="connsiteX9" fmla="*/ 8769237 w 9846175"/>
              <a:gd name="connsiteY9" fmla="*/ 105062220 h 105230137"/>
              <a:gd name="connsiteX10" fmla="*/ 9846175 w 9846175"/>
              <a:gd name="connsiteY10" fmla="*/ 0 h 105230137"/>
              <a:gd name="connsiteX0" fmla="*/ 0 w 9846175"/>
              <a:gd name="connsiteY0" fmla="*/ 12014812 h 107085011"/>
              <a:gd name="connsiteX1" fmla="*/ 1013157 w 9846175"/>
              <a:gd name="connsiteY1" fmla="*/ 14104174 h 107085011"/>
              <a:gd name="connsiteX2" fmla="*/ 1954685 w 9846175"/>
              <a:gd name="connsiteY2" fmla="*/ 11949621 h 107085011"/>
              <a:gd name="connsiteX3" fmla="*/ 2894510 w 9846175"/>
              <a:gd name="connsiteY3" fmla="*/ 15569835 h 107085011"/>
              <a:gd name="connsiteX4" fmla="*/ 3849208 w 9846175"/>
              <a:gd name="connsiteY4" fmla="*/ 13553006 h 107085011"/>
              <a:gd name="connsiteX5" fmla="*/ 4874572 w 9846175"/>
              <a:gd name="connsiteY5" fmla="*/ 3665036 h 107085011"/>
              <a:gd name="connsiteX6" fmla="*/ 5814405 w 9846175"/>
              <a:gd name="connsiteY6" fmla="*/ 83225844 h 107085011"/>
              <a:gd name="connsiteX7" fmla="*/ 6806929 w 9846175"/>
              <a:gd name="connsiteY7" fmla="*/ 21896213 h 107085011"/>
              <a:gd name="connsiteX8" fmla="*/ 7774179 w 9846175"/>
              <a:gd name="connsiteY8" fmla="*/ 26187102 h 107085011"/>
              <a:gd name="connsiteX9" fmla="*/ 8769237 w 9846175"/>
              <a:gd name="connsiteY9" fmla="*/ 106917094 h 107085011"/>
              <a:gd name="connsiteX10" fmla="*/ 9846175 w 9846175"/>
              <a:gd name="connsiteY10" fmla="*/ 1854874 h 107085011"/>
              <a:gd name="connsiteX0" fmla="*/ 0 w 9846175"/>
              <a:gd name="connsiteY0" fmla="*/ 10159938 h 105230137"/>
              <a:gd name="connsiteX1" fmla="*/ 1013157 w 9846175"/>
              <a:gd name="connsiteY1" fmla="*/ 12249300 h 105230137"/>
              <a:gd name="connsiteX2" fmla="*/ 1954685 w 9846175"/>
              <a:gd name="connsiteY2" fmla="*/ 10094747 h 105230137"/>
              <a:gd name="connsiteX3" fmla="*/ 2894510 w 9846175"/>
              <a:gd name="connsiteY3" fmla="*/ 13714961 h 105230137"/>
              <a:gd name="connsiteX4" fmla="*/ 3849208 w 9846175"/>
              <a:gd name="connsiteY4" fmla="*/ 11698132 h 105230137"/>
              <a:gd name="connsiteX5" fmla="*/ 4874572 w 9846175"/>
              <a:gd name="connsiteY5" fmla="*/ 1810162 h 105230137"/>
              <a:gd name="connsiteX6" fmla="*/ 5898240 w 9846175"/>
              <a:gd name="connsiteY6" fmla="*/ 9729657 h 105230137"/>
              <a:gd name="connsiteX7" fmla="*/ 6806929 w 9846175"/>
              <a:gd name="connsiteY7" fmla="*/ 20041339 h 105230137"/>
              <a:gd name="connsiteX8" fmla="*/ 7774179 w 9846175"/>
              <a:gd name="connsiteY8" fmla="*/ 24332228 h 105230137"/>
              <a:gd name="connsiteX9" fmla="*/ 8769237 w 9846175"/>
              <a:gd name="connsiteY9" fmla="*/ 105062220 h 105230137"/>
              <a:gd name="connsiteX10" fmla="*/ 9846175 w 9846175"/>
              <a:gd name="connsiteY10" fmla="*/ 0 h 105230137"/>
              <a:gd name="connsiteX0" fmla="*/ 0 w 9846175"/>
              <a:gd name="connsiteY0" fmla="*/ 10159938 h 105234553"/>
              <a:gd name="connsiteX1" fmla="*/ 1013157 w 9846175"/>
              <a:gd name="connsiteY1" fmla="*/ 12249300 h 105234553"/>
              <a:gd name="connsiteX2" fmla="*/ 1954685 w 9846175"/>
              <a:gd name="connsiteY2" fmla="*/ 10094747 h 105234553"/>
              <a:gd name="connsiteX3" fmla="*/ 2894510 w 9846175"/>
              <a:gd name="connsiteY3" fmla="*/ 13714961 h 105234553"/>
              <a:gd name="connsiteX4" fmla="*/ 3849208 w 9846175"/>
              <a:gd name="connsiteY4" fmla="*/ 11698132 h 105234553"/>
              <a:gd name="connsiteX5" fmla="*/ 4874572 w 9846175"/>
              <a:gd name="connsiteY5" fmla="*/ 1810162 h 105234553"/>
              <a:gd name="connsiteX6" fmla="*/ 5898240 w 9846175"/>
              <a:gd name="connsiteY6" fmla="*/ 9729657 h 105234553"/>
              <a:gd name="connsiteX7" fmla="*/ 6806929 w 9846175"/>
              <a:gd name="connsiteY7" fmla="*/ 8643824 h 105234553"/>
              <a:gd name="connsiteX8" fmla="*/ 7774179 w 9846175"/>
              <a:gd name="connsiteY8" fmla="*/ 24332228 h 105234553"/>
              <a:gd name="connsiteX9" fmla="*/ 8769237 w 9846175"/>
              <a:gd name="connsiteY9" fmla="*/ 105062220 h 105234553"/>
              <a:gd name="connsiteX10" fmla="*/ 9846175 w 9846175"/>
              <a:gd name="connsiteY10" fmla="*/ 0 h 105234553"/>
              <a:gd name="connsiteX0" fmla="*/ 0 w 9846175"/>
              <a:gd name="connsiteY0" fmla="*/ 11334311 h 106372825"/>
              <a:gd name="connsiteX1" fmla="*/ 1013157 w 9846175"/>
              <a:gd name="connsiteY1" fmla="*/ 13423673 h 106372825"/>
              <a:gd name="connsiteX2" fmla="*/ 1954685 w 9846175"/>
              <a:gd name="connsiteY2" fmla="*/ 11269120 h 106372825"/>
              <a:gd name="connsiteX3" fmla="*/ 2894510 w 9846175"/>
              <a:gd name="connsiteY3" fmla="*/ 14889334 h 106372825"/>
              <a:gd name="connsiteX4" fmla="*/ 3849208 w 9846175"/>
              <a:gd name="connsiteY4" fmla="*/ 12872505 h 106372825"/>
              <a:gd name="connsiteX5" fmla="*/ 4874572 w 9846175"/>
              <a:gd name="connsiteY5" fmla="*/ 2984535 h 106372825"/>
              <a:gd name="connsiteX6" fmla="*/ 5898240 w 9846175"/>
              <a:gd name="connsiteY6" fmla="*/ 10904030 h 106372825"/>
              <a:gd name="connsiteX7" fmla="*/ 6806929 w 9846175"/>
              <a:gd name="connsiteY7" fmla="*/ 9818197 h 106372825"/>
              <a:gd name="connsiteX8" fmla="*/ 7792808 w 9846175"/>
              <a:gd name="connsiteY8" fmla="*/ 6510744 h 106372825"/>
              <a:gd name="connsiteX9" fmla="*/ 8769237 w 9846175"/>
              <a:gd name="connsiteY9" fmla="*/ 106236593 h 106372825"/>
              <a:gd name="connsiteX10" fmla="*/ 9846175 w 9846175"/>
              <a:gd name="connsiteY10" fmla="*/ 1174373 h 106372825"/>
              <a:gd name="connsiteX0" fmla="*/ 0 w 9846175"/>
              <a:gd name="connsiteY0" fmla="*/ 10159938 h 13798313"/>
              <a:gd name="connsiteX1" fmla="*/ 1013157 w 9846175"/>
              <a:gd name="connsiteY1" fmla="*/ 12249300 h 13798313"/>
              <a:gd name="connsiteX2" fmla="*/ 1954685 w 9846175"/>
              <a:gd name="connsiteY2" fmla="*/ 10094747 h 13798313"/>
              <a:gd name="connsiteX3" fmla="*/ 2894510 w 9846175"/>
              <a:gd name="connsiteY3" fmla="*/ 13714961 h 13798313"/>
              <a:gd name="connsiteX4" fmla="*/ 3849208 w 9846175"/>
              <a:gd name="connsiteY4" fmla="*/ 11698132 h 13798313"/>
              <a:gd name="connsiteX5" fmla="*/ 4874572 w 9846175"/>
              <a:gd name="connsiteY5" fmla="*/ 1810162 h 13798313"/>
              <a:gd name="connsiteX6" fmla="*/ 5898240 w 9846175"/>
              <a:gd name="connsiteY6" fmla="*/ 9729657 h 13798313"/>
              <a:gd name="connsiteX7" fmla="*/ 6806929 w 9846175"/>
              <a:gd name="connsiteY7" fmla="*/ 8643824 h 13798313"/>
              <a:gd name="connsiteX8" fmla="*/ 7792808 w 9846175"/>
              <a:gd name="connsiteY8" fmla="*/ 5336371 h 13798313"/>
              <a:gd name="connsiteX9" fmla="*/ 8834443 w 9846175"/>
              <a:gd name="connsiteY9" fmla="*/ 7369485 h 13798313"/>
              <a:gd name="connsiteX10" fmla="*/ 9846175 w 9846175"/>
              <a:gd name="connsiteY10" fmla="*/ 0 h 13798313"/>
              <a:gd name="connsiteX0" fmla="*/ 0 w 9959171"/>
              <a:gd name="connsiteY0" fmla="*/ 204565672 h 204565672"/>
              <a:gd name="connsiteX1" fmla="*/ 1126153 w 9959171"/>
              <a:gd name="connsiteY1" fmla="*/ 14851688 h 204565672"/>
              <a:gd name="connsiteX2" fmla="*/ 2067681 w 9959171"/>
              <a:gd name="connsiteY2" fmla="*/ 12697135 h 204565672"/>
              <a:gd name="connsiteX3" fmla="*/ 3007506 w 9959171"/>
              <a:gd name="connsiteY3" fmla="*/ 16317349 h 204565672"/>
              <a:gd name="connsiteX4" fmla="*/ 3962204 w 9959171"/>
              <a:gd name="connsiteY4" fmla="*/ 14300520 h 204565672"/>
              <a:gd name="connsiteX5" fmla="*/ 4987568 w 9959171"/>
              <a:gd name="connsiteY5" fmla="*/ 4412550 h 204565672"/>
              <a:gd name="connsiteX6" fmla="*/ 6011236 w 9959171"/>
              <a:gd name="connsiteY6" fmla="*/ 12332045 h 204565672"/>
              <a:gd name="connsiteX7" fmla="*/ 6919925 w 9959171"/>
              <a:gd name="connsiteY7" fmla="*/ 11246212 h 204565672"/>
              <a:gd name="connsiteX8" fmla="*/ 7905804 w 9959171"/>
              <a:gd name="connsiteY8" fmla="*/ 7938759 h 204565672"/>
              <a:gd name="connsiteX9" fmla="*/ 8947439 w 9959171"/>
              <a:gd name="connsiteY9" fmla="*/ 9971873 h 204565672"/>
              <a:gd name="connsiteX10" fmla="*/ 9959171 w 9959171"/>
              <a:gd name="connsiteY10" fmla="*/ 2602388 h 204565672"/>
              <a:gd name="connsiteX0" fmla="*/ 0 w 9959171"/>
              <a:gd name="connsiteY0" fmla="*/ 203488175 h 205210846"/>
              <a:gd name="connsiteX1" fmla="*/ 990557 w 9959171"/>
              <a:gd name="connsiteY1" fmla="*/ 183193139 h 205210846"/>
              <a:gd name="connsiteX2" fmla="*/ 2067681 w 9959171"/>
              <a:gd name="connsiteY2" fmla="*/ 11619638 h 205210846"/>
              <a:gd name="connsiteX3" fmla="*/ 3007506 w 9959171"/>
              <a:gd name="connsiteY3" fmla="*/ 15239852 h 205210846"/>
              <a:gd name="connsiteX4" fmla="*/ 3962204 w 9959171"/>
              <a:gd name="connsiteY4" fmla="*/ 13223023 h 205210846"/>
              <a:gd name="connsiteX5" fmla="*/ 4987568 w 9959171"/>
              <a:gd name="connsiteY5" fmla="*/ 3335053 h 205210846"/>
              <a:gd name="connsiteX6" fmla="*/ 6011236 w 9959171"/>
              <a:gd name="connsiteY6" fmla="*/ 11254548 h 205210846"/>
              <a:gd name="connsiteX7" fmla="*/ 6919925 w 9959171"/>
              <a:gd name="connsiteY7" fmla="*/ 10168715 h 205210846"/>
              <a:gd name="connsiteX8" fmla="*/ 7905804 w 9959171"/>
              <a:gd name="connsiteY8" fmla="*/ 6861262 h 205210846"/>
              <a:gd name="connsiteX9" fmla="*/ 8947439 w 9959171"/>
              <a:gd name="connsiteY9" fmla="*/ 8894376 h 205210846"/>
              <a:gd name="connsiteX10" fmla="*/ 9959171 w 9959171"/>
              <a:gd name="connsiteY10" fmla="*/ 1524891 h 205210846"/>
              <a:gd name="connsiteX0" fmla="*/ 0 w 9959171"/>
              <a:gd name="connsiteY0" fmla="*/ 203488175 h 203488175"/>
              <a:gd name="connsiteX1" fmla="*/ 990557 w 9959171"/>
              <a:gd name="connsiteY1" fmla="*/ 183193139 h 203488175"/>
              <a:gd name="connsiteX2" fmla="*/ 2067681 w 9959171"/>
              <a:gd name="connsiteY2" fmla="*/ 11619638 h 203488175"/>
              <a:gd name="connsiteX3" fmla="*/ 3007506 w 9959171"/>
              <a:gd name="connsiteY3" fmla="*/ 15239852 h 203488175"/>
              <a:gd name="connsiteX4" fmla="*/ 3962204 w 9959171"/>
              <a:gd name="connsiteY4" fmla="*/ 13223023 h 203488175"/>
              <a:gd name="connsiteX5" fmla="*/ 4987568 w 9959171"/>
              <a:gd name="connsiteY5" fmla="*/ 3335053 h 203488175"/>
              <a:gd name="connsiteX6" fmla="*/ 6011236 w 9959171"/>
              <a:gd name="connsiteY6" fmla="*/ 11254548 h 203488175"/>
              <a:gd name="connsiteX7" fmla="*/ 6919925 w 9959171"/>
              <a:gd name="connsiteY7" fmla="*/ 10168715 h 203488175"/>
              <a:gd name="connsiteX8" fmla="*/ 7905804 w 9959171"/>
              <a:gd name="connsiteY8" fmla="*/ 6861262 h 203488175"/>
              <a:gd name="connsiteX9" fmla="*/ 8947439 w 9959171"/>
              <a:gd name="connsiteY9" fmla="*/ 8894376 h 203488175"/>
              <a:gd name="connsiteX10" fmla="*/ 9959171 w 9959171"/>
              <a:gd name="connsiteY10" fmla="*/ 1524891 h 203488175"/>
              <a:gd name="connsiteX0" fmla="*/ 0 w 9959171"/>
              <a:gd name="connsiteY0" fmla="*/ 203941419 h 203941419"/>
              <a:gd name="connsiteX1" fmla="*/ 922760 w 9959171"/>
              <a:gd name="connsiteY1" fmla="*/ 189791098 h 203941419"/>
              <a:gd name="connsiteX2" fmla="*/ 2067681 w 9959171"/>
              <a:gd name="connsiteY2" fmla="*/ 12072882 h 203941419"/>
              <a:gd name="connsiteX3" fmla="*/ 3007506 w 9959171"/>
              <a:gd name="connsiteY3" fmla="*/ 15693096 h 203941419"/>
              <a:gd name="connsiteX4" fmla="*/ 3962204 w 9959171"/>
              <a:gd name="connsiteY4" fmla="*/ 13676267 h 203941419"/>
              <a:gd name="connsiteX5" fmla="*/ 4987568 w 9959171"/>
              <a:gd name="connsiteY5" fmla="*/ 3788297 h 203941419"/>
              <a:gd name="connsiteX6" fmla="*/ 6011236 w 9959171"/>
              <a:gd name="connsiteY6" fmla="*/ 11707792 h 203941419"/>
              <a:gd name="connsiteX7" fmla="*/ 6919925 w 9959171"/>
              <a:gd name="connsiteY7" fmla="*/ 10621959 h 203941419"/>
              <a:gd name="connsiteX8" fmla="*/ 7905804 w 9959171"/>
              <a:gd name="connsiteY8" fmla="*/ 7314506 h 203941419"/>
              <a:gd name="connsiteX9" fmla="*/ 8947439 w 9959171"/>
              <a:gd name="connsiteY9" fmla="*/ 9347620 h 203941419"/>
              <a:gd name="connsiteX10" fmla="*/ 9959171 w 9959171"/>
              <a:gd name="connsiteY10" fmla="*/ 1978135 h 203941419"/>
              <a:gd name="connsiteX0" fmla="*/ 0 w 9959171"/>
              <a:gd name="connsiteY0" fmla="*/ 203941419 h 203941419"/>
              <a:gd name="connsiteX1" fmla="*/ 922760 w 9959171"/>
              <a:gd name="connsiteY1" fmla="*/ 189791098 h 203941419"/>
              <a:gd name="connsiteX2" fmla="*/ 2067681 w 9959171"/>
              <a:gd name="connsiteY2" fmla="*/ 12072882 h 203941419"/>
              <a:gd name="connsiteX3" fmla="*/ 3007506 w 9959171"/>
              <a:gd name="connsiteY3" fmla="*/ 15693096 h 203941419"/>
              <a:gd name="connsiteX4" fmla="*/ 3962204 w 9959171"/>
              <a:gd name="connsiteY4" fmla="*/ 13676267 h 203941419"/>
              <a:gd name="connsiteX5" fmla="*/ 4987568 w 9959171"/>
              <a:gd name="connsiteY5" fmla="*/ 3788297 h 203941419"/>
              <a:gd name="connsiteX6" fmla="*/ 6011236 w 9959171"/>
              <a:gd name="connsiteY6" fmla="*/ 11707792 h 203941419"/>
              <a:gd name="connsiteX7" fmla="*/ 6919925 w 9959171"/>
              <a:gd name="connsiteY7" fmla="*/ 10621959 h 203941419"/>
              <a:gd name="connsiteX8" fmla="*/ 7905804 w 9959171"/>
              <a:gd name="connsiteY8" fmla="*/ 7314506 h 203941419"/>
              <a:gd name="connsiteX9" fmla="*/ 8947439 w 9959171"/>
              <a:gd name="connsiteY9" fmla="*/ 9347620 h 203941419"/>
              <a:gd name="connsiteX10" fmla="*/ 9959171 w 9959171"/>
              <a:gd name="connsiteY10" fmla="*/ 1978135 h 203941419"/>
              <a:gd name="connsiteX0" fmla="*/ 0 w 9959171"/>
              <a:gd name="connsiteY0" fmla="*/ 201963284 h 201963284"/>
              <a:gd name="connsiteX1" fmla="*/ 922760 w 9959171"/>
              <a:gd name="connsiteY1" fmla="*/ 187812963 h 201963284"/>
              <a:gd name="connsiteX2" fmla="*/ 2060148 w 9959171"/>
              <a:gd name="connsiteY2" fmla="*/ 107093679 h 201963284"/>
              <a:gd name="connsiteX3" fmla="*/ 3007506 w 9959171"/>
              <a:gd name="connsiteY3" fmla="*/ 13714961 h 201963284"/>
              <a:gd name="connsiteX4" fmla="*/ 3962204 w 9959171"/>
              <a:gd name="connsiteY4" fmla="*/ 11698132 h 201963284"/>
              <a:gd name="connsiteX5" fmla="*/ 4987568 w 9959171"/>
              <a:gd name="connsiteY5" fmla="*/ 1810162 h 201963284"/>
              <a:gd name="connsiteX6" fmla="*/ 6011236 w 9959171"/>
              <a:gd name="connsiteY6" fmla="*/ 9729657 h 201963284"/>
              <a:gd name="connsiteX7" fmla="*/ 6919925 w 9959171"/>
              <a:gd name="connsiteY7" fmla="*/ 8643824 h 201963284"/>
              <a:gd name="connsiteX8" fmla="*/ 7905804 w 9959171"/>
              <a:gd name="connsiteY8" fmla="*/ 5336371 h 201963284"/>
              <a:gd name="connsiteX9" fmla="*/ 8947439 w 9959171"/>
              <a:gd name="connsiteY9" fmla="*/ 7369485 h 201963284"/>
              <a:gd name="connsiteX10" fmla="*/ 9959171 w 9959171"/>
              <a:gd name="connsiteY10" fmla="*/ 0 h 201963284"/>
              <a:gd name="connsiteX0" fmla="*/ 0 w 9959171"/>
              <a:gd name="connsiteY0" fmla="*/ 201963284 h 201963284"/>
              <a:gd name="connsiteX1" fmla="*/ 922760 w 9959171"/>
              <a:gd name="connsiteY1" fmla="*/ 187812963 h 201963284"/>
              <a:gd name="connsiteX2" fmla="*/ 2060148 w 9959171"/>
              <a:gd name="connsiteY2" fmla="*/ 107093679 h 201963284"/>
              <a:gd name="connsiteX3" fmla="*/ 3007506 w 9959171"/>
              <a:gd name="connsiteY3" fmla="*/ 13714961 h 201963284"/>
              <a:gd name="connsiteX4" fmla="*/ 3962204 w 9959171"/>
              <a:gd name="connsiteY4" fmla="*/ 11698132 h 201963284"/>
              <a:gd name="connsiteX5" fmla="*/ 4987568 w 9959171"/>
              <a:gd name="connsiteY5" fmla="*/ 1810162 h 201963284"/>
              <a:gd name="connsiteX6" fmla="*/ 6011236 w 9959171"/>
              <a:gd name="connsiteY6" fmla="*/ 9729657 h 201963284"/>
              <a:gd name="connsiteX7" fmla="*/ 6919925 w 9959171"/>
              <a:gd name="connsiteY7" fmla="*/ 8643824 h 201963284"/>
              <a:gd name="connsiteX8" fmla="*/ 7905804 w 9959171"/>
              <a:gd name="connsiteY8" fmla="*/ 5336371 h 201963284"/>
              <a:gd name="connsiteX9" fmla="*/ 8947439 w 9959171"/>
              <a:gd name="connsiteY9" fmla="*/ 7369485 h 201963284"/>
              <a:gd name="connsiteX10" fmla="*/ 9959171 w 9959171"/>
              <a:gd name="connsiteY10" fmla="*/ 0 h 201963284"/>
              <a:gd name="connsiteX0" fmla="*/ 0 w 9959171"/>
              <a:gd name="connsiteY0" fmla="*/ 201963284 h 201963284"/>
              <a:gd name="connsiteX1" fmla="*/ 922760 w 9959171"/>
              <a:gd name="connsiteY1" fmla="*/ 187812963 h 201963284"/>
              <a:gd name="connsiteX2" fmla="*/ 1834156 w 9959171"/>
              <a:gd name="connsiteY2" fmla="*/ 185658465 h 201963284"/>
              <a:gd name="connsiteX3" fmla="*/ 3007506 w 9959171"/>
              <a:gd name="connsiteY3" fmla="*/ 13714961 h 201963284"/>
              <a:gd name="connsiteX4" fmla="*/ 3962204 w 9959171"/>
              <a:gd name="connsiteY4" fmla="*/ 11698132 h 201963284"/>
              <a:gd name="connsiteX5" fmla="*/ 4987568 w 9959171"/>
              <a:gd name="connsiteY5" fmla="*/ 1810162 h 201963284"/>
              <a:gd name="connsiteX6" fmla="*/ 6011236 w 9959171"/>
              <a:gd name="connsiteY6" fmla="*/ 9729657 h 201963284"/>
              <a:gd name="connsiteX7" fmla="*/ 6919925 w 9959171"/>
              <a:gd name="connsiteY7" fmla="*/ 8643824 h 201963284"/>
              <a:gd name="connsiteX8" fmla="*/ 7905804 w 9959171"/>
              <a:gd name="connsiteY8" fmla="*/ 5336371 h 201963284"/>
              <a:gd name="connsiteX9" fmla="*/ 8947439 w 9959171"/>
              <a:gd name="connsiteY9" fmla="*/ 7369485 h 201963284"/>
              <a:gd name="connsiteX10" fmla="*/ 9959171 w 9959171"/>
              <a:gd name="connsiteY10" fmla="*/ 0 h 201963284"/>
              <a:gd name="connsiteX0" fmla="*/ 0 w 9959171"/>
              <a:gd name="connsiteY0" fmla="*/ 201963284 h 201963284"/>
              <a:gd name="connsiteX1" fmla="*/ 922760 w 9959171"/>
              <a:gd name="connsiteY1" fmla="*/ 187812963 h 201963284"/>
              <a:gd name="connsiteX2" fmla="*/ 1834156 w 9959171"/>
              <a:gd name="connsiteY2" fmla="*/ 185658465 h 201963284"/>
              <a:gd name="connsiteX3" fmla="*/ 3007506 w 9959171"/>
              <a:gd name="connsiteY3" fmla="*/ 13714961 h 201963284"/>
              <a:gd name="connsiteX4" fmla="*/ 3962204 w 9959171"/>
              <a:gd name="connsiteY4" fmla="*/ 11698132 h 201963284"/>
              <a:gd name="connsiteX5" fmla="*/ 4987568 w 9959171"/>
              <a:gd name="connsiteY5" fmla="*/ 1810162 h 201963284"/>
              <a:gd name="connsiteX6" fmla="*/ 6011236 w 9959171"/>
              <a:gd name="connsiteY6" fmla="*/ 9729657 h 201963284"/>
              <a:gd name="connsiteX7" fmla="*/ 6919925 w 9959171"/>
              <a:gd name="connsiteY7" fmla="*/ 8643824 h 201963284"/>
              <a:gd name="connsiteX8" fmla="*/ 7905804 w 9959171"/>
              <a:gd name="connsiteY8" fmla="*/ 5336371 h 201963284"/>
              <a:gd name="connsiteX9" fmla="*/ 8947439 w 9959171"/>
              <a:gd name="connsiteY9" fmla="*/ 7369485 h 201963284"/>
              <a:gd name="connsiteX10" fmla="*/ 9959171 w 9959171"/>
              <a:gd name="connsiteY10" fmla="*/ 0 h 201963284"/>
              <a:gd name="connsiteX0" fmla="*/ 0 w 9959171"/>
              <a:gd name="connsiteY0" fmla="*/ 210498751 h 251246916"/>
              <a:gd name="connsiteX1" fmla="*/ 922760 w 9959171"/>
              <a:gd name="connsiteY1" fmla="*/ 196348430 h 251246916"/>
              <a:gd name="connsiteX2" fmla="*/ 1834156 w 9959171"/>
              <a:gd name="connsiteY2" fmla="*/ 194193932 h 251246916"/>
              <a:gd name="connsiteX3" fmla="*/ 2841778 w 9959171"/>
              <a:gd name="connsiteY3" fmla="*/ 244338513 h 251246916"/>
              <a:gd name="connsiteX4" fmla="*/ 3962204 w 9959171"/>
              <a:gd name="connsiteY4" fmla="*/ 20233599 h 251246916"/>
              <a:gd name="connsiteX5" fmla="*/ 4987568 w 9959171"/>
              <a:gd name="connsiteY5" fmla="*/ 10345629 h 251246916"/>
              <a:gd name="connsiteX6" fmla="*/ 6011236 w 9959171"/>
              <a:gd name="connsiteY6" fmla="*/ 18265124 h 251246916"/>
              <a:gd name="connsiteX7" fmla="*/ 6919925 w 9959171"/>
              <a:gd name="connsiteY7" fmla="*/ 17179291 h 251246916"/>
              <a:gd name="connsiteX8" fmla="*/ 7905804 w 9959171"/>
              <a:gd name="connsiteY8" fmla="*/ 13871838 h 251246916"/>
              <a:gd name="connsiteX9" fmla="*/ 8947439 w 9959171"/>
              <a:gd name="connsiteY9" fmla="*/ 15904952 h 251246916"/>
              <a:gd name="connsiteX10" fmla="*/ 9959171 w 9959171"/>
              <a:gd name="connsiteY10" fmla="*/ 8535467 h 251246916"/>
              <a:gd name="connsiteX0" fmla="*/ 0 w 9959171"/>
              <a:gd name="connsiteY0" fmla="*/ 210498751 h 244689142"/>
              <a:gd name="connsiteX1" fmla="*/ 922760 w 9959171"/>
              <a:gd name="connsiteY1" fmla="*/ 196348430 h 244689142"/>
              <a:gd name="connsiteX2" fmla="*/ 1834156 w 9959171"/>
              <a:gd name="connsiteY2" fmla="*/ 194193932 h 244689142"/>
              <a:gd name="connsiteX3" fmla="*/ 2841778 w 9959171"/>
              <a:gd name="connsiteY3" fmla="*/ 244338513 h 244689142"/>
              <a:gd name="connsiteX4" fmla="*/ 3962204 w 9959171"/>
              <a:gd name="connsiteY4" fmla="*/ 20233599 h 244689142"/>
              <a:gd name="connsiteX5" fmla="*/ 4987568 w 9959171"/>
              <a:gd name="connsiteY5" fmla="*/ 10345629 h 244689142"/>
              <a:gd name="connsiteX6" fmla="*/ 6011236 w 9959171"/>
              <a:gd name="connsiteY6" fmla="*/ 18265124 h 244689142"/>
              <a:gd name="connsiteX7" fmla="*/ 6919925 w 9959171"/>
              <a:gd name="connsiteY7" fmla="*/ 17179291 h 244689142"/>
              <a:gd name="connsiteX8" fmla="*/ 7905804 w 9959171"/>
              <a:gd name="connsiteY8" fmla="*/ 13871838 h 244689142"/>
              <a:gd name="connsiteX9" fmla="*/ 8947439 w 9959171"/>
              <a:gd name="connsiteY9" fmla="*/ 15904952 h 244689142"/>
              <a:gd name="connsiteX10" fmla="*/ 9959171 w 9959171"/>
              <a:gd name="connsiteY10" fmla="*/ 8535467 h 244689142"/>
              <a:gd name="connsiteX0" fmla="*/ 0 w 9959171"/>
              <a:gd name="connsiteY0" fmla="*/ 210783471 h 248902587"/>
              <a:gd name="connsiteX1" fmla="*/ 922760 w 9959171"/>
              <a:gd name="connsiteY1" fmla="*/ 196633150 h 248902587"/>
              <a:gd name="connsiteX2" fmla="*/ 1834156 w 9959171"/>
              <a:gd name="connsiteY2" fmla="*/ 194478652 h 248902587"/>
              <a:gd name="connsiteX3" fmla="*/ 2841778 w 9959171"/>
              <a:gd name="connsiteY3" fmla="*/ 248573432 h 248902587"/>
              <a:gd name="connsiteX4" fmla="*/ 3962204 w 9959171"/>
              <a:gd name="connsiteY4" fmla="*/ 20518319 h 248902587"/>
              <a:gd name="connsiteX5" fmla="*/ 4987568 w 9959171"/>
              <a:gd name="connsiteY5" fmla="*/ 10630349 h 248902587"/>
              <a:gd name="connsiteX6" fmla="*/ 6011236 w 9959171"/>
              <a:gd name="connsiteY6" fmla="*/ 18549844 h 248902587"/>
              <a:gd name="connsiteX7" fmla="*/ 6919925 w 9959171"/>
              <a:gd name="connsiteY7" fmla="*/ 17464011 h 248902587"/>
              <a:gd name="connsiteX8" fmla="*/ 7905804 w 9959171"/>
              <a:gd name="connsiteY8" fmla="*/ 14156558 h 248902587"/>
              <a:gd name="connsiteX9" fmla="*/ 8947439 w 9959171"/>
              <a:gd name="connsiteY9" fmla="*/ 16189672 h 248902587"/>
              <a:gd name="connsiteX10" fmla="*/ 9959171 w 9959171"/>
              <a:gd name="connsiteY10" fmla="*/ 8820187 h 248902587"/>
              <a:gd name="connsiteX0" fmla="*/ 0 w 9959171"/>
              <a:gd name="connsiteY0" fmla="*/ 205605136 h 245482582"/>
              <a:gd name="connsiteX1" fmla="*/ 922760 w 9959171"/>
              <a:gd name="connsiteY1" fmla="*/ 191454815 h 245482582"/>
              <a:gd name="connsiteX2" fmla="*/ 1834156 w 9959171"/>
              <a:gd name="connsiteY2" fmla="*/ 189300317 h 245482582"/>
              <a:gd name="connsiteX3" fmla="*/ 2841778 w 9959171"/>
              <a:gd name="connsiteY3" fmla="*/ 243395097 h 245482582"/>
              <a:gd name="connsiteX4" fmla="*/ 3969738 w 9959171"/>
              <a:gd name="connsiteY4" fmla="*/ 106194201 h 245482582"/>
              <a:gd name="connsiteX5" fmla="*/ 4987568 w 9959171"/>
              <a:gd name="connsiteY5" fmla="*/ 5452014 h 245482582"/>
              <a:gd name="connsiteX6" fmla="*/ 6011236 w 9959171"/>
              <a:gd name="connsiteY6" fmla="*/ 13371509 h 245482582"/>
              <a:gd name="connsiteX7" fmla="*/ 6919925 w 9959171"/>
              <a:gd name="connsiteY7" fmla="*/ 12285676 h 245482582"/>
              <a:gd name="connsiteX8" fmla="*/ 7905804 w 9959171"/>
              <a:gd name="connsiteY8" fmla="*/ 8978223 h 245482582"/>
              <a:gd name="connsiteX9" fmla="*/ 8947439 w 9959171"/>
              <a:gd name="connsiteY9" fmla="*/ 11011337 h 245482582"/>
              <a:gd name="connsiteX10" fmla="*/ 9959171 w 9959171"/>
              <a:gd name="connsiteY10" fmla="*/ 3641852 h 245482582"/>
              <a:gd name="connsiteX0" fmla="*/ 0 w 9959171"/>
              <a:gd name="connsiteY0" fmla="*/ 205605136 h 245482582"/>
              <a:gd name="connsiteX1" fmla="*/ 922760 w 9959171"/>
              <a:gd name="connsiteY1" fmla="*/ 191454815 h 245482582"/>
              <a:gd name="connsiteX2" fmla="*/ 1834156 w 9959171"/>
              <a:gd name="connsiteY2" fmla="*/ 189300317 h 245482582"/>
              <a:gd name="connsiteX3" fmla="*/ 2841778 w 9959171"/>
              <a:gd name="connsiteY3" fmla="*/ 243395097 h 245482582"/>
              <a:gd name="connsiteX4" fmla="*/ 3969738 w 9959171"/>
              <a:gd name="connsiteY4" fmla="*/ 106194201 h 245482582"/>
              <a:gd name="connsiteX5" fmla="*/ 4987568 w 9959171"/>
              <a:gd name="connsiteY5" fmla="*/ 5452014 h 245482582"/>
              <a:gd name="connsiteX6" fmla="*/ 6011236 w 9959171"/>
              <a:gd name="connsiteY6" fmla="*/ 13371509 h 245482582"/>
              <a:gd name="connsiteX7" fmla="*/ 6919925 w 9959171"/>
              <a:gd name="connsiteY7" fmla="*/ 12285676 h 245482582"/>
              <a:gd name="connsiteX8" fmla="*/ 7905804 w 9959171"/>
              <a:gd name="connsiteY8" fmla="*/ 8978223 h 245482582"/>
              <a:gd name="connsiteX9" fmla="*/ 8947439 w 9959171"/>
              <a:gd name="connsiteY9" fmla="*/ 11011337 h 245482582"/>
              <a:gd name="connsiteX10" fmla="*/ 9959171 w 9959171"/>
              <a:gd name="connsiteY10" fmla="*/ 3641852 h 245482582"/>
              <a:gd name="connsiteX0" fmla="*/ 0 w 9959171"/>
              <a:gd name="connsiteY0" fmla="*/ 213615876 h 252052445"/>
              <a:gd name="connsiteX1" fmla="*/ 922760 w 9959171"/>
              <a:gd name="connsiteY1" fmla="*/ 199465555 h 252052445"/>
              <a:gd name="connsiteX2" fmla="*/ 1834156 w 9959171"/>
              <a:gd name="connsiteY2" fmla="*/ 197311057 h 252052445"/>
              <a:gd name="connsiteX3" fmla="*/ 2841778 w 9959171"/>
              <a:gd name="connsiteY3" fmla="*/ 251405837 h 252052445"/>
              <a:gd name="connsiteX4" fmla="*/ 3864275 w 9959171"/>
              <a:gd name="connsiteY4" fmla="*/ 224810091 h 252052445"/>
              <a:gd name="connsiteX5" fmla="*/ 4987568 w 9959171"/>
              <a:gd name="connsiteY5" fmla="*/ 13462754 h 252052445"/>
              <a:gd name="connsiteX6" fmla="*/ 6011236 w 9959171"/>
              <a:gd name="connsiteY6" fmla="*/ 21382249 h 252052445"/>
              <a:gd name="connsiteX7" fmla="*/ 6919925 w 9959171"/>
              <a:gd name="connsiteY7" fmla="*/ 20296416 h 252052445"/>
              <a:gd name="connsiteX8" fmla="*/ 7905804 w 9959171"/>
              <a:gd name="connsiteY8" fmla="*/ 16988963 h 252052445"/>
              <a:gd name="connsiteX9" fmla="*/ 8947439 w 9959171"/>
              <a:gd name="connsiteY9" fmla="*/ 19022077 h 252052445"/>
              <a:gd name="connsiteX10" fmla="*/ 9959171 w 9959171"/>
              <a:gd name="connsiteY10" fmla="*/ 11652592 h 252052445"/>
              <a:gd name="connsiteX0" fmla="*/ 0 w 9959171"/>
              <a:gd name="connsiteY0" fmla="*/ 215417648 h 259327980"/>
              <a:gd name="connsiteX1" fmla="*/ 922760 w 9959171"/>
              <a:gd name="connsiteY1" fmla="*/ 201267327 h 259327980"/>
              <a:gd name="connsiteX2" fmla="*/ 1834156 w 9959171"/>
              <a:gd name="connsiteY2" fmla="*/ 199112829 h 259327980"/>
              <a:gd name="connsiteX3" fmla="*/ 2841778 w 9959171"/>
              <a:gd name="connsiteY3" fmla="*/ 253207609 h 259327980"/>
              <a:gd name="connsiteX4" fmla="*/ 3773878 w 9959171"/>
              <a:gd name="connsiteY4" fmla="*/ 251190778 h 259327980"/>
              <a:gd name="connsiteX5" fmla="*/ 4987568 w 9959171"/>
              <a:gd name="connsiteY5" fmla="*/ 15264526 h 259327980"/>
              <a:gd name="connsiteX6" fmla="*/ 6011236 w 9959171"/>
              <a:gd name="connsiteY6" fmla="*/ 23184021 h 259327980"/>
              <a:gd name="connsiteX7" fmla="*/ 6919925 w 9959171"/>
              <a:gd name="connsiteY7" fmla="*/ 22098188 h 259327980"/>
              <a:gd name="connsiteX8" fmla="*/ 7905804 w 9959171"/>
              <a:gd name="connsiteY8" fmla="*/ 18790735 h 259327980"/>
              <a:gd name="connsiteX9" fmla="*/ 8947439 w 9959171"/>
              <a:gd name="connsiteY9" fmla="*/ 20823849 h 259327980"/>
              <a:gd name="connsiteX10" fmla="*/ 9959171 w 9959171"/>
              <a:gd name="connsiteY10" fmla="*/ 13454364 h 259327980"/>
              <a:gd name="connsiteX0" fmla="*/ 0 w 9959171"/>
              <a:gd name="connsiteY0" fmla="*/ 215417648 h 258321635"/>
              <a:gd name="connsiteX1" fmla="*/ 922760 w 9959171"/>
              <a:gd name="connsiteY1" fmla="*/ 201267327 h 258321635"/>
              <a:gd name="connsiteX2" fmla="*/ 1834156 w 9959171"/>
              <a:gd name="connsiteY2" fmla="*/ 199112829 h 258321635"/>
              <a:gd name="connsiteX3" fmla="*/ 2841778 w 9959171"/>
              <a:gd name="connsiteY3" fmla="*/ 253207609 h 258321635"/>
              <a:gd name="connsiteX4" fmla="*/ 3773878 w 9959171"/>
              <a:gd name="connsiteY4" fmla="*/ 251190778 h 258321635"/>
              <a:gd name="connsiteX5" fmla="*/ 4987568 w 9959171"/>
              <a:gd name="connsiteY5" fmla="*/ 15264526 h 258321635"/>
              <a:gd name="connsiteX6" fmla="*/ 6011236 w 9959171"/>
              <a:gd name="connsiteY6" fmla="*/ 23184021 h 258321635"/>
              <a:gd name="connsiteX7" fmla="*/ 6919925 w 9959171"/>
              <a:gd name="connsiteY7" fmla="*/ 22098188 h 258321635"/>
              <a:gd name="connsiteX8" fmla="*/ 7905804 w 9959171"/>
              <a:gd name="connsiteY8" fmla="*/ 18790735 h 258321635"/>
              <a:gd name="connsiteX9" fmla="*/ 8947439 w 9959171"/>
              <a:gd name="connsiteY9" fmla="*/ 20823849 h 258321635"/>
              <a:gd name="connsiteX10" fmla="*/ 9959171 w 9959171"/>
              <a:gd name="connsiteY10" fmla="*/ 13454364 h 258321635"/>
              <a:gd name="connsiteX0" fmla="*/ 0 w 9959171"/>
              <a:gd name="connsiteY0" fmla="*/ 214934706 h 255601286"/>
              <a:gd name="connsiteX1" fmla="*/ 922760 w 9959171"/>
              <a:gd name="connsiteY1" fmla="*/ 200784385 h 255601286"/>
              <a:gd name="connsiteX2" fmla="*/ 1834156 w 9959171"/>
              <a:gd name="connsiteY2" fmla="*/ 198629887 h 255601286"/>
              <a:gd name="connsiteX3" fmla="*/ 2841778 w 9959171"/>
              <a:gd name="connsiteY3" fmla="*/ 252724667 h 255601286"/>
              <a:gd name="connsiteX4" fmla="*/ 3826611 w 9959171"/>
              <a:gd name="connsiteY4" fmla="*/ 244124228 h 255601286"/>
              <a:gd name="connsiteX5" fmla="*/ 4987568 w 9959171"/>
              <a:gd name="connsiteY5" fmla="*/ 14781584 h 255601286"/>
              <a:gd name="connsiteX6" fmla="*/ 6011236 w 9959171"/>
              <a:gd name="connsiteY6" fmla="*/ 22701079 h 255601286"/>
              <a:gd name="connsiteX7" fmla="*/ 6919925 w 9959171"/>
              <a:gd name="connsiteY7" fmla="*/ 21615246 h 255601286"/>
              <a:gd name="connsiteX8" fmla="*/ 7905804 w 9959171"/>
              <a:gd name="connsiteY8" fmla="*/ 18307793 h 255601286"/>
              <a:gd name="connsiteX9" fmla="*/ 8947439 w 9959171"/>
              <a:gd name="connsiteY9" fmla="*/ 20340907 h 255601286"/>
              <a:gd name="connsiteX10" fmla="*/ 9959171 w 9959171"/>
              <a:gd name="connsiteY10" fmla="*/ 12971422 h 255601286"/>
              <a:gd name="connsiteX0" fmla="*/ 0 w 9959171"/>
              <a:gd name="connsiteY0" fmla="*/ 204754951 h 246049979"/>
              <a:gd name="connsiteX1" fmla="*/ 922760 w 9959171"/>
              <a:gd name="connsiteY1" fmla="*/ 190604630 h 246049979"/>
              <a:gd name="connsiteX2" fmla="*/ 1834156 w 9959171"/>
              <a:gd name="connsiteY2" fmla="*/ 188450132 h 246049979"/>
              <a:gd name="connsiteX3" fmla="*/ 2841778 w 9959171"/>
              <a:gd name="connsiteY3" fmla="*/ 242544912 h 246049979"/>
              <a:gd name="connsiteX4" fmla="*/ 3826611 w 9959171"/>
              <a:gd name="connsiteY4" fmla="*/ 233944473 h 246049979"/>
              <a:gd name="connsiteX5" fmla="*/ 4859506 w 9959171"/>
              <a:gd name="connsiteY5" fmla="*/ 178848815 h 246049979"/>
              <a:gd name="connsiteX6" fmla="*/ 6011236 w 9959171"/>
              <a:gd name="connsiteY6" fmla="*/ 12521324 h 246049979"/>
              <a:gd name="connsiteX7" fmla="*/ 6919925 w 9959171"/>
              <a:gd name="connsiteY7" fmla="*/ 11435491 h 246049979"/>
              <a:gd name="connsiteX8" fmla="*/ 7905804 w 9959171"/>
              <a:gd name="connsiteY8" fmla="*/ 8128038 h 246049979"/>
              <a:gd name="connsiteX9" fmla="*/ 8947439 w 9959171"/>
              <a:gd name="connsiteY9" fmla="*/ 10161152 h 246049979"/>
              <a:gd name="connsiteX10" fmla="*/ 9959171 w 9959171"/>
              <a:gd name="connsiteY10" fmla="*/ 2791667 h 246049979"/>
              <a:gd name="connsiteX0" fmla="*/ 0 w 9959171"/>
              <a:gd name="connsiteY0" fmla="*/ 204754951 h 246049979"/>
              <a:gd name="connsiteX1" fmla="*/ 922760 w 9959171"/>
              <a:gd name="connsiteY1" fmla="*/ 190604630 h 246049979"/>
              <a:gd name="connsiteX2" fmla="*/ 1834156 w 9959171"/>
              <a:gd name="connsiteY2" fmla="*/ 188450132 h 246049979"/>
              <a:gd name="connsiteX3" fmla="*/ 2841778 w 9959171"/>
              <a:gd name="connsiteY3" fmla="*/ 242544912 h 246049979"/>
              <a:gd name="connsiteX4" fmla="*/ 3826611 w 9959171"/>
              <a:gd name="connsiteY4" fmla="*/ 233944473 h 246049979"/>
              <a:gd name="connsiteX5" fmla="*/ 4859506 w 9959171"/>
              <a:gd name="connsiteY5" fmla="*/ 178848815 h 246049979"/>
              <a:gd name="connsiteX6" fmla="*/ 6011236 w 9959171"/>
              <a:gd name="connsiteY6" fmla="*/ 12521324 h 246049979"/>
              <a:gd name="connsiteX7" fmla="*/ 6919925 w 9959171"/>
              <a:gd name="connsiteY7" fmla="*/ 11435491 h 246049979"/>
              <a:gd name="connsiteX8" fmla="*/ 7905804 w 9959171"/>
              <a:gd name="connsiteY8" fmla="*/ 8128038 h 246049979"/>
              <a:gd name="connsiteX9" fmla="*/ 8947439 w 9959171"/>
              <a:gd name="connsiteY9" fmla="*/ 10161152 h 246049979"/>
              <a:gd name="connsiteX10" fmla="*/ 9959171 w 9959171"/>
              <a:gd name="connsiteY10" fmla="*/ 2791667 h 246049979"/>
              <a:gd name="connsiteX0" fmla="*/ 0 w 9959171"/>
              <a:gd name="connsiteY0" fmla="*/ 203086597 h 244381625"/>
              <a:gd name="connsiteX1" fmla="*/ 922760 w 9959171"/>
              <a:gd name="connsiteY1" fmla="*/ 188936276 h 244381625"/>
              <a:gd name="connsiteX2" fmla="*/ 1834156 w 9959171"/>
              <a:gd name="connsiteY2" fmla="*/ 186781778 h 244381625"/>
              <a:gd name="connsiteX3" fmla="*/ 2841778 w 9959171"/>
              <a:gd name="connsiteY3" fmla="*/ 240876558 h 244381625"/>
              <a:gd name="connsiteX4" fmla="*/ 3826611 w 9959171"/>
              <a:gd name="connsiteY4" fmla="*/ 232276119 h 244381625"/>
              <a:gd name="connsiteX5" fmla="*/ 4859506 w 9959171"/>
              <a:gd name="connsiteY5" fmla="*/ 177180461 h 244381625"/>
              <a:gd name="connsiteX6" fmla="*/ 5822909 w 9959171"/>
              <a:gd name="connsiteY6" fmla="*/ 126286103 h 244381625"/>
              <a:gd name="connsiteX7" fmla="*/ 6919925 w 9959171"/>
              <a:gd name="connsiteY7" fmla="*/ 9767137 h 244381625"/>
              <a:gd name="connsiteX8" fmla="*/ 7905804 w 9959171"/>
              <a:gd name="connsiteY8" fmla="*/ 6459684 h 244381625"/>
              <a:gd name="connsiteX9" fmla="*/ 8947439 w 9959171"/>
              <a:gd name="connsiteY9" fmla="*/ 8492798 h 244381625"/>
              <a:gd name="connsiteX10" fmla="*/ 9959171 w 9959171"/>
              <a:gd name="connsiteY10" fmla="*/ 1123313 h 244381625"/>
              <a:gd name="connsiteX0" fmla="*/ 0 w 9959171"/>
              <a:gd name="connsiteY0" fmla="*/ 203086597 h 244381625"/>
              <a:gd name="connsiteX1" fmla="*/ 922760 w 9959171"/>
              <a:gd name="connsiteY1" fmla="*/ 188936276 h 244381625"/>
              <a:gd name="connsiteX2" fmla="*/ 1834156 w 9959171"/>
              <a:gd name="connsiteY2" fmla="*/ 186781778 h 244381625"/>
              <a:gd name="connsiteX3" fmla="*/ 2841778 w 9959171"/>
              <a:gd name="connsiteY3" fmla="*/ 240876558 h 244381625"/>
              <a:gd name="connsiteX4" fmla="*/ 3826611 w 9959171"/>
              <a:gd name="connsiteY4" fmla="*/ 232276119 h 244381625"/>
              <a:gd name="connsiteX5" fmla="*/ 4859506 w 9959171"/>
              <a:gd name="connsiteY5" fmla="*/ 177180461 h 244381625"/>
              <a:gd name="connsiteX6" fmla="*/ 5822909 w 9959171"/>
              <a:gd name="connsiteY6" fmla="*/ 126286103 h 244381625"/>
              <a:gd name="connsiteX7" fmla="*/ 6919925 w 9959171"/>
              <a:gd name="connsiteY7" fmla="*/ 9767137 h 244381625"/>
              <a:gd name="connsiteX8" fmla="*/ 7905804 w 9959171"/>
              <a:gd name="connsiteY8" fmla="*/ 6459684 h 244381625"/>
              <a:gd name="connsiteX9" fmla="*/ 8947439 w 9959171"/>
              <a:gd name="connsiteY9" fmla="*/ 8492798 h 244381625"/>
              <a:gd name="connsiteX10" fmla="*/ 9959171 w 9959171"/>
              <a:gd name="connsiteY10" fmla="*/ 1123313 h 244381625"/>
              <a:gd name="connsiteX0" fmla="*/ 0 w 9959171"/>
              <a:gd name="connsiteY0" fmla="*/ 207803408 h 249098436"/>
              <a:gd name="connsiteX1" fmla="*/ 922760 w 9959171"/>
              <a:gd name="connsiteY1" fmla="*/ 193653087 h 249098436"/>
              <a:gd name="connsiteX2" fmla="*/ 1834156 w 9959171"/>
              <a:gd name="connsiteY2" fmla="*/ 191498589 h 249098436"/>
              <a:gd name="connsiteX3" fmla="*/ 2841778 w 9959171"/>
              <a:gd name="connsiteY3" fmla="*/ 245593369 h 249098436"/>
              <a:gd name="connsiteX4" fmla="*/ 3826611 w 9959171"/>
              <a:gd name="connsiteY4" fmla="*/ 236992930 h 249098436"/>
              <a:gd name="connsiteX5" fmla="*/ 4859506 w 9959171"/>
              <a:gd name="connsiteY5" fmla="*/ 181897272 h 249098436"/>
              <a:gd name="connsiteX6" fmla="*/ 5792777 w 9959171"/>
              <a:gd name="connsiteY6" fmla="*/ 195083641 h 249098436"/>
              <a:gd name="connsiteX7" fmla="*/ 6919925 w 9959171"/>
              <a:gd name="connsiteY7" fmla="*/ 14483948 h 249098436"/>
              <a:gd name="connsiteX8" fmla="*/ 7905804 w 9959171"/>
              <a:gd name="connsiteY8" fmla="*/ 11176495 h 249098436"/>
              <a:gd name="connsiteX9" fmla="*/ 8947439 w 9959171"/>
              <a:gd name="connsiteY9" fmla="*/ 13209609 h 249098436"/>
              <a:gd name="connsiteX10" fmla="*/ 9959171 w 9959171"/>
              <a:gd name="connsiteY10" fmla="*/ 5840124 h 249098436"/>
              <a:gd name="connsiteX0" fmla="*/ 0 w 9959171"/>
              <a:gd name="connsiteY0" fmla="*/ 207803408 h 249098436"/>
              <a:gd name="connsiteX1" fmla="*/ 922760 w 9959171"/>
              <a:gd name="connsiteY1" fmla="*/ 193653087 h 249098436"/>
              <a:gd name="connsiteX2" fmla="*/ 1834156 w 9959171"/>
              <a:gd name="connsiteY2" fmla="*/ 191498589 h 249098436"/>
              <a:gd name="connsiteX3" fmla="*/ 2841778 w 9959171"/>
              <a:gd name="connsiteY3" fmla="*/ 245593369 h 249098436"/>
              <a:gd name="connsiteX4" fmla="*/ 3826611 w 9959171"/>
              <a:gd name="connsiteY4" fmla="*/ 236992930 h 249098436"/>
              <a:gd name="connsiteX5" fmla="*/ 4859506 w 9959171"/>
              <a:gd name="connsiteY5" fmla="*/ 181897272 h 249098436"/>
              <a:gd name="connsiteX6" fmla="*/ 5792777 w 9959171"/>
              <a:gd name="connsiteY6" fmla="*/ 195083641 h 249098436"/>
              <a:gd name="connsiteX7" fmla="*/ 6919925 w 9959171"/>
              <a:gd name="connsiteY7" fmla="*/ 14483948 h 249098436"/>
              <a:gd name="connsiteX8" fmla="*/ 7905804 w 9959171"/>
              <a:gd name="connsiteY8" fmla="*/ 11176495 h 249098436"/>
              <a:gd name="connsiteX9" fmla="*/ 8947439 w 9959171"/>
              <a:gd name="connsiteY9" fmla="*/ 13209609 h 249098436"/>
              <a:gd name="connsiteX10" fmla="*/ 9959171 w 9959171"/>
              <a:gd name="connsiteY10" fmla="*/ 5840124 h 249098436"/>
              <a:gd name="connsiteX0" fmla="*/ 0 w 9959171"/>
              <a:gd name="connsiteY0" fmla="*/ 209644869 h 250939897"/>
              <a:gd name="connsiteX1" fmla="*/ 922760 w 9959171"/>
              <a:gd name="connsiteY1" fmla="*/ 195494548 h 250939897"/>
              <a:gd name="connsiteX2" fmla="*/ 1834156 w 9959171"/>
              <a:gd name="connsiteY2" fmla="*/ 193340050 h 250939897"/>
              <a:gd name="connsiteX3" fmla="*/ 2841778 w 9959171"/>
              <a:gd name="connsiteY3" fmla="*/ 247434830 h 250939897"/>
              <a:gd name="connsiteX4" fmla="*/ 3826611 w 9959171"/>
              <a:gd name="connsiteY4" fmla="*/ 238834391 h 250939897"/>
              <a:gd name="connsiteX5" fmla="*/ 4859506 w 9959171"/>
              <a:gd name="connsiteY5" fmla="*/ 183738733 h 250939897"/>
              <a:gd name="connsiteX6" fmla="*/ 5792777 w 9959171"/>
              <a:gd name="connsiteY6" fmla="*/ 196925102 h 250939897"/>
              <a:gd name="connsiteX7" fmla="*/ 6934992 w 9959171"/>
              <a:gd name="connsiteY7" fmla="*/ 208567703 h 250939897"/>
              <a:gd name="connsiteX8" fmla="*/ 7905804 w 9959171"/>
              <a:gd name="connsiteY8" fmla="*/ 13017956 h 250939897"/>
              <a:gd name="connsiteX9" fmla="*/ 8947439 w 9959171"/>
              <a:gd name="connsiteY9" fmla="*/ 15051070 h 250939897"/>
              <a:gd name="connsiteX10" fmla="*/ 9959171 w 9959171"/>
              <a:gd name="connsiteY10" fmla="*/ 7681585 h 250939897"/>
              <a:gd name="connsiteX0" fmla="*/ 0 w 9959171"/>
              <a:gd name="connsiteY0" fmla="*/ 209644869 h 250939897"/>
              <a:gd name="connsiteX1" fmla="*/ 922760 w 9959171"/>
              <a:gd name="connsiteY1" fmla="*/ 195494548 h 250939897"/>
              <a:gd name="connsiteX2" fmla="*/ 1834156 w 9959171"/>
              <a:gd name="connsiteY2" fmla="*/ 193340050 h 250939897"/>
              <a:gd name="connsiteX3" fmla="*/ 2841778 w 9959171"/>
              <a:gd name="connsiteY3" fmla="*/ 247434830 h 250939897"/>
              <a:gd name="connsiteX4" fmla="*/ 3826611 w 9959171"/>
              <a:gd name="connsiteY4" fmla="*/ 238834391 h 250939897"/>
              <a:gd name="connsiteX5" fmla="*/ 4859506 w 9959171"/>
              <a:gd name="connsiteY5" fmla="*/ 183738733 h 250939897"/>
              <a:gd name="connsiteX6" fmla="*/ 5792777 w 9959171"/>
              <a:gd name="connsiteY6" fmla="*/ 196925102 h 250939897"/>
              <a:gd name="connsiteX7" fmla="*/ 6934992 w 9959171"/>
              <a:gd name="connsiteY7" fmla="*/ 208567703 h 250939897"/>
              <a:gd name="connsiteX8" fmla="*/ 7905804 w 9959171"/>
              <a:gd name="connsiteY8" fmla="*/ 13017956 h 250939897"/>
              <a:gd name="connsiteX9" fmla="*/ 8947439 w 9959171"/>
              <a:gd name="connsiteY9" fmla="*/ 15051070 h 250939897"/>
              <a:gd name="connsiteX10" fmla="*/ 9959171 w 9959171"/>
              <a:gd name="connsiteY10" fmla="*/ 7681585 h 250939897"/>
              <a:gd name="connsiteX0" fmla="*/ 0 w 9959171"/>
              <a:gd name="connsiteY0" fmla="*/ 209838509 h 251133537"/>
              <a:gd name="connsiteX1" fmla="*/ 922760 w 9959171"/>
              <a:gd name="connsiteY1" fmla="*/ 195688188 h 251133537"/>
              <a:gd name="connsiteX2" fmla="*/ 1834156 w 9959171"/>
              <a:gd name="connsiteY2" fmla="*/ 193533690 h 251133537"/>
              <a:gd name="connsiteX3" fmla="*/ 2841778 w 9959171"/>
              <a:gd name="connsiteY3" fmla="*/ 247628470 h 251133537"/>
              <a:gd name="connsiteX4" fmla="*/ 3826611 w 9959171"/>
              <a:gd name="connsiteY4" fmla="*/ 239028031 h 251133537"/>
              <a:gd name="connsiteX5" fmla="*/ 4859506 w 9959171"/>
              <a:gd name="connsiteY5" fmla="*/ 183932373 h 251133537"/>
              <a:gd name="connsiteX6" fmla="*/ 5792777 w 9959171"/>
              <a:gd name="connsiteY6" fmla="*/ 197118742 h 251133537"/>
              <a:gd name="connsiteX7" fmla="*/ 6754199 w 9959171"/>
              <a:gd name="connsiteY7" fmla="*/ 211394808 h 251133537"/>
              <a:gd name="connsiteX8" fmla="*/ 7905804 w 9959171"/>
              <a:gd name="connsiteY8" fmla="*/ 13211596 h 251133537"/>
              <a:gd name="connsiteX9" fmla="*/ 8947439 w 9959171"/>
              <a:gd name="connsiteY9" fmla="*/ 15244710 h 251133537"/>
              <a:gd name="connsiteX10" fmla="*/ 9959171 w 9959171"/>
              <a:gd name="connsiteY10" fmla="*/ 7875225 h 251133537"/>
              <a:gd name="connsiteX0" fmla="*/ 0 w 9959171"/>
              <a:gd name="connsiteY0" fmla="*/ 209451228 h 250746256"/>
              <a:gd name="connsiteX1" fmla="*/ 922760 w 9959171"/>
              <a:gd name="connsiteY1" fmla="*/ 195300907 h 250746256"/>
              <a:gd name="connsiteX2" fmla="*/ 1834156 w 9959171"/>
              <a:gd name="connsiteY2" fmla="*/ 193146409 h 250746256"/>
              <a:gd name="connsiteX3" fmla="*/ 2841778 w 9959171"/>
              <a:gd name="connsiteY3" fmla="*/ 247241189 h 250746256"/>
              <a:gd name="connsiteX4" fmla="*/ 3826611 w 9959171"/>
              <a:gd name="connsiteY4" fmla="*/ 238640750 h 250746256"/>
              <a:gd name="connsiteX5" fmla="*/ 4859506 w 9959171"/>
              <a:gd name="connsiteY5" fmla="*/ 183545092 h 250746256"/>
              <a:gd name="connsiteX6" fmla="*/ 5792777 w 9959171"/>
              <a:gd name="connsiteY6" fmla="*/ 196731461 h 250746256"/>
              <a:gd name="connsiteX7" fmla="*/ 6769265 w 9959171"/>
              <a:gd name="connsiteY7" fmla="*/ 205740597 h 250746256"/>
              <a:gd name="connsiteX8" fmla="*/ 7905804 w 9959171"/>
              <a:gd name="connsiteY8" fmla="*/ 12824315 h 250746256"/>
              <a:gd name="connsiteX9" fmla="*/ 8947439 w 9959171"/>
              <a:gd name="connsiteY9" fmla="*/ 14857429 h 250746256"/>
              <a:gd name="connsiteX10" fmla="*/ 9959171 w 9959171"/>
              <a:gd name="connsiteY10" fmla="*/ 7487944 h 250746256"/>
              <a:gd name="connsiteX0" fmla="*/ 0 w 9959171"/>
              <a:gd name="connsiteY0" fmla="*/ 209773980 h 251069008"/>
              <a:gd name="connsiteX1" fmla="*/ 922760 w 9959171"/>
              <a:gd name="connsiteY1" fmla="*/ 195623659 h 251069008"/>
              <a:gd name="connsiteX2" fmla="*/ 1834156 w 9959171"/>
              <a:gd name="connsiteY2" fmla="*/ 193469161 h 251069008"/>
              <a:gd name="connsiteX3" fmla="*/ 2841778 w 9959171"/>
              <a:gd name="connsiteY3" fmla="*/ 247563941 h 251069008"/>
              <a:gd name="connsiteX4" fmla="*/ 3826611 w 9959171"/>
              <a:gd name="connsiteY4" fmla="*/ 238963502 h 251069008"/>
              <a:gd name="connsiteX5" fmla="*/ 4859506 w 9959171"/>
              <a:gd name="connsiteY5" fmla="*/ 183867844 h 251069008"/>
              <a:gd name="connsiteX6" fmla="*/ 5792777 w 9959171"/>
              <a:gd name="connsiteY6" fmla="*/ 197054213 h 251069008"/>
              <a:gd name="connsiteX7" fmla="*/ 6769265 w 9959171"/>
              <a:gd name="connsiteY7" fmla="*/ 210452439 h 251069008"/>
              <a:gd name="connsiteX8" fmla="*/ 7905804 w 9959171"/>
              <a:gd name="connsiteY8" fmla="*/ 13147067 h 251069008"/>
              <a:gd name="connsiteX9" fmla="*/ 8947439 w 9959171"/>
              <a:gd name="connsiteY9" fmla="*/ 15180181 h 251069008"/>
              <a:gd name="connsiteX10" fmla="*/ 9959171 w 9959171"/>
              <a:gd name="connsiteY10" fmla="*/ 7810696 h 251069008"/>
              <a:gd name="connsiteX0" fmla="*/ 0 w 9959171"/>
              <a:gd name="connsiteY0" fmla="*/ 209160877 h 250455905"/>
              <a:gd name="connsiteX1" fmla="*/ 922760 w 9959171"/>
              <a:gd name="connsiteY1" fmla="*/ 195010556 h 250455905"/>
              <a:gd name="connsiteX2" fmla="*/ 1834156 w 9959171"/>
              <a:gd name="connsiteY2" fmla="*/ 192856058 h 250455905"/>
              <a:gd name="connsiteX3" fmla="*/ 2841778 w 9959171"/>
              <a:gd name="connsiteY3" fmla="*/ 246950838 h 250455905"/>
              <a:gd name="connsiteX4" fmla="*/ 3826611 w 9959171"/>
              <a:gd name="connsiteY4" fmla="*/ 238350399 h 250455905"/>
              <a:gd name="connsiteX5" fmla="*/ 4859506 w 9959171"/>
              <a:gd name="connsiteY5" fmla="*/ 183254741 h 250455905"/>
              <a:gd name="connsiteX6" fmla="*/ 5792777 w 9959171"/>
              <a:gd name="connsiteY6" fmla="*/ 196441110 h 250455905"/>
              <a:gd name="connsiteX7" fmla="*/ 6731600 w 9959171"/>
              <a:gd name="connsiteY7" fmla="*/ 201500048 h 250455905"/>
              <a:gd name="connsiteX8" fmla="*/ 7905804 w 9959171"/>
              <a:gd name="connsiteY8" fmla="*/ 12533964 h 250455905"/>
              <a:gd name="connsiteX9" fmla="*/ 8947439 w 9959171"/>
              <a:gd name="connsiteY9" fmla="*/ 14567078 h 250455905"/>
              <a:gd name="connsiteX10" fmla="*/ 9959171 w 9959171"/>
              <a:gd name="connsiteY10" fmla="*/ 7197593 h 250455905"/>
              <a:gd name="connsiteX0" fmla="*/ 0 w 9959171"/>
              <a:gd name="connsiteY0" fmla="*/ 209160877 h 250455905"/>
              <a:gd name="connsiteX1" fmla="*/ 922760 w 9959171"/>
              <a:gd name="connsiteY1" fmla="*/ 195010556 h 250455905"/>
              <a:gd name="connsiteX2" fmla="*/ 1834156 w 9959171"/>
              <a:gd name="connsiteY2" fmla="*/ 192856058 h 250455905"/>
              <a:gd name="connsiteX3" fmla="*/ 2841778 w 9959171"/>
              <a:gd name="connsiteY3" fmla="*/ 246950838 h 250455905"/>
              <a:gd name="connsiteX4" fmla="*/ 3826611 w 9959171"/>
              <a:gd name="connsiteY4" fmla="*/ 238350399 h 250455905"/>
              <a:gd name="connsiteX5" fmla="*/ 4859506 w 9959171"/>
              <a:gd name="connsiteY5" fmla="*/ 183254741 h 250455905"/>
              <a:gd name="connsiteX6" fmla="*/ 5792777 w 9959171"/>
              <a:gd name="connsiteY6" fmla="*/ 196441110 h 250455905"/>
              <a:gd name="connsiteX7" fmla="*/ 6731600 w 9959171"/>
              <a:gd name="connsiteY7" fmla="*/ 201500048 h 250455905"/>
              <a:gd name="connsiteX8" fmla="*/ 7905804 w 9959171"/>
              <a:gd name="connsiteY8" fmla="*/ 12533964 h 250455905"/>
              <a:gd name="connsiteX9" fmla="*/ 8947439 w 9959171"/>
              <a:gd name="connsiteY9" fmla="*/ 14567078 h 250455905"/>
              <a:gd name="connsiteX10" fmla="*/ 9959171 w 9959171"/>
              <a:gd name="connsiteY10" fmla="*/ 7197593 h 250455905"/>
              <a:gd name="connsiteX0" fmla="*/ 0 w 9959171"/>
              <a:gd name="connsiteY0" fmla="*/ 201963284 h 243258312"/>
              <a:gd name="connsiteX1" fmla="*/ 922760 w 9959171"/>
              <a:gd name="connsiteY1" fmla="*/ 187812963 h 243258312"/>
              <a:gd name="connsiteX2" fmla="*/ 1834156 w 9959171"/>
              <a:gd name="connsiteY2" fmla="*/ 185658465 h 243258312"/>
              <a:gd name="connsiteX3" fmla="*/ 2841778 w 9959171"/>
              <a:gd name="connsiteY3" fmla="*/ 239753245 h 243258312"/>
              <a:gd name="connsiteX4" fmla="*/ 3826611 w 9959171"/>
              <a:gd name="connsiteY4" fmla="*/ 231152806 h 243258312"/>
              <a:gd name="connsiteX5" fmla="*/ 4859506 w 9959171"/>
              <a:gd name="connsiteY5" fmla="*/ 176057148 h 243258312"/>
              <a:gd name="connsiteX6" fmla="*/ 5792777 w 9959171"/>
              <a:gd name="connsiteY6" fmla="*/ 189243517 h 243258312"/>
              <a:gd name="connsiteX7" fmla="*/ 6731600 w 9959171"/>
              <a:gd name="connsiteY7" fmla="*/ 194302455 h 243258312"/>
              <a:gd name="connsiteX8" fmla="*/ 7845539 w 9959171"/>
              <a:gd name="connsiteY8" fmla="*/ 217768436 h 243258312"/>
              <a:gd name="connsiteX9" fmla="*/ 8947439 w 9959171"/>
              <a:gd name="connsiteY9" fmla="*/ 7369485 h 243258312"/>
              <a:gd name="connsiteX10" fmla="*/ 9959171 w 9959171"/>
              <a:gd name="connsiteY10" fmla="*/ 0 h 243258312"/>
              <a:gd name="connsiteX0" fmla="*/ 0 w 9959171"/>
              <a:gd name="connsiteY0" fmla="*/ 201963284 h 243258312"/>
              <a:gd name="connsiteX1" fmla="*/ 922760 w 9959171"/>
              <a:gd name="connsiteY1" fmla="*/ 187812963 h 243258312"/>
              <a:gd name="connsiteX2" fmla="*/ 1834156 w 9959171"/>
              <a:gd name="connsiteY2" fmla="*/ 185658465 h 243258312"/>
              <a:gd name="connsiteX3" fmla="*/ 2841778 w 9959171"/>
              <a:gd name="connsiteY3" fmla="*/ 239753245 h 243258312"/>
              <a:gd name="connsiteX4" fmla="*/ 3826611 w 9959171"/>
              <a:gd name="connsiteY4" fmla="*/ 231152806 h 243258312"/>
              <a:gd name="connsiteX5" fmla="*/ 4859506 w 9959171"/>
              <a:gd name="connsiteY5" fmla="*/ 176057148 h 243258312"/>
              <a:gd name="connsiteX6" fmla="*/ 5792777 w 9959171"/>
              <a:gd name="connsiteY6" fmla="*/ 189243517 h 243258312"/>
              <a:gd name="connsiteX7" fmla="*/ 6731600 w 9959171"/>
              <a:gd name="connsiteY7" fmla="*/ 194302455 h 243258312"/>
              <a:gd name="connsiteX8" fmla="*/ 7845539 w 9959171"/>
              <a:gd name="connsiteY8" fmla="*/ 217768436 h 243258312"/>
              <a:gd name="connsiteX9" fmla="*/ 8947439 w 9959171"/>
              <a:gd name="connsiteY9" fmla="*/ 7369485 h 243258312"/>
              <a:gd name="connsiteX10" fmla="*/ 9959171 w 9959171"/>
              <a:gd name="connsiteY10" fmla="*/ 0 h 243258312"/>
              <a:gd name="connsiteX0" fmla="*/ 0 w 9959171"/>
              <a:gd name="connsiteY0" fmla="*/ 201963284 h 243258312"/>
              <a:gd name="connsiteX1" fmla="*/ 922760 w 9959171"/>
              <a:gd name="connsiteY1" fmla="*/ 187812963 h 243258312"/>
              <a:gd name="connsiteX2" fmla="*/ 1834156 w 9959171"/>
              <a:gd name="connsiteY2" fmla="*/ 185658465 h 243258312"/>
              <a:gd name="connsiteX3" fmla="*/ 2841778 w 9959171"/>
              <a:gd name="connsiteY3" fmla="*/ 239753245 h 243258312"/>
              <a:gd name="connsiteX4" fmla="*/ 3826611 w 9959171"/>
              <a:gd name="connsiteY4" fmla="*/ 231152806 h 243258312"/>
              <a:gd name="connsiteX5" fmla="*/ 4859506 w 9959171"/>
              <a:gd name="connsiteY5" fmla="*/ 176057148 h 243258312"/>
              <a:gd name="connsiteX6" fmla="*/ 5792777 w 9959171"/>
              <a:gd name="connsiteY6" fmla="*/ 189243517 h 243258312"/>
              <a:gd name="connsiteX7" fmla="*/ 6731600 w 9959171"/>
              <a:gd name="connsiteY7" fmla="*/ 194302455 h 243258312"/>
              <a:gd name="connsiteX8" fmla="*/ 7785274 w 9959171"/>
              <a:gd name="connsiteY8" fmla="*/ 226107724 h 243258312"/>
              <a:gd name="connsiteX9" fmla="*/ 8947439 w 9959171"/>
              <a:gd name="connsiteY9" fmla="*/ 7369485 h 243258312"/>
              <a:gd name="connsiteX10" fmla="*/ 9959171 w 9959171"/>
              <a:gd name="connsiteY10" fmla="*/ 0 h 243258312"/>
              <a:gd name="connsiteX0" fmla="*/ 0 w 9959171"/>
              <a:gd name="connsiteY0" fmla="*/ 201963284 h 243258312"/>
              <a:gd name="connsiteX1" fmla="*/ 922760 w 9959171"/>
              <a:gd name="connsiteY1" fmla="*/ 187812963 h 243258312"/>
              <a:gd name="connsiteX2" fmla="*/ 1834156 w 9959171"/>
              <a:gd name="connsiteY2" fmla="*/ 185658465 h 243258312"/>
              <a:gd name="connsiteX3" fmla="*/ 2841778 w 9959171"/>
              <a:gd name="connsiteY3" fmla="*/ 239753245 h 243258312"/>
              <a:gd name="connsiteX4" fmla="*/ 3826611 w 9959171"/>
              <a:gd name="connsiteY4" fmla="*/ 231152806 h 243258312"/>
              <a:gd name="connsiteX5" fmla="*/ 4859506 w 9959171"/>
              <a:gd name="connsiteY5" fmla="*/ 176057148 h 243258312"/>
              <a:gd name="connsiteX6" fmla="*/ 5792777 w 9959171"/>
              <a:gd name="connsiteY6" fmla="*/ 189243517 h 243258312"/>
              <a:gd name="connsiteX7" fmla="*/ 6731600 w 9959171"/>
              <a:gd name="connsiteY7" fmla="*/ 194302455 h 243258312"/>
              <a:gd name="connsiteX8" fmla="*/ 7785274 w 9959171"/>
              <a:gd name="connsiteY8" fmla="*/ 226107724 h 243258312"/>
              <a:gd name="connsiteX9" fmla="*/ 8646117 w 9959171"/>
              <a:gd name="connsiteY9" fmla="*/ 171082610 h 243258312"/>
              <a:gd name="connsiteX10" fmla="*/ 9959171 w 9959171"/>
              <a:gd name="connsiteY10" fmla="*/ 0 h 243258312"/>
              <a:gd name="connsiteX0" fmla="*/ 0 w 9748245"/>
              <a:gd name="connsiteY0" fmla="*/ 31097443 h 72392471"/>
              <a:gd name="connsiteX1" fmla="*/ 922760 w 9748245"/>
              <a:gd name="connsiteY1" fmla="*/ 16947122 h 72392471"/>
              <a:gd name="connsiteX2" fmla="*/ 1834156 w 9748245"/>
              <a:gd name="connsiteY2" fmla="*/ 14792624 h 72392471"/>
              <a:gd name="connsiteX3" fmla="*/ 2841778 w 9748245"/>
              <a:gd name="connsiteY3" fmla="*/ 68887404 h 72392471"/>
              <a:gd name="connsiteX4" fmla="*/ 3826611 w 9748245"/>
              <a:gd name="connsiteY4" fmla="*/ 60286965 h 72392471"/>
              <a:gd name="connsiteX5" fmla="*/ 4859506 w 9748245"/>
              <a:gd name="connsiteY5" fmla="*/ 5191307 h 72392471"/>
              <a:gd name="connsiteX6" fmla="*/ 5792777 w 9748245"/>
              <a:gd name="connsiteY6" fmla="*/ 18377676 h 72392471"/>
              <a:gd name="connsiteX7" fmla="*/ 6731600 w 9748245"/>
              <a:gd name="connsiteY7" fmla="*/ 23436614 h 72392471"/>
              <a:gd name="connsiteX8" fmla="*/ 7785274 w 9748245"/>
              <a:gd name="connsiteY8" fmla="*/ 55241883 h 72392471"/>
              <a:gd name="connsiteX9" fmla="*/ 8646117 w 9748245"/>
              <a:gd name="connsiteY9" fmla="*/ 216769 h 72392471"/>
              <a:gd name="connsiteX10" fmla="*/ 9748245 w 9748245"/>
              <a:gd name="connsiteY10" fmla="*/ 50344404 h 72392471"/>
              <a:gd name="connsiteX0" fmla="*/ 0 w 9740712"/>
              <a:gd name="connsiteY0" fmla="*/ 31322216 h 72617244"/>
              <a:gd name="connsiteX1" fmla="*/ 922760 w 9740712"/>
              <a:gd name="connsiteY1" fmla="*/ 17171895 h 72617244"/>
              <a:gd name="connsiteX2" fmla="*/ 1834156 w 9740712"/>
              <a:gd name="connsiteY2" fmla="*/ 15017397 h 72617244"/>
              <a:gd name="connsiteX3" fmla="*/ 2841778 w 9740712"/>
              <a:gd name="connsiteY3" fmla="*/ 69112177 h 72617244"/>
              <a:gd name="connsiteX4" fmla="*/ 3826611 w 9740712"/>
              <a:gd name="connsiteY4" fmla="*/ 60511738 h 72617244"/>
              <a:gd name="connsiteX5" fmla="*/ 4859506 w 9740712"/>
              <a:gd name="connsiteY5" fmla="*/ 5416080 h 72617244"/>
              <a:gd name="connsiteX6" fmla="*/ 5792777 w 9740712"/>
              <a:gd name="connsiteY6" fmla="*/ 18602449 h 72617244"/>
              <a:gd name="connsiteX7" fmla="*/ 6731600 w 9740712"/>
              <a:gd name="connsiteY7" fmla="*/ 23661387 h 72617244"/>
              <a:gd name="connsiteX8" fmla="*/ 7785274 w 9740712"/>
              <a:gd name="connsiteY8" fmla="*/ 55466656 h 72617244"/>
              <a:gd name="connsiteX9" fmla="*/ 8646117 w 9740712"/>
              <a:gd name="connsiteY9" fmla="*/ 441542 h 72617244"/>
              <a:gd name="connsiteX10" fmla="*/ 9740712 w 9740712"/>
              <a:gd name="connsiteY10" fmla="*/ 21601171 h 72617244"/>
              <a:gd name="connsiteX0" fmla="*/ 0 w 9740712"/>
              <a:gd name="connsiteY0" fmla="*/ 31932835 h 73227863"/>
              <a:gd name="connsiteX1" fmla="*/ 922760 w 9740712"/>
              <a:gd name="connsiteY1" fmla="*/ 17782514 h 73227863"/>
              <a:gd name="connsiteX2" fmla="*/ 1834156 w 9740712"/>
              <a:gd name="connsiteY2" fmla="*/ 15628016 h 73227863"/>
              <a:gd name="connsiteX3" fmla="*/ 2841778 w 9740712"/>
              <a:gd name="connsiteY3" fmla="*/ 69722796 h 73227863"/>
              <a:gd name="connsiteX4" fmla="*/ 3826611 w 9740712"/>
              <a:gd name="connsiteY4" fmla="*/ 61122357 h 73227863"/>
              <a:gd name="connsiteX5" fmla="*/ 4859506 w 9740712"/>
              <a:gd name="connsiteY5" fmla="*/ 6026699 h 73227863"/>
              <a:gd name="connsiteX6" fmla="*/ 5792777 w 9740712"/>
              <a:gd name="connsiteY6" fmla="*/ 19213068 h 73227863"/>
              <a:gd name="connsiteX7" fmla="*/ 6731600 w 9740712"/>
              <a:gd name="connsiteY7" fmla="*/ 24272006 h 73227863"/>
              <a:gd name="connsiteX8" fmla="*/ 7785274 w 9740712"/>
              <a:gd name="connsiteY8" fmla="*/ 56077275 h 73227863"/>
              <a:gd name="connsiteX9" fmla="*/ 8646117 w 9740712"/>
              <a:gd name="connsiteY9" fmla="*/ 1052161 h 73227863"/>
              <a:gd name="connsiteX10" fmla="*/ 9740712 w 9740712"/>
              <a:gd name="connsiteY10" fmla="*/ 5972162 h 73227863"/>
              <a:gd name="connsiteX0" fmla="*/ 0 w 9770845"/>
              <a:gd name="connsiteY0" fmla="*/ 31446581 h 72741609"/>
              <a:gd name="connsiteX1" fmla="*/ 922760 w 9770845"/>
              <a:gd name="connsiteY1" fmla="*/ 17296260 h 72741609"/>
              <a:gd name="connsiteX2" fmla="*/ 1834156 w 9770845"/>
              <a:gd name="connsiteY2" fmla="*/ 15141762 h 72741609"/>
              <a:gd name="connsiteX3" fmla="*/ 2841778 w 9770845"/>
              <a:gd name="connsiteY3" fmla="*/ 69236542 h 72741609"/>
              <a:gd name="connsiteX4" fmla="*/ 3826611 w 9770845"/>
              <a:gd name="connsiteY4" fmla="*/ 60636103 h 72741609"/>
              <a:gd name="connsiteX5" fmla="*/ 4859506 w 9770845"/>
              <a:gd name="connsiteY5" fmla="*/ 5540445 h 72741609"/>
              <a:gd name="connsiteX6" fmla="*/ 5792777 w 9770845"/>
              <a:gd name="connsiteY6" fmla="*/ 18726814 h 72741609"/>
              <a:gd name="connsiteX7" fmla="*/ 6731600 w 9770845"/>
              <a:gd name="connsiteY7" fmla="*/ 23785752 h 72741609"/>
              <a:gd name="connsiteX8" fmla="*/ 7785274 w 9770845"/>
              <a:gd name="connsiteY8" fmla="*/ 55591021 h 72741609"/>
              <a:gd name="connsiteX9" fmla="*/ 8646117 w 9770845"/>
              <a:gd name="connsiteY9" fmla="*/ 565907 h 72741609"/>
              <a:gd name="connsiteX10" fmla="*/ 9770845 w 9770845"/>
              <a:gd name="connsiteY10" fmla="*/ 15580820 h 72741609"/>
              <a:gd name="connsiteX0" fmla="*/ 0 w 9770845"/>
              <a:gd name="connsiteY0" fmla="*/ 18659691 h 72741609"/>
              <a:gd name="connsiteX1" fmla="*/ 922760 w 9770845"/>
              <a:gd name="connsiteY1" fmla="*/ 17296260 h 72741609"/>
              <a:gd name="connsiteX2" fmla="*/ 1834156 w 9770845"/>
              <a:gd name="connsiteY2" fmla="*/ 15141762 h 72741609"/>
              <a:gd name="connsiteX3" fmla="*/ 2841778 w 9770845"/>
              <a:gd name="connsiteY3" fmla="*/ 69236542 h 72741609"/>
              <a:gd name="connsiteX4" fmla="*/ 3826611 w 9770845"/>
              <a:gd name="connsiteY4" fmla="*/ 60636103 h 72741609"/>
              <a:gd name="connsiteX5" fmla="*/ 4859506 w 9770845"/>
              <a:gd name="connsiteY5" fmla="*/ 5540445 h 72741609"/>
              <a:gd name="connsiteX6" fmla="*/ 5792777 w 9770845"/>
              <a:gd name="connsiteY6" fmla="*/ 18726814 h 72741609"/>
              <a:gd name="connsiteX7" fmla="*/ 6731600 w 9770845"/>
              <a:gd name="connsiteY7" fmla="*/ 23785752 h 72741609"/>
              <a:gd name="connsiteX8" fmla="*/ 7785274 w 9770845"/>
              <a:gd name="connsiteY8" fmla="*/ 55591021 h 72741609"/>
              <a:gd name="connsiteX9" fmla="*/ 8646117 w 9770845"/>
              <a:gd name="connsiteY9" fmla="*/ 565907 h 72741609"/>
              <a:gd name="connsiteX10" fmla="*/ 9770845 w 9770845"/>
              <a:gd name="connsiteY10" fmla="*/ 15580820 h 72741609"/>
              <a:gd name="connsiteX0" fmla="*/ 0 w 9770845"/>
              <a:gd name="connsiteY0" fmla="*/ 17986697 h 72741609"/>
              <a:gd name="connsiteX1" fmla="*/ 922760 w 9770845"/>
              <a:gd name="connsiteY1" fmla="*/ 17296260 h 72741609"/>
              <a:gd name="connsiteX2" fmla="*/ 1834156 w 9770845"/>
              <a:gd name="connsiteY2" fmla="*/ 15141762 h 72741609"/>
              <a:gd name="connsiteX3" fmla="*/ 2841778 w 9770845"/>
              <a:gd name="connsiteY3" fmla="*/ 69236542 h 72741609"/>
              <a:gd name="connsiteX4" fmla="*/ 3826611 w 9770845"/>
              <a:gd name="connsiteY4" fmla="*/ 60636103 h 72741609"/>
              <a:gd name="connsiteX5" fmla="*/ 4859506 w 9770845"/>
              <a:gd name="connsiteY5" fmla="*/ 5540445 h 72741609"/>
              <a:gd name="connsiteX6" fmla="*/ 5792777 w 9770845"/>
              <a:gd name="connsiteY6" fmla="*/ 18726814 h 72741609"/>
              <a:gd name="connsiteX7" fmla="*/ 6731600 w 9770845"/>
              <a:gd name="connsiteY7" fmla="*/ 23785752 h 72741609"/>
              <a:gd name="connsiteX8" fmla="*/ 7785274 w 9770845"/>
              <a:gd name="connsiteY8" fmla="*/ 55591021 h 72741609"/>
              <a:gd name="connsiteX9" fmla="*/ 8646117 w 9770845"/>
              <a:gd name="connsiteY9" fmla="*/ 565907 h 72741609"/>
              <a:gd name="connsiteX10" fmla="*/ 9770845 w 9770845"/>
              <a:gd name="connsiteY10" fmla="*/ 15580820 h 72741609"/>
              <a:gd name="connsiteX0" fmla="*/ 0 w 9770845"/>
              <a:gd name="connsiteY0" fmla="*/ 17986697 h 72492714"/>
              <a:gd name="connsiteX1" fmla="*/ 922760 w 9770845"/>
              <a:gd name="connsiteY1" fmla="*/ 17296260 h 72492714"/>
              <a:gd name="connsiteX2" fmla="*/ 1845707 w 9770845"/>
              <a:gd name="connsiteY2" fmla="*/ 18506733 h 72492714"/>
              <a:gd name="connsiteX3" fmla="*/ 2841778 w 9770845"/>
              <a:gd name="connsiteY3" fmla="*/ 69236542 h 72492714"/>
              <a:gd name="connsiteX4" fmla="*/ 3826611 w 9770845"/>
              <a:gd name="connsiteY4" fmla="*/ 60636103 h 72492714"/>
              <a:gd name="connsiteX5" fmla="*/ 4859506 w 9770845"/>
              <a:gd name="connsiteY5" fmla="*/ 5540445 h 72492714"/>
              <a:gd name="connsiteX6" fmla="*/ 5792777 w 9770845"/>
              <a:gd name="connsiteY6" fmla="*/ 18726814 h 72492714"/>
              <a:gd name="connsiteX7" fmla="*/ 6731600 w 9770845"/>
              <a:gd name="connsiteY7" fmla="*/ 23785752 h 72492714"/>
              <a:gd name="connsiteX8" fmla="*/ 7785274 w 9770845"/>
              <a:gd name="connsiteY8" fmla="*/ 55591021 h 72492714"/>
              <a:gd name="connsiteX9" fmla="*/ 8646117 w 9770845"/>
              <a:gd name="connsiteY9" fmla="*/ 565907 h 72492714"/>
              <a:gd name="connsiteX10" fmla="*/ 9770845 w 9770845"/>
              <a:gd name="connsiteY10" fmla="*/ 15580820 h 72492714"/>
              <a:gd name="connsiteX0" fmla="*/ 0 w 9770845"/>
              <a:gd name="connsiteY0" fmla="*/ 17986697 h 60720063"/>
              <a:gd name="connsiteX1" fmla="*/ 922760 w 9770845"/>
              <a:gd name="connsiteY1" fmla="*/ 17296260 h 60720063"/>
              <a:gd name="connsiteX2" fmla="*/ 1845707 w 9770845"/>
              <a:gd name="connsiteY2" fmla="*/ 18506733 h 60720063"/>
              <a:gd name="connsiteX3" fmla="*/ 2853329 w 9770845"/>
              <a:gd name="connsiteY3" fmla="*/ 18088982 h 60720063"/>
              <a:gd name="connsiteX4" fmla="*/ 3826611 w 9770845"/>
              <a:gd name="connsiteY4" fmla="*/ 60636103 h 60720063"/>
              <a:gd name="connsiteX5" fmla="*/ 4859506 w 9770845"/>
              <a:gd name="connsiteY5" fmla="*/ 5540445 h 60720063"/>
              <a:gd name="connsiteX6" fmla="*/ 5792777 w 9770845"/>
              <a:gd name="connsiteY6" fmla="*/ 18726814 h 60720063"/>
              <a:gd name="connsiteX7" fmla="*/ 6731600 w 9770845"/>
              <a:gd name="connsiteY7" fmla="*/ 23785752 h 60720063"/>
              <a:gd name="connsiteX8" fmla="*/ 7785274 w 9770845"/>
              <a:gd name="connsiteY8" fmla="*/ 55591021 h 60720063"/>
              <a:gd name="connsiteX9" fmla="*/ 8646117 w 9770845"/>
              <a:gd name="connsiteY9" fmla="*/ 565907 h 60720063"/>
              <a:gd name="connsiteX10" fmla="*/ 9770845 w 9770845"/>
              <a:gd name="connsiteY10" fmla="*/ 15580820 h 60720063"/>
              <a:gd name="connsiteX0" fmla="*/ 0 w 9770845"/>
              <a:gd name="connsiteY0" fmla="*/ 17986697 h 60720505"/>
              <a:gd name="connsiteX1" fmla="*/ 922760 w 9770845"/>
              <a:gd name="connsiteY1" fmla="*/ 17296260 h 60720505"/>
              <a:gd name="connsiteX2" fmla="*/ 1845707 w 9770845"/>
              <a:gd name="connsiteY2" fmla="*/ 17160745 h 60720505"/>
              <a:gd name="connsiteX3" fmla="*/ 2853329 w 9770845"/>
              <a:gd name="connsiteY3" fmla="*/ 18088982 h 60720505"/>
              <a:gd name="connsiteX4" fmla="*/ 3826611 w 9770845"/>
              <a:gd name="connsiteY4" fmla="*/ 60636103 h 60720505"/>
              <a:gd name="connsiteX5" fmla="*/ 4859506 w 9770845"/>
              <a:gd name="connsiteY5" fmla="*/ 5540445 h 60720505"/>
              <a:gd name="connsiteX6" fmla="*/ 5792777 w 9770845"/>
              <a:gd name="connsiteY6" fmla="*/ 18726814 h 60720505"/>
              <a:gd name="connsiteX7" fmla="*/ 6731600 w 9770845"/>
              <a:gd name="connsiteY7" fmla="*/ 23785752 h 60720505"/>
              <a:gd name="connsiteX8" fmla="*/ 7785274 w 9770845"/>
              <a:gd name="connsiteY8" fmla="*/ 55591021 h 60720505"/>
              <a:gd name="connsiteX9" fmla="*/ 8646117 w 9770845"/>
              <a:gd name="connsiteY9" fmla="*/ 565907 h 60720505"/>
              <a:gd name="connsiteX10" fmla="*/ 9770845 w 9770845"/>
              <a:gd name="connsiteY10" fmla="*/ 15580820 h 60720505"/>
              <a:gd name="connsiteX0" fmla="*/ 0 w 9770845"/>
              <a:gd name="connsiteY0" fmla="*/ 17313703 h 60720505"/>
              <a:gd name="connsiteX1" fmla="*/ 922760 w 9770845"/>
              <a:gd name="connsiteY1" fmla="*/ 17296260 h 60720505"/>
              <a:gd name="connsiteX2" fmla="*/ 1845707 w 9770845"/>
              <a:gd name="connsiteY2" fmla="*/ 17160745 h 60720505"/>
              <a:gd name="connsiteX3" fmla="*/ 2853329 w 9770845"/>
              <a:gd name="connsiteY3" fmla="*/ 18088982 h 60720505"/>
              <a:gd name="connsiteX4" fmla="*/ 3826611 w 9770845"/>
              <a:gd name="connsiteY4" fmla="*/ 60636103 h 60720505"/>
              <a:gd name="connsiteX5" fmla="*/ 4859506 w 9770845"/>
              <a:gd name="connsiteY5" fmla="*/ 5540445 h 60720505"/>
              <a:gd name="connsiteX6" fmla="*/ 5792777 w 9770845"/>
              <a:gd name="connsiteY6" fmla="*/ 18726814 h 60720505"/>
              <a:gd name="connsiteX7" fmla="*/ 6731600 w 9770845"/>
              <a:gd name="connsiteY7" fmla="*/ 23785752 h 60720505"/>
              <a:gd name="connsiteX8" fmla="*/ 7785274 w 9770845"/>
              <a:gd name="connsiteY8" fmla="*/ 55591021 h 60720505"/>
              <a:gd name="connsiteX9" fmla="*/ 8646117 w 9770845"/>
              <a:gd name="connsiteY9" fmla="*/ 565907 h 60720505"/>
              <a:gd name="connsiteX10" fmla="*/ 9770845 w 9770845"/>
              <a:gd name="connsiteY10" fmla="*/ 15580820 h 60720505"/>
              <a:gd name="connsiteX0" fmla="*/ 0 w 9770845"/>
              <a:gd name="connsiteY0" fmla="*/ 17313703 h 60754287"/>
              <a:gd name="connsiteX1" fmla="*/ 922760 w 9770845"/>
              <a:gd name="connsiteY1" fmla="*/ 17296260 h 60754287"/>
              <a:gd name="connsiteX2" fmla="*/ 1845707 w 9770845"/>
              <a:gd name="connsiteY2" fmla="*/ 17160745 h 60754287"/>
              <a:gd name="connsiteX3" fmla="*/ 2853329 w 9770845"/>
              <a:gd name="connsiteY3" fmla="*/ 20107965 h 60754287"/>
              <a:gd name="connsiteX4" fmla="*/ 3826611 w 9770845"/>
              <a:gd name="connsiteY4" fmla="*/ 60636103 h 60754287"/>
              <a:gd name="connsiteX5" fmla="*/ 4859506 w 9770845"/>
              <a:gd name="connsiteY5" fmla="*/ 5540445 h 60754287"/>
              <a:gd name="connsiteX6" fmla="*/ 5792777 w 9770845"/>
              <a:gd name="connsiteY6" fmla="*/ 18726814 h 60754287"/>
              <a:gd name="connsiteX7" fmla="*/ 6731600 w 9770845"/>
              <a:gd name="connsiteY7" fmla="*/ 23785752 h 60754287"/>
              <a:gd name="connsiteX8" fmla="*/ 7785274 w 9770845"/>
              <a:gd name="connsiteY8" fmla="*/ 55591021 h 60754287"/>
              <a:gd name="connsiteX9" fmla="*/ 8646117 w 9770845"/>
              <a:gd name="connsiteY9" fmla="*/ 565907 h 60754287"/>
              <a:gd name="connsiteX10" fmla="*/ 9770845 w 9770845"/>
              <a:gd name="connsiteY10" fmla="*/ 15580820 h 60754287"/>
              <a:gd name="connsiteX0" fmla="*/ 0 w 9770845"/>
              <a:gd name="connsiteY0" fmla="*/ 17313703 h 55939276"/>
              <a:gd name="connsiteX1" fmla="*/ 922760 w 9770845"/>
              <a:gd name="connsiteY1" fmla="*/ 17296260 h 55939276"/>
              <a:gd name="connsiteX2" fmla="*/ 1845707 w 9770845"/>
              <a:gd name="connsiteY2" fmla="*/ 17160745 h 55939276"/>
              <a:gd name="connsiteX3" fmla="*/ 2853329 w 9770845"/>
              <a:gd name="connsiteY3" fmla="*/ 20107965 h 55939276"/>
              <a:gd name="connsiteX4" fmla="*/ 3803510 w 9770845"/>
              <a:gd name="connsiteY4" fmla="*/ 18237470 h 55939276"/>
              <a:gd name="connsiteX5" fmla="*/ 4859506 w 9770845"/>
              <a:gd name="connsiteY5" fmla="*/ 5540445 h 55939276"/>
              <a:gd name="connsiteX6" fmla="*/ 5792777 w 9770845"/>
              <a:gd name="connsiteY6" fmla="*/ 18726814 h 55939276"/>
              <a:gd name="connsiteX7" fmla="*/ 6731600 w 9770845"/>
              <a:gd name="connsiteY7" fmla="*/ 23785752 h 55939276"/>
              <a:gd name="connsiteX8" fmla="*/ 7785274 w 9770845"/>
              <a:gd name="connsiteY8" fmla="*/ 55591021 h 55939276"/>
              <a:gd name="connsiteX9" fmla="*/ 8646117 w 9770845"/>
              <a:gd name="connsiteY9" fmla="*/ 565907 h 55939276"/>
              <a:gd name="connsiteX10" fmla="*/ 9770845 w 9770845"/>
              <a:gd name="connsiteY10" fmla="*/ 15580820 h 55939276"/>
              <a:gd name="connsiteX0" fmla="*/ 0 w 9770845"/>
              <a:gd name="connsiteY0" fmla="*/ 17313703 h 55939276"/>
              <a:gd name="connsiteX1" fmla="*/ 922760 w 9770845"/>
              <a:gd name="connsiteY1" fmla="*/ 17296260 h 55939276"/>
              <a:gd name="connsiteX2" fmla="*/ 1845707 w 9770845"/>
              <a:gd name="connsiteY2" fmla="*/ 17160745 h 55939276"/>
              <a:gd name="connsiteX3" fmla="*/ 2864880 w 9770845"/>
              <a:gd name="connsiteY3" fmla="*/ 17415988 h 55939276"/>
              <a:gd name="connsiteX4" fmla="*/ 3803510 w 9770845"/>
              <a:gd name="connsiteY4" fmla="*/ 18237470 h 55939276"/>
              <a:gd name="connsiteX5" fmla="*/ 4859506 w 9770845"/>
              <a:gd name="connsiteY5" fmla="*/ 5540445 h 55939276"/>
              <a:gd name="connsiteX6" fmla="*/ 5792777 w 9770845"/>
              <a:gd name="connsiteY6" fmla="*/ 18726814 h 55939276"/>
              <a:gd name="connsiteX7" fmla="*/ 6731600 w 9770845"/>
              <a:gd name="connsiteY7" fmla="*/ 23785752 h 55939276"/>
              <a:gd name="connsiteX8" fmla="*/ 7785274 w 9770845"/>
              <a:gd name="connsiteY8" fmla="*/ 55591021 h 55939276"/>
              <a:gd name="connsiteX9" fmla="*/ 8646117 w 9770845"/>
              <a:gd name="connsiteY9" fmla="*/ 565907 h 55939276"/>
              <a:gd name="connsiteX10" fmla="*/ 9770845 w 9770845"/>
              <a:gd name="connsiteY10" fmla="*/ 15580820 h 55939276"/>
              <a:gd name="connsiteX0" fmla="*/ 0 w 9770845"/>
              <a:gd name="connsiteY0" fmla="*/ 17313703 h 55939276"/>
              <a:gd name="connsiteX1" fmla="*/ 922760 w 9770845"/>
              <a:gd name="connsiteY1" fmla="*/ 17296260 h 55939276"/>
              <a:gd name="connsiteX2" fmla="*/ 1845707 w 9770845"/>
              <a:gd name="connsiteY2" fmla="*/ 17160745 h 55939276"/>
              <a:gd name="connsiteX3" fmla="*/ 2864880 w 9770845"/>
              <a:gd name="connsiteY3" fmla="*/ 17415988 h 55939276"/>
              <a:gd name="connsiteX4" fmla="*/ 3826612 w 9770845"/>
              <a:gd name="connsiteY4" fmla="*/ 16891481 h 55939276"/>
              <a:gd name="connsiteX5" fmla="*/ 4859506 w 9770845"/>
              <a:gd name="connsiteY5" fmla="*/ 5540445 h 55939276"/>
              <a:gd name="connsiteX6" fmla="*/ 5792777 w 9770845"/>
              <a:gd name="connsiteY6" fmla="*/ 18726814 h 55939276"/>
              <a:gd name="connsiteX7" fmla="*/ 6731600 w 9770845"/>
              <a:gd name="connsiteY7" fmla="*/ 23785752 h 55939276"/>
              <a:gd name="connsiteX8" fmla="*/ 7785274 w 9770845"/>
              <a:gd name="connsiteY8" fmla="*/ 55591021 h 55939276"/>
              <a:gd name="connsiteX9" fmla="*/ 8646117 w 9770845"/>
              <a:gd name="connsiteY9" fmla="*/ 565907 h 55939276"/>
              <a:gd name="connsiteX10" fmla="*/ 9770845 w 9770845"/>
              <a:gd name="connsiteY10" fmla="*/ 15580820 h 55939276"/>
              <a:gd name="connsiteX0" fmla="*/ 0 w 9770845"/>
              <a:gd name="connsiteY0" fmla="*/ 17313703 h 55939276"/>
              <a:gd name="connsiteX1" fmla="*/ 922760 w 9770845"/>
              <a:gd name="connsiteY1" fmla="*/ 17296260 h 55939276"/>
              <a:gd name="connsiteX2" fmla="*/ 1845707 w 9770845"/>
              <a:gd name="connsiteY2" fmla="*/ 17160745 h 55939276"/>
              <a:gd name="connsiteX3" fmla="*/ 2864880 w 9770845"/>
              <a:gd name="connsiteY3" fmla="*/ 17415988 h 55939276"/>
              <a:gd name="connsiteX4" fmla="*/ 3826612 w 9770845"/>
              <a:gd name="connsiteY4" fmla="*/ 16891481 h 55939276"/>
              <a:gd name="connsiteX5" fmla="*/ 4882608 w 9770845"/>
              <a:gd name="connsiteY5" fmla="*/ 14962364 h 55939276"/>
              <a:gd name="connsiteX6" fmla="*/ 5792777 w 9770845"/>
              <a:gd name="connsiteY6" fmla="*/ 18726814 h 55939276"/>
              <a:gd name="connsiteX7" fmla="*/ 6731600 w 9770845"/>
              <a:gd name="connsiteY7" fmla="*/ 23785752 h 55939276"/>
              <a:gd name="connsiteX8" fmla="*/ 7785274 w 9770845"/>
              <a:gd name="connsiteY8" fmla="*/ 55591021 h 55939276"/>
              <a:gd name="connsiteX9" fmla="*/ 8646117 w 9770845"/>
              <a:gd name="connsiteY9" fmla="*/ 565907 h 55939276"/>
              <a:gd name="connsiteX10" fmla="*/ 9770845 w 9770845"/>
              <a:gd name="connsiteY10" fmla="*/ 15580820 h 55939276"/>
              <a:gd name="connsiteX0" fmla="*/ 0 w 9770845"/>
              <a:gd name="connsiteY0" fmla="*/ 17313703 h 55942809"/>
              <a:gd name="connsiteX1" fmla="*/ 922760 w 9770845"/>
              <a:gd name="connsiteY1" fmla="*/ 17296260 h 55942809"/>
              <a:gd name="connsiteX2" fmla="*/ 1845707 w 9770845"/>
              <a:gd name="connsiteY2" fmla="*/ 17160745 h 55942809"/>
              <a:gd name="connsiteX3" fmla="*/ 2864880 w 9770845"/>
              <a:gd name="connsiteY3" fmla="*/ 17415988 h 55942809"/>
              <a:gd name="connsiteX4" fmla="*/ 3826612 w 9770845"/>
              <a:gd name="connsiteY4" fmla="*/ 16891481 h 55942809"/>
              <a:gd name="connsiteX5" fmla="*/ 4882608 w 9770845"/>
              <a:gd name="connsiteY5" fmla="*/ 14962364 h 55942809"/>
              <a:gd name="connsiteX6" fmla="*/ 5792777 w 9770845"/>
              <a:gd name="connsiteY6" fmla="*/ 16707832 h 55942809"/>
              <a:gd name="connsiteX7" fmla="*/ 6731600 w 9770845"/>
              <a:gd name="connsiteY7" fmla="*/ 23785752 h 55942809"/>
              <a:gd name="connsiteX8" fmla="*/ 7785274 w 9770845"/>
              <a:gd name="connsiteY8" fmla="*/ 55591021 h 55942809"/>
              <a:gd name="connsiteX9" fmla="*/ 8646117 w 9770845"/>
              <a:gd name="connsiteY9" fmla="*/ 565907 h 55942809"/>
              <a:gd name="connsiteX10" fmla="*/ 9770845 w 9770845"/>
              <a:gd name="connsiteY10" fmla="*/ 15580820 h 55942809"/>
              <a:gd name="connsiteX0" fmla="*/ 0 w 9770845"/>
              <a:gd name="connsiteY0" fmla="*/ 17313703 h 55776327"/>
              <a:gd name="connsiteX1" fmla="*/ 922760 w 9770845"/>
              <a:gd name="connsiteY1" fmla="*/ 17296260 h 55776327"/>
              <a:gd name="connsiteX2" fmla="*/ 1845707 w 9770845"/>
              <a:gd name="connsiteY2" fmla="*/ 17160745 h 55776327"/>
              <a:gd name="connsiteX3" fmla="*/ 2864880 w 9770845"/>
              <a:gd name="connsiteY3" fmla="*/ 17415988 h 55776327"/>
              <a:gd name="connsiteX4" fmla="*/ 3826612 w 9770845"/>
              <a:gd name="connsiteY4" fmla="*/ 16891481 h 55776327"/>
              <a:gd name="connsiteX5" fmla="*/ 4882608 w 9770845"/>
              <a:gd name="connsiteY5" fmla="*/ 14962364 h 55776327"/>
              <a:gd name="connsiteX6" fmla="*/ 5792777 w 9770845"/>
              <a:gd name="connsiteY6" fmla="*/ 16707832 h 55776327"/>
              <a:gd name="connsiteX7" fmla="*/ 6731600 w 9770845"/>
              <a:gd name="connsiteY7" fmla="*/ 18401799 h 55776327"/>
              <a:gd name="connsiteX8" fmla="*/ 7785274 w 9770845"/>
              <a:gd name="connsiteY8" fmla="*/ 55591021 h 55776327"/>
              <a:gd name="connsiteX9" fmla="*/ 8646117 w 9770845"/>
              <a:gd name="connsiteY9" fmla="*/ 565907 h 55776327"/>
              <a:gd name="connsiteX10" fmla="*/ 9770845 w 9770845"/>
              <a:gd name="connsiteY10" fmla="*/ 15580820 h 55776327"/>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82608 w 9770845"/>
              <a:gd name="connsiteY5" fmla="*/ 14962364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82608 w 9770845"/>
              <a:gd name="connsiteY5" fmla="*/ 15635358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82608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36405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36405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508831"/>
              <a:gd name="connsiteX1" fmla="*/ 922760 w 9770845"/>
              <a:gd name="connsiteY1" fmla="*/ 17296260 h 18508831"/>
              <a:gd name="connsiteX2" fmla="*/ 1845707 w 9770845"/>
              <a:gd name="connsiteY2" fmla="*/ 17160745 h 18508831"/>
              <a:gd name="connsiteX3" fmla="*/ 2864880 w 9770845"/>
              <a:gd name="connsiteY3" fmla="*/ 17415988 h 18508831"/>
              <a:gd name="connsiteX4" fmla="*/ 3826612 w 9770845"/>
              <a:gd name="connsiteY4" fmla="*/ 16891481 h 18508831"/>
              <a:gd name="connsiteX5" fmla="*/ 4836405 w 9770845"/>
              <a:gd name="connsiteY5" fmla="*/ 16981346 h 18508831"/>
              <a:gd name="connsiteX6" fmla="*/ 5792777 w 9770845"/>
              <a:gd name="connsiteY6" fmla="*/ 18053820 h 18508831"/>
              <a:gd name="connsiteX7" fmla="*/ 6731600 w 9770845"/>
              <a:gd name="connsiteY7" fmla="*/ 18401799 h 18508831"/>
              <a:gd name="connsiteX8" fmla="*/ 7785274 w 9770845"/>
              <a:gd name="connsiteY8" fmla="*/ 16557358 h 18508831"/>
              <a:gd name="connsiteX9" fmla="*/ 8646117 w 9770845"/>
              <a:gd name="connsiteY9" fmla="*/ 565907 h 18508831"/>
              <a:gd name="connsiteX10" fmla="*/ 9770845 w 9770845"/>
              <a:gd name="connsiteY10" fmla="*/ 15580820 h 18508831"/>
              <a:gd name="connsiteX0" fmla="*/ 0 w 9770845"/>
              <a:gd name="connsiteY0" fmla="*/ 17313703 h 18554812"/>
              <a:gd name="connsiteX1" fmla="*/ 922760 w 9770845"/>
              <a:gd name="connsiteY1" fmla="*/ 17296260 h 18554812"/>
              <a:gd name="connsiteX2" fmla="*/ 1845707 w 9770845"/>
              <a:gd name="connsiteY2" fmla="*/ 17160745 h 18554812"/>
              <a:gd name="connsiteX3" fmla="*/ 2864880 w 9770845"/>
              <a:gd name="connsiteY3" fmla="*/ 17415988 h 18554812"/>
              <a:gd name="connsiteX4" fmla="*/ 3826612 w 9770845"/>
              <a:gd name="connsiteY4" fmla="*/ 16891481 h 18554812"/>
              <a:gd name="connsiteX5" fmla="*/ 4836405 w 9770845"/>
              <a:gd name="connsiteY5" fmla="*/ 16981346 h 18554812"/>
              <a:gd name="connsiteX6" fmla="*/ 5792777 w 9770845"/>
              <a:gd name="connsiteY6" fmla="*/ 17380826 h 18554812"/>
              <a:gd name="connsiteX7" fmla="*/ 6731600 w 9770845"/>
              <a:gd name="connsiteY7" fmla="*/ 18401799 h 18554812"/>
              <a:gd name="connsiteX8" fmla="*/ 7785274 w 9770845"/>
              <a:gd name="connsiteY8" fmla="*/ 16557358 h 18554812"/>
              <a:gd name="connsiteX9" fmla="*/ 8646117 w 9770845"/>
              <a:gd name="connsiteY9" fmla="*/ 565907 h 18554812"/>
              <a:gd name="connsiteX10" fmla="*/ 9770845 w 9770845"/>
              <a:gd name="connsiteY10" fmla="*/ 15580820 h 18554812"/>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36405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36405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508831"/>
              <a:gd name="connsiteX1" fmla="*/ 922760 w 9770845"/>
              <a:gd name="connsiteY1" fmla="*/ 17296260 h 18508831"/>
              <a:gd name="connsiteX2" fmla="*/ 1845707 w 9770845"/>
              <a:gd name="connsiteY2" fmla="*/ 17160745 h 18508831"/>
              <a:gd name="connsiteX3" fmla="*/ 2864880 w 9770845"/>
              <a:gd name="connsiteY3" fmla="*/ 17415988 h 18508831"/>
              <a:gd name="connsiteX4" fmla="*/ 3826612 w 9770845"/>
              <a:gd name="connsiteY4" fmla="*/ 16891481 h 18508831"/>
              <a:gd name="connsiteX5" fmla="*/ 4836405 w 9770845"/>
              <a:gd name="connsiteY5" fmla="*/ 16981346 h 18508831"/>
              <a:gd name="connsiteX6" fmla="*/ 5792777 w 9770845"/>
              <a:gd name="connsiteY6" fmla="*/ 18053820 h 18508831"/>
              <a:gd name="connsiteX7" fmla="*/ 6731600 w 9770845"/>
              <a:gd name="connsiteY7" fmla="*/ 18401799 h 18508831"/>
              <a:gd name="connsiteX8" fmla="*/ 7785274 w 9770845"/>
              <a:gd name="connsiteY8" fmla="*/ 16557358 h 18508831"/>
              <a:gd name="connsiteX9" fmla="*/ 8646117 w 9770845"/>
              <a:gd name="connsiteY9" fmla="*/ 565907 h 18508831"/>
              <a:gd name="connsiteX10" fmla="*/ 9770845 w 9770845"/>
              <a:gd name="connsiteY10" fmla="*/ 15580820 h 18508831"/>
              <a:gd name="connsiteX0" fmla="*/ 0 w 9770845"/>
              <a:gd name="connsiteY0" fmla="*/ 17313703 h 18648431"/>
              <a:gd name="connsiteX1" fmla="*/ 922760 w 9770845"/>
              <a:gd name="connsiteY1" fmla="*/ 17296260 h 18648431"/>
              <a:gd name="connsiteX2" fmla="*/ 1845707 w 9770845"/>
              <a:gd name="connsiteY2" fmla="*/ 17160745 h 18648431"/>
              <a:gd name="connsiteX3" fmla="*/ 2864880 w 9770845"/>
              <a:gd name="connsiteY3" fmla="*/ 17415988 h 18648431"/>
              <a:gd name="connsiteX4" fmla="*/ 3826612 w 9770845"/>
              <a:gd name="connsiteY4" fmla="*/ 16891481 h 18648431"/>
              <a:gd name="connsiteX5" fmla="*/ 4836405 w 9770845"/>
              <a:gd name="connsiteY5" fmla="*/ 16981346 h 18648431"/>
              <a:gd name="connsiteX6" fmla="*/ 5792777 w 9770845"/>
              <a:gd name="connsiteY6" fmla="*/ 16034838 h 18648431"/>
              <a:gd name="connsiteX7" fmla="*/ 6731600 w 9770845"/>
              <a:gd name="connsiteY7" fmla="*/ 18401799 h 18648431"/>
              <a:gd name="connsiteX8" fmla="*/ 7785274 w 9770845"/>
              <a:gd name="connsiteY8" fmla="*/ 16557358 h 18648431"/>
              <a:gd name="connsiteX9" fmla="*/ 8646117 w 9770845"/>
              <a:gd name="connsiteY9" fmla="*/ 565907 h 18648431"/>
              <a:gd name="connsiteX10" fmla="*/ 9770845 w 9770845"/>
              <a:gd name="connsiteY10" fmla="*/ 15580820 h 18648431"/>
              <a:gd name="connsiteX0" fmla="*/ 0 w 9770845"/>
              <a:gd name="connsiteY0" fmla="*/ 17313703 h 18254029"/>
              <a:gd name="connsiteX1" fmla="*/ 922760 w 9770845"/>
              <a:gd name="connsiteY1" fmla="*/ 17296260 h 18254029"/>
              <a:gd name="connsiteX2" fmla="*/ 1845707 w 9770845"/>
              <a:gd name="connsiteY2" fmla="*/ 17160745 h 18254029"/>
              <a:gd name="connsiteX3" fmla="*/ 2864880 w 9770845"/>
              <a:gd name="connsiteY3" fmla="*/ 17415988 h 18254029"/>
              <a:gd name="connsiteX4" fmla="*/ 3826612 w 9770845"/>
              <a:gd name="connsiteY4" fmla="*/ 16891481 h 18254029"/>
              <a:gd name="connsiteX5" fmla="*/ 4836405 w 9770845"/>
              <a:gd name="connsiteY5" fmla="*/ 16981346 h 18254029"/>
              <a:gd name="connsiteX6" fmla="*/ 5792777 w 9770845"/>
              <a:gd name="connsiteY6" fmla="*/ 16034838 h 18254029"/>
              <a:gd name="connsiteX7" fmla="*/ 6731600 w 9770845"/>
              <a:gd name="connsiteY7" fmla="*/ 17728805 h 18254029"/>
              <a:gd name="connsiteX8" fmla="*/ 7785274 w 9770845"/>
              <a:gd name="connsiteY8" fmla="*/ 16557358 h 18254029"/>
              <a:gd name="connsiteX9" fmla="*/ 8646117 w 9770845"/>
              <a:gd name="connsiteY9" fmla="*/ 565907 h 18254029"/>
              <a:gd name="connsiteX10" fmla="*/ 9770845 w 9770845"/>
              <a:gd name="connsiteY10" fmla="*/ 15580820 h 18254029"/>
              <a:gd name="connsiteX0" fmla="*/ 0 w 9770845"/>
              <a:gd name="connsiteY0" fmla="*/ 6494736 h 6924024"/>
              <a:gd name="connsiteX1" fmla="*/ 922760 w 9770845"/>
              <a:gd name="connsiteY1" fmla="*/ 6477293 h 6924024"/>
              <a:gd name="connsiteX2" fmla="*/ 1845707 w 9770845"/>
              <a:gd name="connsiteY2" fmla="*/ 6341778 h 6924024"/>
              <a:gd name="connsiteX3" fmla="*/ 2864880 w 9770845"/>
              <a:gd name="connsiteY3" fmla="*/ 6597021 h 6924024"/>
              <a:gd name="connsiteX4" fmla="*/ 3826612 w 9770845"/>
              <a:gd name="connsiteY4" fmla="*/ 6072514 h 6924024"/>
              <a:gd name="connsiteX5" fmla="*/ 4836405 w 9770845"/>
              <a:gd name="connsiteY5" fmla="*/ 6162379 h 6924024"/>
              <a:gd name="connsiteX6" fmla="*/ 5792777 w 9770845"/>
              <a:gd name="connsiteY6" fmla="*/ 5215871 h 6924024"/>
              <a:gd name="connsiteX7" fmla="*/ 6731600 w 9770845"/>
              <a:gd name="connsiteY7" fmla="*/ 6909838 h 6924024"/>
              <a:gd name="connsiteX8" fmla="*/ 7785274 w 9770845"/>
              <a:gd name="connsiteY8" fmla="*/ 5738391 h 6924024"/>
              <a:gd name="connsiteX9" fmla="*/ 8726972 w 9770845"/>
              <a:gd name="connsiteY9" fmla="*/ 1187841 h 6924024"/>
              <a:gd name="connsiteX10" fmla="*/ 9770845 w 9770845"/>
              <a:gd name="connsiteY10" fmla="*/ 4761853 h 6924024"/>
              <a:gd name="connsiteX0" fmla="*/ 0 w 9782396"/>
              <a:gd name="connsiteY0" fmla="*/ 6163096 h 8468179"/>
              <a:gd name="connsiteX1" fmla="*/ 922760 w 9782396"/>
              <a:gd name="connsiteY1" fmla="*/ 6145653 h 8468179"/>
              <a:gd name="connsiteX2" fmla="*/ 1845707 w 9782396"/>
              <a:gd name="connsiteY2" fmla="*/ 6010138 h 8468179"/>
              <a:gd name="connsiteX3" fmla="*/ 2864880 w 9782396"/>
              <a:gd name="connsiteY3" fmla="*/ 6265381 h 8468179"/>
              <a:gd name="connsiteX4" fmla="*/ 3826612 w 9782396"/>
              <a:gd name="connsiteY4" fmla="*/ 5740874 h 8468179"/>
              <a:gd name="connsiteX5" fmla="*/ 4836405 w 9782396"/>
              <a:gd name="connsiteY5" fmla="*/ 5830739 h 8468179"/>
              <a:gd name="connsiteX6" fmla="*/ 5792777 w 9782396"/>
              <a:gd name="connsiteY6" fmla="*/ 4884231 h 8468179"/>
              <a:gd name="connsiteX7" fmla="*/ 6731600 w 9782396"/>
              <a:gd name="connsiteY7" fmla="*/ 6578198 h 8468179"/>
              <a:gd name="connsiteX8" fmla="*/ 7785274 w 9782396"/>
              <a:gd name="connsiteY8" fmla="*/ 5406751 h 8468179"/>
              <a:gd name="connsiteX9" fmla="*/ 8726972 w 9782396"/>
              <a:gd name="connsiteY9" fmla="*/ 856201 h 8468179"/>
              <a:gd name="connsiteX10" fmla="*/ 9782396 w 9782396"/>
              <a:gd name="connsiteY10" fmla="*/ 8468179 h 8468179"/>
              <a:gd name="connsiteX0" fmla="*/ 0 w 9782396"/>
              <a:gd name="connsiteY0" fmla="*/ 7237944 h 7667232"/>
              <a:gd name="connsiteX1" fmla="*/ 922760 w 9782396"/>
              <a:gd name="connsiteY1" fmla="*/ 7220501 h 7667232"/>
              <a:gd name="connsiteX2" fmla="*/ 1845707 w 9782396"/>
              <a:gd name="connsiteY2" fmla="*/ 7084986 h 7667232"/>
              <a:gd name="connsiteX3" fmla="*/ 2864880 w 9782396"/>
              <a:gd name="connsiteY3" fmla="*/ 7340229 h 7667232"/>
              <a:gd name="connsiteX4" fmla="*/ 3826612 w 9782396"/>
              <a:gd name="connsiteY4" fmla="*/ 6815722 h 7667232"/>
              <a:gd name="connsiteX5" fmla="*/ 4836405 w 9782396"/>
              <a:gd name="connsiteY5" fmla="*/ 6905587 h 7667232"/>
              <a:gd name="connsiteX6" fmla="*/ 5792777 w 9782396"/>
              <a:gd name="connsiteY6" fmla="*/ 5959079 h 7667232"/>
              <a:gd name="connsiteX7" fmla="*/ 6731600 w 9782396"/>
              <a:gd name="connsiteY7" fmla="*/ 7653046 h 7667232"/>
              <a:gd name="connsiteX8" fmla="*/ 7785274 w 9782396"/>
              <a:gd name="connsiteY8" fmla="*/ 6481599 h 7667232"/>
              <a:gd name="connsiteX9" fmla="*/ 8726972 w 9782396"/>
              <a:gd name="connsiteY9" fmla="*/ 1931049 h 7667232"/>
              <a:gd name="connsiteX10" fmla="*/ 9782396 w 9782396"/>
              <a:gd name="connsiteY10" fmla="*/ 1467097 h 7667232"/>
              <a:gd name="connsiteX0" fmla="*/ 0 w 9782396"/>
              <a:gd name="connsiteY0" fmla="*/ 5855800 h 6277801"/>
              <a:gd name="connsiteX1" fmla="*/ 922760 w 9782396"/>
              <a:gd name="connsiteY1" fmla="*/ 5838357 h 6277801"/>
              <a:gd name="connsiteX2" fmla="*/ 1845707 w 9782396"/>
              <a:gd name="connsiteY2" fmla="*/ 5702842 h 6277801"/>
              <a:gd name="connsiteX3" fmla="*/ 2864880 w 9782396"/>
              <a:gd name="connsiteY3" fmla="*/ 5958085 h 6277801"/>
              <a:gd name="connsiteX4" fmla="*/ 3826612 w 9782396"/>
              <a:gd name="connsiteY4" fmla="*/ 5433578 h 6277801"/>
              <a:gd name="connsiteX5" fmla="*/ 4836405 w 9782396"/>
              <a:gd name="connsiteY5" fmla="*/ 5523443 h 6277801"/>
              <a:gd name="connsiteX6" fmla="*/ 5792777 w 9782396"/>
              <a:gd name="connsiteY6" fmla="*/ 4576935 h 6277801"/>
              <a:gd name="connsiteX7" fmla="*/ 6731600 w 9782396"/>
              <a:gd name="connsiteY7" fmla="*/ 6270902 h 6277801"/>
              <a:gd name="connsiteX8" fmla="*/ 7785274 w 9782396"/>
              <a:gd name="connsiteY8" fmla="*/ 5099455 h 6277801"/>
              <a:gd name="connsiteX9" fmla="*/ 8726972 w 9782396"/>
              <a:gd name="connsiteY9" fmla="*/ 3240882 h 6277801"/>
              <a:gd name="connsiteX10" fmla="*/ 9782396 w 9782396"/>
              <a:gd name="connsiteY10" fmla="*/ 84953 h 6277801"/>
              <a:gd name="connsiteX0" fmla="*/ 0 w 9782396"/>
              <a:gd name="connsiteY0" fmla="*/ 5855800 h 6277801"/>
              <a:gd name="connsiteX1" fmla="*/ 922760 w 9782396"/>
              <a:gd name="connsiteY1" fmla="*/ 5838357 h 6277801"/>
              <a:gd name="connsiteX2" fmla="*/ 1845707 w 9782396"/>
              <a:gd name="connsiteY2" fmla="*/ 5702842 h 6277801"/>
              <a:gd name="connsiteX3" fmla="*/ 2864880 w 9782396"/>
              <a:gd name="connsiteY3" fmla="*/ 5958085 h 6277801"/>
              <a:gd name="connsiteX4" fmla="*/ 3826612 w 9782396"/>
              <a:gd name="connsiteY4" fmla="*/ 5433578 h 6277801"/>
              <a:gd name="connsiteX5" fmla="*/ 4836405 w 9782396"/>
              <a:gd name="connsiteY5" fmla="*/ 5523443 h 6277801"/>
              <a:gd name="connsiteX6" fmla="*/ 5792777 w 9782396"/>
              <a:gd name="connsiteY6" fmla="*/ 4576935 h 6277801"/>
              <a:gd name="connsiteX7" fmla="*/ 6731600 w 9782396"/>
              <a:gd name="connsiteY7" fmla="*/ 6270902 h 6277801"/>
              <a:gd name="connsiteX8" fmla="*/ 7785274 w 9782396"/>
              <a:gd name="connsiteY8" fmla="*/ 5099455 h 6277801"/>
              <a:gd name="connsiteX9" fmla="*/ 8726972 w 9782396"/>
              <a:gd name="connsiteY9" fmla="*/ 3240882 h 6277801"/>
              <a:gd name="connsiteX10" fmla="*/ 9782396 w 9782396"/>
              <a:gd name="connsiteY10" fmla="*/ 84953 h 6277801"/>
              <a:gd name="connsiteX0" fmla="*/ 0 w 9782396"/>
              <a:gd name="connsiteY0" fmla="*/ 5770848 h 6192849"/>
              <a:gd name="connsiteX1" fmla="*/ 922760 w 9782396"/>
              <a:gd name="connsiteY1" fmla="*/ 5753405 h 6192849"/>
              <a:gd name="connsiteX2" fmla="*/ 1845707 w 9782396"/>
              <a:gd name="connsiteY2" fmla="*/ 5617890 h 6192849"/>
              <a:gd name="connsiteX3" fmla="*/ 2864880 w 9782396"/>
              <a:gd name="connsiteY3" fmla="*/ 5873133 h 6192849"/>
              <a:gd name="connsiteX4" fmla="*/ 3826612 w 9782396"/>
              <a:gd name="connsiteY4" fmla="*/ 5348626 h 6192849"/>
              <a:gd name="connsiteX5" fmla="*/ 4836405 w 9782396"/>
              <a:gd name="connsiteY5" fmla="*/ 5438491 h 6192849"/>
              <a:gd name="connsiteX6" fmla="*/ 5792777 w 9782396"/>
              <a:gd name="connsiteY6" fmla="*/ 4491983 h 6192849"/>
              <a:gd name="connsiteX7" fmla="*/ 6731600 w 9782396"/>
              <a:gd name="connsiteY7" fmla="*/ 6185950 h 6192849"/>
              <a:gd name="connsiteX8" fmla="*/ 7785274 w 9782396"/>
              <a:gd name="connsiteY8" fmla="*/ 5014503 h 6192849"/>
              <a:gd name="connsiteX9" fmla="*/ 8726972 w 9782396"/>
              <a:gd name="connsiteY9" fmla="*/ 3155930 h 6192849"/>
              <a:gd name="connsiteX10" fmla="*/ 9782396 w 9782396"/>
              <a:gd name="connsiteY10" fmla="*/ 1 h 6192849"/>
              <a:gd name="connsiteX0" fmla="*/ 0 w 9782396"/>
              <a:gd name="connsiteY0" fmla="*/ 3114420 h 3536421"/>
              <a:gd name="connsiteX1" fmla="*/ 922760 w 9782396"/>
              <a:gd name="connsiteY1" fmla="*/ 3096977 h 3536421"/>
              <a:gd name="connsiteX2" fmla="*/ 1845707 w 9782396"/>
              <a:gd name="connsiteY2" fmla="*/ 2961462 h 3536421"/>
              <a:gd name="connsiteX3" fmla="*/ 2864880 w 9782396"/>
              <a:gd name="connsiteY3" fmla="*/ 3216705 h 3536421"/>
              <a:gd name="connsiteX4" fmla="*/ 3826612 w 9782396"/>
              <a:gd name="connsiteY4" fmla="*/ 2692198 h 3536421"/>
              <a:gd name="connsiteX5" fmla="*/ 4836405 w 9782396"/>
              <a:gd name="connsiteY5" fmla="*/ 2782063 h 3536421"/>
              <a:gd name="connsiteX6" fmla="*/ 5792777 w 9782396"/>
              <a:gd name="connsiteY6" fmla="*/ 1835555 h 3536421"/>
              <a:gd name="connsiteX7" fmla="*/ 6731600 w 9782396"/>
              <a:gd name="connsiteY7" fmla="*/ 3529522 h 3536421"/>
              <a:gd name="connsiteX8" fmla="*/ 7785274 w 9782396"/>
              <a:gd name="connsiteY8" fmla="*/ 2358075 h 3536421"/>
              <a:gd name="connsiteX9" fmla="*/ 8726972 w 9782396"/>
              <a:gd name="connsiteY9" fmla="*/ 499502 h 3536421"/>
              <a:gd name="connsiteX10" fmla="*/ 9782396 w 9782396"/>
              <a:gd name="connsiteY10" fmla="*/ 35549 h 3536421"/>
              <a:gd name="connsiteX0" fmla="*/ 0 w 9782396"/>
              <a:gd name="connsiteY0" fmla="*/ 3114420 h 3536421"/>
              <a:gd name="connsiteX1" fmla="*/ 922760 w 9782396"/>
              <a:gd name="connsiteY1" fmla="*/ 3096977 h 3536421"/>
              <a:gd name="connsiteX2" fmla="*/ 1845707 w 9782396"/>
              <a:gd name="connsiteY2" fmla="*/ 2961462 h 3536421"/>
              <a:gd name="connsiteX3" fmla="*/ 2864880 w 9782396"/>
              <a:gd name="connsiteY3" fmla="*/ 3216705 h 3536421"/>
              <a:gd name="connsiteX4" fmla="*/ 3826612 w 9782396"/>
              <a:gd name="connsiteY4" fmla="*/ 2692198 h 3536421"/>
              <a:gd name="connsiteX5" fmla="*/ 4836405 w 9782396"/>
              <a:gd name="connsiteY5" fmla="*/ 2782063 h 3536421"/>
              <a:gd name="connsiteX6" fmla="*/ 5792777 w 9782396"/>
              <a:gd name="connsiteY6" fmla="*/ 1835555 h 3536421"/>
              <a:gd name="connsiteX7" fmla="*/ 6731600 w 9782396"/>
              <a:gd name="connsiteY7" fmla="*/ 3529522 h 3536421"/>
              <a:gd name="connsiteX8" fmla="*/ 7785274 w 9782396"/>
              <a:gd name="connsiteY8" fmla="*/ 2358075 h 3536421"/>
              <a:gd name="connsiteX9" fmla="*/ 8726972 w 9782396"/>
              <a:gd name="connsiteY9" fmla="*/ 499502 h 3536421"/>
              <a:gd name="connsiteX10" fmla="*/ 9782396 w 9782396"/>
              <a:gd name="connsiteY10" fmla="*/ 35549 h 3536421"/>
              <a:gd name="connsiteX0" fmla="*/ 0 w 9782396"/>
              <a:gd name="connsiteY0" fmla="*/ 3114420 h 3221562"/>
              <a:gd name="connsiteX1" fmla="*/ 922760 w 9782396"/>
              <a:gd name="connsiteY1" fmla="*/ 3096977 h 3221562"/>
              <a:gd name="connsiteX2" fmla="*/ 1845707 w 9782396"/>
              <a:gd name="connsiteY2" fmla="*/ 2961462 h 3221562"/>
              <a:gd name="connsiteX3" fmla="*/ 2864880 w 9782396"/>
              <a:gd name="connsiteY3" fmla="*/ 3216705 h 3221562"/>
              <a:gd name="connsiteX4" fmla="*/ 3826612 w 9782396"/>
              <a:gd name="connsiteY4" fmla="*/ 2692198 h 3221562"/>
              <a:gd name="connsiteX5" fmla="*/ 4836405 w 9782396"/>
              <a:gd name="connsiteY5" fmla="*/ 2782063 h 3221562"/>
              <a:gd name="connsiteX6" fmla="*/ 5792777 w 9782396"/>
              <a:gd name="connsiteY6" fmla="*/ 1835555 h 3221562"/>
              <a:gd name="connsiteX7" fmla="*/ 6743151 w 9782396"/>
              <a:gd name="connsiteY7" fmla="*/ 1510539 h 3221562"/>
              <a:gd name="connsiteX8" fmla="*/ 7785274 w 9782396"/>
              <a:gd name="connsiteY8" fmla="*/ 2358075 h 3221562"/>
              <a:gd name="connsiteX9" fmla="*/ 8726972 w 9782396"/>
              <a:gd name="connsiteY9" fmla="*/ 499502 h 3221562"/>
              <a:gd name="connsiteX10" fmla="*/ 9782396 w 9782396"/>
              <a:gd name="connsiteY10" fmla="*/ 35549 h 3221562"/>
              <a:gd name="connsiteX0" fmla="*/ 0 w 9782396"/>
              <a:gd name="connsiteY0" fmla="*/ 3114420 h 3221562"/>
              <a:gd name="connsiteX1" fmla="*/ 922760 w 9782396"/>
              <a:gd name="connsiteY1" fmla="*/ 3096977 h 3221562"/>
              <a:gd name="connsiteX2" fmla="*/ 1845707 w 9782396"/>
              <a:gd name="connsiteY2" fmla="*/ 2961462 h 3221562"/>
              <a:gd name="connsiteX3" fmla="*/ 2864880 w 9782396"/>
              <a:gd name="connsiteY3" fmla="*/ 3216705 h 3221562"/>
              <a:gd name="connsiteX4" fmla="*/ 3826612 w 9782396"/>
              <a:gd name="connsiteY4" fmla="*/ 2692198 h 3221562"/>
              <a:gd name="connsiteX5" fmla="*/ 4836405 w 9782396"/>
              <a:gd name="connsiteY5" fmla="*/ 2782063 h 3221562"/>
              <a:gd name="connsiteX6" fmla="*/ 5792778 w 9782396"/>
              <a:gd name="connsiteY6" fmla="*/ 2508548 h 3221562"/>
              <a:gd name="connsiteX7" fmla="*/ 6743151 w 9782396"/>
              <a:gd name="connsiteY7" fmla="*/ 1510539 h 3221562"/>
              <a:gd name="connsiteX8" fmla="*/ 7785274 w 9782396"/>
              <a:gd name="connsiteY8" fmla="*/ 2358075 h 3221562"/>
              <a:gd name="connsiteX9" fmla="*/ 8726972 w 9782396"/>
              <a:gd name="connsiteY9" fmla="*/ 499502 h 3221562"/>
              <a:gd name="connsiteX10" fmla="*/ 9782396 w 9782396"/>
              <a:gd name="connsiteY10" fmla="*/ 35549 h 3221562"/>
              <a:gd name="connsiteX0" fmla="*/ 0 w 9782396"/>
              <a:gd name="connsiteY0" fmla="*/ 3114420 h 3221562"/>
              <a:gd name="connsiteX1" fmla="*/ 922760 w 9782396"/>
              <a:gd name="connsiteY1" fmla="*/ 3096977 h 3221562"/>
              <a:gd name="connsiteX2" fmla="*/ 1845707 w 9782396"/>
              <a:gd name="connsiteY2" fmla="*/ 2961462 h 3221562"/>
              <a:gd name="connsiteX3" fmla="*/ 2864880 w 9782396"/>
              <a:gd name="connsiteY3" fmla="*/ 3216705 h 3221562"/>
              <a:gd name="connsiteX4" fmla="*/ 3826612 w 9782396"/>
              <a:gd name="connsiteY4" fmla="*/ 2692198 h 3221562"/>
              <a:gd name="connsiteX5" fmla="*/ 4836405 w 9782396"/>
              <a:gd name="connsiteY5" fmla="*/ 2782063 h 3221562"/>
              <a:gd name="connsiteX6" fmla="*/ 5792778 w 9782396"/>
              <a:gd name="connsiteY6" fmla="*/ 2508548 h 3221562"/>
              <a:gd name="connsiteX7" fmla="*/ 6743151 w 9782396"/>
              <a:gd name="connsiteY7" fmla="*/ 2856527 h 3221562"/>
              <a:gd name="connsiteX8" fmla="*/ 7785274 w 9782396"/>
              <a:gd name="connsiteY8" fmla="*/ 2358075 h 3221562"/>
              <a:gd name="connsiteX9" fmla="*/ 8726972 w 9782396"/>
              <a:gd name="connsiteY9" fmla="*/ 499502 h 3221562"/>
              <a:gd name="connsiteX10" fmla="*/ 9782396 w 9782396"/>
              <a:gd name="connsiteY10" fmla="*/ 35549 h 3221562"/>
              <a:gd name="connsiteX0" fmla="*/ 0 w 9782396"/>
              <a:gd name="connsiteY0" fmla="*/ 3114420 h 3221562"/>
              <a:gd name="connsiteX1" fmla="*/ 922760 w 9782396"/>
              <a:gd name="connsiteY1" fmla="*/ 3096977 h 3221562"/>
              <a:gd name="connsiteX2" fmla="*/ 1845707 w 9782396"/>
              <a:gd name="connsiteY2" fmla="*/ 2961462 h 3221562"/>
              <a:gd name="connsiteX3" fmla="*/ 2864880 w 9782396"/>
              <a:gd name="connsiteY3" fmla="*/ 3216705 h 3221562"/>
              <a:gd name="connsiteX4" fmla="*/ 3826612 w 9782396"/>
              <a:gd name="connsiteY4" fmla="*/ 2692198 h 3221562"/>
              <a:gd name="connsiteX5" fmla="*/ 4836405 w 9782396"/>
              <a:gd name="connsiteY5" fmla="*/ 2782063 h 3221562"/>
              <a:gd name="connsiteX6" fmla="*/ 5792778 w 9782396"/>
              <a:gd name="connsiteY6" fmla="*/ 2508548 h 3221562"/>
              <a:gd name="connsiteX7" fmla="*/ 6743151 w 9782396"/>
              <a:gd name="connsiteY7" fmla="*/ 2183533 h 3221562"/>
              <a:gd name="connsiteX8" fmla="*/ 7785274 w 9782396"/>
              <a:gd name="connsiteY8" fmla="*/ 2358075 h 3221562"/>
              <a:gd name="connsiteX9" fmla="*/ 8726972 w 9782396"/>
              <a:gd name="connsiteY9" fmla="*/ 499502 h 3221562"/>
              <a:gd name="connsiteX10" fmla="*/ 9782396 w 9782396"/>
              <a:gd name="connsiteY10" fmla="*/ 35549 h 3221562"/>
              <a:gd name="connsiteX0" fmla="*/ 0 w 9782396"/>
              <a:gd name="connsiteY0" fmla="*/ 3078871 h 3186013"/>
              <a:gd name="connsiteX1" fmla="*/ 922760 w 9782396"/>
              <a:gd name="connsiteY1" fmla="*/ 3061428 h 3186013"/>
              <a:gd name="connsiteX2" fmla="*/ 1845707 w 9782396"/>
              <a:gd name="connsiteY2" fmla="*/ 2925913 h 3186013"/>
              <a:gd name="connsiteX3" fmla="*/ 2864880 w 9782396"/>
              <a:gd name="connsiteY3" fmla="*/ 3181156 h 3186013"/>
              <a:gd name="connsiteX4" fmla="*/ 3826612 w 9782396"/>
              <a:gd name="connsiteY4" fmla="*/ 2656649 h 3186013"/>
              <a:gd name="connsiteX5" fmla="*/ 4836405 w 9782396"/>
              <a:gd name="connsiteY5" fmla="*/ 2746514 h 3186013"/>
              <a:gd name="connsiteX6" fmla="*/ 5792778 w 9782396"/>
              <a:gd name="connsiteY6" fmla="*/ 2472999 h 3186013"/>
              <a:gd name="connsiteX7" fmla="*/ 6743151 w 9782396"/>
              <a:gd name="connsiteY7" fmla="*/ 2147984 h 3186013"/>
              <a:gd name="connsiteX8" fmla="*/ 7785274 w 9782396"/>
              <a:gd name="connsiteY8" fmla="*/ 2322526 h 3186013"/>
              <a:gd name="connsiteX9" fmla="*/ 8726972 w 9782396"/>
              <a:gd name="connsiteY9" fmla="*/ 1809941 h 3186013"/>
              <a:gd name="connsiteX10" fmla="*/ 9782396 w 9782396"/>
              <a:gd name="connsiteY10" fmla="*/ 0 h 3186013"/>
              <a:gd name="connsiteX0" fmla="*/ 0 w 9782396"/>
              <a:gd name="connsiteY0" fmla="*/ 1529583 h 1636725"/>
              <a:gd name="connsiteX1" fmla="*/ 922760 w 9782396"/>
              <a:gd name="connsiteY1" fmla="*/ 1512140 h 1636725"/>
              <a:gd name="connsiteX2" fmla="*/ 1845707 w 9782396"/>
              <a:gd name="connsiteY2" fmla="*/ 1376625 h 1636725"/>
              <a:gd name="connsiteX3" fmla="*/ 2864880 w 9782396"/>
              <a:gd name="connsiteY3" fmla="*/ 1631868 h 1636725"/>
              <a:gd name="connsiteX4" fmla="*/ 3826612 w 9782396"/>
              <a:gd name="connsiteY4" fmla="*/ 1107361 h 1636725"/>
              <a:gd name="connsiteX5" fmla="*/ 4836405 w 9782396"/>
              <a:gd name="connsiteY5" fmla="*/ 1197226 h 1636725"/>
              <a:gd name="connsiteX6" fmla="*/ 5792778 w 9782396"/>
              <a:gd name="connsiteY6" fmla="*/ 923711 h 1636725"/>
              <a:gd name="connsiteX7" fmla="*/ 6743151 w 9782396"/>
              <a:gd name="connsiteY7" fmla="*/ 598696 h 1636725"/>
              <a:gd name="connsiteX8" fmla="*/ 7785274 w 9782396"/>
              <a:gd name="connsiteY8" fmla="*/ 773238 h 1636725"/>
              <a:gd name="connsiteX9" fmla="*/ 8726972 w 9782396"/>
              <a:gd name="connsiteY9" fmla="*/ 260653 h 1636725"/>
              <a:gd name="connsiteX10" fmla="*/ 9782396 w 9782396"/>
              <a:gd name="connsiteY10" fmla="*/ 469694 h 1636725"/>
              <a:gd name="connsiteX0" fmla="*/ 0 w 9721956"/>
              <a:gd name="connsiteY0" fmla="*/ 23892 h 27572602"/>
              <a:gd name="connsiteX1" fmla="*/ 862320 w 9721956"/>
              <a:gd name="connsiteY1" fmla="*/ 25718151 h 27572602"/>
              <a:gd name="connsiteX2" fmla="*/ 1785267 w 9721956"/>
              <a:gd name="connsiteY2" fmla="*/ 25582636 h 27572602"/>
              <a:gd name="connsiteX3" fmla="*/ 2804440 w 9721956"/>
              <a:gd name="connsiteY3" fmla="*/ 25837879 h 27572602"/>
              <a:gd name="connsiteX4" fmla="*/ 3766172 w 9721956"/>
              <a:gd name="connsiteY4" fmla="*/ 25313372 h 27572602"/>
              <a:gd name="connsiteX5" fmla="*/ 4775965 w 9721956"/>
              <a:gd name="connsiteY5" fmla="*/ 25403237 h 27572602"/>
              <a:gd name="connsiteX6" fmla="*/ 5732338 w 9721956"/>
              <a:gd name="connsiteY6" fmla="*/ 25129722 h 27572602"/>
              <a:gd name="connsiteX7" fmla="*/ 6682711 w 9721956"/>
              <a:gd name="connsiteY7" fmla="*/ 24804707 h 27572602"/>
              <a:gd name="connsiteX8" fmla="*/ 7724834 w 9721956"/>
              <a:gd name="connsiteY8" fmla="*/ 24979249 h 27572602"/>
              <a:gd name="connsiteX9" fmla="*/ 8666532 w 9721956"/>
              <a:gd name="connsiteY9" fmla="*/ 24466664 h 27572602"/>
              <a:gd name="connsiteX10" fmla="*/ 9721956 w 9721956"/>
              <a:gd name="connsiteY10" fmla="*/ 24675705 h 27572602"/>
              <a:gd name="connsiteX0" fmla="*/ 0 w 9742102"/>
              <a:gd name="connsiteY0" fmla="*/ 36648 h 17315296"/>
              <a:gd name="connsiteX1" fmla="*/ 882466 w 9742102"/>
              <a:gd name="connsiteY1" fmla="*/ 16168710 h 17315296"/>
              <a:gd name="connsiteX2" fmla="*/ 1805413 w 9742102"/>
              <a:gd name="connsiteY2" fmla="*/ 16033195 h 17315296"/>
              <a:gd name="connsiteX3" fmla="*/ 2824586 w 9742102"/>
              <a:gd name="connsiteY3" fmla="*/ 16288438 h 17315296"/>
              <a:gd name="connsiteX4" fmla="*/ 3786318 w 9742102"/>
              <a:gd name="connsiteY4" fmla="*/ 15763931 h 17315296"/>
              <a:gd name="connsiteX5" fmla="*/ 4796111 w 9742102"/>
              <a:gd name="connsiteY5" fmla="*/ 15853796 h 17315296"/>
              <a:gd name="connsiteX6" fmla="*/ 5752484 w 9742102"/>
              <a:gd name="connsiteY6" fmla="*/ 15580281 h 17315296"/>
              <a:gd name="connsiteX7" fmla="*/ 6702857 w 9742102"/>
              <a:gd name="connsiteY7" fmla="*/ 15255266 h 17315296"/>
              <a:gd name="connsiteX8" fmla="*/ 7744980 w 9742102"/>
              <a:gd name="connsiteY8" fmla="*/ 15429808 h 17315296"/>
              <a:gd name="connsiteX9" fmla="*/ 8686678 w 9742102"/>
              <a:gd name="connsiteY9" fmla="*/ 14917223 h 17315296"/>
              <a:gd name="connsiteX10" fmla="*/ 9742102 w 9742102"/>
              <a:gd name="connsiteY10" fmla="*/ 15126264 h 17315296"/>
              <a:gd name="connsiteX0" fmla="*/ 0 w 9742102"/>
              <a:gd name="connsiteY0" fmla="*/ 1078734 h 18322204"/>
              <a:gd name="connsiteX1" fmla="*/ 936190 w 9742102"/>
              <a:gd name="connsiteY1" fmla="*/ 1592537 h 18322204"/>
              <a:gd name="connsiteX2" fmla="*/ 1805413 w 9742102"/>
              <a:gd name="connsiteY2" fmla="*/ 17075281 h 18322204"/>
              <a:gd name="connsiteX3" fmla="*/ 2824586 w 9742102"/>
              <a:gd name="connsiteY3" fmla="*/ 17330524 h 18322204"/>
              <a:gd name="connsiteX4" fmla="*/ 3786318 w 9742102"/>
              <a:gd name="connsiteY4" fmla="*/ 16806017 h 18322204"/>
              <a:gd name="connsiteX5" fmla="*/ 4796111 w 9742102"/>
              <a:gd name="connsiteY5" fmla="*/ 16895882 h 18322204"/>
              <a:gd name="connsiteX6" fmla="*/ 5752484 w 9742102"/>
              <a:gd name="connsiteY6" fmla="*/ 16622367 h 18322204"/>
              <a:gd name="connsiteX7" fmla="*/ 6702857 w 9742102"/>
              <a:gd name="connsiteY7" fmla="*/ 16297352 h 18322204"/>
              <a:gd name="connsiteX8" fmla="*/ 7744980 w 9742102"/>
              <a:gd name="connsiteY8" fmla="*/ 16471894 h 18322204"/>
              <a:gd name="connsiteX9" fmla="*/ 8686678 w 9742102"/>
              <a:gd name="connsiteY9" fmla="*/ 15959309 h 18322204"/>
              <a:gd name="connsiteX10" fmla="*/ 9742102 w 9742102"/>
              <a:gd name="connsiteY10" fmla="*/ 16168350 h 18322204"/>
              <a:gd name="connsiteX0" fmla="*/ 0 w 9742102"/>
              <a:gd name="connsiteY0" fmla="*/ 439818 h 17683288"/>
              <a:gd name="connsiteX1" fmla="*/ 936190 w 9742102"/>
              <a:gd name="connsiteY1" fmla="*/ 953621 h 17683288"/>
              <a:gd name="connsiteX2" fmla="*/ 1805413 w 9742102"/>
              <a:gd name="connsiteY2" fmla="*/ 16436365 h 17683288"/>
              <a:gd name="connsiteX3" fmla="*/ 2824586 w 9742102"/>
              <a:gd name="connsiteY3" fmla="*/ 16691608 h 17683288"/>
              <a:gd name="connsiteX4" fmla="*/ 3786318 w 9742102"/>
              <a:gd name="connsiteY4" fmla="*/ 16167101 h 17683288"/>
              <a:gd name="connsiteX5" fmla="*/ 4796111 w 9742102"/>
              <a:gd name="connsiteY5" fmla="*/ 16256966 h 17683288"/>
              <a:gd name="connsiteX6" fmla="*/ 5752484 w 9742102"/>
              <a:gd name="connsiteY6" fmla="*/ 15983451 h 17683288"/>
              <a:gd name="connsiteX7" fmla="*/ 6702857 w 9742102"/>
              <a:gd name="connsiteY7" fmla="*/ 15658436 h 17683288"/>
              <a:gd name="connsiteX8" fmla="*/ 7744980 w 9742102"/>
              <a:gd name="connsiteY8" fmla="*/ 15832978 h 17683288"/>
              <a:gd name="connsiteX9" fmla="*/ 8686678 w 9742102"/>
              <a:gd name="connsiteY9" fmla="*/ 15320393 h 17683288"/>
              <a:gd name="connsiteX10" fmla="*/ 9742102 w 9742102"/>
              <a:gd name="connsiteY10" fmla="*/ 15529434 h 17683288"/>
              <a:gd name="connsiteX0" fmla="*/ 0 w 9742102"/>
              <a:gd name="connsiteY0" fmla="*/ 553074 h 17820046"/>
              <a:gd name="connsiteX1" fmla="*/ 936190 w 9742102"/>
              <a:gd name="connsiteY1" fmla="*/ 748140 h 17820046"/>
              <a:gd name="connsiteX2" fmla="*/ 1805413 w 9742102"/>
              <a:gd name="connsiteY2" fmla="*/ 16549621 h 17820046"/>
              <a:gd name="connsiteX3" fmla="*/ 2824586 w 9742102"/>
              <a:gd name="connsiteY3" fmla="*/ 16804864 h 17820046"/>
              <a:gd name="connsiteX4" fmla="*/ 3786318 w 9742102"/>
              <a:gd name="connsiteY4" fmla="*/ 16280357 h 17820046"/>
              <a:gd name="connsiteX5" fmla="*/ 4796111 w 9742102"/>
              <a:gd name="connsiteY5" fmla="*/ 16370222 h 17820046"/>
              <a:gd name="connsiteX6" fmla="*/ 5752484 w 9742102"/>
              <a:gd name="connsiteY6" fmla="*/ 16096707 h 17820046"/>
              <a:gd name="connsiteX7" fmla="*/ 6702857 w 9742102"/>
              <a:gd name="connsiteY7" fmla="*/ 15771692 h 17820046"/>
              <a:gd name="connsiteX8" fmla="*/ 7744980 w 9742102"/>
              <a:gd name="connsiteY8" fmla="*/ 15946234 h 17820046"/>
              <a:gd name="connsiteX9" fmla="*/ 8686678 w 9742102"/>
              <a:gd name="connsiteY9" fmla="*/ 15433649 h 17820046"/>
              <a:gd name="connsiteX10" fmla="*/ 9742102 w 9742102"/>
              <a:gd name="connsiteY10" fmla="*/ 15642690 h 17820046"/>
              <a:gd name="connsiteX0" fmla="*/ 0 w 9742102"/>
              <a:gd name="connsiteY0" fmla="*/ 428337 h 17695309"/>
              <a:gd name="connsiteX1" fmla="*/ 936190 w 9742102"/>
              <a:gd name="connsiteY1" fmla="*/ 623403 h 17695309"/>
              <a:gd name="connsiteX2" fmla="*/ 1805413 w 9742102"/>
              <a:gd name="connsiteY2" fmla="*/ 16424884 h 17695309"/>
              <a:gd name="connsiteX3" fmla="*/ 2824586 w 9742102"/>
              <a:gd name="connsiteY3" fmla="*/ 16680127 h 17695309"/>
              <a:gd name="connsiteX4" fmla="*/ 3786318 w 9742102"/>
              <a:gd name="connsiteY4" fmla="*/ 16155620 h 17695309"/>
              <a:gd name="connsiteX5" fmla="*/ 4796111 w 9742102"/>
              <a:gd name="connsiteY5" fmla="*/ 16245485 h 17695309"/>
              <a:gd name="connsiteX6" fmla="*/ 5752484 w 9742102"/>
              <a:gd name="connsiteY6" fmla="*/ 15971970 h 17695309"/>
              <a:gd name="connsiteX7" fmla="*/ 6702857 w 9742102"/>
              <a:gd name="connsiteY7" fmla="*/ 15646955 h 17695309"/>
              <a:gd name="connsiteX8" fmla="*/ 7744980 w 9742102"/>
              <a:gd name="connsiteY8" fmla="*/ 15821497 h 17695309"/>
              <a:gd name="connsiteX9" fmla="*/ 8686678 w 9742102"/>
              <a:gd name="connsiteY9" fmla="*/ 15308912 h 17695309"/>
              <a:gd name="connsiteX10" fmla="*/ 9742102 w 9742102"/>
              <a:gd name="connsiteY10" fmla="*/ 15517953 h 17695309"/>
              <a:gd name="connsiteX0" fmla="*/ 0 w 9742102"/>
              <a:gd name="connsiteY0" fmla="*/ 98402 h 17044672"/>
              <a:gd name="connsiteX1" fmla="*/ 942905 w 9742102"/>
              <a:gd name="connsiteY1" fmla="*/ 4649578 h 17044672"/>
              <a:gd name="connsiteX2" fmla="*/ 1805413 w 9742102"/>
              <a:gd name="connsiteY2" fmla="*/ 16094949 h 17044672"/>
              <a:gd name="connsiteX3" fmla="*/ 2824586 w 9742102"/>
              <a:gd name="connsiteY3" fmla="*/ 16350192 h 17044672"/>
              <a:gd name="connsiteX4" fmla="*/ 3786318 w 9742102"/>
              <a:gd name="connsiteY4" fmla="*/ 15825685 h 17044672"/>
              <a:gd name="connsiteX5" fmla="*/ 4796111 w 9742102"/>
              <a:gd name="connsiteY5" fmla="*/ 15915550 h 17044672"/>
              <a:gd name="connsiteX6" fmla="*/ 5752484 w 9742102"/>
              <a:gd name="connsiteY6" fmla="*/ 15642035 h 17044672"/>
              <a:gd name="connsiteX7" fmla="*/ 6702857 w 9742102"/>
              <a:gd name="connsiteY7" fmla="*/ 15317020 h 17044672"/>
              <a:gd name="connsiteX8" fmla="*/ 7744980 w 9742102"/>
              <a:gd name="connsiteY8" fmla="*/ 15491562 h 17044672"/>
              <a:gd name="connsiteX9" fmla="*/ 8686678 w 9742102"/>
              <a:gd name="connsiteY9" fmla="*/ 14978977 h 17044672"/>
              <a:gd name="connsiteX10" fmla="*/ 9742102 w 9742102"/>
              <a:gd name="connsiteY10" fmla="*/ 15188018 h 17044672"/>
              <a:gd name="connsiteX0" fmla="*/ 0 w 9742102"/>
              <a:gd name="connsiteY0" fmla="*/ 135619 h 17081889"/>
              <a:gd name="connsiteX1" fmla="*/ 942905 w 9742102"/>
              <a:gd name="connsiteY1" fmla="*/ 4686795 h 17081889"/>
              <a:gd name="connsiteX2" fmla="*/ 1805413 w 9742102"/>
              <a:gd name="connsiteY2" fmla="*/ 16132166 h 17081889"/>
              <a:gd name="connsiteX3" fmla="*/ 2824586 w 9742102"/>
              <a:gd name="connsiteY3" fmla="*/ 16387409 h 17081889"/>
              <a:gd name="connsiteX4" fmla="*/ 3786318 w 9742102"/>
              <a:gd name="connsiteY4" fmla="*/ 15862902 h 17081889"/>
              <a:gd name="connsiteX5" fmla="*/ 4796111 w 9742102"/>
              <a:gd name="connsiteY5" fmla="*/ 15952767 h 17081889"/>
              <a:gd name="connsiteX6" fmla="*/ 5752484 w 9742102"/>
              <a:gd name="connsiteY6" fmla="*/ 15679252 h 17081889"/>
              <a:gd name="connsiteX7" fmla="*/ 6702857 w 9742102"/>
              <a:gd name="connsiteY7" fmla="*/ 15354237 h 17081889"/>
              <a:gd name="connsiteX8" fmla="*/ 7744980 w 9742102"/>
              <a:gd name="connsiteY8" fmla="*/ 15528779 h 17081889"/>
              <a:gd name="connsiteX9" fmla="*/ 8686678 w 9742102"/>
              <a:gd name="connsiteY9" fmla="*/ 15016194 h 17081889"/>
              <a:gd name="connsiteX10" fmla="*/ 9742102 w 9742102"/>
              <a:gd name="connsiteY10" fmla="*/ 15225235 h 17081889"/>
              <a:gd name="connsiteX0" fmla="*/ 0 w 9742102"/>
              <a:gd name="connsiteY0" fmla="*/ 13583576 h 31881932"/>
              <a:gd name="connsiteX1" fmla="*/ 942905 w 9742102"/>
              <a:gd name="connsiteY1" fmla="*/ 18134752 h 31881932"/>
              <a:gd name="connsiteX2" fmla="*/ 1926292 w 9742102"/>
              <a:gd name="connsiteY2" fmla="*/ 149784 h 31881932"/>
              <a:gd name="connsiteX3" fmla="*/ 2824586 w 9742102"/>
              <a:gd name="connsiteY3" fmla="*/ 29835366 h 31881932"/>
              <a:gd name="connsiteX4" fmla="*/ 3786318 w 9742102"/>
              <a:gd name="connsiteY4" fmla="*/ 29310859 h 31881932"/>
              <a:gd name="connsiteX5" fmla="*/ 4796111 w 9742102"/>
              <a:gd name="connsiteY5" fmla="*/ 29400724 h 31881932"/>
              <a:gd name="connsiteX6" fmla="*/ 5752484 w 9742102"/>
              <a:gd name="connsiteY6" fmla="*/ 29127209 h 31881932"/>
              <a:gd name="connsiteX7" fmla="*/ 6702857 w 9742102"/>
              <a:gd name="connsiteY7" fmla="*/ 28802194 h 31881932"/>
              <a:gd name="connsiteX8" fmla="*/ 7744980 w 9742102"/>
              <a:gd name="connsiteY8" fmla="*/ 28976736 h 31881932"/>
              <a:gd name="connsiteX9" fmla="*/ 8686678 w 9742102"/>
              <a:gd name="connsiteY9" fmla="*/ 28464151 h 31881932"/>
              <a:gd name="connsiteX10" fmla="*/ 9742102 w 9742102"/>
              <a:gd name="connsiteY10" fmla="*/ 28673192 h 31881932"/>
              <a:gd name="connsiteX0" fmla="*/ 0 w 9742102"/>
              <a:gd name="connsiteY0" fmla="*/ 13744002 h 32042358"/>
              <a:gd name="connsiteX1" fmla="*/ 942905 w 9742102"/>
              <a:gd name="connsiteY1" fmla="*/ 18295178 h 32042358"/>
              <a:gd name="connsiteX2" fmla="*/ 1926292 w 9742102"/>
              <a:gd name="connsiteY2" fmla="*/ 310210 h 32042358"/>
              <a:gd name="connsiteX3" fmla="*/ 2824586 w 9742102"/>
              <a:gd name="connsiteY3" fmla="*/ 29995792 h 32042358"/>
              <a:gd name="connsiteX4" fmla="*/ 3786318 w 9742102"/>
              <a:gd name="connsiteY4" fmla="*/ 29471285 h 32042358"/>
              <a:gd name="connsiteX5" fmla="*/ 4796111 w 9742102"/>
              <a:gd name="connsiteY5" fmla="*/ 29561150 h 32042358"/>
              <a:gd name="connsiteX6" fmla="*/ 5752484 w 9742102"/>
              <a:gd name="connsiteY6" fmla="*/ 29287635 h 32042358"/>
              <a:gd name="connsiteX7" fmla="*/ 6702857 w 9742102"/>
              <a:gd name="connsiteY7" fmla="*/ 28962620 h 32042358"/>
              <a:gd name="connsiteX8" fmla="*/ 7744980 w 9742102"/>
              <a:gd name="connsiteY8" fmla="*/ 29137162 h 32042358"/>
              <a:gd name="connsiteX9" fmla="*/ 8686678 w 9742102"/>
              <a:gd name="connsiteY9" fmla="*/ 28624577 h 32042358"/>
              <a:gd name="connsiteX10" fmla="*/ 9742102 w 9742102"/>
              <a:gd name="connsiteY10" fmla="*/ 28833618 h 32042358"/>
              <a:gd name="connsiteX0" fmla="*/ 0 w 9742102"/>
              <a:gd name="connsiteY0" fmla="*/ 13744002 h 32042358"/>
              <a:gd name="connsiteX1" fmla="*/ 942905 w 9742102"/>
              <a:gd name="connsiteY1" fmla="*/ 18295178 h 32042358"/>
              <a:gd name="connsiteX2" fmla="*/ 1926292 w 9742102"/>
              <a:gd name="connsiteY2" fmla="*/ 310210 h 32042358"/>
              <a:gd name="connsiteX3" fmla="*/ 2824586 w 9742102"/>
              <a:gd name="connsiteY3" fmla="*/ 29995792 h 32042358"/>
              <a:gd name="connsiteX4" fmla="*/ 3786318 w 9742102"/>
              <a:gd name="connsiteY4" fmla="*/ 29471285 h 32042358"/>
              <a:gd name="connsiteX5" fmla="*/ 4796111 w 9742102"/>
              <a:gd name="connsiteY5" fmla="*/ 29561150 h 32042358"/>
              <a:gd name="connsiteX6" fmla="*/ 5752484 w 9742102"/>
              <a:gd name="connsiteY6" fmla="*/ 29287635 h 32042358"/>
              <a:gd name="connsiteX7" fmla="*/ 6702857 w 9742102"/>
              <a:gd name="connsiteY7" fmla="*/ 28962620 h 32042358"/>
              <a:gd name="connsiteX8" fmla="*/ 7744980 w 9742102"/>
              <a:gd name="connsiteY8" fmla="*/ 29137162 h 32042358"/>
              <a:gd name="connsiteX9" fmla="*/ 8686678 w 9742102"/>
              <a:gd name="connsiteY9" fmla="*/ 28624577 h 32042358"/>
              <a:gd name="connsiteX10" fmla="*/ 9742102 w 9742102"/>
              <a:gd name="connsiteY10" fmla="*/ 28833618 h 32042358"/>
              <a:gd name="connsiteX0" fmla="*/ 0 w 9742102"/>
              <a:gd name="connsiteY0" fmla="*/ 13803163 h 31158000"/>
              <a:gd name="connsiteX1" fmla="*/ 942905 w 9742102"/>
              <a:gd name="connsiteY1" fmla="*/ 18354339 h 31158000"/>
              <a:gd name="connsiteX2" fmla="*/ 1926292 w 9742102"/>
              <a:gd name="connsiteY2" fmla="*/ 369371 h 31158000"/>
              <a:gd name="connsiteX3" fmla="*/ 2871595 w 9742102"/>
              <a:gd name="connsiteY3" fmla="*/ 8061885 h 31158000"/>
              <a:gd name="connsiteX4" fmla="*/ 3786318 w 9742102"/>
              <a:gd name="connsiteY4" fmla="*/ 29530446 h 31158000"/>
              <a:gd name="connsiteX5" fmla="*/ 4796111 w 9742102"/>
              <a:gd name="connsiteY5" fmla="*/ 29620311 h 31158000"/>
              <a:gd name="connsiteX6" fmla="*/ 5752484 w 9742102"/>
              <a:gd name="connsiteY6" fmla="*/ 29346796 h 31158000"/>
              <a:gd name="connsiteX7" fmla="*/ 6702857 w 9742102"/>
              <a:gd name="connsiteY7" fmla="*/ 29021781 h 31158000"/>
              <a:gd name="connsiteX8" fmla="*/ 7744980 w 9742102"/>
              <a:gd name="connsiteY8" fmla="*/ 29196323 h 31158000"/>
              <a:gd name="connsiteX9" fmla="*/ 8686678 w 9742102"/>
              <a:gd name="connsiteY9" fmla="*/ 28683738 h 31158000"/>
              <a:gd name="connsiteX10" fmla="*/ 9742102 w 9742102"/>
              <a:gd name="connsiteY10" fmla="*/ 28892779 h 31158000"/>
              <a:gd name="connsiteX0" fmla="*/ 0 w 9742102"/>
              <a:gd name="connsiteY0" fmla="*/ 13751616 h 31106453"/>
              <a:gd name="connsiteX1" fmla="*/ 942905 w 9742102"/>
              <a:gd name="connsiteY1" fmla="*/ 18302792 h 31106453"/>
              <a:gd name="connsiteX2" fmla="*/ 1926292 w 9742102"/>
              <a:gd name="connsiteY2" fmla="*/ 317824 h 31106453"/>
              <a:gd name="connsiteX3" fmla="*/ 2871595 w 9742102"/>
              <a:gd name="connsiteY3" fmla="*/ 8010338 h 31106453"/>
              <a:gd name="connsiteX4" fmla="*/ 3786318 w 9742102"/>
              <a:gd name="connsiteY4" fmla="*/ 29478899 h 31106453"/>
              <a:gd name="connsiteX5" fmla="*/ 4796111 w 9742102"/>
              <a:gd name="connsiteY5" fmla="*/ 29568764 h 31106453"/>
              <a:gd name="connsiteX6" fmla="*/ 5752484 w 9742102"/>
              <a:gd name="connsiteY6" fmla="*/ 29295249 h 31106453"/>
              <a:gd name="connsiteX7" fmla="*/ 6702857 w 9742102"/>
              <a:gd name="connsiteY7" fmla="*/ 28970234 h 31106453"/>
              <a:gd name="connsiteX8" fmla="*/ 7744980 w 9742102"/>
              <a:gd name="connsiteY8" fmla="*/ 29144776 h 31106453"/>
              <a:gd name="connsiteX9" fmla="*/ 8686678 w 9742102"/>
              <a:gd name="connsiteY9" fmla="*/ 28632191 h 31106453"/>
              <a:gd name="connsiteX10" fmla="*/ 9742102 w 9742102"/>
              <a:gd name="connsiteY10" fmla="*/ 28841232 h 31106453"/>
              <a:gd name="connsiteX0" fmla="*/ 0 w 9742102"/>
              <a:gd name="connsiteY0" fmla="*/ 13496835 h 30851672"/>
              <a:gd name="connsiteX1" fmla="*/ 942905 w 9742102"/>
              <a:gd name="connsiteY1" fmla="*/ 18048011 h 30851672"/>
              <a:gd name="connsiteX2" fmla="*/ 1926292 w 9742102"/>
              <a:gd name="connsiteY2" fmla="*/ 63043 h 30851672"/>
              <a:gd name="connsiteX3" fmla="*/ 2871595 w 9742102"/>
              <a:gd name="connsiteY3" fmla="*/ 7755557 h 30851672"/>
              <a:gd name="connsiteX4" fmla="*/ 3786318 w 9742102"/>
              <a:gd name="connsiteY4" fmla="*/ 29224118 h 30851672"/>
              <a:gd name="connsiteX5" fmla="*/ 4796111 w 9742102"/>
              <a:gd name="connsiteY5" fmla="*/ 29313983 h 30851672"/>
              <a:gd name="connsiteX6" fmla="*/ 5752484 w 9742102"/>
              <a:gd name="connsiteY6" fmla="*/ 29040468 h 30851672"/>
              <a:gd name="connsiteX7" fmla="*/ 6702857 w 9742102"/>
              <a:gd name="connsiteY7" fmla="*/ 28715453 h 30851672"/>
              <a:gd name="connsiteX8" fmla="*/ 7744980 w 9742102"/>
              <a:gd name="connsiteY8" fmla="*/ 28889995 h 30851672"/>
              <a:gd name="connsiteX9" fmla="*/ 8686678 w 9742102"/>
              <a:gd name="connsiteY9" fmla="*/ 28377410 h 30851672"/>
              <a:gd name="connsiteX10" fmla="*/ 9742102 w 9742102"/>
              <a:gd name="connsiteY10" fmla="*/ 28586451 h 30851672"/>
              <a:gd name="connsiteX0" fmla="*/ 0 w 9742102"/>
              <a:gd name="connsiteY0" fmla="*/ 13452708 h 30288375"/>
              <a:gd name="connsiteX1" fmla="*/ 942905 w 9742102"/>
              <a:gd name="connsiteY1" fmla="*/ 18003884 h 30288375"/>
              <a:gd name="connsiteX2" fmla="*/ 1926292 w 9742102"/>
              <a:gd name="connsiteY2" fmla="*/ 18916 h 30288375"/>
              <a:gd name="connsiteX3" fmla="*/ 2925319 w 9742102"/>
              <a:gd name="connsiteY3" fmla="*/ 14723720 h 30288375"/>
              <a:gd name="connsiteX4" fmla="*/ 3786318 w 9742102"/>
              <a:gd name="connsiteY4" fmla="*/ 29179991 h 30288375"/>
              <a:gd name="connsiteX5" fmla="*/ 4796111 w 9742102"/>
              <a:gd name="connsiteY5" fmla="*/ 29269856 h 30288375"/>
              <a:gd name="connsiteX6" fmla="*/ 5752484 w 9742102"/>
              <a:gd name="connsiteY6" fmla="*/ 28996341 h 30288375"/>
              <a:gd name="connsiteX7" fmla="*/ 6702857 w 9742102"/>
              <a:gd name="connsiteY7" fmla="*/ 28671326 h 30288375"/>
              <a:gd name="connsiteX8" fmla="*/ 7744980 w 9742102"/>
              <a:gd name="connsiteY8" fmla="*/ 28845868 h 30288375"/>
              <a:gd name="connsiteX9" fmla="*/ 8686678 w 9742102"/>
              <a:gd name="connsiteY9" fmla="*/ 28333283 h 30288375"/>
              <a:gd name="connsiteX10" fmla="*/ 9742102 w 9742102"/>
              <a:gd name="connsiteY10" fmla="*/ 28542324 h 30288375"/>
              <a:gd name="connsiteX0" fmla="*/ 0 w 9742102"/>
              <a:gd name="connsiteY0" fmla="*/ 13452708 h 30288375"/>
              <a:gd name="connsiteX1" fmla="*/ 942905 w 9742102"/>
              <a:gd name="connsiteY1" fmla="*/ 18003884 h 30288375"/>
              <a:gd name="connsiteX2" fmla="*/ 1926292 w 9742102"/>
              <a:gd name="connsiteY2" fmla="*/ 18916 h 30288375"/>
              <a:gd name="connsiteX3" fmla="*/ 2925319 w 9742102"/>
              <a:gd name="connsiteY3" fmla="*/ 14723720 h 30288375"/>
              <a:gd name="connsiteX4" fmla="*/ 3786318 w 9742102"/>
              <a:gd name="connsiteY4" fmla="*/ 29179991 h 30288375"/>
              <a:gd name="connsiteX5" fmla="*/ 4796111 w 9742102"/>
              <a:gd name="connsiteY5" fmla="*/ 29269856 h 30288375"/>
              <a:gd name="connsiteX6" fmla="*/ 5752484 w 9742102"/>
              <a:gd name="connsiteY6" fmla="*/ 28996341 h 30288375"/>
              <a:gd name="connsiteX7" fmla="*/ 6702857 w 9742102"/>
              <a:gd name="connsiteY7" fmla="*/ 28671326 h 30288375"/>
              <a:gd name="connsiteX8" fmla="*/ 7744980 w 9742102"/>
              <a:gd name="connsiteY8" fmla="*/ 28845868 h 30288375"/>
              <a:gd name="connsiteX9" fmla="*/ 8686678 w 9742102"/>
              <a:gd name="connsiteY9" fmla="*/ 28333283 h 30288375"/>
              <a:gd name="connsiteX10" fmla="*/ 9742102 w 9742102"/>
              <a:gd name="connsiteY10" fmla="*/ 28542324 h 30288375"/>
              <a:gd name="connsiteX0" fmla="*/ 0 w 9742102"/>
              <a:gd name="connsiteY0" fmla="*/ 13452873 h 29638188"/>
              <a:gd name="connsiteX1" fmla="*/ 942905 w 9742102"/>
              <a:gd name="connsiteY1" fmla="*/ 18004049 h 29638188"/>
              <a:gd name="connsiteX2" fmla="*/ 1926292 w 9742102"/>
              <a:gd name="connsiteY2" fmla="*/ 19081 h 29638188"/>
              <a:gd name="connsiteX3" fmla="*/ 2925319 w 9742102"/>
              <a:gd name="connsiteY3" fmla="*/ 14723885 h 29638188"/>
              <a:gd name="connsiteX4" fmla="*/ 3920628 w 9742102"/>
              <a:gd name="connsiteY4" fmla="*/ 23442837 h 29638188"/>
              <a:gd name="connsiteX5" fmla="*/ 4796111 w 9742102"/>
              <a:gd name="connsiteY5" fmla="*/ 29270021 h 29638188"/>
              <a:gd name="connsiteX6" fmla="*/ 5752484 w 9742102"/>
              <a:gd name="connsiteY6" fmla="*/ 28996506 h 29638188"/>
              <a:gd name="connsiteX7" fmla="*/ 6702857 w 9742102"/>
              <a:gd name="connsiteY7" fmla="*/ 28671491 h 29638188"/>
              <a:gd name="connsiteX8" fmla="*/ 7744980 w 9742102"/>
              <a:gd name="connsiteY8" fmla="*/ 28846033 h 29638188"/>
              <a:gd name="connsiteX9" fmla="*/ 8686678 w 9742102"/>
              <a:gd name="connsiteY9" fmla="*/ 28333448 h 29638188"/>
              <a:gd name="connsiteX10" fmla="*/ 9742102 w 9742102"/>
              <a:gd name="connsiteY10" fmla="*/ 28542489 h 29638188"/>
              <a:gd name="connsiteX0" fmla="*/ 0 w 9742102"/>
              <a:gd name="connsiteY0" fmla="*/ 13452873 h 30082593"/>
              <a:gd name="connsiteX1" fmla="*/ 942905 w 9742102"/>
              <a:gd name="connsiteY1" fmla="*/ 18004049 h 30082593"/>
              <a:gd name="connsiteX2" fmla="*/ 1926292 w 9742102"/>
              <a:gd name="connsiteY2" fmla="*/ 19081 h 30082593"/>
              <a:gd name="connsiteX3" fmla="*/ 2925319 w 9742102"/>
              <a:gd name="connsiteY3" fmla="*/ 14723885 h 30082593"/>
              <a:gd name="connsiteX4" fmla="*/ 3920628 w 9742102"/>
              <a:gd name="connsiteY4" fmla="*/ 23442837 h 30082593"/>
              <a:gd name="connsiteX5" fmla="*/ 4869983 w 9742102"/>
              <a:gd name="connsiteY5" fmla="*/ 13014269 h 30082593"/>
              <a:gd name="connsiteX6" fmla="*/ 5752484 w 9742102"/>
              <a:gd name="connsiteY6" fmla="*/ 28996506 h 30082593"/>
              <a:gd name="connsiteX7" fmla="*/ 6702857 w 9742102"/>
              <a:gd name="connsiteY7" fmla="*/ 28671491 h 30082593"/>
              <a:gd name="connsiteX8" fmla="*/ 7744980 w 9742102"/>
              <a:gd name="connsiteY8" fmla="*/ 28846033 h 30082593"/>
              <a:gd name="connsiteX9" fmla="*/ 8686678 w 9742102"/>
              <a:gd name="connsiteY9" fmla="*/ 28333448 h 30082593"/>
              <a:gd name="connsiteX10" fmla="*/ 9742102 w 9742102"/>
              <a:gd name="connsiteY10" fmla="*/ 28542489 h 30082593"/>
              <a:gd name="connsiteX0" fmla="*/ 0 w 9742102"/>
              <a:gd name="connsiteY0" fmla="*/ 13452873 h 30694814"/>
              <a:gd name="connsiteX1" fmla="*/ 942905 w 9742102"/>
              <a:gd name="connsiteY1" fmla="*/ 18004049 h 30694814"/>
              <a:gd name="connsiteX2" fmla="*/ 1926292 w 9742102"/>
              <a:gd name="connsiteY2" fmla="*/ 19081 h 30694814"/>
              <a:gd name="connsiteX3" fmla="*/ 2925319 w 9742102"/>
              <a:gd name="connsiteY3" fmla="*/ 14723885 h 30694814"/>
              <a:gd name="connsiteX4" fmla="*/ 3920628 w 9742102"/>
              <a:gd name="connsiteY4" fmla="*/ 23442837 h 30694814"/>
              <a:gd name="connsiteX5" fmla="*/ 4883414 w 9742102"/>
              <a:gd name="connsiteY5" fmla="*/ 4727026 h 30694814"/>
              <a:gd name="connsiteX6" fmla="*/ 5752484 w 9742102"/>
              <a:gd name="connsiteY6" fmla="*/ 28996506 h 30694814"/>
              <a:gd name="connsiteX7" fmla="*/ 6702857 w 9742102"/>
              <a:gd name="connsiteY7" fmla="*/ 28671491 h 30694814"/>
              <a:gd name="connsiteX8" fmla="*/ 7744980 w 9742102"/>
              <a:gd name="connsiteY8" fmla="*/ 28846033 h 30694814"/>
              <a:gd name="connsiteX9" fmla="*/ 8686678 w 9742102"/>
              <a:gd name="connsiteY9" fmla="*/ 28333448 h 30694814"/>
              <a:gd name="connsiteX10" fmla="*/ 9742102 w 9742102"/>
              <a:gd name="connsiteY10" fmla="*/ 28542489 h 30694814"/>
              <a:gd name="connsiteX0" fmla="*/ 0 w 9742102"/>
              <a:gd name="connsiteY0" fmla="*/ 13452873 h 30694814"/>
              <a:gd name="connsiteX1" fmla="*/ 942905 w 9742102"/>
              <a:gd name="connsiteY1" fmla="*/ 18004049 h 30694814"/>
              <a:gd name="connsiteX2" fmla="*/ 1926292 w 9742102"/>
              <a:gd name="connsiteY2" fmla="*/ 19081 h 30694814"/>
              <a:gd name="connsiteX3" fmla="*/ 2925319 w 9742102"/>
              <a:gd name="connsiteY3" fmla="*/ 14723885 h 30694814"/>
              <a:gd name="connsiteX4" fmla="*/ 3920628 w 9742102"/>
              <a:gd name="connsiteY4" fmla="*/ 23442837 h 30694814"/>
              <a:gd name="connsiteX5" fmla="*/ 4883414 w 9742102"/>
              <a:gd name="connsiteY5" fmla="*/ 4727026 h 30694814"/>
              <a:gd name="connsiteX6" fmla="*/ 5752484 w 9742102"/>
              <a:gd name="connsiteY6" fmla="*/ 28996506 h 30694814"/>
              <a:gd name="connsiteX7" fmla="*/ 6702857 w 9742102"/>
              <a:gd name="connsiteY7" fmla="*/ 28671491 h 30694814"/>
              <a:gd name="connsiteX8" fmla="*/ 7744980 w 9742102"/>
              <a:gd name="connsiteY8" fmla="*/ 28846033 h 30694814"/>
              <a:gd name="connsiteX9" fmla="*/ 8686678 w 9742102"/>
              <a:gd name="connsiteY9" fmla="*/ 28333448 h 30694814"/>
              <a:gd name="connsiteX10" fmla="*/ 9742102 w 9742102"/>
              <a:gd name="connsiteY10" fmla="*/ 28542489 h 30694814"/>
              <a:gd name="connsiteX0" fmla="*/ 0 w 9742102"/>
              <a:gd name="connsiteY0" fmla="*/ 13452873 h 30694814"/>
              <a:gd name="connsiteX1" fmla="*/ 942905 w 9742102"/>
              <a:gd name="connsiteY1" fmla="*/ 18004049 h 30694814"/>
              <a:gd name="connsiteX2" fmla="*/ 1926292 w 9742102"/>
              <a:gd name="connsiteY2" fmla="*/ 19081 h 30694814"/>
              <a:gd name="connsiteX3" fmla="*/ 2925319 w 9742102"/>
              <a:gd name="connsiteY3" fmla="*/ 14723885 h 30694814"/>
              <a:gd name="connsiteX4" fmla="*/ 3920628 w 9742102"/>
              <a:gd name="connsiteY4" fmla="*/ 23442837 h 30694814"/>
              <a:gd name="connsiteX5" fmla="*/ 4883414 w 9742102"/>
              <a:gd name="connsiteY5" fmla="*/ 4727026 h 30694814"/>
              <a:gd name="connsiteX6" fmla="*/ 5752484 w 9742102"/>
              <a:gd name="connsiteY6" fmla="*/ 28996506 h 30694814"/>
              <a:gd name="connsiteX7" fmla="*/ 6702857 w 9742102"/>
              <a:gd name="connsiteY7" fmla="*/ 28671491 h 30694814"/>
              <a:gd name="connsiteX8" fmla="*/ 7744980 w 9742102"/>
              <a:gd name="connsiteY8" fmla="*/ 28846033 h 30694814"/>
              <a:gd name="connsiteX9" fmla="*/ 8686678 w 9742102"/>
              <a:gd name="connsiteY9" fmla="*/ 28333448 h 30694814"/>
              <a:gd name="connsiteX10" fmla="*/ 9742102 w 9742102"/>
              <a:gd name="connsiteY10" fmla="*/ 28542489 h 30694814"/>
              <a:gd name="connsiteX0" fmla="*/ 0 w 9742102"/>
              <a:gd name="connsiteY0" fmla="*/ 13452873 h 30694814"/>
              <a:gd name="connsiteX1" fmla="*/ 942905 w 9742102"/>
              <a:gd name="connsiteY1" fmla="*/ 18004049 h 30694814"/>
              <a:gd name="connsiteX2" fmla="*/ 1926292 w 9742102"/>
              <a:gd name="connsiteY2" fmla="*/ 19081 h 30694814"/>
              <a:gd name="connsiteX3" fmla="*/ 2925319 w 9742102"/>
              <a:gd name="connsiteY3" fmla="*/ 14723885 h 30694814"/>
              <a:gd name="connsiteX4" fmla="*/ 3920628 w 9742102"/>
              <a:gd name="connsiteY4" fmla="*/ 23442837 h 30694814"/>
              <a:gd name="connsiteX5" fmla="*/ 4883414 w 9742102"/>
              <a:gd name="connsiteY5" fmla="*/ 4727026 h 30694814"/>
              <a:gd name="connsiteX6" fmla="*/ 5752484 w 9742102"/>
              <a:gd name="connsiteY6" fmla="*/ 28996506 h 30694814"/>
              <a:gd name="connsiteX7" fmla="*/ 6702857 w 9742102"/>
              <a:gd name="connsiteY7" fmla="*/ 28671491 h 30694814"/>
              <a:gd name="connsiteX8" fmla="*/ 7744980 w 9742102"/>
              <a:gd name="connsiteY8" fmla="*/ 28846033 h 30694814"/>
              <a:gd name="connsiteX9" fmla="*/ 8686678 w 9742102"/>
              <a:gd name="connsiteY9" fmla="*/ 28333448 h 30694814"/>
              <a:gd name="connsiteX10" fmla="*/ 9742102 w 9742102"/>
              <a:gd name="connsiteY10" fmla="*/ 28542489 h 30694814"/>
              <a:gd name="connsiteX0" fmla="*/ 0 w 9742102"/>
              <a:gd name="connsiteY0" fmla="*/ 13452873 h 30082593"/>
              <a:gd name="connsiteX1" fmla="*/ 942905 w 9742102"/>
              <a:gd name="connsiteY1" fmla="*/ 18004049 h 30082593"/>
              <a:gd name="connsiteX2" fmla="*/ 1926292 w 9742102"/>
              <a:gd name="connsiteY2" fmla="*/ 19081 h 30082593"/>
              <a:gd name="connsiteX3" fmla="*/ 2925319 w 9742102"/>
              <a:gd name="connsiteY3" fmla="*/ 14723885 h 30082593"/>
              <a:gd name="connsiteX4" fmla="*/ 3920628 w 9742102"/>
              <a:gd name="connsiteY4" fmla="*/ 23442837 h 30082593"/>
              <a:gd name="connsiteX5" fmla="*/ 4903561 w 9742102"/>
              <a:gd name="connsiteY5" fmla="*/ 13014269 h 30082593"/>
              <a:gd name="connsiteX6" fmla="*/ 5752484 w 9742102"/>
              <a:gd name="connsiteY6" fmla="*/ 28996506 h 30082593"/>
              <a:gd name="connsiteX7" fmla="*/ 6702857 w 9742102"/>
              <a:gd name="connsiteY7" fmla="*/ 28671491 h 30082593"/>
              <a:gd name="connsiteX8" fmla="*/ 7744980 w 9742102"/>
              <a:gd name="connsiteY8" fmla="*/ 28846033 h 30082593"/>
              <a:gd name="connsiteX9" fmla="*/ 8686678 w 9742102"/>
              <a:gd name="connsiteY9" fmla="*/ 28333448 h 30082593"/>
              <a:gd name="connsiteX10" fmla="*/ 9742102 w 9742102"/>
              <a:gd name="connsiteY10" fmla="*/ 28542489 h 30082593"/>
              <a:gd name="connsiteX0" fmla="*/ 0 w 9742102"/>
              <a:gd name="connsiteY0" fmla="*/ 13452873 h 30506418"/>
              <a:gd name="connsiteX1" fmla="*/ 942905 w 9742102"/>
              <a:gd name="connsiteY1" fmla="*/ 18004049 h 30506418"/>
              <a:gd name="connsiteX2" fmla="*/ 1926292 w 9742102"/>
              <a:gd name="connsiteY2" fmla="*/ 19081 h 30506418"/>
              <a:gd name="connsiteX3" fmla="*/ 2925319 w 9742102"/>
              <a:gd name="connsiteY3" fmla="*/ 14723885 h 30506418"/>
              <a:gd name="connsiteX4" fmla="*/ 3920628 w 9742102"/>
              <a:gd name="connsiteY4" fmla="*/ 23442837 h 30506418"/>
              <a:gd name="connsiteX5" fmla="*/ 4903561 w 9742102"/>
              <a:gd name="connsiteY5" fmla="*/ 13014269 h 30506418"/>
              <a:gd name="connsiteX6" fmla="*/ 5886796 w 9742102"/>
              <a:gd name="connsiteY6" fmla="*/ 4878503 h 30506418"/>
              <a:gd name="connsiteX7" fmla="*/ 6702857 w 9742102"/>
              <a:gd name="connsiteY7" fmla="*/ 28671491 h 30506418"/>
              <a:gd name="connsiteX8" fmla="*/ 7744980 w 9742102"/>
              <a:gd name="connsiteY8" fmla="*/ 28846033 h 30506418"/>
              <a:gd name="connsiteX9" fmla="*/ 8686678 w 9742102"/>
              <a:gd name="connsiteY9" fmla="*/ 28333448 h 30506418"/>
              <a:gd name="connsiteX10" fmla="*/ 9742102 w 9742102"/>
              <a:gd name="connsiteY10" fmla="*/ 28542489 h 30506418"/>
              <a:gd name="connsiteX0" fmla="*/ 0 w 9742102"/>
              <a:gd name="connsiteY0" fmla="*/ 13452873 h 30506418"/>
              <a:gd name="connsiteX1" fmla="*/ 942905 w 9742102"/>
              <a:gd name="connsiteY1" fmla="*/ 18004049 h 30506418"/>
              <a:gd name="connsiteX2" fmla="*/ 1926292 w 9742102"/>
              <a:gd name="connsiteY2" fmla="*/ 19081 h 30506418"/>
              <a:gd name="connsiteX3" fmla="*/ 2925319 w 9742102"/>
              <a:gd name="connsiteY3" fmla="*/ 14723885 h 30506418"/>
              <a:gd name="connsiteX4" fmla="*/ 3920628 w 9742102"/>
              <a:gd name="connsiteY4" fmla="*/ 23442837 h 30506418"/>
              <a:gd name="connsiteX5" fmla="*/ 4903561 w 9742102"/>
              <a:gd name="connsiteY5" fmla="*/ 13014269 h 30506418"/>
              <a:gd name="connsiteX6" fmla="*/ 5886796 w 9742102"/>
              <a:gd name="connsiteY6" fmla="*/ 4878503 h 30506418"/>
              <a:gd name="connsiteX7" fmla="*/ 6702857 w 9742102"/>
              <a:gd name="connsiteY7" fmla="*/ 28671491 h 30506418"/>
              <a:gd name="connsiteX8" fmla="*/ 7744980 w 9742102"/>
              <a:gd name="connsiteY8" fmla="*/ 28846033 h 30506418"/>
              <a:gd name="connsiteX9" fmla="*/ 8686678 w 9742102"/>
              <a:gd name="connsiteY9" fmla="*/ 28333448 h 30506418"/>
              <a:gd name="connsiteX10" fmla="*/ 9742102 w 9742102"/>
              <a:gd name="connsiteY10" fmla="*/ 28542489 h 30506418"/>
              <a:gd name="connsiteX0" fmla="*/ 0 w 9742102"/>
              <a:gd name="connsiteY0" fmla="*/ 13452873 h 30254890"/>
              <a:gd name="connsiteX1" fmla="*/ 942905 w 9742102"/>
              <a:gd name="connsiteY1" fmla="*/ 18004049 h 30254890"/>
              <a:gd name="connsiteX2" fmla="*/ 1926292 w 9742102"/>
              <a:gd name="connsiteY2" fmla="*/ 19081 h 30254890"/>
              <a:gd name="connsiteX3" fmla="*/ 2925319 w 9742102"/>
              <a:gd name="connsiteY3" fmla="*/ 14723885 h 30254890"/>
              <a:gd name="connsiteX4" fmla="*/ 3920628 w 9742102"/>
              <a:gd name="connsiteY4" fmla="*/ 23442837 h 30254890"/>
              <a:gd name="connsiteX5" fmla="*/ 4903561 w 9742102"/>
              <a:gd name="connsiteY5" fmla="*/ 13014269 h 30254890"/>
              <a:gd name="connsiteX6" fmla="*/ 5906943 w 9742102"/>
              <a:gd name="connsiteY6" fmla="*/ 8278399 h 30254890"/>
              <a:gd name="connsiteX7" fmla="*/ 6702857 w 9742102"/>
              <a:gd name="connsiteY7" fmla="*/ 28671491 h 30254890"/>
              <a:gd name="connsiteX8" fmla="*/ 7744980 w 9742102"/>
              <a:gd name="connsiteY8" fmla="*/ 28846033 h 30254890"/>
              <a:gd name="connsiteX9" fmla="*/ 8686678 w 9742102"/>
              <a:gd name="connsiteY9" fmla="*/ 28333448 h 30254890"/>
              <a:gd name="connsiteX10" fmla="*/ 9742102 w 9742102"/>
              <a:gd name="connsiteY10" fmla="*/ 28542489 h 30254890"/>
              <a:gd name="connsiteX0" fmla="*/ 0 w 9742102"/>
              <a:gd name="connsiteY0" fmla="*/ 13452873 h 30254890"/>
              <a:gd name="connsiteX1" fmla="*/ 942905 w 9742102"/>
              <a:gd name="connsiteY1" fmla="*/ 18004049 h 30254890"/>
              <a:gd name="connsiteX2" fmla="*/ 1926292 w 9742102"/>
              <a:gd name="connsiteY2" fmla="*/ 19081 h 30254890"/>
              <a:gd name="connsiteX3" fmla="*/ 2925319 w 9742102"/>
              <a:gd name="connsiteY3" fmla="*/ 14723885 h 30254890"/>
              <a:gd name="connsiteX4" fmla="*/ 3920628 w 9742102"/>
              <a:gd name="connsiteY4" fmla="*/ 23442837 h 30254890"/>
              <a:gd name="connsiteX5" fmla="*/ 4903561 w 9742102"/>
              <a:gd name="connsiteY5" fmla="*/ 13014269 h 30254890"/>
              <a:gd name="connsiteX6" fmla="*/ 5906943 w 9742102"/>
              <a:gd name="connsiteY6" fmla="*/ 8278399 h 30254890"/>
              <a:gd name="connsiteX7" fmla="*/ 6702857 w 9742102"/>
              <a:gd name="connsiteY7" fmla="*/ 28671491 h 30254890"/>
              <a:gd name="connsiteX8" fmla="*/ 7744980 w 9742102"/>
              <a:gd name="connsiteY8" fmla="*/ 28846033 h 30254890"/>
              <a:gd name="connsiteX9" fmla="*/ 8686678 w 9742102"/>
              <a:gd name="connsiteY9" fmla="*/ 28333448 h 30254890"/>
              <a:gd name="connsiteX10" fmla="*/ 9742102 w 9742102"/>
              <a:gd name="connsiteY10" fmla="*/ 28542489 h 30254890"/>
              <a:gd name="connsiteX0" fmla="*/ 0 w 9742102"/>
              <a:gd name="connsiteY0" fmla="*/ 13452873 h 30325622"/>
              <a:gd name="connsiteX1" fmla="*/ 942905 w 9742102"/>
              <a:gd name="connsiteY1" fmla="*/ 18004049 h 30325622"/>
              <a:gd name="connsiteX2" fmla="*/ 1926292 w 9742102"/>
              <a:gd name="connsiteY2" fmla="*/ 19081 h 30325622"/>
              <a:gd name="connsiteX3" fmla="*/ 2925319 w 9742102"/>
              <a:gd name="connsiteY3" fmla="*/ 14723885 h 30325622"/>
              <a:gd name="connsiteX4" fmla="*/ 3920628 w 9742102"/>
              <a:gd name="connsiteY4" fmla="*/ 23442837 h 30325622"/>
              <a:gd name="connsiteX5" fmla="*/ 4903561 w 9742102"/>
              <a:gd name="connsiteY5" fmla="*/ 13014269 h 30325622"/>
              <a:gd name="connsiteX6" fmla="*/ 5873365 w 9742102"/>
              <a:gd name="connsiteY6" fmla="*/ 7322184 h 30325622"/>
              <a:gd name="connsiteX7" fmla="*/ 6702857 w 9742102"/>
              <a:gd name="connsiteY7" fmla="*/ 28671491 h 30325622"/>
              <a:gd name="connsiteX8" fmla="*/ 7744980 w 9742102"/>
              <a:gd name="connsiteY8" fmla="*/ 28846033 h 30325622"/>
              <a:gd name="connsiteX9" fmla="*/ 8686678 w 9742102"/>
              <a:gd name="connsiteY9" fmla="*/ 28333448 h 30325622"/>
              <a:gd name="connsiteX10" fmla="*/ 9742102 w 9742102"/>
              <a:gd name="connsiteY10" fmla="*/ 28542489 h 30325622"/>
              <a:gd name="connsiteX0" fmla="*/ 0 w 9742102"/>
              <a:gd name="connsiteY0" fmla="*/ 13452873 h 30325622"/>
              <a:gd name="connsiteX1" fmla="*/ 942905 w 9742102"/>
              <a:gd name="connsiteY1" fmla="*/ 18004049 h 30325622"/>
              <a:gd name="connsiteX2" fmla="*/ 1926292 w 9742102"/>
              <a:gd name="connsiteY2" fmla="*/ 19081 h 30325622"/>
              <a:gd name="connsiteX3" fmla="*/ 2925319 w 9742102"/>
              <a:gd name="connsiteY3" fmla="*/ 14723885 h 30325622"/>
              <a:gd name="connsiteX4" fmla="*/ 3920628 w 9742102"/>
              <a:gd name="connsiteY4" fmla="*/ 23442837 h 30325622"/>
              <a:gd name="connsiteX5" fmla="*/ 4903561 w 9742102"/>
              <a:gd name="connsiteY5" fmla="*/ 13014269 h 30325622"/>
              <a:gd name="connsiteX6" fmla="*/ 5853219 w 9742102"/>
              <a:gd name="connsiteY6" fmla="*/ 7322184 h 30325622"/>
              <a:gd name="connsiteX7" fmla="*/ 6702857 w 9742102"/>
              <a:gd name="connsiteY7" fmla="*/ 28671491 h 30325622"/>
              <a:gd name="connsiteX8" fmla="*/ 7744980 w 9742102"/>
              <a:gd name="connsiteY8" fmla="*/ 28846033 h 30325622"/>
              <a:gd name="connsiteX9" fmla="*/ 8686678 w 9742102"/>
              <a:gd name="connsiteY9" fmla="*/ 28333448 h 30325622"/>
              <a:gd name="connsiteX10" fmla="*/ 9742102 w 9742102"/>
              <a:gd name="connsiteY10" fmla="*/ 28542489 h 30325622"/>
              <a:gd name="connsiteX0" fmla="*/ 0 w 9742102"/>
              <a:gd name="connsiteY0" fmla="*/ 13452873 h 29082220"/>
              <a:gd name="connsiteX1" fmla="*/ 942905 w 9742102"/>
              <a:gd name="connsiteY1" fmla="*/ 18004049 h 29082220"/>
              <a:gd name="connsiteX2" fmla="*/ 1926292 w 9742102"/>
              <a:gd name="connsiteY2" fmla="*/ 19081 h 29082220"/>
              <a:gd name="connsiteX3" fmla="*/ 2925319 w 9742102"/>
              <a:gd name="connsiteY3" fmla="*/ 14723885 h 29082220"/>
              <a:gd name="connsiteX4" fmla="*/ 3920628 w 9742102"/>
              <a:gd name="connsiteY4" fmla="*/ 23442837 h 29082220"/>
              <a:gd name="connsiteX5" fmla="*/ 4903561 w 9742102"/>
              <a:gd name="connsiteY5" fmla="*/ 13014269 h 29082220"/>
              <a:gd name="connsiteX6" fmla="*/ 5853219 w 9742102"/>
              <a:gd name="connsiteY6" fmla="*/ 7322184 h 29082220"/>
              <a:gd name="connsiteX7" fmla="*/ 6763298 w 9742102"/>
              <a:gd name="connsiteY7" fmla="*/ 23890389 h 29082220"/>
              <a:gd name="connsiteX8" fmla="*/ 7744980 w 9742102"/>
              <a:gd name="connsiteY8" fmla="*/ 28846033 h 29082220"/>
              <a:gd name="connsiteX9" fmla="*/ 8686678 w 9742102"/>
              <a:gd name="connsiteY9" fmla="*/ 28333448 h 29082220"/>
              <a:gd name="connsiteX10" fmla="*/ 9742102 w 9742102"/>
              <a:gd name="connsiteY10" fmla="*/ 28542489 h 29082220"/>
              <a:gd name="connsiteX0" fmla="*/ 0 w 9742102"/>
              <a:gd name="connsiteY0" fmla="*/ 13452873 h 29082220"/>
              <a:gd name="connsiteX1" fmla="*/ 942905 w 9742102"/>
              <a:gd name="connsiteY1" fmla="*/ 18004049 h 29082220"/>
              <a:gd name="connsiteX2" fmla="*/ 1926292 w 9742102"/>
              <a:gd name="connsiteY2" fmla="*/ 19081 h 29082220"/>
              <a:gd name="connsiteX3" fmla="*/ 2925319 w 9742102"/>
              <a:gd name="connsiteY3" fmla="*/ 14723885 h 29082220"/>
              <a:gd name="connsiteX4" fmla="*/ 3920628 w 9742102"/>
              <a:gd name="connsiteY4" fmla="*/ 23442837 h 29082220"/>
              <a:gd name="connsiteX5" fmla="*/ 4903561 w 9742102"/>
              <a:gd name="connsiteY5" fmla="*/ 13014269 h 29082220"/>
              <a:gd name="connsiteX6" fmla="*/ 5853219 w 9742102"/>
              <a:gd name="connsiteY6" fmla="*/ 7322184 h 29082220"/>
              <a:gd name="connsiteX7" fmla="*/ 6763298 w 9742102"/>
              <a:gd name="connsiteY7" fmla="*/ 23890389 h 29082220"/>
              <a:gd name="connsiteX8" fmla="*/ 7744980 w 9742102"/>
              <a:gd name="connsiteY8" fmla="*/ 28846033 h 29082220"/>
              <a:gd name="connsiteX9" fmla="*/ 8686678 w 9742102"/>
              <a:gd name="connsiteY9" fmla="*/ 28333448 h 29082220"/>
              <a:gd name="connsiteX10" fmla="*/ 9742102 w 9742102"/>
              <a:gd name="connsiteY10" fmla="*/ 28542489 h 29082220"/>
              <a:gd name="connsiteX0" fmla="*/ 0 w 9742102"/>
              <a:gd name="connsiteY0" fmla="*/ 13452873 h 29082220"/>
              <a:gd name="connsiteX1" fmla="*/ 942905 w 9742102"/>
              <a:gd name="connsiteY1" fmla="*/ 18004049 h 29082220"/>
              <a:gd name="connsiteX2" fmla="*/ 1926292 w 9742102"/>
              <a:gd name="connsiteY2" fmla="*/ 19081 h 29082220"/>
              <a:gd name="connsiteX3" fmla="*/ 2925319 w 9742102"/>
              <a:gd name="connsiteY3" fmla="*/ 14723885 h 29082220"/>
              <a:gd name="connsiteX4" fmla="*/ 3920628 w 9742102"/>
              <a:gd name="connsiteY4" fmla="*/ 23442837 h 29082220"/>
              <a:gd name="connsiteX5" fmla="*/ 4903561 w 9742102"/>
              <a:gd name="connsiteY5" fmla="*/ 13014269 h 29082220"/>
              <a:gd name="connsiteX6" fmla="*/ 5853219 w 9742102"/>
              <a:gd name="connsiteY6" fmla="*/ 7322184 h 29082220"/>
              <a:gd name="connsiteX7" fmla="*/ 6763298 w 9742102"/>
              <a:gd name="connsiteY7" fmla="*/ 23890389 h 29082220"/>
              <a:gd name="connsiteX8" fmla="*/ 7744980 w 9742102"/>
              <a:gd name="connsiteY8" fmla="*/ 28846033 h 29082220"/>
              <a:gd name="connsiteX9" fmla="*/ 8686678 w 9742102"/>
              <a:gd name="connsiteY9" fmla="*/ 28333448 h 29082220"/>
              <a:gd name="connsiteX10" fmla="*/ 9742102 w 9742102"/>
              <a:gd name="connsiteY10" fmla="*/ 28542489 h 29082220"/>
              <a:gd name="connsiteX0" fmla="*/ 0 w 9742102"/>
              <a:gd name="connsiteY0" fmla="*/ 13452873 h 29111373"/>
              <a:gd name="connsiteX1" fmla="*/ 942905 w 9742102"/>
              <a:gd name="connsiteY1" fmla="*/ 18004049 h 29111373"/>
              <a:gd name="connsiteX2" fmla="*/ 1926292 w 9742102"/>
              <a:gd name="connsiteY2" fmla="*/ 19081 h 29111373"/>
              <a:gd name="connsiteX3" fmla="*/ 2925319 w 9742102"/>
              <a:gd name="connsiteY3" fmla="*/ 14723885 h 29111373"/>
              <a:gd name="connsiteX4" fmla="*/ 3920628 w 9742102"/>
              <a:gd name="connsiteY4" fmla="*/ 23442837 h 29111373"/>
              <a:gd name="connsiteX5" fmla="*/ 4903561 w 9742102"/>
              <a:gd name="connsiteY5" fmla="*/ 13014269 h 29111373"/>
              <a:gd name="connsiteX6" fmla="*/ 5853219 w 9742102"/>
              <a:gd name="connsiteY6" fmla="*/ 7322184 h 29111373"/>
              <a:gd name="connsiteX7" fmla="*/ 6850599 w 9742102"/>
              <a:gd name="connsiteY7" fmla="*/ 23465395 h 29111373"/>
              <a:gd name="connsiteX8" fmla="*/ 7744980 w 9742102"/>
              <a:gd name="connsiteY8" fmla="*/ 28846033 h 29111373"/>
              <a:gd name="connsiteX9" fmla="*/ 8686678 w 9742102"/>
              <a:gd name="connsiteY9" fmla="*/ 28333448 h 29111373"/>
              <a:gd name="connsiteX10" fmla="*/ 9742102 w 9742102"/>
              <a:gd name="connsiteY10" fmla="*/ 28542489 h 29111373"/>
              <a:gd name="connsiteX0" fmla="*/ 0 w 9742102"/>
              <a:gd name="connsiteY0" fmla="*/ 13452873 h 29111373"/>
              <a:gd name="connsiteX1" fmla="*/ 942905 w 9742102"/>
              <a:gd name="connsiteY1" fmla="*/ 18004049 h 29111373"/>
              <a:gd name="connsiteX2" fmla="*/ 1926292 w 9742102"/>
              <a:gd name="connsiteY2" fmla="*/ 19081 h 29111373"/>
              <a:gd name="connsiteX3" fmla="*/ 2925319 w 9742102"/>
              <a:gd name="connsiteY3" fmla="*/ 14723885 h 29111373"/>
              <a:gd name="connsiteX4" fmla="*/ 3920628 w 9742102"/>
              <a:gd name="connsiteY4" fmla="*/ 23442837 h 29111373"/>
              <a:gd name="connsiteX5" fmla="*/ 4903561 w 9742102"/>
              <a:gd name="connsiteY5" fmla="*/ 13014269 h 29111373"/>
              <a:gd name="connsiteX6" fmla="*/ 5853219 w 9742102"/>
              <a:gd name="connsiteY6" fmla="*/ 7322184 h 29111373"/>
              <a:gd name="connsiteX7" fmla="*/ 6810306 w 9742102"/>
              <a:gd name="connsiteY7" fmla="*/ 23465395 h 29111373"/>
              <a:gd name="connsiteX8" fmla="*/ 7744980 w 9742102"/>
              <a:gd name="connsiteY8" fmla="*/ 28846033 h 29111373"/>
              <a:gd name="connsiteX9" fmla="*/ 8686678 w 9742102"/>
              <a:gd name="connsiteY9" fmla="*/ 28333448 h 29111373"/>
              <a:gd name="connsiteX10" fmla="*/ 9742102 w 9742102"/>
              <a:gd name="connsiteY10" fmla="*/ 28542489 h 29111373"/>
              <a:gd name="connsiteX0" fmla="*/ 0 w 9742102"/>
              <a:gd name="connsiteY0" fmla="*/ 13452873 h 29111373"/>
              <a:gd name="connsiteX1" fmla="*/ 942905 w 9742102"/>
              <a:gd name="connsiteY1" fmla="*/ 18004049 h 29111373"/>
              <a:gd name="connsiteX2" fmla="*/ 1926292 w 9742102"/>
              <a:gd name="connsiteY2" fmla="*/ 19081 h 29111373"/>
              <a:gd name="connsiteX3" fmla="*/ 2925319 w 9742102"/>
              <a:gd name="connsiteY3" fmla="*/ 14723885 h 29111373"/>
              <a:gd name="connsiteX4" fmla="*/ 3920628 w 9742102"/>
              <a:gd name="connsiteY4" fmla="*/ 23442837 h 29111373"/>
              <a:gd name="connsiteX5" fmla="*/ 4903561 w 9742102"/>
              <a:gd name="connsiteY5" fmla="*/ 13014269 h 29111373"/>
              <a:gd name="connsiteX6" fmla="*/ 5853219 w 9742102"/>
              <a:gd name="connsiteY6" fmla="*/ 7322184 h 29111373"/>
              <a:gd name="connsiteX7" fmla="*/ 6810306 w 9742102"/>
              <a:gd name="connsiteY7" fmla="*/ 23465395 h 29111373"/>
              <a:gd name="connsiteX8" fmla="*/ 7744980 w 9742102"/>
              <a:gd name="connsiteY8" fmla="*/ 28846033 h 29111373"/>
              <a:gd name="connsiteX9" fmla="*/ 8686678 w 9742102"/>
              <a:gd name="connsiteY9" fmla="*/ 28333448 h 29111373"/>
              <a:gd name="connsiteX10" fmla="*/ 9742102 w 9742102"/>
              <a:gd name="connsiteY10" fmla="*/ 28542489 h 29111373"/>
              <a:gd name="connsiteX0" fmla="*/ 0 w 9742102"/>
              <a:gd name="connsiteY0" fmla="*/ 13452873 h 28542485"/>
              <a:gd name="connsiteX1" fmla="*/ 942905 w 9742102"/>
              <a:gd name="connsiteY1" fmla="*/ 18004049 h 28542485"/>
              <a:gd name="connsiteX2" fmla="*/ 1926292 w 9742102"/>
              <a:gd name="connsiteY2" fmla="*/ 19081 h 28542485"/>
              <a:gd name="connsiteX3" fmla="*/ 2925319 w 9742102"/>
              <a:gd name="connsiteY3" fmla="*/ 14723885 h 28542485"/>
              <a:gd name="connsiteX4" fmla="*/ 3920628 w 9742102"/>
              <a:gd name="connsiteY4" fmla="*/ 23442837 h 28542485"/>
              <a:gd name="connsiteX5" fmla="*/ 4903561 w 9742102"/>
              <a:gd name="connsiteY5" fmla="*/ 13014269 h 28542485"/>
              <a:gd name="connsiteX6" fmla="*/ 5853219 w 9742102"/>
              <a:gd name="connsiteY6" fmla="*/ 7322184 h 28542485"/>
              <a:gd name="connsiteX7" fmla="*/ 6810306 w 9742102"/>
              <a:gd name="connsiteY7" fmla="*/ 23465395 h 28542485"/>
              <a:gd name="connsiteX8" fmla="*/ 7859143 w 9742102"/>
              <a:gd name="connsiteY8" fmla="*/ 25552385 h 28542485"/>
              <a:gd name="connsiteX9" fmla="*/ 8686678 w 9742102"/>
              <a:gd name="connsiteY9" fmla="*/ 28333448 h 28542485"/>
              <a:gd name="connsiteX10" fmla="*/ 9742102 w 9742102"/>
              <a:gd name="connsiteY10" fmla="*/ 28542489 h 28542485"/>
              <a:gd name="connsiteX0" fmla="*/ 0 w 9742102"/>
              <a:gd name="connsiteY0" fmla="*/ 13452873 h 28542485"/>
              <a:gd name="connsiteX1" fmla="*/ 942905 w 9742102"/>
              <a:gd name="connsiteY1" fmla="*/ 18004049 h 28542485"/>
              <a:gd name="connsiteX2" fmla="*/ 1926292 w 9742102"/>
              <a:gd name="connsiteY2" fmla="*/ 19081 h 28542485"/>
              <a:gd name="connsiteX3" fmla="*/ 2925319 w 9742102"/>
              <a:gd name="connsiteY3" fmla="*/ 14723885 h 28542485"/>
              <a:gd name="connsiteX4" fmla="*/ 3920628 w 9742102"/>
              <a:gd name="connsiteY4" fmla="*/ 23442837 h 28542485"/>
              <a:gd name="connsiteX5" fmla="*/ 4903561 w 9742102"/>
              <a:gd name="connsiteY5" fmla="*/ 13014269 h 28542485"/>
              <a:gd name="connsiteX6" fmla="*/ 5853219 w 9742102"/>
              <a:gd name="connsiteY6" fmla="*/ 7322184 h 28542485"/>
              <a:gd name="connsiteX7" fmla="*/ 6810306 w 9742102"/>
              <a:gd name="connsiteY7" fmla="*/ 23465395 h 28542485"/>
              <a:gd name="connsiteX8" fmla="*/ 7778558 w 9742102"/>
              <a:gd name="connsiteY8" fmla="*/ 10359109 h 28542485"/>
              <a:gd name="connsiteX9" fmla="*/ 8686678 w 9742102"/>
              <a:gd name="connsiteY9" fmla="*/ 28333448 h 28542485"/>
              <a:gd name="connsiteX10" fmla="*/ 9742102 w 9742102"/>
              <a:gd name="connsiteY10" fmla="*/ 28542489 h 28542485"/>
              <a:gd name="connsiteX0" fmla="*/ 0 w 9742102"/>
              <a:gd name="connsiteY0" fmla="*/ 13452873 h 28542485"/>
              <a:gd name="connsiteX1" fmla="*/ 942905 w 9742102"/>
              <a:gd name="connsiteY1" fmla="*/ 18004049 h 28542485"/>
              <a:gd name="connsiteX2" fmla="*/ 1926292 w 9742102"/>
              <a:gd name="connsiteY2" fmla="*/ 19081 h 28542485"/>
              <a:gd name="connsiteX3" fmla="*/ 2925319 w 9742102"/>
              <a:gd name="connsiteY3" fmla="*/ 14723885 h 28542485"/>
              <a:gd name="connsiteX4" fmla="*/ 3920628 w 9742102"/>
              <a:gd name="connsiteY4" fmla="*/ 23442837 h 28542485"/>
              <a:gd name="connsiteX5" fmla="*/ 4903561 w 9742102"/>
              <a:gd name="connsiteY5" fmla="*/ 13014269 h 28542485"/>
              <a:gd name="connsiteX6" fmla="*/ 5853219 w 9742102"/>
              <a:gd name="connsiteY6" fmla="*/ 7322184 h 28542485"/>
              <a:gd name="connsiteX7" fmla="*/ 6810306 w 9742102"/>
              <a:gd name="connsiteY7" fmla="*/ 23465395 h 28542485"/>
              <a:gd name="connsiteX8" fmla="*/ 7778558 w 9742102"/>
              <a:gd name="connsiteY8" fmla="*/ 10359109 h 28542485"/>
              <a:gd name="connsiteX9" fmla="*/ 8686678 w 9742102"/>
              <a:gd name="connsiteY9" fmla="*/ 28333448 h 28542485"/>
              <a:gd name="connsiteX10" fmla="*/ 9742102 w 9742102"/>
              <a:gd name="connsiteY10" fmla="*/ 28542489 h 28542485"/>
              <a:gd name="connsiteX0" fmla="*/ 0 w 9742102"/>
              <a:gd name="connsiteY0" fmla="*/ 13452873 h 28542485"/>
              <a:gd name="connsiteX1" fmla="*/ 942905 w 9742102"/>
              <a:gd name="connsiteY1" fmla="*/ 18004049 h 28542485"/>
              <a:gd name="connsiteX2" fmla="*/ 1926292 w 9742102"/>
              <a:gd name="connsiteY2" fmla="*/ 19081 h 28542485"/>
              <a:gd name="connsiteX3" fmla="*/ 2925319 w 9742102"/>
              <a:gd name="connsiteY3" fmla="*/ 14723885 h 28542485"/>
              <a:gd name="connsiteX4" fmla="*/ 3920628 w 9742102"/>
              <a:gd name="connsiteY4" fmla="*/ 23442837 h 28542485"/>
              <a:gd name="connsiteX5" fmla="*/ 4903561 w 9742102"/>
              <a:gd name="connsiteY5" fmla="*/ 13014269 h 28542485"/>
              <a:gd name="connsiteX6" fmla="*/ 5853219 w 9742102"/>
              <a:gd name="connsiteY6" fmla="*/ 7322184 h 28542485"/>
              <a:gd name="connsiteX7" fmla="*/ 6810306 w 9742102"/>
              <a:gd name="connsiteY7" fmla="*/ 23465395 h 28542485"/>
              <a:gd name="connsiteX8" fmla="*/ 7825567 w 9742102"/>
              <a:gd name="connsiteY8" fmla="*/ 10359109 h 28542485"/>
              <a:gd name="connsiteX9" fmla="*/ 8686678 w 9742102"/>
              <a:gd name="connsiteY9" fmla="*/ 28333448 h 28542485"/>
              <a:gd name="connsiteX10" fmla="*/ 9742102 w 9742102"/>
              <a:gd name="connsiteY10" fmla="*/ 28542489 h 28542485"/>
              <a:gd name="connsiteX0" fmla="*/ 0 w 9742102"/>
              <a:gd name="connsiteY0" fmla="*/ 13452873 h 28542485"/>
              <a:gd name="connsiteX1" fmla="*/ 942905 w 9742102"/>
              <a:gd name="connsiteY1" fmla="*/ 18004049 h 28542485"/>
              <a:gd name="connsiteX2" fmla="*/ 1926292 w 9742102"/>
              <a:gd name="connsiteY2" fmla="*/ 19081 h 28542485"/>
              <a:gd name="connsiteX3" fmla="*/ 2925319 w 9742102"/>
              <a:gd name="connsiteY3" fmla="*/ 14723885 h 28542485"/>
              <a:gd name="connsiteX4" fmla="*/ 3920628 w 9742102"/>
              <a:gd name="connsiteY4" fmla="*/ 23442837 h 28542485"/>
              <a:gd name="connsiteX5" fmla="*/ 4903561 w 9742102"/>
              <a:gd name="connsiteY5" fmla="*/ 13014269 h 28542485"/>
              <a:gd name="connsiteX6" fmla="*/ 5853219 w 9742102"/>
              <a:gd name="connsiteY6" fmla="*/ 7322184 h 28542485"/>
              <a:gd name="connsiteX7" fmla="*/ 6810306 w 9742102"/>
              <a:gd name="connsiteY7" fmla="*/ 23465395 h 28542485"/>
              <a:gd name="connsiteX8" fmla="*/ 7825567 w 9742102"/>
              <a:gd name="connsiteY8" fmla="*/ 10359109 h 28542485"/>
              <a:gd name="connsiteX9" fmla="*/ 8787411 w 9742102"/>
              <a:gd name="connsiteY9" fmla="*/ 15158861 h 28542485"/>
              <a:gd name="connsiteX10" fmla="*/ 9742102 w 9742102"/>
              <a:gd name="connsiteY10" fmla="*/ 28542489 h 28542485"/>
              <a:gd name="connsiteX0" fmla="*/ 0 w 9742102"/>
              <a:gd name="connsiteY0" fmla="*/ 13452873 h 28542485"/>
              <a:gd name="connsiteX1" fmla="*/ 942905 w 9742102"/>
              <a:gd name="connsiteY1" fmla="*/ 18004049 h 28542485"/>
              <a:gd name="connsiteX2" fmla="*/ 1926292 w 9742102"/>
              <a:gd name="connsiteY2" fmla="*/ 19081 h 28542485"/>
              <a:gd name="connsiteX3" fmla="*/ 2925319 w 9742102"/>
              <a:gd name="connsiteY3" fmla="*/ 14723885 h 28542485"/>
              <a:gd name="connsiteX4" fmla="*/ 3920628 w 9742102"/>
              <a:gd name="connsiteY4" fmla="*/ 23442837 h 28542485"/>
              <a:gd name="connsiteX5" fmla="*/ 4903561 w 9742102"/>
              <a:gd name="connsiteY5" fmla="*/ 13014269 h 28542485"/>
              <a:gd name="connsiteX6" fmla="*/ 5853219 w 9742102"/>
              <a:gd name="connsiteY6" fmla="*/ 7322184 h 28542485"/>
              <a:gd name="connsiteX7" fmla="*/ 6810306 w 9742102"/>
              <a:gd name="connsiteY7" fmla="*/ 23465395 h 28542485"/>
              <a:gd name="connsiteX8" fmla="*/ 7825567 w 9742102"/>
              <a:gd name="connsiteY8" fmla="*/ 10359109 h 28542485"/>
              <a:gd name="connsiteX9" fmla="*/ 8787411 w 9742102"/>
              <a:gd name="connsiteY9" fmla="*/ 15158861 h 28542485"/>
              <a:gd name="connsiteX10" fmla="*/ 9742102 w 9742102"/>
              <a:gd name="connsiteY10" fmla="*/ 28542489 h 28542485"/>
              <a:gd name="connsiteX0" fmla="*/ 0 w 9742102"/>
              <a:gd name="connsiteY0" fmla="*/ 13452873 h 28542485"/>
              <a:gd name="connsiteX1" fmla="*/ 942905 w 9742102"/>
              <a:gd name="connsiteY1" fmla="*/ 18004049 h 28542485"/>
              <a:gd name="connsiteX2" fmla="*/ 1926292 w 9742102"/>
              <a:gd name="connsiteY2" fmla="*/ 19081 h 28542485"/>
              <a:gd name="connsiteX3" fmla="*/ 2925319 w 9742102"/>
              <a:gd name="connsiteY3" fmla="*/ 14723885 h 28542485"/>
              <a:gd name="connsiteX4" fmla="*/ 3920628 w 9742102"/>
              <a:gd name="connsiteY4" fmla="*/ 23442837 h 28542485"/>
              <a:gd name="connsiteX5" fmla="*/ 4903561 w 9742102"/>
              <a:gd name="connsiteY5" fmla="*/ 13014269 h 28542485"/>
              <a:gd name="connsiteX6" fmla="*/ 5853219 w 9742102"/>
              <a:gd name="connsiteY6" fmla="*/ 7322184 h 28542485"/>
              <a:gd name="connsiteX7" fmla="*/ 6810306 w 9742102"/>
              <a:gd name="connsiteY7" fmla="*/ 23465395 h 28542485"/>
              <a:gd name="connsiteX8" fmla="*/ 7825567 w 9742102"/>
              <a:gd name="connsiteY8" fmla="*/ 10359109 h 28542485"/>
              <a:gd name="connsiteX9" fmla="*/ 8787411 w 9742102"/>
              <a:gd name="connsiteY9" fmla="*/ 15158861 h 28542485"/>
              <a:gd name="connsiteX10" fmla="*/ 9742102 w 9742102"/>
              <a:gd name="connsiteY10" fmla="*/ 28542489 h 28542485"/>
              <a:gd name="connsiteX0" fmla="*/ 0 w 9742102"/>
              <a:gd name="connsiteY0" fmla="*/ 13452873 h 28542485"/>
              <a:gd name="connsiteX1" fmla="*/ 942905 w 9742102"/>
              <a:gd name="connsiteY1" fmla="*/ 18004049 h 28542485"/>
              <a:gd name="connsiteX2" fmla="*/ 1926292 w 9742102"/>
              <a:gd name="connsiteY2" fmla="*/ 19081 h 28542485"/>
              <a:gd name="connsiteX3" fmla="*/ 2925319 w 9742102"/>
              <a:gd name="connsiteY3" fmla="*/ 14723885 h 28542485"/>
              <a:gd name="connsiteX4" fmla="*/ 3920628 w 9742102"/>
              <a:gd name="connsiteY4" fmla="*/ 23442837 h 28542485"/>
              <a:gd name="connsiteX5" fmla="*/ 4903561 w 9742102"/>
              <a:gd name="connsiteY5" fmla="*/ 13014269 h 28542485"/>
              <a:gd name="connsiteX6" fmla="*/ 5853219 w 9742102"/>
              <a:gd name="connsiteY6" fmla="*/ 7322184 h 28542485"/>
              <a:gd name="connsiteX7" fmla="*/ 6810306 w 9742102"/>
              <a:gd name="connsiteY7" fmla="*/ 23465395 h 28542485"/>
              <a:gd name="connsiteX8" fmla="*/ 7825567 w 9742102"/>
              <a:gd name="connsiteY8" fmla="*/ 10359109 h 28542485"/>
              <a:gd name="connsiteX9" fmla="*/ 8787411 w 9742102"/>
              <a:gd name="connsiteY9" fmla="*/ 15158861 h 28542485"/>
              <a:gd name="connsiteX10" fmla="*/ 9742102 w 9742102"/>
              <a:gd name="connsiteY10" fmla="*/ 28542489 h 28542485"/>
              <a:gd name="connsiteX0" fmla="*/ 0 w 9802542"/>
              <a:gd name="connsiteY0" fmla="*/ 13452873 h 23480668"/>
              <a:gd name="connsiteX1" fmla="*/ 942905 w 9802542"/>
              <a:gd name="connsiteY1" fmla="*/ 18004049 h 23480668"/>
              <a:gd name="connsiteX2" fmla="*/ 1926292 w 9802542"/>
              <a:gd name="connsiteY2" fmla="*/ 19081 h 23480668"/>
              <a:gd name="connsiteX3" fmla="*/ 2925319 w 9802542"/>
              <a:gd name="connsiteY3" fmla="*/ 14723885 h 23480668"/>
              <a:gd name="connsiteX4" fmla="*/ 3920628 w 9802542"/>
              <a:gd name="connsiteY4" fmla="*/ 23442837 h 23480668"/>
              <a:gd name="connsiteX5" fmla="*/ 4903561 w 9802542"/>
              <a:gd name="connsiteY5" fmla="*/ 13014269 h 23480668"/>
              <a:gd name="connsiteX6" fmla="*/ 5853219 w 9802542"/>
              <a:gd name="connsiteY6" fmla="*/ 7322184 h 23480668"/>
              <a:gd name="connsiteX7" fmla="*/ 6810306 w 9802542"/>
              <a:gd name="connsiteY7" fmla="*/ 23465395 h 23480668"/>
              <a:gd name="connsiteX8" fmla="*/ 7825567 w 9802542"/>
              <a:gd name="connsiteY8" fmla="*/ 10359109 h 23480668"/>
              <a:gd name="connsiteX9" fmla="*/ 8787411 w 9802542"/>
              <a:gd name="connsiteY9" fmla="*/ 15158861 h 23480668"/>
              <a:gd name="connsiteX10" fmla="*/ 9802542 w 9802542"/>
              <a:gd name="connsiteY10" fmla="*/ 14624178 h 23480668"/>
              <a:gd name="connsiteX0" fmla="*/ 0 w 9842836"/>
              <a:gd name="connsiteY0" fmla="*/ 13452873 h 23480668"/>
              <a:gd name="connsiteX1" fmla="*/ 942905 w 9842836"/>
              <a:gd name="connsiteY1" fmla="*/ 18004049 h 23480668"/>
              <a:gd name="connsiteX2" fmla="*/ 1926292 w 9842836"/>
              <a:gd name="connsiteY2" fmla="*/ 19081 h 23480668"/>
              <a:gd name="connsiteX3" fmla="*/ 2925319 w 9842836"/>
              <a:gd name="connsiteY3" fmla="*/ 14723885 h 23480668"/>
              <a:gd name="connsiteX4" fmla="*/ 3920628 w 9842836"/>
              <a:gd name="connsiteY4" fmla="*/ 23442837 h 23480668"/>
              <a:gd name="connsiteX5" fmla="*/ 4903561 w 9842836"/>
              <a:gd name="connsiteY5" fmla="*/ 13014269 h 23480668"/>
              <a:gd name="connsiteX6" fmla="*/ 5853219 w 9842836"/>
              <a:gd name="connsiteY6" fmla="*/ 7322184 h 23480668"/>
              <a:gd name="connsiteX7" fmla="*/ 6810306 w 9842836"/>
              <a:gd name="connsiteY7" fmla="*/ 23465395 h 23480668"/>
              <a:gd name="connsiteX8" fmla="*/ 7825567 w 9842836"/>
              <a:gd name="connsiteY8" fmla="*/ 10359109 h 23480668"/>
              <a:gd name="connsiteX9" fmla="*/ 8787411 w 9842836"/>
              <a:gd name="connsiteY9" fmla="*/ 15158861 h 23480668"/>
              <a:gd name="connsiteX10" fmla="*/ 9842836 w 9842836"/>
              <a:gd name="connsiteY10" fmla="*/ 15367911 h 23480668"/>
              <a:gd name="connsiteX0" fmla="*/ 0 w 9842836"/>
              <a:gd name="connsiteY0" fmla="*/ 13452873 h 23480668"/>
              <a:gd name="connsiteX1" fmla="*/ 942905 w 9842836"/>
              <a:gd name="connsiteY1" fmla="*/ 18004049 h 23480668"/>
              <a:gd name="connsiteX2" fmla="*/ 1926292 w 9842836"/>
              <a:gd name="connsiteY2" fmla="*/ 19081 h 23480668"/>
              <a:gd name="connsiteX3" fmla="*/ 2925319 w 9842836"/>
              <a:gd name="connsiteY3" fmla="*/ 14723885 h 23480668"/>
              <a:gd name="connsiteX4" fmla="*/ 3920628 w 9842836"/>
              <a:gd name="connsiteY4" fmla="*/ 23442837 h 23480668"/>
              <a:gd name="connsiteX5" fmla="*/ 4903561 w 9842836"/>
              <a:gd name="connsiteY5" fmla="*/ 13014269 h 23480668"/>
              <a:gd name="connsiteX6" fmla="*/ 5853219 w 9842836"/>
              <a:gd name="connsiteY6" fmla="*/ 7322184 h 23480668"/>
              <a:gd name="connsiteX7" fmla="*/ 6810306 w 9842836"/>
              <a:gd name="connsiteY7" fmla="*/ 23465395 h 23480668"/>
              <a:gd name="connsiteX8" fmla="*/ 7825567 w 9842836"/>
              <a:gd name="connsiteY8" fmla="*/ 10359109 h 23480668"/>
              <a:gd name="connsiteX9" fmla="*/ 8787411 w 9842836"/>
              <a:gd name="connsiteY9" fmla="*/ 15158861 h 23480668"/>
              <a:gd name="connsiteX10" fmla="*/ 9842836 w 9842836"/>
              <a:gd name="connsiteY10" fmla="*/ 14942916 h 23480668"/>
              <a:gd name="connsiteX0" fmla="*/ 0 w 9842836"/>
              <a:gd name="connsiteY0" fmla="*/ 13452873 h 23480668"/>
              <a:gd name="connsiteX1" fmla="*/ 942905 w 9842836"/>
              <a:gd name="connsiteY1" fmla="*/ 18004049 h 23480668"/>
              <a:gd name="connsiteX2" fmla="*/ 1926292 w 9842836"/>
              <a:gd name="connsiteY2" fmla="*/ 19081 h 23480668"/>
              <a:gd name="connsiteX3" fmla="*/ 2925319 w 9842836"/>
              <a:gd name="connsiteY3" fmla="*/ 14723885 h 23480668"/>
              <a:gd name="connsiteX4" fmla="*/ 3920628 w 9842836"/>
              <a:gd name="connsiteY4" fmla="*/ 23442837 h 23480668"/>
              <a:gd name="connsiteX5" fmla="*/ 4903561 w 9842836"/>
              <a:gd name="connsiteY5" fmla="*/ 13014269 h 23480668"/>
              <a:gd name="connsiteX6" fmla="*/ 5853219 w 9842836"/>
              <a:gd name="connsiteY6" fmla="*/ 7322184 h 23480668"/>
              <a:gd name="connsiteX7" fmla="*/ 6810306 w 9842836"/>
              <a:gd name="connsiteY7" fmla="*/ 23465395 h 23480668"/>
              <a:gd name="connsiteX8" fmla="*/ 7825567 w 9842836"/>
              <a:gd name="connsiteY8" fmla="*/ 10359109 h 23480668"/>
              <a:gd name="connsiteX9" fmla="*/ 8787411 w 9842836"/>
              <a:gd name="connsiteY9" fmla="*/ 15158861 h 23480668"/>
              <a:gd name="connsiteX10" fmla="*/ 9842836 w 9842836"/>
              <a:gd name="connsiteY10" fmla="*/ 15261655 h 23480668"/>
              <a:gd name="connsiteX0" fmla="*/ 0 w 9802542"/>
              <a:gd name="connsiteY0" fmla="*/ 21034260 h 31062055"/>
              <a:gd name="connsiteX1" fmla="*/ 942905 w 9802542"/>
              <a:gd name="connsiteY1" fmla="*/ 25585436 h 31062055"/>
              <a:gd name="connsiteX2" fmla="*/ 1926292 w 9802542"/>
              <a:gd name="connsiteY2" fmla="*/ 7600468 h 31062055"/>
              <a:gd name="connsiteX3" fmla="*/ 2925319 w 9802542"/>
              <a:gd name="connsiteY3" fmla="*/ 22305272 h 31062055"/>
              <a:gd name="connsiteX4" fmla="*/ 3920628 w 9802542"/>
              <a:gd name="connsiteY4" fmla="*/ 31024224 h 31062055"/>
              <a:gd name="connsiteX5" fmla="*/ 4903561 w 9802542"/>
              <a:gd name="connsiteY5" fmla="*/ 20595656 h 31062055"/>
              <a:gd name="connsiteX6" fmla="*/ 5853219 w 9802542"/>
              <a:gd name="connsiteY6" fmla="*/ 14903571 h 31062055"/>
              <a:gd name="connsiteX7" fmla="*/ 6810306 w 9802542"/>
              <a:gd name="connsiteY7" fmla="*/ 31046782 h 31062055"/>
              <a:gd name="connsiteX8" fmla="*/ 7825567 w 9802542"/>
              <a:gd name="connsiteY8" fmla="*/ 17940496 h 31062055"/>
              <a:gd name="connsiteX9" fmla="*/ 8787411 w 9802542"/>
              <a:gd name="connsiteY9" fmla="*/ 22740248 h 31062055"/>
              <a:gd name="connsiteX10" fmla="*/ 9802542 w 9802542"/>
              <a:gd name="connsiteY10" fmla="*/ 0 h 31062055"/>
              <a:gd name="connsiteX0" fmla="*/ 0 w 9802542"/>
              <a:gd name="connsiteY0" fmla="*/ 21034260 h 31062055"/>
              <a:gd name="connsiteX1" fmla="*/ 942905 w 9802542"/>
              <a:gd name="connsiteY1" fmla="*/ 25585436 h 31062055"/>
              <a:gd name="connsiteX2" fmla="*/ 1926292 w 9802542"/>
              <a:gd name="connsiteY2" fmla="*/ 7600468 h 31062055"/>
              <a:gd name="connsiteX3" fmla="*/ 2925319 w 9802542"/>
              <a:gd name="connsiteY3" fmla="*/ 22305272 h 31062055"/>
              <a:gd name="connsiteX4" fmla="*/ 3920628 w 9802542"/>
              <a:gd name="connsiteY4" fmla="*/ 31024224 h 31062055"/>
              <a:gd name="connsiteX5" fmla="*/ 4903561 w 9802542"/>
              <a:gd name="connsiteY5" fmla="*/ 20595656 h 31062055"/>
              <a:gd name="connsiteX6" fmla="*/ 5853219 w 9802542"/>
              <a:gd name="connsiteY6" fmla="*/ 14903571 h 31062055"/>
              <a:gd name="connsiteX7" fmla="*/ 6810306 w 9802542"/>
              <a:gd name="connsiteY7" fmla="*/ 31046782 h 31062055"/>
              <a:gd name="connsiteX8" fmla="*/ 7825567 w 9802542"/>
              <a:gd name="connsiteY8" fmla="*/ 17940496 h 31062055"/>
              <a:gd name="connsiteX9" fmla="*/ 8787411 w 9802542"/>
              <a:gd name="connsiteY9" fmla="*/ 22740248 h 31062055"/>
              <a:gd name="connsiteX10" fmla="*/ 9802542 w 9802542"/>
              <a:gd name="connsiteY10" fmla="*/ 0 h 31062055"/>
              <a:gd name="connsiteX0" fmla="*/ 0 w 9802542"/>
              <a:gd name="connsiteY0" fmla="*/ 21034260 h 31060241"/>
              <a:gd name="connsiteX1" fmla="*/ 942905 w 9802542"/>
              <a:gd name="connsiteY1" fmla="*/ 25585436 h 31060241"/>
              <a:gd name="connsiteX2" fmla="*/ 1926292 w 9802542"/>
              <a:gd name="connsiteY2" fmla="*/ 7600468 h 31060241"/>
              <a:gd name="connsiteX3" fmla="*/ 2925319 w 9802542"/>
              <a:gd name="connsiteY3" fmla="*/ 22305272 h 31060241"/>
              <a:gd name="connsiteX4" fmla="*/ 3920628 w 9802542"/>
              <a:gd name="connsiteY4" fmla="*/ 31024224 h 31060241"/>
              <a:gd name="connsiteX5" fmla="*/ 4903561 w 9802542"/>
              <a:gd name="connsiteY5" fmla="*/ 20595656 h 31060241"/>
              <a:gd name="connsiteX6" fmla="*/ 5826357 w 9802542"/>
              <a:gd name="connsiteY6" fmla="*/ 20428409 h 31060241"/>
              <a:gd name="connsiteX7" fmla="*/ 6810306 w 9802542"/>
              <a:gd name="connsiteY7" fmla="*/ 31046782 h 31060241"/>
              <a:gd name="connsiteX8" fmla="*/ 7825567 w 9802542"/>
              <a:gd name="connsiteY8" fmla="*/ 17940496 h 31060241"/>
              <a:gd name="connsiteX9" fmla="*/ 8787411 w 9802542"/>
              <a:gd name="connsiteY9" fmla="*/ 22740248 h 31060241"/>
              <a:gd name="connsiteX10" fmla="*/ 9802542 w 9802542"/>
              <a:gd name="connsiteY10" fmla="*/ 0 h 31060241"/>
              <a:gd name="connsiteX0" fmla="*/ 0 w 9802542"/>
              <a:gd name="connsiteY0" fmla="*/ 21034260 h 31060091"/>
              <a:gd name="connsiteX1" fmla="*/ 942905 w 9802542"/>
              <a:gd name="connsiteY1" fmla="*/ 25585436 h 31060091"/>
              <a:gd name="connsiteX2" fmla="*/ 1926292 w 9802542"/>
              <a:gd name="connsiteY2" fmla="*/ 7600468 h 31060091"/>
              <a:gd name="connsiteX3" fmla="*/ 2925319 w 9802542"/>
              <a:gd name="connsiteY3" fmla="*/ 22305272 h 31060091"/>
              <a:gd name="connsiteX4" fmla="*/ 3920628 w 9802542"/>
              <a:gd name="connsiteY4" fmla="*/ 31024224 h 31060091"/>
              <a:gd name="connsiteX5" fmla="*/ 4903561 w 9802542"/>
              <a:gd name="connsiteY5" fmla="*/ 20595656 h 31060091"/>
              <a:gd name="connsiteX6" fmla="*/ 5826357 w 9802542"/>
              <a:gd name="connsiteY6" fmla="*/ 20428409 h 31060091"/>
              <a:gd name="connsiteX7" fmla="*/ 6810306 w 9802542"/>
              <a:gd name="connsiteY7" fmla="*/ 31046782 h 31060091"/>
              <a:gd name="connsiteX8" fmla="*/ 7825567 w 9802542"/>
              <a:gd name="connsiteY8" fmla="*/ 17940496 h 31060091"/>
              <a:gd name="connsiteX9" fmla="*/ 8787411 w 9802542"/>
              <a:gd name="connsiteY9" fmla="*/ 22740248 h 31060091"/>
              <a:gd name="connsiteX10" fmla="*/ 9802542 w 9802542"/>
              <a:gd name="connsiteY10" fmla="*/ 0 h 31060091"/>
              <a:gd name="connsiteX0" fmla="*/ 0 w 9802542"/>
              <a:gd name="connsiteY0" fmla="*/ 21034260 h 31072352"/>
              <a:gd name="connsiteX1" fmla="*/ 942905 w 9802542"/>
              <a:gd name="connsiteY1" fmla="*/ 25585436 h 31072352"/>
              <a:gd name="connsiteX2" fmla="*/ 1926292 w 9802542"/>
              <a:gd name="connsiteY2" fmla="*/ 7600468 h 31072352"/>
              <a:gd name="connsiteX3" fmla="*/ 2925319 w 9802542"/>
              <a:gd name="connsiteY3" fmla="*/ 22305272 h 31072352"/>
              <a:gd name="connsiteX4" fmla="*/ 3920628 w 9802542"/>
              <a:gd name="connsiteY4" fmla="*/ 31024224 h 31072352"/>
              <a:gd name="connsiteX5" fmla="*/ 4903561 w 9802542"/>
              <a:gd name="connsiteY5" fmla="*/ 20595656 h 31072352"/>
              <a:gd name="connsiteX6" fmla="*/ 5839788 w 9802542"/>
              <a:gd name="connsiteY6" fmla="*/ 21278383 h 31072352"/>
              <a:gd name="connsiteX7" fmla="*/ 6810306 w 9802542"/>
              <a:gd name="connsiteY7" fmla="*/ 31046782 h 31072352"/>
              <a:gd name="connsiteX8" fmla="*/ 7825567 w 9802542"/>
              <a:gd name="connsiteY8" fmla="*/ 17940496 h 31072352"/>
              <a:gd name="connsiteX9" fmla="*/ 8787411 w 9802542"/>
              <a:gd name="connsiteY9" fmla="*/ 22740248 h 31072352"/>
              <a:gd name="connsiteX10" fmla="*/ 9802542 w 9802542"/>
              <a:gd name="connsiteY10" fmla="*/ 0 h 31072352"/>
              <a:gd name="connsiteX0" fmla="*/ 0 w 9802542"/>
              <a:gd name="connsiteY0" fmla="*/ 21034260 h 31072442"/>
              <a:gd name="connsiteX1" fmla="*/ 942905 w 9802542"/>
              <a:gd name="connsiteY1" fmla="*/ 25585436 h 31072442"/>
              <a:gd name="connsiteX2" fmla="*/ 1926292 w 9802542"/>
              <a:gd name="connsiteY2" fmla="*/ 7600468 h 31072442"/>
              <a:gd name="connsiteX3" fmla="*/ 2925319 w 9802542"/>
              <a:gd name="connsiteY3" fmla="*/ 22305272 h 31072442"/>
              <a:gd name="connsiteX4" fmla="*/ 3920628 w 9802542"/>
              <a:gd name="connsiteY4" fmla="*/ 31024224 h 31072442"/>
              <a:gd name="connsiteX5" fmla="*/ 4903561 w 9802542"/>
              <a:gd name="connsiteY5" fmla="*/ 21020634 h 31072442"/>
              <a:gd name="connsiteX6" fmla="*/ 5839788 w 9802542"/>
              <a:gd name="connsiteY6" fmla="*/ 21278383 h 31072442"/>
              <a:gd name="connsiteX7" fmla="*/ 6810306 w 9802542"/>
              <a:gd name="connsiteY7" fmla="*/ 31046782 h 31072442"/>
              <a:gd name="connsiteX8" fmla="*/ 7825567 w 9802542"/>
              <a:gd name="connsiteY8" fmla="*/ 17940496 h 31072442"/>
              <a:gd name="connsiteX9" fmla="*/ 8787411 w 9802542"/>
              <a:gd name="connsiteY9" fmla="*/ 22740248 h 31072442"/>
              <a:gd name="connsiteX10" fmla="*/ 9802542 w 9802542"/>
              <a:gd name="connsiteY10" fmla="*/ 0 h 31072442"/>
              <a:gd name="connsiteX0" fmla="*/ 0 w 9802542"/>
              <a:gd name="connsiteY0" fmla="*/ 21034260 h 31082470"/>
              <a:gd name="connsiteX1" fmla="*/ 942905 w 9802542"/>
              <a:gd name="connsiteY1" fmla="*/ 25585436 h 31082470"/>
              <a:gd name="connsiteX2" fmla="*/ 1926292 w 9802542"/>
              <a:gd name="connsiteY2" fmla="*/ 7600468 h 31082470"/>
              <a:gd name="connsiteX3" fmla="*/ 2925319 w 9802542"/>
              <a:gd name="connsiteY3" fmla="*/ 22305272 h 31082470"/>
              <a:gd name="connsiteX4" fmla="*/ 3920628 w 9802542"/>
              <a:gd name="connsiteY4" fmla="*/ 31024224 h 31082470"/>
              <a:gd name="connsiteX5" fmla="*/ 4903561 w 9802542"/>
              <a:gd name="connsiteY5" fmla="*/ 21020634 h 31082470"/>
              <a:gd name="connsiteX6" fmla="*/ 5839788 w 9802542"/>
              <a:gd name="connsiteY6" fmla="*/ 21278383 h 31082470"/>
              <a:gd name="connsiteX7" fmla="*/ 6810306 w 9802542"/>
              <a:gd name="connsiteY7" fmla="*/ 31046782 h 31082470"/>
              <a:gd name="connsiteX8" fmla="*/ 7825567 w 9802542"/>
              <a:gd name="connsiteY8" fmla="*/ 17303019 h 31082470"/>
              <a:gd name="connsiteX9" fmla="*/ 8787411 w 9802542"/>
              <a:gd name="connsiteY9" fmla="*/ 22740248 h 31082470"/>
              <a:gd name="connsiteX10" fmla="*/ 9802542 w 9802542"/>
              <a:gd name="connsiteY10" fmla="*/ 0 h 31082470"/>
              <a:gd name="connsiteX0" fmla="*/ 0 w 9802542"/>
              <a:gd name="connsiteY0" fmla="*/ 21034260 h 31082470"/>
              <a:gd name="connsiteX1" fmla="*/ 976483 w 9802542"/>
              <a:gd name="connsiteY1" fmla="*/ 26860404 h 31082470"/>
              <a:gd name="connsiteX2" fmla="*/ 1926292 w 9802542"/>
              <a:gd name="connsiteY2" fmla="*/ 7600468 h 31082470"/>
              <a:gd name="connsiteX3" fmla="*/ 2925319 w 9802542"/>
              <a:gd name="connsiteY3" fmla="*/ 22305272 h 31082470"/>
              <a:gd name="connsiteX4" fmla="*/ 3920628 w 9802542"/>
              <a:gd name="connsiteY4" fmla="*/ 31024224 h 31082470"/>
              <a:gd name="connsiteX5" fmla="*/ 4903561 w 9802542"/>
              <a:gd name="connsiteY5" fmla="*/ 21020634 h 31082470"/>
              <a:gd name="connsiteX6" fmla="*/ 5839788 w 9802542"/>
              <a:gd name="connsiteY6" fmla="*/ 21278383 h 31082470"/>
              <a:gd name="connsiteX7" fmla="*/ 6810306 w 9802542"/>
              <a:gd name="connsiteY7" fmla="*/ 31046782 h 31082470"/>
              <a:gd name="connsiteX8" fmla="*/ 7825567 w 9802542"/>
              <a:gd name="connsiteY8" fmla="*/ 17303019 h 31082470"/>
              <a:gd name="connsiteX9" fmla="*/ 8787411 w 9802542"/>
              <a:gd name="connsiteY9" fmla="*/ 22740248 h 31082470"/>
              <a:gd name="connsiteX10" fmla="*/ 9802542 w 9802542"/>
              <a:gd name="connsiteY10" fmla="*/ 0 h 31082470"/>
              <a:gd name="connsiteX0" fmla="*/ 0 w 9802542"/>
              <a:gd name="connsiteY0" fmla="*/ 21034260 h 31082470"/>
              <a:gd name="connsiteX1" fmla="*/ 976483 w 9802542"/>
              <a:gd name="connsiteY1" fmla="*/ 26860404 h 31082470"/>
              <a:gd name="connsiteX2" fmla="*/ 1926292 w 9802542"/>
              <a:gd name="connsiteY2" fmla="*/ 7600468 h 31082470"/>
              <a:gd name="connsiteX3" fmla="*/ 2925319 w 9802542"/>
              <a:gd name="connsiteY3" fmla="*/ 22305272 h 31082470"/>
              <a:gd name="connsiteX4" fmla="*/ 3920628 w 9802542"/>
              <a:gd name="connsiteY4" fmla="*/ 31024224 h 31082470"/>
              <a:gd name="connsiteX5" fmla="*/ 4903561 w 9802542"/>
              <a:gd name="connsiteY5" fmla="*/ 21020634 h 31082470"/>
              <a:gd name="connsiteX6" fmla="*/ 5839788 w 9802542"/>
              <a:gd name="connsiteY6" fmla="*/ 21278383 h 31082470"/>
              <a:gd name="connsiteX7" fmla="*/ 6810306 w 9802542"/>
              <a:gd name="connsiteY7" fmla="*/ 31046782 h 31082470"/>
              <a:gd name="connsiteX8" fmla="*/ 7825567 w 9802542"/>
              <a:gd name="connsiteY8" fmla="*/ 17303019 h 31082470"/>
              <a:gd name="connsiteX9" fmla="*/ 8787411 w 9802542"/>
              <a:gd name="connsiteY9" fmla="*/ 22740248 h 31082470"/>
              <a:gd name="connsiteX10" fmla="*/ 9802542 w 9802542"/>
              <a:gd name="connsiteY10" fmla="*/ 0 h 31082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2542" h="31082470">
                <a:moveTo>
                  <a:pt x="0" y="21034260"/>
                </a:moveTo>
                <a:cubicBezTo>
                  <a:pt x="231634" y="21668005"/>
                  <a:pt x="736020" y="26974439"/>
                  <a:pt x="976483" y="26860404"/>
                </a:cubicBezTo>
                <a:cubicBezTo>
                  <a:pt x="1216946" y="26746369"/>
                  <a:pt x="1601486" y="8359657"/>
                  <a:pt x="1926292" y="7600468"/>
                </a:cubicBezTo>
                <a:cubicBezTo>
                  <a:pt x="2251098" y="6841279"/>
                  <a:pt x="2592930" y="18401313"/>
                  <a:pt x="2925319" y="22305272"/>
                </a:cubicBezTo>
                <a:cubicBezTo>
                  <a:pt x="3257708" y="26209231"/>
                  <a:pt x="3590921" y="31238330"/>
                  <a:pt x="3920628" y="31024224"/>
                </a:cubicBezTo>
                <a:cubicBezTo>
                  <a:pt x="4250335" y="30810118"/>
                  <a:pt x="4583701" y="22644941"/>
                  <a:pt x="4903561" y="21020634"/>
                </a:cubicBezTo>
                <a:cubicBezTo>
                  <a:pt x="5223421" y="19396327"/>
                  <a:pt x="5521997" y="19607358"/>
                  <a:pt x="5839788" y="21278383"/>
                </a:cubicBezTo>
                <a:cubicBezTo>
                  <a:pt x="6157579" y="22949408"/>
                  <a:pt x="6479343" y="31709343"/>
                  <a:pt x="6810306" y="31046782"/>
                </a:cubicBezTo>
                <a:cubicBezTo>
                  <a:pt x="7141269" y="30384221"/>
                  <a:pt x="7496050" y="18687441"/>
                  <a:pt x="7825567" y="17303019"/>
                </a:cubicBezTo>
                <a:cubicBezTo>
                  <a:pt x="8155084" y="15918597"/>
                  <a:pt x="8569673" y="22651379"/>
                  <a:pt x="8787411" y="22740248"/>
                </a:cubicBezTo>
                <a:cubicBezTo>
                  <a:pt x="9018340" y="22384937"/>
                  <a:pt x="9464165" y="7580083"/>
                  <a:pt x="9802542" y="0"/>
                </a:cubicBezTo>
              </a:path>
            </a:pathLst>
          </a:custGeom>
          <a:noFill/>
          <a:ln w="136525" cap="rnd" algn="ctr">
            <a:solidFill>
              <a:srgbClr val="A1D794"/>
            </a:solidFill>
            <a:round/>
            <a:headEnd/>
            <a:tailEnd/>
          </a:ln>
        </p:spPr>
        <p:txBody>
          <a:bodyPr rtlCol="0" anchor="ctr"/>
          <a:lstStyle/>
          <a:p>
            <a:pPr algn="ctr"/>
            <a:endParaRPr lang="en-US" dirty="0"/>
          </a:p>
        </p:txBody>
      </p:sp>
      <p:sp>
        <p:nvSpPr>
          <p:cNvPr id="197" name="Freeform: Shape 107">
            <a:extLst>
              <a:ext uri="{FF2B5EF4-FFF2-40B4-BE49-F238E27FC236}">
                <a16:creationId xmlns:a16="http://schemas.microsoft.com/office/drawing/2014/main" id="{5F5EE060-E92F-49EE-A05D-531223EE6A10}"/>
              </a:ext>
            </a:extLst>
          </p:cNvPr>
          <p:cNvSpPr/>
          <p:nvPr/>
        </p:nvSpPr>
        <p:spPr bwMode="gray">
          <a:xfrm flipV="1">
            <a:off x="1111601" y="2997872"/>
            <a:ext cx="10389318" cy="2423120"/>
          </a:xfrm>
          <a:custGeom>
            <a:avLst/>
            <a:gdLst>
              <a:gd name="connsiteX0" fmla="*/ 0 w 9855200"/>
              <a:gd name="connsiteY0" fmla="*/ 2713159 h 3112619"/>
              <a:gd name="connsiteX1" fmla="*/ 939800 w 9855200"/>
              <a:gd name="connsiteY1" fmla="*/ 731959 h 3112619"/>
              <a:gd name="connsiteX2" fmla="*/ 1972733 w 9855200"/>
              <a:gd name="connsiteY2" fmla="*/ 1070626 h 3112619"/>
              <a:gd name="connsiteX3" fmla="*/ 2921000 w 9855200"/>
              <a:gd name="connsiteY3" fmla="*/ 1620959 h 3112619"/>
              <a:gd name="connsiteX4" fmla="*/ 3877733 w 9855200"/>
              <a:gd name="connsiteY4" fmla="*/ 706559 h 3112619"/>
              <a:gd name="connsiteX5" fmla="*/ 4910666 w 9855200"/>
              <a:gd name="connsiteY5" fmla="*/ 672692 h 3112619"/>
              <a:gd name="connsiteX6" fmla="*/ 5808133 w 9855200"/>
              <a:gd name="connsiteY6" fmla="*/ 173159 h 3112619"/>
              <a:gd name="connsiteX7" fmla="*/ 6874933 w 9855200"/>
              <a:gd name="connsiteY7" fmla="*/ 113892 h 3112619"/>
              <a:gd name="connsiteX8" fmla="*/ 7882466 w 9855200"/>
              <a:gd name="connsiteY8" fmla="*/ 1637892 h 3112619"/>
              <a:gd name="connsiteX9" fmla="*/ 8805333 w 9855200"/>
              <a:gd name="connsiteY9" fmla="*/ 2975626 h 3112619"/>
              <a:gd name="connsiteX10" fmla="*/ 9855200 w 9855200"/>
              <a:gd name="connsiteY10" fmla="*/ 3068759 h 3112619"/>
              <a:gd name="connsiteX11" fmla="*/ 9855200 w 9855200"/>
              <a:gd name="connsiteY11" fmla="*/ 3068759 h 3112619"/>
              <a:gd name="connsiteX0" fmla="*/ 0 w 9855200"/>
              <a:gd name="connsiteY0" fmla="*/ 2564478 h 2963938"/>
              <a:gd name="connsiteX1" fmla="*/ 939800 w 9855200"/>
              <a:gd name="connsiteY1" fmla="*/ 583278 h 2963938"/>
              <a:gd name="connsiteX2" fmla="*/ 1972733 w 9855200"/>
              <a:gd name="connsiteY2" fmla="*/ 921945 h 2963938"/>
              <a:gd name="connsiteX3" fmla="*/ 2921000 w 9855200"/>
              <a:gd name="connsiteY3" fmla="*/ 1472278 h 2963938"/>
              <a:gd name="connsiteX4" fmla="*/ 3877733 w 9855200"/>
              <a:gd name="connsiteY4" fmla="*/ 557878 h 2963938"/>
              <a:gd name="connsiteX5" fmla="*/ 4910666 w 9855200"/>
              <a:gd name="connsiteY5" fmla="*/ 524011 h 2963938"/>
              <a:gd name="connsiteX6" fmla="*/ 5808133 w 9855200"/>
              <a:gd name="connsiteY6" fmla="*/ 24478 h 2963938"/>
              <a:gd name="connsiteX7" fmla="*/ 6671569 w 9855200"/>
              <a:gd name="connsiteY7" fmla="*/ 1404544 h 2963938"/>
              <a:gd name="connsiteX8" fmla="*/ 7882466 w 9855200"/>
              <a:gd name="connsiteY8" fmla="*/ 1489211 h 2963938"/>
              <a:gd name="connsiteX9" fmla="*/ 8805333 w 9855200"/>
              <a:gd name="connsiteY9" fmla="*/ 2826945 h 2963938"/>
              <a:gd name="connsiteX10" fmla="*/ 9855200 w 9855200"/>
              <a:gd name="connsiteY10" fmla="*/ 2920078 h 2963938"/>
              <a:gd name="connsiteX11" fmla="*/ 9855200 w 9855200"/>
              <a:gd name="connsiteY11" fmla="*/ 2920078 h 2963938"/>
              <a:gd name="connsiteX0" fmla="*/ 0 w 9855200"/>
              <a:gd name="connsiteY0" fmla="*/ 2124213 h 2523673"/>
              <a:gd name="connsiteX1" fmla="*/ 939800 w 9855200"/>
              <a:gd name="connsiteY1" fmla="*/ 143013 h 2523673"/>
              <a:gd name="connsiteX2" fmla="*/ 1972733 w 9855200"/>
              <a:gd name="connsiteY2" fmla="*/ 481680 h 2523673"/>
              <a:gd name="connsiteX3" fmla="*/ 2921000 w 9855200"/>
              <a:gd name="connsiteY3" fmla="*/ 1032013 h 2523673"/>
              <a:gd name="connsiteX4" fmla="*/ 3877733 w 9855200"/>
              <a:gd name="connsiteY4" fmla="*/ 117613 h 2523673"/>
              <a:gd name="connsiteX5" fmla="*/ 4910666 w 9855200"/>
              <a:gd name="connsiteY5" fmla="*/ 83746 h 2523673"/>
              <a:gd name="connsiteX6" fmla="*/ 5850501 w 9855200"/>
              <a:gd name="connsiteY6" fmla="*/ 778013 h 2523673"/>
              <a:gd name="connsiteX7" fmla="*/ 6671569 w 9855200"/>
              <a:gd name="connsiteY7" fmla="*/ 964279 h 2523673"/>
              <a:gd name="connsiteX8" fmla="*/ 7882466 w 9855200"/>
              <a:gd name="connsiteY8" fmla="*/ 1048946 h 2523673"/>
              <a:gd name="connsiteX9" fmla="*/ 8805333 w 9855200"/>
              <a:gd name="connsiteY9" fmla="*/ 2386680 h 2523673"/>
              <a:gd name="connsiteX10" fmla="*/ 9855200 w 9855200"/>
              <a:gd name="connsiteY10" fmla="*/ 2479813 h 2523673"/>
              <a:gd name="connsiteX11" fmla="*/ 9855200 w 9855200"/>
              <a:gd name="connsiteY11" fmla="*/ 2479813 h 2523673"/>
              <a:gd name="connsiteX0" fmla="*/ 0 w 9810080"/>
              <a:gd name="connsiteY0" fmla="*/ 71509606 h 71509607"/>
              <a:gd name="connsiteX1" fmla="*/ 894680 w 9810080"/>
              <a:gd name="connsiteY1" fmla="*/ 4857891 h 71509607"/>
              <a:gd name="connsiteX2" fmla="*/ 1927613 w 9810080"/>
              <a:gd name="connsiteY2" fmla="*/ 5196558 h 71509607"/>
              <a:gd name="connsiteX3" fmla="*/ 2875880 w 9810080"/>
              <a:gd name="connsiteY3" fmla="*/ 5746891 h 71509607"/>
              <a:gd name="connsiteX4" fmla="*/ 3832613 w 9810080"/>
              <a:gd name="connsiteY4" fmla="*/ 4832491 h 71509607"/>
              <a:gd name="connsiteX5" fmla="*/ 4865546 w 9810080"/>
              <a:gd name="connsiteY5" fmla="*/ 4798624 h 71509607"/>
              <a:gd name="connsiteX6" fmla="*/ 5805381 w 9810080"/>
              <a:gd name="connsiteY6" fmla="*/ 5492891 h 71509607"/>
              <a:gd name="connsiteX7" fmla="*/ 6626449 w 9810080"/>
              <a:gd name="connsiteY7" fmla="*/ 5679157 h 71509607"/>
              <a:gd name="connsiteX8" fmla="*/ 7837346 w 9810080"/>
              <a:gd name="connsiteY8" fmla="*/ 5763824 h 71509607"/>
              <a:gd name="connsiteX9" fmla="*/ 8760213 w 9810080"/>
              <a:gd name="connsiteY9" fmla="*/ 7101558 h 71509607"/>
              <a:gd name="connsiteX10" fmla="*/ 9810080 w 9810080"/>
              <a:gd name="connsiteY10" fmla="*/ 7194691 h 71509607"/>
              <a:gd name="connsiteX11" fmla="*/ 9810080 w 9810080"/>
              <a:gd name="connsiteY11" fmla="*/ 7194691 h 71509607"/>
              <a:gd name="connsiteX0" fmla="*/ 0 w 9810080"/>
              <a:gd name="connsiteY0" fmla="*/ 71509607 h 71509607"/>
              <a:gd name="connsiteX1" fmla="*/ 894680 w 9810080"/>
              <a:gd name="connsiteY1" fmla="*/ 4857891 h 71509607"/>
              <a:gd name="connsiteX2" fmla="*/ 1927613 w 9810080"/>
              <a:gd name="connsiteY2" fmla="*/ 5196558 h 71509607"/>
              <a:gd name="connsiteX3" fmla="*/ 2875880 w 9810080"/>
              <a:gd name="connsiteY3" fmla="*/ 5746891 h 71509607"/>
              <a:gd name="connsiteX4" fmla="*/ 3832613 w 9810080"/>
              <a:gd name="connsiteY4" fmla="*/ 4832491 h 71509607"/>
              <a:gd name="connsiteX5" fmla="*/ 4865546 w 9810080"/>
              <a:gd name="connsiteY5" fmla="*/ 4798624 h 71509607"/>
              <a:gd name="connsiteX6" fmla="*/ 5805381 w 9810080"/>
              <a:gd name="connsiteY6" fmla="*/ 5492891 h 71509607"/>
              <a:gd name="connsiteX7" fmla="*/ 6626449 w 9810080"/>
              <a:gd name="connsiteY7" fmla="*/ 5679157 h 71509607"/>
              <a:gd name="connsiteX8" fmla="*/ 7837346 w 9810080"/>
              <a:gd name="connsiteY8" fmla="*/ 5763824 h 71509607"/>
              <a:gd name="connsiteX9" fmla="*/ 8760213 w 9810080"/>
              <a:gd name="connsiteY9" fmla="*/ 7101558 h 71509607"/>
              <a:gd name="connsiteX10" fmla="*/ 9810080 w 9810080"/>
              <a:gd name="connsiteY10" fmla="*/ 7194691 h 71509607"/>
              <a:gd name="connsiteX11" fmla="*/ 9810080 w 9810080"/>
              <a:gd name="connsiteY11" fmla="*/ 7194691 h 71509607"/>
              <a:gd name="connsiteX0" fmla="*/ 0 w 9810080"/>
              <a:gd name="connsiteY0" fmla="*/ 76881361 h 156801961"/>
              <a:gd name="connsiteX1" fmla="*/ 975896 w 9810080"/>
              <a:gd name="connsiteY1" fmla="*/ 155869804 h 156801961"/>
              <a:gd name="connsiteX2" fmla="*/ 1927613 w 9810080"/>
              <a:gd name="connsiteY2" fmla="*/ 10568312 h 156801961"/>
              <a:gd name="connsiteX3" fmla="*/ 2875880 w 9810080"/>
              <a:gd name="connsiteY3" fmla="*/ 11118645 h 156801961"/>
              <a:gd name="connsiteX4" fmla="*/ 3832613 w 9810080"/>
              <a:gd name="connsiteY4" fmla="*/ 10204245 h 156801961"/>
              <a:gd name="connsiteX5" fmla="*/ 4865546 w 9810080"/>
              <a:gd name="connsiteY5" fmla="*/ 10170378 h 156801961"/>
              <a:gd name="connsiteX6" fmla="*/ 5805381 w 9810080"/>
              <a:gd name="connsiteY6" fmla="*/ 10864645 h 156801961"/>
              <a:gd name="connsiteX7" fmla="*/ 6626449 w 9810080"/>
              <a:gd name="connsiteY7" fmla="*/ 11050911 h 156801961"/>
              <a:gd name="connsiteX8" fmla="*/ 7837346 w 9810080"/>
              <a:gd name="connsiteY8" fmla="*/ 11135578 h 156801961"/>
              <a:gd name="connsiteX9" fmla="*/ 8760213 w 9810080"/>
              <a:gd name="connsiteY9" fmla="*/ 12473312 h 156801961"/>
              <a:gd name="connsiteX10" fmla="*/ 9810080 w 9810080"/>
              <a:gd name="connsiteY10" fmla="*/ 12566445 h 156801961"/>
              <a:gd name="connsiteX11" fmla="*/ 9810080 w 9810080"/>
              <a:gd name="connsiteY11" fmla="*/ 12566445 h 156801961"/>
              <a:gd name="connsiteX0" fmla="*/ 0 w 9810080"/>
              <a:gd name="connsiteY0" fmla="*/ 76491983 h 151207476"/>
              <a:gd name="connsiteX1" fmla="*/ 975896 w 9810080"/>
              <a:gd name="connsiteY1" fmla="*/ 150222659 h 151207476"/>
              <a:gd name="connsiteX2" fmla="*/ 1927613 w 9810080"/>
              <a:gd name="connsiteY2" fmla="*/ 10178934 h 151207476"/>
              <a:gd name="connsiteX3" fmla="*/ 2875880 w 9810080"/>
              <a:gd name="connsiteY3" fmla="*/ 10729267 h 151207476"/>
              <a:gd name="connsiteX4" fmla="*/ 3832613 w 9810080"/>
              <a:gd name="connsiteY4" fmla="*/ 9814867 h 151207476"/>
              <a:gd name="connsiteX5" fmla="*/ 4865546 w 9810080"/>
              <a:gd name="connsiteY5" fmla="*/ 9781000 h 151207476"/>
              <a:gd name="connsiteX6" fmla="*/ 5805381 w 9810080"/>
              <a:gd name="connsiteY6" fmla="*/ 10475267 h 151207476"/>
              <a:gd name="connsiteX7" fmla="*/ 6626449 w 9810080"/>
              <a:gd name="connsiteY7" fmla="*/ 10661533 h 151207476"/>
              <a:gd name="connsiteX8" fmla="*/ 7837346 w 9810080"/>
              <a:gd name="connsiteY8" fmla="*/ 10746200 h 151207476"/>
              <a:gd name="connsiteX9" fmla="*/ 8760213 w 9810080"/>
              <a:gd name="connsiteY9" fmla="*/ 12083934 h 151207476"/>
              <a:gd name="connsiteX10" fmla="*/ 9810080 w 9810080"/>
              <a:gd name="connsiteY10" fmla="*/ 12177067 h 151207476"/>
              <a:gd name="connsiteX11" fmla="*/ 9810080 w 9810080"/>
              <a:gd name="connsiteY11" fmla="*/ 12177067 h 151207476"/>
              <a:gd name="connsiteX0" fmla="*/ 0 w 9810080"/>
              <a:gd name="connsiteY0" fmla="*/ 68463690 h 142468211"/>
              <a:gd name="connsiteX1" fmla="*/ 975896 w 9810080"/>
              <a:gd name="connsiteY1" fmla="*/ 142194366 h 142468211"/>
              <a:gd name="connsiteX2" fmla="*/ 2071996 w 9810080"/>
              <a:gd name="connsiteY2" fmla="*/ 35274567 h 142468211"/>
              <a:gd name="connsiteX3" fmla="*/ 2875880 w 9810080"/>
              <a:gd name="connsiteY3" fmla="*/ 2700974 h 142468211"/>
              <a:gd name="connsiteX4" fmla="*/ 3832613 w 9810080"/>
              <a:gd name="connsiteY4" fmla="*/ 1786574 h 142468211"/>
              <a:gd name="connsiteX5" fmla="*/ 4865546 w 9810080"/>
              <a:gd name="connsiteY5" fmla="*/ 1752707 h 142468211"/>
              <a:gd name="connsiteX6" fmla="*/ 5805381 w 9810080"/>
              <a:gd name="connsiteY6" fmla="*/ 2446974 h 142468211"/>
              <a:gd name="connsiteX7" fmla="*/ 6626449 w 9810080"/>
              <a:gd name="connsiteY7" fmla="*/ 2633240 h 142468211"/>
              <a:gd name="connsiteX8" fmla="*/ 7837346 w 9810080"/>
              <a:gd name="connsiteY8" fmla="*/ 2717907 h 142468211"/>
              <a:gd name="connsiteX9" fmla="*/ 8760213 w 9810080"/>
              <a:gd name="connsiteY9" fmla="*/ 4055641 h 142468211"/>
              <a:gd name="connsiteX10" fmla="*/ 9810080 w 9810080"/>
              <a:gd name="connsiteY10" fmla="*/ 4148774 h 142468211"/>
              <a:gd name="connsiteX11" fmla="*/ 9810080 w 9810080"/>
              <a:gd name="connsiteY11" fmla="*/ 4148774 h 142468211"/>
              <a:gd name="connsiteX0" fmla="*/ 0 w 9810080"/>
              <a:gd name="connsiteY0" fmla="*/ 70324746 h 144072589"/>
              <a:gd name="connsiteX1" fmla="*/ 975896 w 9810080"/>
              <a:gd name="connsiteY1" fmla="*/ 144055422 h 144072589"/>
              <a:gd name="connsiteX2" fmla="*/ 1900541 w 9810080"/>
              <a:gd name="connsiteY2" fmla="*/ 62372905 h 144072589"/>
              <a:gd name="connsiteX3" fmla="*/ 2875880 w 9810080"/>
              <a:gd name="connsiteY3" fmla="*/ 4562030 h 144072589"/>
              <a:gd name="connsiteX4" fmla="*/ 3832613 w 9810080"/>
              <a:gd name="connsiteY4" fmla="*/ 3647630 h 144072589"/>
              <a:gd name="connsiteX5" fmla="*/ 4865546 w 9810080"/>
              <a:gd name="connsiteY5" fmla="*/ 3613763 h 144072589"/>
              <a:gd name="connsiteX6" fmla="*/ 5805381 w 9810080"/>
              <a:gd name="connsiteY6" fmla="*/ 4308030 h 144072589"/>
              <a:gd name="connsiteX7" fmla="*/ 6626449 w 9810080"/>
              <a:gd name="connsiteY7" fmla="*/ 4494296 h 144072589"/>
              <a:gd name="connsiteX8" fmla="*/ 7837346 w 9810080"/>
              <a:gd name="connsiteY8" fmla="*/ 4578963 h 144072589"/>
              <a:gd name="connsiteX9" fmla="*/ 8760213 w 9810080"/>
              <a:gd name="connsiteY9" fmla="*/ 5916697 h 144072589"/>
              <a:gd name="connsiteX10" fmla="*/ 9810080 w 9810080"/>
              <a:gd name="connsiteY10" fmla="*/ 6009830 h 144072589"/>
              <a:gd name="connsiteX11" fmla="*/ 9810080 w 9810080"/>
              <a:gd name="connsiteY11" fmla="*/ 6009830 h 144072589"/>
              <a:gd name="connsiteX0" fmla="*/ 0 w 9810080"/>
              <a:gd name="connsiteY0" fmla="*/ 71763194 h 145558950"/>
              <a:gd name="connsiteX1" fmla="*/ 975896 w 9810080"/>
              <a:gd name="connsiteY1" fmla="*/ 145493870 h 145558950"/>
              <a:gd name="connsiteX2" fmla="*/ 1891517 w 9810080"/>
              <a:gd name="connsiteY2" fmla="*/ 83265091 h 145558950"/>
              <a:gd name="connsiteX3" fmla="*/ 2875880 w 9810080"/>
              <a:gd name="connsiteY3" fmla="*/ 6000478 h 145558950"/>
              <a:gd name="connsiteX4" fmla="*/ 3832613 w 9810080"/>
              <a:gd name="connsiteY4" fmla="*/ 5086078 h 145558950"/>
              <a:gd name="connsiteX5" fmla="*/ 4865546 w 9810080"/>
              <a:gd name="connsiteY5" fmla="*/ 5052211 h 145558950"/>
              <a:gd name="connsiteX6" fmla="*/ 5805381 w 9810080"/>
              <a:gd name="connsiteY6" fmla="*/ 5746478 h 145558950"/>
              <a:gd name="connsiteX7" fmla="*/ 6626449 w 9810080"/>
              <a:gd name="connsiteY7" fmla="*/ 5932744 h 145558950"/>
              <a:gd name="connsiteX8" fmla="*/ 7837346 w 9810080"/>
              <a:gd name="connsiteY8" fmla="*/ 6017411 h 145558950"/>
              <a:gd name="connsiteX9" fmla="*/ 8760213 w 9810080"/>
              <a:gd name="connsiteY9" fmla="*/ 7355145 h 145558950"/>
              <a:gd name="connsiteX10" fmla="*/ 9810080 w 9810080"/>
              <a:gd name="connsiteY10" fmla="*/ 7448278 h 145558950"/>
              <a:gd name="connsiteX11" fmla="*/ 9810080 w 9810080"/>
              <a:gd name="connsiteY11" fmla="*/ 7448278 h 145558950"/>
              <a:gd name="connsiteX0" fmla="*/ 0 w 9810080"/>
              <a:gd name="connsiteY0" fmla="*/ 70907710 h 144638385"/>
              <a:gd name="connsiteX1" fmla="*/ 975896 w 9810080"/>
              <a:gd name="connsiteY1" fmla="*/ 144638386 h 144638385"/>
              <a:gd name="connsiteX2" fmla="*/ 1954685 w 9810080"/>
              <a:gd name="connsiteY2" fmla="*/ 70842519 h 144638385"/>
              <a:gd name="connsiteX3" fmla="*/ 2875880 w 9810080"/>
              <a:gd name="connsiteY3" fmla="*/ 5144994 h 144638385"/>
              <a:gd name="connsiteX4" fmla="*/ 3832613 w 9810080"/>
              <a:gd name="connsiteY4" fmla="*/ 4230594 h 144638385"/>
              <a:gd name="connsiteX5" fmla="*/ 4865546 w 9810080"/>
              <a:gd name="connsiteY5" fmla="*/ 4196727 h 144638385"/>
              <a:gd name="connsiteX6" fmla="*/ 5805381 w 9810080"/>
              <a:gd name="connsiteY6" fmla="*/ 4890994 h 144638385"/>
              <a:gd name="connsiteX7" fmla="*/ 6626449 w 9810080"/>
              <a:gd name="connsiteY7" fmla="*/ 5077260 h 144638385"/>
              <a:gd name="connsiteX8" fmla="*/ 7837346 w 9810080"/>
              <a:gd name="connsiteY8" fmla="*/ 5161927 h 144638385"/>
              <a:gd name="connsiteX9" fmla="*/ 8760213 w 9810080"/>
              <a:gd name="connsiteY9" fmla="*/ 6499661 h 144638385"/>
              <a:gd name="connsiteX10" fmla="*/ 9810080 w 9810080"/>
              <a:gd name="connsiteY10" fmla="*/ 6592794 h 144638385"/>
              <a:gd name="connsiteX11" fmla="*/ 9810080 w 9810080"/>
              <a:gd name="connsiteY11" fmla="*/ 6592794 h 144638385"/>
              <a:gd name="connsiteX0" fmla="*/ 0 w 9810080"/>
              <a:gd name="connsiteY0" fmla="*/ 77101498 h 151672201"/>
              <a:gd name="connsiteX1" fmla="*/ 975896 w 9810080"/>
              <a:gd name="connsiteY1" fmla="*/ 150832174 h 151672201"/>
              <a:gd name="connsiteX2" fmla="*/ 1954685 w 9810080"/>
              <a:gd name="connsiteY2" fmla="*/ 77036307 h 151672201"/>
              <a:gd name="connsiteX3" fmla="*/ 2875880 w 9810080"/>
              <a:gd name="connsiteY3" fmla="*/ 150669610 h 151672201"/>
              <a:gd name="connsiteX4" fmla="*/ 3832613 w 9810080"/>
              <a:gd name="connsiteY4" fmla="*/ 10424382 h 151672201"/>
              <a:gd name="connsiteX5" fmla="*/ 4865546 w 9810080"/>
              <a:gd name="connsiteY5" fmla="*/ 10390515 h 151672201"/>
              <a:gd name="connsiteX6" fmla="*/ 5805381 w 9810080"/>
              <a:gd name="connsiteY6" fmla="*/ 11084782 h 151672201"/>
              <a:gd name="connsiteX7" fmla="*/ 6626449 w 9810080"/>
              <a:gd name="connsiteY7" fmla="*/ 11271048 h 151672201"/>
              <a:gd name="connsiteX8" fmla="*/ 7837346 w 9810080"/>
              <a:gd name="connsiteY8" fmla="*/ 11355715 h 151672201"/>
              <a:gd name="connsiteX9" fmla="*/ 8760213 w 9810080"/>
              <a:gd name="connsiteY9" fmla="*/ 12693449 h 151672201"/>
              <a:gd name="connsiteX10" fmla="*/ 9810080 w 9810080"/>
              <a:gd name="connsiteY10" fmla="*/ 12786582 h 151672201"/>
              <a:gd name="connsiteX11" fmla="*/ 9810080 w 9810080"/>
              <a:gd name="connsiteY11" fmla="*/ 12786582 h 151672201"/>
              <a:gd name="connsiteX0" fmla="*/ 0 w 9810080"/>
              <a:gd name="connsiteY0" fmla="*/ 75747395 h 154788994"/>
              <a:gd name="connsiteX1" fmla="*/ 975896 w 9810080"/>
              <a:gd name="connsiteY1" fmla="*/ 149478071 h 154788994"/>
              <a:gd name="connsiteX2" fmla="*/ 1954685 w 9810080"/>
              <a:gd name="connsiteY2" fmla="*/ 75682204 h 154788994"/>
              <a:gd name="connsiteX3" fmla="*/ 2875880 w 9810080"/>
              <a:gd name="connsiteY3" fmla="*/ 149315507 h 154788994"/>
              <a:gd name="connsiteX4" fmla="*/ 3940901 w 9810080"/>
              <a:gd name="connsiteY4" fmla="*/ 133679377 h 154788994"/>
              <a:gd name="connsiteX5" fmla="*/ 4865546 w 9810080"/>
              <a:gd name="connsiteY5" fmla="*/ 9036412 h 154788994"/>
              <a:gd name="connsiteX6" fmla="*/ 5805381 w 9810080"/>
              <a:gd name="connsiteY6" fmla="*/ 9730679 h 154788994"/>
              <a:gd name="connsiteX7" fmla="*/ 6626449 w 9810080"/>
              <a:gd name="connsiteY7" fmla="*/ 9916945 h 154788994"/>
              <a:gd name="connsiteX8" fmla="*/ 7837346 w 9810080"/>
              <a:gd name="connsiteY8" fmla="*/ 10001612 h 154788994"/>
              <a:gd name="connsiteX9" fmla="*/ 8760213 w 9810080"/>
              <a:gd name="connsiteY9" fmla="*/ 11339346 h 154788994"/>
              <a:gd name="connsiteX10" fmla="*/ 9810080 w 9810080"/>
              <a:gd name="connsiteY10" fmla="*/ 11432479 h 154788994"/>
              <a:gd name="connsiteX11" fmla="*/ 9810080 w 9810080"/>
              <a:gd name="connsiteY11" fmla="*/ 11432479 h 154788994"/>
              <a:gd name="connsiteX0" fmla="*/ 0 w 9810080"/>
              <a:gd name="connsiteY0" fmla="*/ 75747395 h 154658888"/>
              <a:gd name="connsiteX1" fmla="*/ 975896 w 9810080"/>
              <a:gd name="connsiteY1" fmla="*/ 149478071 h 154658888"/>
              <a:gd name="connsiteX2" fmla="*/ 1954685 w 9810080"/>
              <a:gd name="connsiteY2" fmla="*/ 75682204 h 154658888"/>
              <a:gd name="connsiteX3" fmla="*/ 2875880 w 9810080"/>
              <a:gd name="connsiteY3" fmla="*/ 149315507 h 154658888"/>
              <a:gd name="connsiteX4" fmla="*/ 3940901 w 9810080"/>
              <a:gd name="connsiteY4" fmla="*/ 133679377 h 154658888"/>
              <a:gd name="connsiteX5" fmla="*/ 4865546 w 9810080"/>
              <a:gd name="connsiteY5" fmla="*/ 9036412 h 154658888"/>
              <a:gd name="connsiteX6" fmla="*/ 5805381 w 9810080"/>
              <a:gd name="connsiteY6" fmla="*/ 9730679 h 154658888"/>
              <a:gd name="connsiteX7" fmla="*/ 6626449 w 9810080"/>
              <a:gd name="connsiteY7" fmla="*/ 9916945 h 154658888"/>
              <a:gd name="connsiteX8" fmla="*/ 7837346 w 9810080"/>
              <a:gd name="connsiteY8" fmla="*/ 10001612 h 154658888"/>
              <a:gd name="connsiteX9" fmla="*/ 8760213 w 9810080"/>
              <a:gd name="connsiteY9" fmla="*/ 11339346 h 154658888"/>
              <a:gd name="connsiteX10" fmla="*/ 9810080 w 9810080"/>
              <a:gd name="connsiteY10" fmla="*/ 11432479 h 154658888"/>
              <a:gd name="connsiteX11" fmla="*/ 9810080 w 9810080"/>
              <a:gd name="connsiteY11" fmla="*/ 11432479 h 154658888"/>
              <a:gd name="connsiteX0" fmla="*/ 0 w 9810080"/>
              <a:gd name="connsiteY0" fmla="*/ 75747395 h 153336967"/>
              <a:gd name="connsiteX1" fmla="*/ 975896 w 9810080"/>
              <a:gd name="connsiteY1" fmla="*/ 149478071 h 153336967"/>
              <a:gd name="connsiteX2" fmla="*/ 1954685 w 9810080"/>
              <a:gd name="connsiteY2" fmla="*/ 75682204 h 153336967"/>
              <a:gd name="connsiteX3" fmla="*/ 2875880 w 9810080"/>
              <a:gd name="connsiteY3" fmla="*/ 149315507 h 153336967"/>
              <a:gd name="connsiteX4" fmla="*/ 3940901 w 9810080"/>
              <a:gd name="connsiteY4" fmla="*/ 133679377 h 153336967"/>
              <a:gd name="connsiteX5" fmla="*/ 4865546 w 9810080"/>
              <a:gd name="connsiteY5" fmla="*/ 9036412 h 153336967"/>
              <a:gd name="connsiteX6" fmla="*/ 5805381 w 9810080"/>
              <a:gd name="connsiteY6" fmla="*/ 9730679 h 153336967"/>
              <a:gd name="connsiteX7" fmla="*/ 6626449 w 9810080"/>
              <a:gd name="connsiteY7" fmla="*/ 9916945 h 153336967"/>
              <a:gd name="connsiteX8" fmla="*/ 7837346 w 9810080"/>
              <a:gd name="connsiteY8" fmla="*/ 10001612 h 153336967"/>
              <a:gd name="connsiteX9" fmla="*/ 8760213 w 9810080"/>
              <a:gd name="connsiteY9" fmla="*/ 11339346 h 153336967"/>
              <a:gd name="connsiteX10" fmla="*/ 9810080 w 9810080"/>
              <a:gd name="connsiteY10" fmla="*/ 11432479 h 153336967"/>
              <a:gd name="connsiteX11" fmla="*/ 9810080 w 9810080"/>
              <a:gd name="connsiteY11" fmla="*/ 11432479 h 153336967"/>
              <a:gd name="connsiteX0" fmla="*/ 0 w 9810080"/>
              <a:gd name="connsiteY0" fmla="*/ 76915530 h 161432935"/>
              <a:gd name="connsiteX1" fmla="*/ 975896 w 9810080"/>
              <a:gd name="connsiteY1" fmla="*/ 150646206 h 161432935"/>
              <a:gd name="connsiteX2" fmla="*/ 1954685 w 9810080"/>
              <a:gd name="connsiteY2" fmla="*/ 76850339 h 161432935"/>
              <a:gd name="connsiteX3" fmla="*/ 2875880 w 9810080"/>
              <a:gd name="connsiteY3" fmla="*/ 150483642 h 161432935"/>
              <a:gd name="connsiteX4" fmla="*/ 3913830 w 9810080"/>
              <a:gd name="connsiteY4" fmla="*/ 150620813 h 161432935"/>
              <a:gd name="connsiteX5" fmla="*/ 4865546 w 9810080"/>
              <a:gd name="connsiteY5" fmla="*/ 10204547 h 161432935"/>
              <a:gd name="connsiteX6" fmla="*/ 5805381 w 9810080"/>
              <a:gd name="connsiteY6" fmla="*/ 10898814 h 161432935"/>
              <a:gd name="connsiteX7" fmla="*/ 6626449 w 9810080"/>
              <a:gd name="connsiteY7" fmla="*/ 11085080 h 161432935"/>
              <a:gd name="connsiteX8" fmla="*/ 7837346 w 9810080"/>
              <a:gd name="connsiteY8" fmla="*/ 11169747 h 161432935"/>
              <a:gd name="connsiteX9" fmla="*/ 8760213 w 9810080"/>
              <a:gd name="connsiteY9" fmla="*/ 12507481 h 161432935"/>
              <a:gd name="connsiteX10" fmla="*/ 9810080 w 9810080"/>
              <a:gd name="connsiteY10" fmla="*/ 12600614 h 161432935"/>
              <a:gd name="connsiteX11" fmla="*/ 9810080 w 9810080"/>
              <a:gd name="connsiteY11" fmla="*/ 12600614 h 161432935"/>
              <a:gd name="connsiteX0" fmla="*/ 0 w 9810080"/>
              <a:gd name="connsiteY0" fmla="*/ 76915530 h 157932559"/>
              <a:gd name="connsiteX1" fmla="*/ 975896 w 9810080"/>
              <a:gd name="connsiteY1" fmla="*/ 150646206 h 157932559"/>
              <a:gd name="connsiteX2" fmla="*/ 1954685 w 9810080"/>
              <a:gd name="connsiteY2" fmla="*/ 76850339 h 157932559"/>
              <a:gd name="connsiteX3" fmla="*/ 2875880 w 9810080"/>
              <a:gd name="connsiteY3" fmla="*/ 150483642 h 157932559"/>
              <a:gd name="connsiteX4" fmla="*/ 3913830 w 9810080"/>
              <a:gd name="connsiteY4" fmla="*/ 150620813 h 157932559"/>
              <a:gd name="connsiteX5" fmla="*/ 4865546 w 9810080"/>
              <a:gd name="connsiteY5" fmla="*/ 10204547 h 157932559"/>
              <a:gd name="connsiteX6" fmla="*/ 5805381 w 9810080"/>
              <a:gd name="connsiteY6" fmla="*/ 10898814 h 157932559"/>
              <a:gd name="connsiteX7" fmla="*/ 6626449 w 9810080"/>
              <a:gd name="connsiteY7" fmla="*/ 11085080 h 157932559"/>
              <a:gd name="connsiteX8" fmla="*/ 7837346 w 9810080"/>
              <a:gd name="connsiteY8" fmla="*/ 11169747 h 157932559"/>
              <a:gd name="connsiteX9" fmla="*/ 8760213 w 9810080"/>
              <a:gd name="connsiteY9" fmla="*/ 12507481 h 157932559"/>
              <a:gd name="connsiteX10" fmla="*/ 9810080 w 9810080"/>
              <a:gd name="connsiteY10" fmla="*/ 12600614 h 157932559"/>
              <a:gd name="connsiteX11" fmla="*/ 9810080 w 9810080"/>
              <a:gd name="connsiteY11" fmla="*/ 12600614 h 157932559"/>
              <a:gd name="connsiteX0" fmla="*/ 0 w 9810080"/>
              <a:gd name="connsiteY0" fmla="*/ 76798728 h 157098216"/>
              <a:gd name="connsiteX1" fmla="*/ 975896 w 9810080"/>
              <a:gd name="connsiteY1" fmla="*/ 150529404 h 157098216"/>
              <a:gd name="connsiteX2" fmla="*/ 1954685 w 9810080"/>
              <a:gd name="connsiteY2" fmla="*/ 76733537 h 157098216"/>
              <a:gd name="connsiteX3" fmla="*/ 2875880 w 9810080"/>
              <a:gd name="connsiteY3" fmla="*/ 150366840 h 157098216"/>
              <a:gd name="connsiteX4" fmla="*/ 3913831 w 9810080"/>
              <a:gd name="connsiteY4" fmla="*/ 148926681 h 157098216"/>
              <a:gd name="connsiteX5" fmla="*/ 4865546 w 9810080"/>
              <a:gd name="connsiteY5" fmla="*/ 10087745 h 157098216"/>
              <a:gd name="connsiteX6" fmla="*/ 5805381 w 9810080"/>
              <a:gd name="connsiteY6" fmla="*/ 10782012 h 157098216"/>
              <a:gd name="connsiteX7" fmla="*/ 6626449 w 9810080"/>
              <a:gd name="connsiteY7" fmla="*/ 10968278 h 157098216"/>
              <a:gd name="connsiteX8" fmla="*/ 7837346 w 9810080"/>
              <a:gd name="connsiteY8" fmla="*/ 11052945 h 157098216"/>
              <a:gd name="connsiteX9" fmla="*/ 8760213 w 9810080"/>
              <a:gd name="connsiteY9" fmla="*/ 12390679 h 157098216"/>
              <a:gd name="connsiteX10" fmla="*/ 9810080 w 9810080"/>
              <a:gd name="connsiteY10" fmla="*/ 12483812 h 157098216"/>
              <a:gd name="connsiteX11" fmla="*/ 9810080 w 9810080"/>
              <a:gd name="connsiteY11" fmla="*/ 12483812 h 157098216"/>
              <a:gd name="connsiteX0" fmla="*/ 0 w 9810080"/>
              <a:gd name="connsiteY0" fmla="*/ 77927947 h 168213439"/>
              <a:gd name="connsiteX1" fmla="*/ 975896 w 9810080"/>
              <a:gd name="connsiteY1" fmla="*/ 151658623 h 168213439"/>
              <a:gd name="connsiteX2" fmla="*/ 1954685 w 9810080"/>
              <a:gd name="connsiteY2" fmla="*/ 77862756 h 168213439"/>
              <a:gd name="connsiteX3" fmla="*/ 2875880 w 9810080"/>
              <a:gd name="connsiteY3" fmla="*/ 151496059 h 168213439"/>
              <a:gd name="connsiteX4" fmla="*/ 3976999 w 9810080"/>
              <a:gd name="connsiteY4" fmla="*/ 165303423 h 168213439"/>
              <a:gd name="connsiteX5" fmla="*/ 4865546 w 9810080"/>
              <a:gd name="connsiteY5" fmla="*/ 11216964 h 168213439"/>
              <a:gd name="connsiteX6" fmla="*/ 5805381 w 9810080"/>
              <a:gd name="connsiteY6" fmla="*/ 11911231 h 168213439"/>
              <a:gd name="connsiteX7" fmla="*/ 6626449 w 9810080"/>
              <a:gd name="connsiteY7" fmla="*/ 12097497 h 168213439"/>
              <a:gd name="connsiteX8" fmla="*/ 7837346 w 9810080"/>
              <a:gd name="connsiteY8" fmla="*/ 12182164 h 168213439"/>
              <a:gd name="connsiteX9" fmla="*/ 8760213 w 9810080"/>
              <a:gd name="connsiteY9" fmla="*/ 13519898 h 168213439"/>
              <a:gd name="connsiteX10" fmla="*/ 9810080 w 9810080"/>
              <a:gd name="connsiteY10" fmla="*/ 13613031 h 168213439"/>
              <a:gd name="connsiteX11" fmla="*/ 9810080 w 9810080"/>
              <a:gd name="connsiteY11" fmla="*/ 13613031 h 168213439"/>
              <a:gd name="connsiteX0" fmla="*/ 0 w 9810080"/>
              <a:gd name="connsiteY0" fmla="*/ 76876559 h 157646238"/>
              <a:gd name="connsiteX1" fmla="*/ 975896 w 9810080"/>
              <a:gd name="connsiteY1" fmla="*/ 150607235 h 157646238"/>
              <a:gd name="connsiteX2" fmla="*/ 1954685 w 9810080"/>
              <a:gd name="connsiteY2" fmla="*/ 76811368 h 157646238"/>
              <a:gd name="connsiteX3" fmla="*/ 2875880 w 9810080"/>
              <a:gd name="connsiteY3" fmla="*/ 150444671 h 157646238"/>
              <a:gd name="connsiteX4" fmla="*/ 3895784 w 9810080"/>
              <a:gd name="connsiteY4" fmla="*/ 150056065 h 157646238"/>
              <a:gd name="connsiteX5" fmla="*/ 4865546 w 9810080"/>
              <a:gd name="connsiteY5" fmla="*/ 10165576 h 157646238"/>
              <a:gd name="connsiteX6" fmla="*/ 5805381 w 9810080"/>
              <a:gd name="connsiteY6" fmla="*/ 10859843 h 157646238"/>
              <a:gd name="connsiteX7" fmla="*/ 6626449 w 9810080"/>
              <a:gd name="connsiteY7" fmla="*/ 11046109 h 157646238"/>
              <a:gd name="connsiteX8" fmla="*/ 7837346 w 9810080"/>
              <a:gd name="connsiteY8" fmla="*/ 11130776 h 157646238"/>
              <a:gd name="connsiteX9" fmla="*/ 8760213 w 9810080"/>
              <a:gd name="connsiteY9" fmla="*/ 12468510 h 157646238"/>
              <a:gd name="connsiteX10" fmla="*/ 9810080 w 9810080"/>
              <a:gd name="connsiteY10" fmla="*/ 12561643 h 157646238"/>
              <a:gd name="connsiteX11" fmla="*/ 9810080 w 9810080"/>
              <a:gd name="connsiteY11" fmla="*/ 12561643 h 157646238"/>
              <a:gd name="connsiteX0" fmla="*/ 0 w 9810080"/>
              <a:gd name="connsiteY0" fmla="*/ 74403725 h 154345906"/>
              <a:gd name="connsiteX1" fmla="*/ 975896 w 9810080"/>
              <a:gd name="connsiteY1" fmla="*/ 148134401 h 154345906"/>
              <a:gd name="connsiteX2" fmla="*/ 1954685 w 9810080"/>
              <a:gd name="connsiteY2" fmla="*/ 74338534 h 154345906"/>
              <a:gd name="connsiteX3" fmla="*/ 2875880 w 9810080"/>
              <a:gd name="connsiteY3" fmla="*/ 147971837 h 154345906"/>
              <a:gd name="connsiteX4" fmla="*/ 3895784 w 9810080"/>
              <a:gd name="connsiteY4" fmla="*/ 147583231 h 154345906"/>
              <a:gd name="connsiteX5" fmla="*/ 4829451 w 9810080"/>
              <a:gd name="connsiteY5" fmla="*/ 122312056 h 154345906"/>
              <a:gd name="connsiteX6" fmla="*/ 5805381 w 9810080"/>
              <a:gd name="connsiteY6" fmla="*/ 8387009 h 154345906"/>
              <a:gd name="connsiteX7" fmla="*/ 6626449 w 9810080"/>
              <a:gd name="connsiteY7" fmla="*/ 8573275 h 154345906"/>
              <a:gd name="connsiteX8" fmla="*/ 7837346 w 9810080"/>
              <a:gd name="connsiteY8" fmla="*/ 8657942 h 154345906"/>
              <a:gd name="connsiteX9" fmla="*/ 8760213 w 9810080"/>
              <a:gd name="connsiteY9" fmla="*/ 9995676 h 154345906"/>
              <a:gd name="connsiteX10" fmla="*/ 9810080 w 9810080"/>
              <a:gd name="connsiteY10" fmla="*/ 10088809 h 154345906"/>
              <a:gd name="connsiteX11" fmla="*/ 9810080 w 9810080"/>
              <a:gd name="connsiteY11" fmla="*/ 10088809 h 154345906"/>
              <a:gd name="connsiteX0" fmla="*/ 0 w 9810080"/>
              <a:gd name="connsiteY0" fmla="*/ 74403725 h 154345906"/>
              <a:gd name="connsiteX1" fmla="*/ 975896 w 9810080"/>
              <a:gd name="connsiteY1" fmla="*/ 148134401 h 154345906"/>
              <a:gd name="connsiteX2" fmla="*/ 1954685 w 9810080"/>
              <a:gd name="connsiteY2" fmla="*/ 74338534 h 154345906"/>
              <a:gd name="connsiteX3" fmla="*/ 2875880 w 9810080"/>
              <a:gd name="connsiteY3" fmla="*/ 147971837 h 154345906"/>
              <a:gd name="connsiteX4" fmla="*/ 3895784 w 9810080"/>
              <a:gd name="connsiteY4" fmla="*/ 147583231 h 154345906"/>
              <a:gd name="connsiteX5" fmla="*/ 4829451 w 9810080"/>
              <a:gd name="connsiteY5" fmla="*/ 122312056 h 154345906"/>
              <a:gd name="connsiteX6" fmla="*/ 5805381 w 9810080"/>
              <a:gd name="connsiteY6" fmla="*/ 8387009 h 154345906"/>
              <a:gd name="connsiteX7" fmla="*/ 6626449 w 9810080"/>
              <a:gd name="connsiteY7" fmla="*/ 8573275 h 154345906"/>
              <a:gd name="connsiteX8" fmla="*/ 7837346 w 9810080"/>
              <a:gd name="connsiteY8" fmla="*/ 8657942 h 154345906"/>
              <a:gd name="connsiteX9" fmla="*/ 8760213 w 9810080"/>
              <a:gd name="connsiteY9" fmla="*/ 9995676 h 154345906"/>
              <a:gd name="connsiteX10" fmla="*/ 9810080 w 9810080"/>
              <a:gd name="connsiteY10" fmla="*/ 10088809 h 154345906"/>
              <a:gd name="connsiteX11" fmla="*/ 9810080 w 9810080"/>
              <a:gd name="connsiteY11" fmla="*/ 10088809 h 154345906"/>
              <a:gd name="connsiteX0" fmla="*/ 0 w 9810080"/>
              <a:gd name="connsiteY0" fmla="*/ 71716495 h 153568584"/>
              <a:gd name="connsiteX1" fmla="*/ 975896 w 9810080"/>
              <a:gd name="connsiteY1" fmla="*/ 145447171 h 153568584"/>
              <a:gd name="connsiteX2" fmla="*/ 1954685 w 9810080"/>
              <a:gd name="connsiteY2" fmla="*/ 71651304 h 153568584"/>
              <a:gd name="connsiteX3" fmla="*/ 2875880 w 9810080"/>
              <a:gd name="connsiteY3" fmla="*/ 145284607 h 153568584"/>
              <a:gd name="connsiteX4" fmla="*/ 3895784 w 9810080"/>
              <a:gd name="connsiteY4" fmla="*/ 144896001 h 153568584"/>
              <a:gd name="connsiteX5" fmla="*/ 4856523 w 9810080"/>
              <a:gd name="connsiteY5" fmla="*/ 83346233 h 153568584"/>
              <a:gd name="connsiteX6" fmla="*/ 5805381 w 9810080"/>
              <a:gd name="connsiteY6" fmla="*/ 5699779 h 153568584"/>
              <a:gd name="connsiteX7" fmla="*/ 6626449 w 9810080"/>
              <a:gd name="connsiteY7" fmla="*/ 5886045 h 153568584"/>
              <a:gd name="connsiteX8" fmla="*/ 7837346 w 9810080"/>
              <a:gd name="connsiteY8" fmla="*/ 5970712 h 153568584"/>
              <a:gd name="connsiteX9" fmla="*/ 8760213 w 9810080"/>
              <a:gd name="connsiteY9" fmla="*/ 7308446 h 153568584"/>
              <a:gd name="connsiteX10" fmla="*/ 9810080 w 9810080"/>
              <a:gd name="connsiteY10" fmla="*/ 7401579 h 153568584"/>
              <a:gd name="connsiteX11" fmla="*/ 9810080 w 9810080"/>
              <a:gd name="connsiteY11" fmla="*/ 7401579 h 153568584"/>
              <a:gd name="connsiteX0" fmla="*/ 0 w 9810080"/>
              <a:gd name="connsiteY0" fmla="*/ 70236647 h 153309753"/>
              <a:gd name="connsiteX1" fmla="*/ 975896 w 9810080"/>
              <a:gd name="connsiteY1" fmla="*/ 143967323 h 153309753"/>
              <a:gd name="connsiteX2" fmla="*/ 1954685 w 9810080"/>
              <a:gd name="connsiteY2" fmla="*/ 70171456 h 153309753"/>
              <a:gd name="connsiteX3" fmla="*/ 2875880 w 9810080"/>
              <a:gd name="connsiteY3" fmla="*/ 143804759 h 153309753"/>
              <a:gd name="connsiteX4" fmla="*/ 3895784 w 9810080"/>
              <a:gd name="connsiteY4" fmla="*/ 143416153 h 153309753"/>
              <a:gd name="connsiteX5" fmla="*/ 4874572 w 9810080"/>
              <a:gd name="connsiteY5" fmla="*/ 61886871 h 153309753"/>
              <a:gd name="connsiteX6" fmla="*/ 5805381 w 9810080"/>
              <a:gd name="connsiteY6" fmla="*/ 4219931 h 153309753"/>
              <a:gd name="connsiteX7" fmla="*/ 6626449 w 9810080"/>
              <a:gd name="connsiteY7" fmla="*/ 4406197 h 153309753"/>
              <a:gd name="connsiteX8" fmla="*/ 7837346 w 9810080"/>
              <a:gd name="connsiteY8" fmla="*/ 4490864 h 153309753"/>
              <a:gd name="connsiteX9" fmla="*/ 8760213 w 9810080"/>
              <a:gd name="connsiteY9" fmla="*/ 5828598 h 153309753"/>
              <a:gd name="connsiteX10" fmla="*/ 9810080 w 9810080"/>
              <a:gd name="connsiteY10" fmla="*/ 5921731 h 153309753"/>
              <a:gd name="connsiteX11" fmla="*/ 9810080 w 9810080"/>
              <a:gd name="connsiteY11" fmla="*/ 5921731 h 153309753"/>
              <a:gd name="connsiteX0" fmla="*/ 0 w 9810080"/>
              <a:gd name="connsiteY0" fmla="*/ 74214665 h 157287771"/>
              <a:gd name="connsiteX1" fmla="*/ 975896 w 9810080"/>
              <a:gd name="connsiteY1" fmla="*/ 147945341 h 157287771"/>
              <a:gd name="connsiteX2" fmla="*/ 1954685 w 9810080"/>
              <a:gd name="connsiteY2" fmla="*/ 74149474 h 157287771"/>
              <a:gd name="connsiteX3" fmla="*/ 2875880 w 9810080"/>
              <a:gd name="connsiteY3" fmla="*/ 147782777 h 157287771"/>
              <a:gd name="connsiteX4" fmla="*/ 3895784 w 9810080"/>
              <a:gd name="connsiteY4" fmla="*/ 147394171 h 157287771"/>
              <a:gd name="connsiteX5" fmla="*/ 4874572 w 9810080"/>
              <a:gd name="connsiteY5" fmla="*/ 65864889 h 157287771"/>
              <a:gd name="connsiteX6" fmla="*/ 5832453 w 9810080"/>
              <a:gd name="connsiteY6" fmla="*/ 121239968 h 157287771"/>
              <a:gd name="connsiteX7" fmla="*/ 6626449 w 9810080"/>
              <a:gd name="connsiteY7" fmla="*/ 8384215 h 157287771"/>
              <a:gd name="connsiteX8" fmla="*/ 7837346 w 9810080"/>
              <a:gd name="connsiteY8" fmla="*/ 8468882 h 157287771"/>
              <a:gd name="connsiteX9" fmla="*/ 8760213 w 9810080"/>
              <a:gd name="connsiteY9" fmla="*/ 9806616 h 157287771"/>
              <a:gd name="connsiteX10" fmla="*/ 9810080 w 9810080"/>
              <a:gd name="connsiteY10" fmla="*/ 9899749 h 157287771"/>
              <a:gd name="connsiteX11" fmla="*/ 9810080 w 9810080"/>
              <a:gd name="connsiteY11" fmla="*/ 9899749 h 157287771"/>
              <a:gd name="connsiteX0" fmla="*/ 0 w 9810080"/>
              <a:gd name="connsiteY0" fmla="*/ 74214665 h 157287771"/>
              <a:gd name="connsiteX1" fmla="*/ 975896 w 9810080"/>
              <a:gd name="connsiteY1" fmla="*/ 147945341 h 157287771"/>
              <a:gd name="connsiteX2" fmla="*/ 1954685 w 9810080"/>
              <a:gd name="connsiteY2" fmla="*/ 74149474 h 157287771"/>
              <a:gd name="connsiteX3" fmla="*/ 2875880 w 9810080"/>
              <a:gd name="connsiteY3" fmla="*/ 147782777 h 157287771"/>
              <a:gd name="connsiteX4" fmla="*/ 3895784 w 9810080"/>
              <a:gd name="connsiteY4" fmla="*/ 147394171 h 157287771"/>
              <a:gd name="connsiteX5" fmla="*/ 4874572 w 9810080"/>
              <a:gd name="connsiteY5" fmla="*/ 65864889 h 157287771"/>
              <a:gd name="connsiteX6" fmla="*/ 5832453 w 9810080"/>
              <a:gd name="connsiteY6" fmla="*/ 121239968 h 157287771"/>
              <a:gd name="connsiteX7" fmla="*/ 6626449 w 9810080"/>
              <a:gd name="connsiteY7" fmla="*/ 8384215 h 157287771"/>
              <a:gd name="connsiteX8" fmla="*/ 7837346 w 9810080"/>
              <a:gd name="connsiteY8" fmla="*/ 8468882 h 157287771"/>
              <a:gd name="connsiteX9" fmla="*/ 8760213 w 9810080"/>
              <a:gd name="connsiteY9" fmla="*/ 9806616 h 157287771"/>
              <a:gd name="connsiteX10" fmla="*/ 9810080 w 9810080"/>
              <a:gd name="connsiteY10" fmla="*/ 9899749 h 157287771"/>
              <a:gd name="connsiteX11" fmla="*/ 9810080 w 9810080"/>
              <a:gd name="connsiteY11" fmla="*/ 9899749 h 157287771"/>
              <a:gd name="connsiteX0" fmla="*/ 0 w 9810080"/>
              <a:gd name="connsiteY0" fmla="*/ 76006170 h 159079276"/>
              <a:gd name="connsiteX1" fmla="*/ 975896 w 9810080"/>
              <a:gd name="connsiteY1" fmla="*/ 149736846 h 159079276"/>
              <a:gd name="connsiteX2" fmla="*/ 1954685 w 9810080"/>
              <a:gd name="connsiteY2" fmla="*/ 75940979 h 159079276"/>
              <a:gd name="connsiteX3" fmla="*/ 2875880 w 9810080"/>
              <a:gd name="connsiteY3" fmla="*/ 149574282 h 159079276"/>
              <a:gd name="connsiteX4" fmla="*/ 3895784 w 9810080"/>
              <a:gd name="connsiteY4" fmla="*/ 149185676 h 159079276"/>
              <a:gd name="connsiteX5" fmla="*/ 4874572 w 9810080"/>
              <a:gd name="connsiteY5" fmla="*/ 67656394 h 159079276"/>
              <a:gd name="connsiteX6" fmla="*/ 5814405 w 9810080"/>
              <a:gd name="connsiteY6" fmla="*/ 147217202 h 159079276"/>
              <a:gd name="connsiteX7" fmla="*/ 6626449 w 9810080"/>
              <a:gd name="connsiteY7" fmla="*/ 10175720 h 159079276"/>
              <a:gd name="connsiteX8" fmla="*/ 7837346 w 9810080"/>
              <a:gd name="connsiteY8" fmla="*/ 10260387 h 159079276"/>
              <a:gd name="connsiteX9" fmla="*/ 8760213 w 9810080"/>
              <a:gd name="connsiteY9" fmla="*/ 11598121 h 159079276"/>
              <a:gd name="connsiteX10" fmla="*/ 9810080 w 9810080"/>
              <a:gd name="connsiteY10" fmla="*/ 11691254 h 159079276"/>
              <a:gd name="connsiteX11" fmla="*/ 9810080 w 9810080"/>
              <a:gd name="connsiteY11" fmla="*/ 11691254 h 159079276"/>
              <a:gd name="connsiteX0" fmla="*/ 0 w 9810080"/>
              <a:gd name="connsiteY0" fmla="*/ 74002699 h 157075805"/>
              <a:gd name="connsiteX1" fmla="*/ 975896 w 9810080"/>
              <a:gd name="connsiteY1" fmla="*/ 147733375 h 157075805"/>
              <a:gd name="connsiteX2" fmla="*/ 1954685 w 9810080"/>
              <a:gd name="connsiteY2" fmla="*/ 73937508 h 157075805"/>
              <a:gd name="connsiteX3" fmla="*/ 2875880 w 9810080"/>
              <a:gd name="connsiteY3" fmla="*/ 147570811 h 157075805"/>
              <a:gd name="connsiteX4" fmla="*/ 3895784 w 9810080"/>
              <a:gd name="connsiteY4" fmla="*/ 147182205 h 157075805"/>
              <a:gd name="connsiteX5" fmla="*/ 4874572 w 9810080"/>
              <a:gd name="connsiteY5" fmla="*/ 65652923 h 157075805"/>
              <a:gd name="connsiteX6" fmla="*/ 5814405 w 9810080"/>
              <a:gd name="connsiteY6" fmla="*/ 145213731 h 157075805"/>
              <a:gd name="connsiteX7" fmla="*/ 6852049 w 9810080"/>
              <a:gd name="connsiteY7" fmla="*/ 124894683 h 157075805"/>
              <a:gd name="connsiteX8" fmla="*/ 7837346 w 9810080"/>
              <a:gd name="connsiteY8" fmla="*/ 8256916 h 157075805"/>
              <a:gd name="connsiteX9" fmla="*/ 8760213 w 9810080"/>
              <a:gd name="connsiteY9" fmla="*/ 9594650 h 157075805"/>
              <a:gd name="connsiteX10" fmla="*/ 9810080 w 9810080"/>
              <a:gd name="connsiteY10" fmla="*/ 9687783 h 157075805"/>
              <a:gd name="connsiteX11" fmla="*/ 9810080 w 9810080"/>
              <a:gd name="connsiteY11" fmla="*/ 9687783 h 157075805"/>
              <a:gd name="connsiteX0" fmla="*/ 0 w 9810080"/>
              <a:gd name="connsiteY0" fmla="*/ 74002699 h 157075805"/>
              <a:gd name="connsiteX1" fmla="*/ 975896 w 9810080"/>
              <a:gd name="connsiteY1" fmla="*/ 147733375 h 157075805"/>
              <a:gd name="connsiteX2" fmla="*/ 1954685 w 9810080"/>
              <a:gd name="connsiteY2" fmla="*/ 73937508 h 157075805"/>
              <a:gd name="connsiteX3" fmla="*/ 2875880 w 9810080"/>
              <a:gd name="connsiteY3" fmla="*/ 147570811 h 157075805"/>
              <a:gd name="connsiteX4" fmla="*/ 3895784 w 9810080"/>
              <a:gd name="connsiteY4" fmla="*/ 147182205 h 157075805"/>
              <a:gd name="connsiteX5" fmla="*/ 4874572 w 9810080"/>
              <a:gd name="connsiteY5" fmla="*/ 65652923 h 157075805"/>
              <a:gd name="connsiteX6" fmla="*/ 5814405 w 9810080"/>
              <a:gd name="connsiteY6" fmla="*/ 145213731 h 157075805"/>
              <a:gd name="connsiteX7" fmla="*/ 6852049 w 9810080"/>
              <a:gd name="connsiteY7" fmla="*/ 124894683 h 157075805"/>
              <a:gd name="connsiteX8" fmla="*/ 7837346 w 9810080"/>
              <a:gd name="connsiteY8" fmla="*/ 8256916 h 157075805"/>
              <a:gd name="connsiteX9" fmla="*/ 8760213 w 9810080"/>
              <a:gd name="connsiteY9" fmla="*/ 9594650 h 157075805"/>
              <a:gd name="connsiteX10" fmla="*/ 9810080 w 9810080"/>
              <a:gd name="connsiteY10" fmla="*/ 9687783 h 157075805"/>
              <a:gd name="connsiteX11" fmla="*/ 9810080 w 9810080"/>
              <a:gd name="connsiteY11" fmla="*/ 9687783 h 157075805"/>
              <a:gd name="connsiteX0" fmla="*/ 0 w 9810080"/>
              <a:gd name="connsiteY0" fmla="*/ 74080475 h 157153581"/>
              <a:gd name="connsiteX1" fmla="*/ 975896 w 9810080"/>
              <a:gd name="connsiteY1" fmla="*/ 147811151 h 157153581"/>
              <a:gd name="connsiteX2" fmla="*/ 1954685 w 9810080"/>
              <a:gd name="connsiteY2" fmla="*/ 74015284 h 157153581"/>
              <a:gd name="connsiteX3" fmla="*/ 2875880 w 9810080"/>
              <a:gd name="connsiteY3" fmla="*/ 147648587 h 157153581"/>
              <a:gd name="connsiteX4" fmla="*/ 3895784 w 9810080"/>
              <a:gd name="connsiteY4" fmla="*/ 147259981 h 157153581"/>
              <a:gd name="connsiteX5" fmla="*/ 4874572 w 9810080"/>
              <a:gd name="connsiteY5" fmla="*/ 65730699 h 157153581"/>
              <a:gd name="connsiteX6" fmla="*/ 5814405 w 9810080"/>
              <a:gd name="connsiteY6" fmla="*/ 145291507 h 157153581"/>
              <a:gd name="connsiteX7" fmla="*/ 6770833 w 9810080"/>
              <a:gd name="connsiteY7" fmla="*/ 126024012 h 157153581"/>
              <a:gd name="connsiteX8" fmla="*/ 7837346 w 9810080"/>
              <a:gd name="connsiteY8" fmla="*/ 8334692 h 157153581"/>
              <a:gd name="connsiteX9" fmla="*/ 8760213 w 9810080"/>
              <a:gd name="connsiteY9" fmla="*/ 9672426 h 157153581"/>
              <a:gd name="connsiteX10" fmla="*/ 9810080 w 9810080"/>
              <a:gd name="connsiteY10" fmla="*/ 9765559 h 157153581"/>
              <a:gd name="connsiteX11" fmla="*/ 9810080 w 9810080"/>
              <a:gd name="connsiteY11" fmla="*/ 9765559 h 157153581"/>
              <a:gd name="connsiteX0" fmla="*/ 0 w 9810080"/>
              <a:gd name="connsiteY0" fmla="*/ 70970085 h 154043191"/>
              <a:gd name="connsiteX1" fmla="*/ 975896 w 9810080"/>
              <a:gd name="connsiteY1" fmla="*/ 144700761 h 154043191"/>
              <a:gd name="connsiteX2" fmla="*/ 1954685 w 9810080"/>
              <a:gd name="connsiteY2" fmla="*/ 70904894 h 154043191"/>
              <a:gd name="connsiteX3" fmla="*/ 2875880 w 9810080"/>
              <a:gd name="connsiteY3" fmla="*/ 144538197 h 154043191"/>
              <a:gd name="connsiteX4" fmla="*/ 3895784 w 9810080"/>
              <a:gd name="connsiteY4" fmla="*/ 144149591 h 154043191"/>
              <a:gd name="connsiteX5" fmla="*/ 4874572 w 9810080"/>
              <a:gd name="connsiteY5" fmla="*/ 62620309 h 154043191"/>
              <a:gd name="connsiteX6" fmla="*/ 5814405 w 9810080"/>
              <a:gd name="connsiteY6" fmla="*/ 142181117 h 154043191"/>
              <a:gd name="connsiteX7" fmla="*/ 6806929 w 9810080"/>
              <a:gd name="connsiteY7" fmla="*/ 80851486 h 154043191"/>
              <a:gd name="connsiteX8" fmla="*/ 7837346 w 9810080"/>
              <a:gd name="connsiteY8" fmla="*/ 5224302 h 154043191"/>
              <a:gd name="connsiteX9" fmla="*/ 8760213 w 9810080"/>
              <a:gd name="connsiteY9" fmla="*/ 6562036 h 154043191"/>
              <a:gd name="connsiteX10" fmla="*/ 9810080 w 9810080"/>
              <a:gd name="connsiteY10" fmla="*/ 6655169 h 154043191"/>
              <a:gd name="connsiteX11" fmla="*/ 9810080 w 9810080"/>
              <a:gd name="connsiteY11" fmla="*/ 6655169 h 154043191"/>
              <a:gd name="connsiteX0" fmla="*/ 0 w 9810080"/>
              <a:gd name="connsiteY0" fmla="*/ 70003153 h 153076259"/>
              <a:gd name="connsiteX1" fmla="*/ 975896 w 9810080"/>
              <a:gd name="connsiteY1" fmla="*/ 143733829 h 153076259"/>
              <a:gd name="connsiteX2" fmla="*/ 1954685 w 9810080"/>
              <a:gd name="connsiteY2" fmla="*/ 69937962 h 153076259"/>
              <a:gd name="connsiteX3" fmla="*/ 2875880 w 9810080"/>
              <a:gd name="connsiteY3" fmla="*/ 143571265 h 153076259"/>
              <a:gd name="connsiteX4" fmla="*/ 3895784 w 9810080"/>
              <a:gd name="connsiteY4" fmla="*/ 143182659 h 153076259"/>
              <a:gd name="connsiteX5" fmla="*/ 4874572 w 9810080"/>
              <a:gd name="connsiteY5" fmla="*/ 61653377 h 153076259"/>
              <a:gd name="connsiteX6" fmla="*/ 5814405 w 9810080"/>
              <a:gd name="connsiteY6" fmla="*/ 141214185 h 153076259"/>
              <a:gd name="connsiteX7" fmla="*/ 6806929 w 9810080"/>
              <a:gd name="connsiteY7" fmla="*/ 79884554 h 153076259"/>
              <a:gd name="connsiteX8" fmla="*/ 7891490 w 9810080"/>
              <a:gd name="connsiteY8" fmla="*/ 81546560 h 153076259"/>
              <a:gd name="connsiteX9" fmla="*/ 8760213 w 9810080"/>
              <a:gd name="connsiteY9" fmla="*/ 5595104 h 153076259"/>
              <a:gd name="connsiteX10" fmla="*/ 9810080 w 9810080"/>
              <a:gd name="connsiteY10" fmla="*/ 5688237 h 153076259"/>
              <a:gd name="connsiteX11" fmla="*/ 9810080 w 9810080"/>
              <a:gd name="connsiteY11" fmla="*/ 5688237 h 153076259"/>
              <a:gd name="connsiteX0" fmla="*/ 0 w 9810080"/>
              <a:gd name="connsiteY0" fmla="*/ 70003153 h 153076259"/>
              <a:gd name="connsiteX1" fmla="*/ 975896 w 9810080"/>
              <a:gd name="connsiteY1" fmla="*/ 143733829 h 153076259"/>
              <a:gd name="connsiteX2" fmla="*/ 1954685 w 9810080"/>
              <a:gd name="connsiteY2" fmla="*/ 69937962 h 153076259"/>
              <a:gd name="connsiteX3" fmla="*/ 2875880 w 9810080"/>
              <a:gd name="connsiteY3" fmla="*/ 143571265 h 153076259"/>
              <a:gd name="connsiteX4" fmla="*/ 3895784 w 9810080"/>
              <a:gd name="connsiteY4" fmla="*/ 143182659 h 153076259"/>
              <a:gd name="connsiteX5" fmla="*/ 4874572 w 9810080"/>
              <a:gd name="connsiteY5" fmla="*/ 61653377 h 153076259"/>
              <a:gd name="connsiteX6" fmla="*/ 5814405 w 9810080"/>
              <a:gd name="connsiteY6" fmla="*/ 141214185 h 153076259"/>
              <a:gd name="connsiteX7" fmla="*/ 6806929 w 9810080"/>
              <a:gd name="connsiteY7" fmla="*/ 79884554 h 153076259"/>
              <a:gd name="connsiteX8" fmla="*/ 7891490 w 9810080"/>
              <a:gd name="connsiteY8" fmla="*/ 81546560 h 153076259"/>
              <a:gd name="connsiteX9" fmla="*/ 8760213 w 9810080"/>
              <a:gd name="connsiteY9" fmla="*/ 5595104 h 153076259"/>
              <a:gd name="connsiteX10" fmla="*/ 9810080 w 9810080"/>
              <a:gd name="connsiteY10" fmla="*/ 5688237 h 153076259"/>
              <a:gd name="connsiteX11" fmla="*/ 9810080 w 9810080"/>
              <a:gd name="connsiteY11" fmla="*/ 5688237 h 153076259"/>
              <a:gd name="connsiteX0" fmla="*/ 0 w 9810080"/>
              <a:gd name="connsiteY0" fmla="*/ 70197842 h 153270948"/>
              <a:gd name="connsiteX1" fmla="*/ 975896 w 9810080"/>
              <a:gd name="connsiteY1" fmla="*/ 143928518 h 153270948"/>
              <a:gd name="connsiteX2" fmla="*/ 1954685 w 9810080"/>
              <a:gd name="connsiteY2" fmla="*/ 70132651 h 153270948"/>
              <a:gd name="connsiteX3" fmla="*/ 2875880 w 9810080"/>
              <a:gd name="connsiteY3" fmla="*/ 143765954 h 153270948"/>
              <a:gd name="connsiteX4" fmla="*/ 3895784 w 9810080"/>
              <a:gd name="connsiteY4" fmla="*/ 143377348 h 153270948"/>
              <a:gd name="connsiteX5" fmla="*/ 4874572 w 9810080"/>
              <a:gd name="connsiteY5" fmla="*/ 61848066 h 153270948"/>
              <a:gd name="connsiteX6" fmla="*/ 5814405 w 9810080"/>
              <a:gd name="connsiteY6" fmla="*/ 141408874 h 153270948"/>
              <a:gd name="connsiteX7" fmla="*/ 6806929 w 9810080"/>
              <a:gd name="connsiteY7" fmla="*/ 80079243 h 153270948"/>
              <a:gd name="connsiteX8" fmla="*/ 7774179 w 9810080"/>
              <a:gd name="connsiteY8" fmla="*/ 84370132 h 153270948"/>
              <a:gd name="connsiteX9" fmla="*/ 8760213 w 9810080"/>
              <a:gd name="connsiteY9" fmla="*/ 5789793 h 153270948"/>
              <a:gd name="connsiteX10" fmla="*/ 9810080 w 9810080"/>
              <a:gd name="connsiteY10" fmla="*/ 5882926 h 153270948"/>
              <a:gd name="connsiteX11" fmla="*/ 9810080 w 9810080"/>
              <a:gd name="connsiteY11" fmla="*/ 5882926 h 153270948"/>
              <a:gd name="connsiteX0" fmla="*/ 0 w 9810080"/>
              <a:gd name="connsiteY0" fmla="*/ 64314939 h 160662568"/>
              <a:gd name="connsiteX1" fmla="*/ 975896 w 9810080"/>
              <a:gd name="connsiteY1" fmla="*/ 138045615 h 160662568"/>
              <a:gd name="connsiteX2" fmla="*/ 1954685 w 9810080"/>
              <a:gd name="connsiteY2" fmla="*/ 64249748 h 160662568"/>
              <a:gd name="connsiteX3" fmla="*/ 2875880 w 9810080"/>
              <a:gd name="connsiteY3" fmla="*/ 137883051 h 160662568"/>
              <a:gd name="connsiteX4" fmla="*/ 3895784 w 9810080"/>
              <a:gd name="connsiteY4" fmla="*/ 137494445 h 160662568"/>
              <a:gd name="connsiteX5" fmla="*/ 4874572 w 9810080"/>
              <a:gd name="connsiteY5" fmla="*/ 55965163 h 160662568"/>
              <a:gd name="connsiteX6" fmla="*/ 5814405 w 9810080"/>
              <a:gd name="connsiteY6" fmla="*/ 135525971 h 160662568"/>
              <a:gd name="connsiteX7" fmla="*/ 6806929 w 9810080"/>
              <a:gd name="connsiteY7" fmla="*/ 74196340 h 160662568"/>
              <a:gd name="connsiteX8" fmla="*/ 7774179 w 9810080"/>
              <a:gd name="connsiteY8" fmla="*/ 78487229 h 160662568"/>
              <a:gd name="connsiteX9" fmla="*/ 8769237 w 9810080"/>
              <a:gd name="connsiteY9" fmla="*/ 159217221 h 160662568"/>
              <a:gd name="connsiteX10" fmla="*/ 9810080 w 9810080"/>
              <a:gd name="connsiteY10" fmla="*/ 23 h 160662568"/>
              <a:gd name="connsiteX11" fmla="*/ 9810080 w 9810080"/>
              <a:gd name="connsiteY11" fmla="*/ 23 h 160662568"/>
              <a:gd name="connsiteX0" fmla="*/ 0 w 9810080"/>
              <a:gd name="connsiteY0" fmla="*/ 64314939 h 159436639"/>
              <a:gd name="connsiteX1" fmla="*/ 975896 w 9810080"/>
              <a:gd name="connsiteY1" fmla="*/ 138045615 h 159436639"/>
              <a:gd name="connsiteX2" fmla="*/ 1954685 w 9810080"/>
              <a:gd name="connsiteY2" fmla="*/ 64249748 h 159436639"/>
              <a:gd name="connsiteX3" fmla="*/ 2875880 w 9810080"/>
              <a:gd name="connsiteY3" fmla="*/ 137883051 h 159436639"/>
              <a:gd name="connsiteX4" fmla="*/ 3895784 w 9810080"/>
              <a:gd name="connsiteY4" fmla="*/ 137494445 h 159436639"/>
              <a:gd name="connsiteX5" fmla="*/ 4874572 w 9810080"/>
              <a:gd name="connsiteY5" fmla="*/ 55965163 h 159436639"/>
              <a:gd name="connsiteX6" fmla="*/ 5814405 w 9810080"/>
              <a:gd name="connsiteY6" fmla="*/ 135525971 h 159436639"/>
              <a:gd name="connsiteX7" fmla="*/ 6806929 w 9810080"/>
              <a:gd name="connsiteY7" fmla="*/ 74196340 h 159436639"/>
              <a:gd name="connsiteX8" fmla="*/ 7774179 w 9810080"/>
              <a:gd name="connsiteY8" fmla="*/ 78487229 h 159436639"/>
              <a:gd name="connsiteX9" fmla="*/ 8769237 w 9810080"/>
              <a:gd name="connsiteY9" fmla="*/ 159217221 h 159436639"/>
              <a:gd name="connsiteX10" fmla="*/ 9810080 w 9810080"/>
              <a:gd name="connsiteY10" fmla="*/ 23 h 159436639"/>
              <a:gd name="connsiteX11" fmla="*/ 9810080 w 9810080"/>
              <a:gd name="connsiteY11" fmla="*/ 23 h 159436639"/>
              <a:gd name="connsiteX0" fmla="*/ 0 w 9810080"/>
              <a:gd name="connsiteY0" fmla="*/ 64314939 h 159436639"/>
              <a:gd name="connsiteX1" fmla="*/ 975896 w 9810080"/>
              <a:gd name="connsiteY1" fmla="*/ 138045615 h 159436639"/>
              <a:gd name="connsiteX2" fmla="*/ 1954685 w 9810080"/>
              <a:gd name="connsiteY2" fmla="*/ 64249748 h 159436639"/>
              <a:gd name="connsiteX3" fmla="*/ 2875880 w 9810080"/>
              <a:gd name="connsiteY3" fmla="*/ 137883051 h 159436639"/>
              <a:gd name="connsiteX4" fmla="*/ 3895784 w 9810080"/>
              <a:gd name="connsiteY4" fmla="*/ 137494445 h 159436639"/>
              <a:gd name="connsiteX5" fmla="*/ 4874572 w 9810080"/>
              <a:gd name="connsiteY5" fmla="*/ 55965163 h 159436639"/>
              <a:gd name="connsiteX6" fmla="*/ 5814405 w 9810080"/>
              <a:gd name="connsiteY6" fmla="*/ 135525971 h 159436639"/>
              <a:gd name="connsiteX7" fmla="*/ 6806929 w 9810080"/>
              <a:gd name="connsiteY7" fmla="*/ 74196340 h 159436639"/>
              <a:gd name="connsiteX8" fmla="*/ 7774179 w 9810080"/>
              <a:gd name="connsiteY8" fmla="*/ 78487229 h 159436639"/>
              <a:gd name="connsiteX9" fmla="*/ 8769237 w 9810080"/>
              <a:gd name="connsiteY9" fmla="*/ 159217221 h 159436639"/>
              <a:gd name="connsiteX10" fmla="*/ 9810080 w 9810080"/>
              <a:gd name="connsiteY10" fmla="*/ 23 h 159436639"/>
              <a:gd name="connsiteX11" fmla="*/ 9810080 w 9810080"/>
              <a:gd name="connsiteY11" fmla="*/ 83072720 h 159436639"/>
              <a:gd name="connsiteX0" fmla="*/ 0 w 9810080"/>
              <a:gd name="connsiteY0" fmla="*/ 8350825 h 103316144"/>
              <a:gd name="connsiteX1" fmla="*/ 975896 w 9810080"/>
              <a:gd name="connsiteY1" fmla="*/ 82081501 h 103316144"/>
              <a:gd name="connsiteX2" fmla="*/ 1954685 w 9810080"/>
              <a:gd name="connsiteY2" fmla="*/ 8285634 h 103316144"/>
              <a:gd name="connsiteX3" fmla="*/ 2875880 w 9810080"/>
              <a:gd name="connsiteY3" fmla="*/ 81918937 h 103316144"/>
              <a:gd name="connsiteX4" fmla="*/ 3895784 w 9810080"/>
              <a:gd name="connsiteY4" fmla="*/ 81530331 h 103316144"/>
              <a:gd name="connsiteX5" fmla="*/ 4874572 w 9810080"/>
              <a:gd name="connsiteY5" fmla="*/ 1049 h 103316144"/>
              <a:gd name="connsiteX6" fmla="*/ 5814405 w 9810080"/>
              <a:gd name="connsiteY6" fmla="*/ 79561857 h 103316144"/>
              <a:gd name="connsiteX7" fmla="*/ 6806929 w 9810080"/>
              <a:gd name="connsiteY7" fmla="*/ 18232226 h 103316144"/>
              <a:gd name="connsiteX8" fmla="*/ 7774179 w 9810080"/>
              <a:gd name="connsiteY8" fmla="*/ 22523115 h 103316144"/>
              <a:gd name="connsiteX9" fmla="*/ 8769237 w 9810080"/>
              <a:gd name="connsiteY9" fmla="*/ 103253107 h 103316144"/>
              <a:gd name="connsiteX10" fmla="*/ 9593504 w 9810080"/>
              <a:gd name="connsiteY10" fmla="*/ 37098363 h 103316144"/>
              <a:gd name="connsiteX11" fmla="*/ 9810080 w 9810080"/>
              <a:gd name="connsiteY11" fmla="*/ 27108606 h 103316144"/>
              <a:gd name="connsiteX0" fmla="*/ 0 w 9593504"/>
              <a:gd name="connsiteY0" fmla="*/ 8350825 h 103316144"/>
              <a:gd name="connsiteX1" fmla="*/ 975896 w 9593504"/>
              <a:gd name="connsiteY1" fmla="*/ 82081501 h 103316144"/>
              <a:gd name="connsiteX2" fmla="*/ 1954685 w 9593504"/>
              <a:gd name="connsiteY2" fmla="*/ 8285634 h 103316144"/>
              <a:gd name="connsiteX3" fmla="*/ 2875880 w 9593504"/>
              <a:gd name="connsiteY3" fmla="*/ 81918937 h 103316144"/>
              <a:gd name="connsiteX4" fmla="*/ 3895784 w 9593504"/>
              <a:gd name="connsiteY4" fmla="*/ 81530331 h 103316144"/>
              <a:gd name="connsiteX5" fmla="*/ 4874572 w 9593504"/>
              <a:gd name="connsiteY5" fmla="*/ 1049 h 103316144"/>
              <a:gd name="connsiteX6" fmla="*/ 5814405 w 9593504"/>
              <a:gd name="connsiteY6" fmla="*/ 79561857 h 103316144"/>
              <a:gd name="connsiteX7" fmla="*/ 6806929 w 9593504"/>
              <a:gd name="connsiteY7" fmla="*/ 18232226 h 103316144"/>
              <a:gd name="connsiteX8" fmla="*/ 7774179 w 9593504"/>
              <a:gd name="connsiteY8" fmla="*/ 22523115 h 103316144"/>
              <a:gd name="connsiteX9" fmla="*/ 8769237 w 9593504"/>
              <a:gd name="connsiteY9" fmla="*/ 103253107 h 103316144"/>
              <a:gd name="connsiteX10" fmla="*/ 9593504 w 9593504"/>
              <a:gd name="connsiteY10" fmla="*/ 37098363 h 103316144"/>
              <a:gd name="connsiteX0" fmla="*/ 0 w 9873247"/>
              <a:gd name="connsiteY0" fmla="*/ 8350825 h 103287054"/>
              <a:gd name="connsiteX1" fmla="*/ 975896 w 9873247"/>
              <a:gd name="connsiteY1" fmla="*/ 82081501 h 103287054"/>
              <a:gd name="connsiteX2" fmla="*/ 1954685 w 9873247"/>
              <a:gd name="connsiteY2" fmla="*/ 8285634 h 103287054"/>
              <a:gd name="connsiteX3" fmla="*/ 2875880 w 9873247"/>
              <a:gd name="connsiteY3" fmla="*/ 81918937 h 103287054"/>
              <a:gd name="connsiteX4" fmla="*/ 3895784 w 9873247"/>
              <a:gd name="connsiteY4" fmla="*/ 81530331 h 103287054"/>
              <a:gd name="connsiteX5" fmla="*/ 4874572 w 9873247"/>
              <a:gd name="connsiteY5" fmla="*/ 1049 h 103287054"/>
              <a:gd name="connsiteX6" fmla="*/ 5814405 w 9873247"/>
              <a:gd name="connsiteY6" fmla="*/ 79561857 h 103287054"/>
              <a:gd name="connsiteX7" fmla="*/ 6806929 w 9873247"/>
              <a:gd name="connsiteY7" fmla="*/ 18232226 h 103287054"/>
              <a:gd name="connsiteX8" fmla="*/ 7774179 w 9873247"/>
              <a:gd name="connsiteY8" fmla="*/ 22523115 h 103287054"/>
              <a:gd name="connsiteX9" fmla="*/ 8769237 w 9873247"/>
              <a:gd name="connsiteY9" fmla="*/ 103253107 h 103287054"/>
              <a:gd name="connsiteX10" fmla="*/ 9873247 w 9873247"/>
              <a:gd name="connsiteY10" fmla="*/ 33417926 h 103287054"/>
              <a:gd name="connsiteX0" fmla="*/ 0 w 9846175"/>
              <a:gd name="connsiteY0" fmla="*/ 10159938 h 105230137"/>
              <a:gd name="connsiteX1" fmla="*/ 975896 w 9846175"/>
              <a:gd name="connsiteY1" fmla="*/ 83890614 h 105230137"/>
              <a:gd name="connsiteX2" fmla="*/ 1954685 w 9846175"/>
              <a:gd name="connsiteY2" fmla="*/ 10094747 h 105230137"/>
              <a:gd name="connsiteX3" fmla="*/ 2875880 w 9846175"/>
              <a:gd name="connsiteY3" fmla="*/ 83728050 h 105230137"/>
              <a:gd name="connsiteX4" fmla="*/ 3895784 w 9846175"/>
              <a:gd name="connsiteY4" fmla="*/ 83339444 h 105230137"/>
              <a:gd name="connsiteX5" fmla="*/ 4874572 w 9846175"/>
              <a:gd name="connsiteY5" fmla="*/ 1810162 h 105230137"/>
              <a:gd name="connsiteX6" fmla="*/ 5814405 w 9846175"/>
              <a:gd name="connsiteY6" fmla="*/ 81370970 h 105230137"/>
              <a:gd name="connsiteX7" fmla="*/ 6806929 w 9846175"/>
              <a:gd name="connsiteY7" fmla="*/ 20041339 h 105230137"/>
              <a:gd name="connsiteX8" fmla="*/ 7774179 w 9846175"/>
              <a:gd name="connsiteY8" fmla="*/ 24332228 h 105230137"/>
              <a:gd name="connsiteX9" fmla="*/ 8769237 w 9846175"/>
              <a:gd name="connsiteY9" fmla="*/ 105062220 h 105230137"/>
              <a:gd name="connsiteX10" fmla="*/ 9846175 w 9846175"/>
              <a:gd name="connsiteY10" fmla="*/ 0 h 105230137"/>
              <a:gd name="connsiteX0" fmla="*/ 0 w 9846175"/>
              <a:gd name="connsiteY0" fmla="*/ 10159938 h 105230137"/>
              <a:gd name="connsiteX1" fmla="*/ 1013157 w 9846175"/>
              <a:gd name="connsiteY1" fmla="*/ 12249300 h 105230137"/>
              <a:gd name="connsiteX2" fmla="*/ 1954685 w 9846175"/>
              <a:gd name="connsiteY2" fmla="*/ 10094747 h 105230137"/>
              <a:gd name="connsiteX3" fmla="*/ 2875880 w 9846175"/>
              <a:gd name="connsiteY3" fmla="*/ 83728050 h 105230137"/>
              <a:gd name="connsiteX4" fmla="*/ 3895784 w 9846175"/>
              <a:gd name="connsiteY4" fmla="*/ 83339444 h 105230137"/>
              <a:gd name="connsiteX5" fmla="*/ 4874572 w 9846175"/>
              <a:gd name="connsiteY5" fmla="*/ 1810162 h 105230137"/>
              <a:gd name="connsiteX6" fmla="*/ 5814405 w 9846175"/>
              <a:gd name="connsiteY6" fmla="*/ 81370970 h 105230137"/>
              <a:gd name="connsiteX7" fmla="*/ 6806929 w 9846175"/>
              <a:gd name="connsiteY7" fmla="*/ 20041339 h 105230137"/>
              <a:gd name="connsiteX8" fmla="*/ 7774179 w 9846175"/>
              <a:gd name="connsiteY8" fmla="*/ 24332228 h 105230137"/>
              <a:gd name="connsiteX9" fmla="*/ 8769237 w 9846175"/>
              <a:gd name="connsiteY9" fmla="*/ 105062220 h 105230137"/>
              <a:gd name="connsiteX10" fmla="*/ 9846175 w 9846175"/>
              <a:gd name="connsiteY10" fmla="*/ 0 h 105230137"/>
              <a:gd name="connsiteX0" fmla="*/ 0 w 9846175"/>
              <a:gd name="connsiteY0" fmla="*/ 10159938 h 105230137"/>
              <a:gd name="connsiteX1" fmla="*/ 1013157 w 9846175"/>
              <a:gd name="connsiteY1" fmla="*/ 12249300 h 105230137"/>
              <a:gd name="connsiteX2" fmla="*/ 1954685 w 9846175"/>
              <a:gd name="connsiteY2" fmla="*/ 10094747 h 105230137"/>
              <a:gd name="connsiteX3" fmla="*/ 2894510 w 9846175"/>
              <a:gd name="connsiteY3" fmla="*/ 13714961 h 105230137"/>
              <a:gd name="connsiteX4" fmla="*/ 3895784 w 9846175"/>
              <a:gd name="connsiteY4" fmla="*/ 83339444 h 105230137"/>
              <a:gd name="connsiteX5" fmla="*/ 4874572 w 9846175"/>
              <a:gd name="connsiteY5" fmla="*/ 1810162 h 105230137"/>
              <a:gd name="connsiteX6" fmla="*/ 5814405 w 9846175"/>
              <a:gd name="connsiteY6" fmla="*/ 81370970 h 105230137"/>
              <a:gd name="connsiteX7" fmla="*/ 6806929 w 9846175"/>
              <a:gd name="connsiteY7" fmla="*/ 20041339 h 105230137"/>
              <a:gd name="connsiteX8" fmla="*/ 7774179 w 9846175"/>
              <a:gd name="connsiteY8" fmla="*/ 24332228 h 105230137"/>
              <a:gd name="connsiteX9" fmla="*/ 8769237 w 9846175"/>
              <a:gd name="connsiteY9" fmla="*/ 105062220 h 105230137"/>
              <a:gd name="connsiteX10" fmla="*/ 9846175 w 9846175"/>
              <a:gd name="connsiteY10" fmla="*/ 0 h 105230137"/>
              <a:gd name="connsiteX0" fmla="*/ 0 w 9846175"/>
              <a:gd name="connsiteY0" fmla="*/ 12014812 h 107085011"/>
              <a:gd name="connsiteX1" fmla="*/ 1013157 w 9846175"/>
              <a:gd name="connsiteY1" fmla="*/ 14104174 h 107085011"/>
              <a:gd name="connsiteX2" fmla="*/ 1954685 w 9846175"/>
              <a:gd name="connsiteY2" fmla="*/ 11949621 h 107085011"/>
              <a:gd name="connsiteX3" fmla="*/ 2894510 w 9846175"/>
              <a:gd name="connsiteY3" fmla="*/ 15569835 h 107085011"/>
              <a:gd name="connsiteX4" fmla="*/ 3849208 w 9846175"/>
              <a:gd name="connsiteY4" fmla="*/ 13553006 h 107085011"/>
              <a:gd name="connsiteX5" fmla="*/ 4874572 w 9846175"/>
              <a:gd name="connsiteY5" fmla="*/ 3665036 h 107085011"/>
              <a:gd name="connsiteX6" fmla="*/ 5814405 w 9846175"/>
              <a:gd name="connsiteY6" fmla="*/ 83225844 h 107085011"/>
              <a:gd name="connsiteX7" fmla="*/ 6806929 w 9846175"/>
              <a:gd name="connsiteY7" fmla="*/ 21896213 h 107085011"/>
              <a:gd name="connsiteX8" fmla="*/ 7774179 w 9846175"/>
              <a:gd name="connsiteY8" fmla="*/ 26187102 h 107085011"/>
              <a:gd name="connsiteX9" fmla="*/ 8769237 w 9846175"/>
              <a:gd name="connsiteY9" fmla="*/ 106917094 h 107085011"/>
              <a:gd name="connsiteX10" fmla="*/ 9846175 w 9846175"/>
              <a:gd name="connsiteY10" fmla="*/ 1854874 h 107085011"/>
              <a:gd name="connsiteX0" fmla="*/ 0 w 9846175"/>
              <a:gd name="connsiteY0" fmla="*/ 10159938 h 105230137"/>
              <a:gd name="connsiteX1" fmla="*/ 1013157 w 9846175"/>
              <a:gd name="connsiteY1" fmla="*/ 12249300 h 105230137"/>
              <a:gd name="connsiteX2" fmla="*/ 1954685 w 9846175"/>
              <a:gd name="connsiteY2" fmla="*/ 10094747 h 105230137"/>
              <a:gd name="connsiteX3" fmla="*/ 2894510 w 9846175"/>
              <a:gd name="connsiteY3" fmla="*/ 13714961 h 105230137"/>
              <a:gd name="connsiteX4" fmla="*/ 3849208 w 9846175"/>
              <a:gd name="connsiteY4" fmla="*/ 11698132 h 105230137"/>
              <a:gd name="connsiteX5" fmla="*/ 4874572 w 9846175"/>
              <a:gd name="connsiteY5" fmla="*/ 1810162 h 105230137"/>
              <a:gd name="connsiteX6" fmla="*/ 5898240 w 9846175"/>
              <a:gd name="connsiteY6" fmla="*/ 9729657 h 105230137"/>
              <a:gd name="connsiteX7" fmla="*/ 6806929 w 9846175"/>
              <a:gd name="connsiteY7" fmla="*/ 20041339 h 105230137"/>
              <a:gd name="connsiteX8" fmla="*/ 7774179 w 9846175"/>
              <a:gd name="connsiteY8" fmla="*/ 24332228 h 105230137"/>
              <a:gd name="connsiteX9" fmla="*/ 8769237 w 9846175"/>
              <a:gd name="connsiteY9" fmla="*/ 105062220 h 105230137"/>
              <a:gd name="connsiteX10" fmla="*/ 9846175 w 9846175"/>
              <a:gd name="connsiteY10" fmla="*/ 0 h 105230137"/>
              <a:gd name="connsiteX0" fmla="*/ 0 w 9846175"/>
              <a:gd name="connsiteY0" fmla="*/ 10159938 h 105234553"/>
              <a:gd name="connsiteX1" fmla="*/ 1013157 w 9846175"/>
              <a:gd name="connsiteY1" fmla="*/ 12249300 h 105234553"/>
              <a:gd name="connsiteX2" fmla="*/ 1954685 w 9846175"/>
              <a:gd name="connsiteY2" fmla="*/ 10094747 h 105234553"/>
              <a:gd name="connsiteX3" fmla="*/ 2894510 w 9846175"/>
              <a:gd name="connsiteY3" fmla="*/ 13714961 h 105234553"/>
              <a:gd name="connsiteX4" fmla="*/ 3849208 w 9846175"/>
              <a:gd name="connsiteY4" fmla="*/ 11698132 h 105234553"/>
              <a:gd name="connsiteX5" fmla="*/ 4874572 w 9846175"/>
              <a:gd name="connsiteY5" fmla="*/ 1810162 h 105234553"/>
              <a:gd name="connsiteX6" fmla="*/ 5898240 w 9846175"/>
              <a:gd name="connsiteY6" fmla="*/ 9729657 h 105234553"/>
              <a:gd name="connsiteX7" fmla="*/ 6806929 w 9846175"/>
              <a:gd name="connsiteY7" fmla="*/ 8643824 h 105234553"/>
              <a:gd name="connsiteX8" fmla="*/ 7774179 w 9846175"/>
              <a:gd name="connsiteY8" fmla="*/ 24332228 h 105234553"/>
              <a:gd name="connsiteX9" fmla="*/ 8769237 w 9846175"/>
              <a:gd name="connsiteY9" fmla="*/ 105062220 h 105234553"/>
              <a:gd name="connsiteX10" fmla="*/ 9846175 w 9846175"/>
              <a:gd name="connsiteY10" fmla="*/ 0 h 105234553"/>
              <a:gd name="connsiteX0" fmla="*/ 0 w 9846175"/>
              <a:gd name="connsiteY0" fmla="*/ 11334311 h 106372825"/>
              <a:gd name="connsiteX1" fmla="*/ 1013157 w 9846175"/>
              <a:gd name="connsiteY1" fmla="*/ 13423673 h 106372825"/>
              <a:gd name="connsiteX2" fmla="*/ 1954685 w 9846175"/>
              <a:gd name="connsiteY2" fmla="*/ 11269120 h 106372825"/>
              <a:gd name="connsiteX3" fmla="*/ 2894510 w 9846175"/>
              <a:gd name="connsiteY3" fmla="*/ 14889334 h 106372825"/>
              <a:gd name="connsiteX4" fmla="*/ 3849208 w 9846175"/>
              <a:gd name="connsiteY4" fmla="*/ 12872505 h 106372825"/>
              <a:gd name="connsiteX5" fmla="*/ 4874572 w 9846175"/>
              <a:gd name="connsiteY5" fmla="*/ 2984535 h 106372825"/>
              <a:gd name="connsiteX6" fmla="*/ 5898240 w 9846175"/>
              <a:gd name="connsiteY6" fmla="*/ 10904030 h 106372825"/>
              <a:gd name="connsiteX7" fmla="*/ 6806929 w 9846175"/>
              <a:gd name="connsiteY7" fmla="*/ 9818197 h 106372825"/>
              <a:gd name="connsiteX8" fmla="*/ 7792808 w 9846175"/>
              <a:gd name="connsiteY8" fmla="*/ 6510744 h 106372825"/>
              <a:gd name="connsiteX9" fmla="*/ 8769237 w 9846175"/>
              <a:gd name="connsiteY9" fmla="*/ 106236593 h 106372825"/>
              <a:gd name="connsiteX10" fmla="*/ 9846175 w 9846175"/>
              <a:gd name="connsiteY10" fmla="*/ 1174373 h 106372825"/>
              <a:gd name="connsiteX0" fmla="*/ 0 w 9846175"/>
              <a:gd name="connsiteY0" fmla="*/ 10159938 h 13798313"/>
              <a:gd name="connsiteX1" fmla="*/ 1013157 w 9846175"/>
              <a:gd name="connsiteY1" fmla="*/ 12249300 h 13798313"/>
              <a:gd name="connsiteX2" fmla="*/ 1954685 w 9846175"/>
              <a:gd name="connsiteY2" fmla="*/ 10094747 h 13798313"/>
              <a:gd name="connsiteX3" fmla="*/ 2894510 w 9846175"/>
              <a:gd name="connsiteY3" fmla="*/ 13714961 h 13798313"/>
              <a:gd name="connsiteX4" fmla="*/ 3849208 w 9846175"/>
              <a:gd name="connsiteY4" fmla="*/ 11698132 h 13798313"/>
              <a:gd name="connsiteX5" fmla="*/ 4874572 w 9846175"/>
              <a:gd name="connsiteY5" fmla="*/ 1810162 h 13798313"/>
              <a:gd name="connsiteX6" fmla="*/ 5898240 w 9846175"/>
              <a:gd name="connsiteY6" fmla="*/ 9729657 h 13798313"/>
              <a:gd name="connsiteX7" fmla="*/ 6806929 w 9846175"/>
              <a:gd name="connsiteY7" fmla="*/ 8643824 h 13798313"/>
              <a:gd name="connsiteX8" fmla="*/ 7792808 w 9846175"/>
              <a:gd name="connsiteY8" fmla="*/ 5336371 h 13798313"/>
              <a:gd name="connsiteX9" fmla="*/ 8834443 w 9846175"/>
              <a:gd name="connsiteY9" fmla="*/ 7369485 h 13798313"/>
              <a:gd name="connsiteX10" fmla="*/ 9846175 w 9846175"/>
              <a:gd name="connsiteY10" fmla="*/ 0 h 13798313"/>
              <a:gd name="connsiteX0" fmla="*/ 0 w 9959171"/>
              <a:gd name="connsiteY0" fmla="*/ 204565672 h 204565672"/>
              <a:gd name="connsiteX1" fmla="*/ 1126153 w 9959171"/>
              <a:gd name="connsiteY1" fmla="*/ 14851688 h 204565672"/>
              <a:gd name="connsiteX2" fmla="*/ 2067681 w 9959171"/>
              <a:gd name="connsiteY2" fmla="*/ 12697135 h 204565672"/>
              <a:gd name="connsiteX3" fmla="*/ 3007506 w 9959171"/>
              <a:gd name="connsiteY3" fmla="*/ 16317349 h 204565672"/>
              <a:gd name="connsiteX4" fmla="*/ 3962204 w 9959171"/>
              <a:gd name="connsiteY4" fmla="*/ 14300520 h 204565672"/>
              <a:gd name="connsiteX5" fmla="*/ 4987568 w 9959171"/>
              <a:gd name="connsiteY5" fmla="*/ 4412550 h 204565672"/>
              <a:gd name="connsiteX6" fmla="*/ 6011236 w 9959171"/>
              <a:gd name="connsiteY6" fmla="*/ 12332045 h 204565672"/>
              <a:gd name="connsiteX7" fmla="*/ 6919925 w 9959171"/>
              <a:gd name="connsiteY7" fmla="*/ 11246212 h 204565672"/>
              <a:gd name="connsiteX8" fmla="*/ 7905804 w 9959171"/>
              <a:gd name="connsiteY8" fmla="*/ 7938759 h 204565672"/>
              <a:gd name="connsiteX9" fmla="*/ 8947439 w 9959171"/>
              <a:gd name="connsiteY9" fmla="*/ 9971873 h 204565672"/>
              <a:gd name="connsiteX10" fmla="*/ 9959171 w 9959171"/>
              <a:gd name="connsiteY10" fmla="*/ 2602388 h 204565672"/>
              <a:gd name="connsiteX0" fmla="*/ 0 w 9959171"/>
              <a:gd name="connsiteY0" fmla="*/ 203488175 h 205210846"/>
              <a:gd name="connsiteX1" fmla="*/ 990557 w 9959171"/>
              <a:gd name="connsiteY1" fmla="*/ 183193139 h 205210846"/>
              <a:gd name="connsiteX2" fmla="*/ 2067681 w 9959171"/>
              <a:gd name="connsiteY2" fmla="*/ 11619638 h 205210846"/>
              <a:gd name="connsiteX3" fmla="*/ 3007506 w 9959171"/>
              <a:gd name="connsiteY3" fmla="*/ 15239852 h 205210846"/>
              <a:gd name="connsiteX4" fmla="*/ 3962204 w 9959171"/>
              <a:gd name="connsiteY4" fmla="*/ 13223023 h 205210846"/>
              <a:gd name="connsiteX5" fmla="*/ 4987568 w 9959171"/>
              <a:gd name="connsiteY5" fmla="*/ 3335053 h 205210846"/>
              <a:gd name="connsiteX6" fmla="*/ 6011236 w 9959171"/>
              <a:gd name="connsiteY6" fmla="*/ 11254548 h 205210846"/>
              <a:gd name="connsiteX7" fmla="*/ 6919925 w 9959171"/>
              <a:gd name="connsiteY7" fmla="*/ 10168715 h 205210846"/>
              <a:gd name="connsiteX8" fmla="*/ 7905804 w 9959171"/>
              <a:gd name="connsiteY8" fmla="*/ 6861262 h 205210846"/>
              <a:gd name="connsiteX9" fmla="*/ 8947439 w 9959171"/>
              <a:gd name="connsiteY9" fmla="*/ 8894376 h 205210846"/>
              <a:gd name="connsiteX10" fmla="*/ 9959171 w 9959171"/>
              <a:gd name="connsiteY10" fmla="*/ 1524891 h 205210846"/>
              <a:gd name="connsiteX0" fmla="*/ 0 w 9959171"/>
              <a:gd name="connsiteY0" fmla="*/ 203488175 h 203488175"/>
              <a:gd name="connsiteX1" fmla="*/ 990557 w 9959171"/>
              <a:gd name="connsiteY1" fmla="*/ 183193139 h 203488175"/>
              <a:gd name="connsiteX2" fmla="*/ 2067681 w 9959171"/>
              <a:gd name="connsiteY2" fmla="*/ 11619638 h 203488175"/>
              <a:gd name="connsiteX3" fmla="*/ 3007506 w 9959171"/>
              <a:gd name="connsiteY3" fmla="*/ 15239852 h 203488175"/>
              <a:gd name="connsiteX4" fmla="*/ 3962204 w 9959171"/>
              <a:gd name="connsiteY4" fmla="*/ 13223023 h 203488175"/>
              <a:gd name="connsiteX5" fmla="*/ 4987568 w 9959171"/>
              <a:gd name="connsiteY5" fmla="*/ 3335053 h 203488175"/>
              <a:gd name="connsiteX6" fmla="*/ 6011236 w 9959171"/>
              <a:gd name="connsiteY6" fmla="*/ 11254548 h 203488175"/>
              <a:gd name="connsiteX7" fmla="*/ 6919925 w 9959171"/>
              <a:gd name="connsiteY7" fmla="*/ 10168715 h 203488175"/>
              <a:gd name="connsiteX8" fmla="*/ 7905804 w 9959171"/>
              <a:gd name="connsiteY8" fmla="*/ 6861262 h 203488175"/>
              <a:gd name="connsiteX9" fmla="*/ 8947439 w 9959171"/>
              <a:gd name="connsiteY9" fmla="*/ 8894376 h 203488175"/>
              <a:gd name="connsiteX10" fmla="*/ 9959171 w 9959171"/>
              <a:gd name="connsiteY10" fmla="*/ 1524891 h 203488175"/>
              <a:gd name="connsiteX0" fmla="*/ 0 w 9959171"/>
              <a:gd name="connsiteY0" fmla="*/ 203941419 h 203941419"/>
              <a:gd name="connsiteX1" fmla="*/ 922760 w 9959171"/>
              <a:gd name="connsiteY1" fmla="*/ 189791098 h 203941419"/>
              <a:gd name="connsiteX2" fmla="*/ 2067681 w 9959171"/>
              <a:gd name="connsiteY2" fmla="*/ 12072882 h 203941419"/>
              <a:gd name="connsiteX3" fmla="*/ 3007506 w 9959171"/>
              <a:gd name="connsiteY3" fmla="*/ 15693096 h 203941419"/>
              <a:gd name="connsiteX4" fmla="*/ 3962204 w 9959171"/>
              <a:gd name="connsiteY4" fmla="*/ 13676267 h 203941419"/>
              <a:gd name="connsiteX5" fmla="*/ 4987568 w 9959171"/>
              <a:gd name="connsiteY5" fmla="*/ 3788297 h 203941419"/>
              <a:gd name="connsiteX6" fmla="*/ 6011236 w 9959171"/>
              <a:gd name="connsiteY6" fmla="*/ 11707792 h 203941419"/>
              <a:gd name="connsiteX7" fmla="*/ 6919925 w 9959171"/>
              <a:gd name="connsiteY7" fmla="*/ 10621959 h 203941419"/>
              <a:gd name="connsiteX8" fmla="*/ 7905804 w 9959171"/>
              <a:gd name="connsiteY8" fmla="*/ 7314506 h 203941419"/>
              <a:gd name="connsiteX9" fmla="*/ 8947439 w 9959171"/>
              <a:gd name="connsiteY9" fmla="*/ 9347620 h 203941419"/>
              <a:gd name="connsiteX10" fmla="*/ 9959171 w 9959171"/>
              <a:gd name="connsiteY10" fmla="*/ 1978135 h 203941419"/>
              <a:gd name="connsiteX0" fmla="*/ 0 w 9959171"/>
              <a:gd name="connsiteY0" fmla="*/ 203941419 h 203941419"/>
              <a:gd name="connsiteX1" fmla="*/ 922760 w 9959171"/>
              <a:gd name="connsiteY1" fmla="*/ 189791098 h 203941419"/>
              <a:gd name="connsiteX2" fmla="*/ 2067681 w 9959171"/>
              <a:gd name="connsiteY2" fmla="*/ 12072882 h 203941419"/>
              <a:gd name="connsiteX3" fmla="*/ 3007506 w 9959171"/>
              <a:gd name="connsiteY3" fmla="*/ 15693096 h 203941419"/>
              <a:gd name="connsiteX4" fmla="*/ 3962204 w 9959171"/>
              <a:gd name="connsiteY4" fmla="*/ 13676267 h 203941419"/>
              <a:gd name="connsiteX5" fmla="*/ 4987568 w 9959171"/>
              <a:gd name="connsiteY5" fmla="*/ 3788297 h 203941419"/>
              <a:gd name="connsiteX6" fmla="*/ 6011236 w 9959171"/>
              <a:gd name="connsiteY6" fmla="*/ 11707792 h 203941419"/>
              <a:gd name="connsiteX7" fmla="*/ 6919925 w 9959171"/>
              <a:gd name="connsiteY7" fmla="*/ 10621959 h 203941419"/>
              <a:gd name="connsiteX8" fmla="*/ 7905804 w 9959171"/>
              <a:gd name="connsiteY8" fmla="*/ 7314506 h 203941419"/>
              <a:gd name="connsiteX9" fmla="*/ 8947439 w 9959171"/>
              <a:gd name="connsiteY9" fmla="*/ 9347620 h 203941419"/>
              <a:gd name="connsiteX10" fmla="*/ 9959171 w 9959171"/>
              <a:gd name="connsiteY10" fmla="*/ 1978135 h 203941419"/>
              <a:gd name="connsiteX0" fmla="*/ 0 w 9959171"/>
              <a:gd name="connsiteY0" fmla="*/ 201963284 h 201963284"/>
              <a:gd name="connsiteX1" fmla="*/ 922760 w 9959171"/>
              <a:gd name="connsiteY1" fmla="*/ 187812963 h 201963284"/>
              <a:gd name="connsiteX2" fmla="*/ 2060148 w 9959171"/>
              <a:gd name="connsiteY2" fmla="*/ 107093679 h 201963284"/>
              <a:gd name="connsiteX3" fmla="*/ 3007506 w 9959171"/>
              <a:gd name="connsiteY3" fmla="*/ 13714961 h 201963284"/>
              <a:gd name="connsiteX4" fmla="*/ 3962204 w 9959171"/>
              <a:gd name="connsiteY4" fmla="*/ 11698132 h 201963284"/>
              <a:gd name="connsiteX5" fmla="*/ 4987568 w 9959171"/>
              <a:gd name="connsiteY5" fmla="*/ 1810162 h 201963284"/>
              <a:gd name="connsiteX6" fmla="*/ 6011236 w 9959171"/>
              <a:gd name="connsiteY6" fmla="*/ 9729657 h 201963284"/>
              <a:gd name="connsiteX7" fmla="*/ 6919925 w 9959171"/>
              <a:gd name="connsiteY7" fmla="*/ 8643824 h 201963284"/>
              <a:gd name="connsiteX8" fmla="*/ 7905804 w 9959171"/>
              <a:gd name="connsiteY8" fmla="*/ 5336371 h 201963284"/>
              <a:gd name="connsiteX9" fmla="*/ 8947439 w 9959171"/>
              <a:gd name="connsiteY9" fmla="*/ 7369485 h 201963284"/>
              <a:gd name="connsiteX10" fmla="*/ 9959171 w 9959171"/>
              <a:gd name="connsiteY10" fmla="*/ 0 h 201963284"/>
              <a:gd name="connsiteX0" fmla="*/ 0 w 9959171"/>
              <a:gd name="connsiteY0" fmla="*/ 201963284 h 201963284"/>
              <a:gd name="connsiteX1" fmla="*/ 922760 w 9959171"/>
              <a:gd name="connsiteY1" fmla="*/ 187812963 h 201963284"/>
              <a:gd name="connsiteX2" fmla="*/ 2060148 w 9959171"/>
              <a:gd name="connsiteY2" fmla="*/ 107093679 h 201963284"/>
              <a:gd name="connsiteX3" fmla="*/ 3007506 w 9959171"/>
              <a:gd name="connsiteY3" fmla="*/ 13714961 h 201963284"/>
              <a:gd name="connsiteX4" fmla="*/ 3962204 w 9959171"/>
              <a:gd name="connsiteY4" fmla="*/ 11698132 h 201963284"/>
              <a:gd name="connsiteX5" fmla="*/ 4987568 w 9959171"/>
              <a:gd name="connsiteY5" fmla="*/ 1810162 h 201963284"/>
              <a:gd name="connsiteX6" fmla="*/ 6011236 w 9959171"/>
              <a:gd name="connsiteY6" fmla="*/ 9729657 h 201963284"/>
              <a:gd name="connsiteX7" fmla="*/ 6919925 w 9959171"/>
              <a:gd name="connsiteY7" fmla="*/ 8643824 h 201963284"/>
              <a:gd name="connsiteX8" fmla="*/ 7905804 w 9959171"/>
              <a:gd name="connsiteY8" fmla="*/ 5336371 h 201963284"/>
              <a:gd name="connsiteX9" fmla="*/ 8947439 w 9959171"/>
              <a:gd name="connsiteY9" fmla="*/ 7369485 h 201963284"/>
              <a:gd name="connsiteX10" fmla="*/ 9959171 w 9959171"/>
              <a:gd name="connsiteY10" fmla="*/ 0 h 201963284"/>
              <a:gd name="connsiteX0" fmla="*/ 0 w 9959171"/>
              <a:gd name="connsiteY0" fmla="*/ 201963284 h 201963284"/>
              <a:gd name="connsiteX1" fmla="*/ 922760 w 9959171"/>
              <a:gd name="connsiteY1" fmla="*/ 187812963 h 201963284"/>
              <a:gd name="connsiteX2" fmla="*/ 1834156 w 9959171"/>
              <a:gd name="connsiteY2" fmla="*/ 185658465 h 201963284"/>
              <a:gd name="connsiteX3" fmla="*/ 3007506 w 9959171"/>
              <a:gd name="connsiteY3" fmla="*/ 13714961 h 201963284"/>
              <a:gd name="connsiteX4" fmla="*/ 3962204 w 9959171"/>
              <a:gd name="connsiteY4" fmla="*/ 11698132 h 201963284"/>
              <a:gd name="connsiteX5" fmla="*/ 4987568 w 9959171"/>
              <a:gd name="connsiteY5" fmla="*/ 1810162 h 201963284"/>
              <a:gd name="connsiteX6" fmla="*/ 6011236 w 9959171"/>
              <a:gd name="connsiteY6" fmla="*/ 9729657 h 201963284"/>
              <a:gd name="connsiteX7" fmla="*/ 6919925 w 9959171"/>
              <a:gd name="connsiteY7" fmla="*/ 8643824 h 201963284"/>
              <a:gd name="connsiteX8" fmla="*/ 7905804 w 9959171"/>
              <a:gd name="connsiteY8" fmla="*/ 5336371 h 201963284"/>
              <a:gd name="connsiteX9" fmla="*/ 8947439 w 9959171"/>
              <a:gd name="connsiteY9" fmla="*/ 7369485 h 201963284"/>
              <a:gd name="connsiteX10" fmla="*/ 9959171 w 9959171"/>
              <a:gd name="connsiteY10" fmla="*/ 0 h 201963284"/>
              <a:gd name="connsiteX0" fmla="*/ 0 w 9959171"/>
              <a:gd name="connsiteY0" fmla="*/ 201963284 h 201963284"/>
              <a:gd name="connsiteX1" fmla="*/ 922760 w 9959171"/>
              <a:gd name="connsiteY1" fmla="*/ 187812963 h 201963284"/>
              <a:gd name="connsiteX2" fmla="*/ 1834156 w 9959171"/>
              <a:gd name="connsiteY2" fmla="*/ 185658465 h 201963284"/>
              <a:gd name="connsiteX3" fmla="*/ 3007506 w 9959171"/>
              <a:gd name="connsiteY3" fmla="*/ 13714961 h 201963284"/>
              <a:gd name="connsiteX4" fmla="*/ 3962204 w 9959171"/>
              <a:gd name="connsiteY4" fmla="*/ 11698132 h 201963284"/>
              <a:gd name="connsiteX5" fmla="*/ 4987568 w 9959171"/>
              <a:gd name="connsiteY5" fmla="*/ 1810162 h 201963284"/>
              <a:gd name="connsiteX6" fmla="*/ 6011236 w 9959171"/>
              <a:gd name="connsiteY6" fmla="*/ 9729657 h 201963284"/>
              <a:gd name="connsiteX7" fmla="*/ 6919925 w 9959171"/>
              <a:gd name="connsiteY7" fmla="*/ 8643824 h 201963284"/>
              <a:gd name="connsiteX8" fmla="*/ 7905804 w 9959171"/>
              <a:gd name="connsiteY8" fmla="*/ 5336371 h 201963284"/>
              <a:gd name="connsiteX9" fmla="*/ 8947439 w 9959171"/>
              <a:gd name="connsiteY9" fmla="*/ 7369485 h 201963284"/>
              <a:gd name="connsiteX10" fmla="*/ 9959171 w 9959171"/>
              <a:gd name="connsiteY10" fmla="*/ 0 h 201963284"/>
              <a:gd name="connsiteX0" fmla="*/ 0 w 9959171"/>
              <a:gd name="connsiteY0" fmla="*/ 210498751 h 251246916"/>
              <a:gd name="connsiteX1" fmla="*/ 922760 w 9959171"/>
              <a:gd name="connsiteY1" fmla="*/ 196348430 h 251246916"/>
              <a:gd name="connsiteX2" fmla="*/ 1834156 w 9959171"/>
              <a:gd name="connsiteY2" fmla="*/ 194193932 h 251246916"/>
              <a:gd name="connsiteX3" fmla="*/ 2841778 w 9959171"/>
              <a:gd name="connsiteY3" fmla="*/ 244338513 h 251246916"/>
              <a:gd name="connsiteX4" fmla="*/ 3962204 w 9959171"/>
              <a:gd name="connsiteY4" fmla="*/ 20233599 h 251246916"/>
              <a:gd name="connsiteX5" fmla="*/ 4987568 w 9959171"/>
              <a:gd name="connsiteY5" fmla="*/ 10345629 h 251246916"/>
              <a:gd name="connsiteX6" fmla="*/ 6011236 w 9959171"/>
              <a:gd name="connsiteY6" fmla="*/ 18265124 h 251246916"/>
              <a:gd name="connsiteX7" fmla="*/ 6919925 w 9959171"/>
              <a:gd name="connsiteY7" fmla="*/ 17179291 h 251246916"/>
              <a:gd name="connsiteX8" fmla="*/ 7905804 w 9959171"/>
              <a:gd name="connsiteY8" fmla="*/ 13871838 h 251246916"/>
              <a:gd name="connsiteX9" fmla="*/ 8947439 w 9959171"/>
              <a:gd name="connsiteY9" fmla="*/ 15904952 h 251246916"/>
              <a:gd name="connsiteX10" fmla="*/ 9959171 w 9959171"/>
              <a:gd name="connsiteY10" fmla="*/ 8535467 h 251246916"/>
              <a:gd name="connsiteX0" fmla="*/ 0 w 9959171"/>
              <a:gd name="connsiteY0" fmla="*/ 210498751 h 244689142"/>
              <a:gd name="connsiteX1" fmla="*/ 922760 w 9959171"/>
              <a:gd name="connsiteY1" fmla="*/ 196348430 h 244689142"/>
              <a:gd name="connsiteX2" fmla="*/ 1834156 w 9959171"/>
              <a:gd name="connsiteY2" fmla="*/ 194193932 h 244689142"/>
              <a:gd name="connsiteX3" fmla="*/ 2841778 w 9959171"/>
              <a:gd name="connsiteY3" fmla="*/ 244338513 h 244689142"/>
              <a:gd name="connsiteX4" fmla="*/ 3962204 w 9959171"/>
              <a:gd name="connsiteY4" fmla="*/ 20233599 h 244689142"/>
              <a:gd name="connsiteX5" fmla="*/ 4987568 w 9959171"/>
              <a:gd name="connsiteY5" fmla="*/ 10345629 h 244689142"/>
              <a:gd name="connsiteX6" fmla="*/ 6011236 w 9959171"/>
              <a:gd name="connsiteY6" fmla="*/ 18265124 h 244689142"/>
              <a:gd name="connsiteX7" fmla="*/ 6919925 w 9959171"/>
              <a:gd name="connsiteY7" fmla="*/ 17179291 h 244689142"/>
              <a:gd name="connsiteX8" fmla="*/ 7905804 w 9959171"/>
              <a:gd name="connsiteY8" fmla="*/ 13871838 h 244689142"/>
              <a:gd name="connsiteX9" fmla="*/ 8947439 w 9959171"/>
              <a:gd name="connsiteY9" fmla="*/ 15904952 h 244689142"/>
              <a:gd name="connsiteX10" fmla="*/ 9959171 w 9959171"/>
              <a:gd name="connsiteY10" fmla="*/ 8535467 h 244689142"/>
              <a:gd name="connsiteX0" fmla="*/ 0 w 9959171"/>
              <a:gd name="connsiteY0" fmla="*/ 210783471 h 248902587"/>
              <a:gd name="connsiteX1" fmla="*/ 922760 w 9959171"/>
              <a:gd name="connsiteY1" fmla="*/ 196633150 h 248902587"/>
              <a:gd name="connsiteX2" fmla="*/ 1834156 w 9959171"/>
              <a:gd name="connsiteY2" fmla="*/ 194478652 h 248902587"/>
              <a:gd name="connsiteX3" fmla="*/ 2841778 w 9959171"/>
              <a:gd name="connsiteY3" fmla="*/ 248573432 h 248902587"/>
              <a:gd name="connsiteX4" fmla="*/ 3962204 w 9959171"/>
              <a:gd name="connsiteY4" fmla="*/ 20518319 h 248902587"/>
              <a:gd name="connsiteX5" fmla="*/ 4987568 w 9959171"/>
              <a:gd name="connsiteY5" fmla="*/ 10630349 h 248902587"/>
              <a:gd name="connsiteX6" fmla="*/ 6011236 w 9959171"/>
              <a:gd name="connsiteY6" fmla="*/ 18549844 h 248902587"/>
              <a:gd name="connsiteX7" fmla="*/ 6919925 w 9959171"/>
              <a:gd name="connsiteY7" fmla="*/ 17464011 h 248902587"/>
              <a:gd name="connsiteX8" fmla="*/ 7905804 w 9959171"/>
              <a:gd name="connsiteY8" fmla="*/ 14156558 h 248902587"/>
              <a:gd name="connsiteX9" fmla="*/ 8947439 w 9959171"/>
              <a:gd name="connsiteY9" fmla="*/ 16189672 h 248902587"/>
              <a:gd name="connsiteX10" fmla="*/ 9959171 w 9959171"/>
              <a:gd name="connsiteY10" fmla="*/ 8820187 h 248902587"/>
              <a:gd name="connsiteX0" fmla="*/ 0 w 9959171"/>
              <a:gd name="connsiteY0" fmla="*/ 205605136 h 245482582"/>
              <a:gd name="connsiteX1" fmla="*/ 922760 w 9959171"/>
              <a:gd name="connsiteY1" fmla="*/ 191454815 h 245482582"/>
              <a:gd name="connsiteX2" fmla="*/ 1834156 w 9959171"/>
              <a:gd name="connsiteY2" fmla="*/ 189300317 h 245482582"/>
              <a:gd name="connsiteX3" fmla="*/ 2841778 w 9959171"/>
              <a:gd name="connsiteY3" fmla="*/ 243395097 h 245482582"/>
              <a:gd name="connsiteX4" fmla="*/ 3969738 w 9959171"/>
              <a:gd name="connsiteY4" fmla="*/ 106194201 h 245482582"/>
              <a:gd name="connsiteX5" fmla="*/ 4987568 w 9959171"/>
              <a:gd name="connsiteY5" fmla="*/ 5452014 h 245482582"/>
              <a:gd name="connsiteX6" fmla="*/ 6011236 w 9959171"/>
              <a:gd name="connsiteY6" fmla="*/ 13371509 h 245482582"/>
              <a:gd name="connsiteX7" fmla="*/ 6919925 w 9959171"/>
              <a:gd name="connsiteY7" fmla="*/ 12285676 h 245482582"/>
              <a:gd name="connsiteX8" fmla="*/ 7905804 w 9959171"/>
              <a:gd name="connsiteY8" fmla="*/ 8978223 h 245482582"/>
              <a:gd name="connsiteX9" fmla="*/ 8947439 w 9959171"/>
              <a:gd name="connsiteY9" fmla="*/ 11011337 h 245482582"/>
              <a:gd name="connsiteX10" fmla="*/ 9959171 w 9959171"/>
              <a:gd name="connsiteY10" fmla="*/ 3641852 h 245482582"/>
              <a:gd name="connsiteX0" fmla="*/ 0 w 9959171"/>
              <a:gd name="connsiteY0" fmla="*/ 205605136 h 245482582"/>
              <a:gd name="connsiteX1" fmla="*/ 922760 w 9959171"/>
              <a:gd name="connsiteY1" fmla="*/ 191454815 h 245482582"/>
              <a:gd name="connsiteX2" fmla="*/ 1834156 w 9959171"/>
              <a:gd name="connsiteY2" fmla="*/ 189300317 h 245482582"/>
              <a:gd name="connsiteX3" fmla="*/ 2841778 w 9959171"/>
              <a:gd name="connsiteY3" fmla="*/ 243395097 h 245482582"/>
              <a:gd name="connsiteX4" fmla="*/ 3969738 w 9959171"/>
              <a:gd name="connsiteY4" fmla="*/ 106194201 h 245482582"/>
              <a:gd name="connsiteX5" fmla="*/ 4987568 w 9959171"/>
              <a:gd name="connsiteY5" fmla="*/ 5452014 h 245482582"/>
              <a:gd name="connsiteX6" fmla="*/ 6011236 w 9959171"/>
              <a:gd name="connsiteY6" fmla="*/ 13371509 h 245482582"/>
              <a:gd name="connsiteX7" fmla="*/ 6919925 w 9959171"/>
              <a:gd name="connsiteY7" fmla="*/ 12285676 h 245482582"/>
              <a:gd name="connsiteX8" fmla="*/ 7905804 w 9959171"/>
              <a:gd name="connsiteY8" fmla="*/ 8978223 h 245482582"/>
              <a:gd name="connsiteX9" fmla="*/ 8947439 w 9959171"/>
              <a:gd name="connsiteY9" fmla="*/ 11011337 h 245482582"/>
              <a:gd name="connsiteX10" fmla="*/ 9959171 w 9959171"/>
              <a:gd name="connsiteY10" fmla="*/ 3641852 h 245482582"/>
              <a:gd name="connsiteX0" fmla="*/ 0 w 9959171"/>
              <a:gd name="connsiteY0" fmla="*/ 213615876 h 252052445"/>
              <a:gd name="connsiteX1" fmla="*/ 922760 w 9959171"/>
              <a:gd name="connsiteY1" fmla="*/ 199465555 h 252052445"/>
              <a:gd name="connsiteX2" fmla="*/ 1834156 w 9959171"/>
              <a:gd name="connsiteY2" fmla="*/ 197311057 h 252052445"/>
              <a:gd name="connsiteX3" fmla="*/ 2841778 w 9959171"/>
              <a:gd name="connsiteY3" fmla="*/ 251405837 h 252052445"/>
              <a:gd name="connsiteX4" fmla="*/ 3864275 w 9959171"/>
              <a:gd name="connsiteY4" fmla="*/ 224810091 h 252052445"/>
              <a:gd name="connsiteX5" fmla="*/ 4987568 w 9959171"/>
              <a:gd name="connsiteY5" fmla="*/ 13462754 h 252052445"/>
              <a:gd name="connsiteX6" fmla="*/ 6011236 w 9959171"/>
              <a:gd name="connsiteY6" fmla="*/ 21382249 h 252052445"/>
              <a:gd name="connsiteX7" fmla="*/ 6919925 w 9959171"/>
              <a:gd name="connsiteY7" fmla="*/ 20296416 h 252052445"/>
              <a:gd name="connsiteX8" fmla="*/ 7905804 w 9959171"/>
              <a:gd name="connsiteY8" fmla="*/ 16988963 h 252052445"/>
              <a:gd name="connsiteX9" fmla="*/ 8947439 w 9959171"/>
              <a:gd name="connsiteY9" fmla="*/ 19022077 h 252052445"/>
              <a:gd name="connsiteX10" fmla="*/ 9959171 w 9959171"/>
              <a:gd name="connsiteY10" fmla="*/ 11652592 h 252052445"/>
              <a:gd name="connsiteX0" fmla="*/ 0 w 9959171"/>
              <a:gd name="connsiteY0" fmla="*/ 215417648 h 259327980"/>
              <a:gd name="connsiteX1" fmla="*/ 922760 w 9959171"/>
              <a:gd name="connsiteY1" fmla="*/ 201267327 h 259327980"/>
              <a:gd name="connsiteX2" fmla="*/ 1834156 w 9959171"/>
              <a:gd name="connsiteY2" fmla="*/ 199112829 h 259327980"/>
              <a:gd name="connsiteX3" fmla="*/ 2841778 w 9959171"/>
              <a:gd name="connsiteY3" fmla="*/ 253207609 h 259327980"/>
              <a:gd name="connsiteX4" fmla="*/ 3773878 w 9959171"/>
              <a:gd name="connsiteY4" fmla="*/ 251190778 h 259327980"/>
              <a:gd name="connsiteX5" fmla="*/ 4987568 w 9959171"/>
              <a:gd name="connsiteY5" fmla="*/ 15264526 h 259327980"/>
              <a:gd name="connsiteX6" fmla="*/ 6011236 w 9959171"/>
              <a:gd name="connsiteY6" fmla="*/ 23184021 h 259327980"/>
              <a:gd name="connsiteX7" fmla="*/ 6919925 w 9959171"/>
              <a:gd name="connsiteY7" fmla="*/ 22098188 h 259327980"/>
              <a:gd name="connsiteX8" fmla="*/ 7905804 w 9959171"/>
              <a:gd name="connsiteY8" fmla="*/ 18790735 h 259327980"/>
              <a:gd name="connsiteX9" fmla="*/ 8947439 w 9959171"/>
              <a:gd name="connsiteY9" fmla="*/ 20823849 h 259327980"/>
              <a:gd name="connsiteX10" fmla="*/ 9959171 w 9959171"/>
              <a:gd name="connsiteY10" fmla="*/ 13454364 h 259327980"/>
              <a:gd name="connsiteX0" fmla="*/ 0 w 9959171"/>
              <a:gd name="connsiteY0" fmla="*/ 215417648 h 258321635"/>
              <a:gd name="connsiteX1" fmla="*/ 922760 w 9959171"/>
              <a:gd name="connsiteY1" fmla="*/ 201267327 h 258321635"/>
              <a:gd name="connsiteX2" fmla="*/ 1834156 w 9959171"/>
              <a:gd name="connsiteY2" fmla="*/ 199112829 h 258321635"/>
              <a:gd name="connsiteX3" fmla="*/ 2841778 w 9959171"/>
              <a:gd name="connsiteY3" fmla="*/ 253207609 h 258321635"/>
              <a:gd name="connsiteX4" fmla="*/ 3773878 w 9959171"/>
              <a:gd name="connsiteY4" fmla="*/ 251190778 h 258321635"/>
              <a:gd name="connsiteX5" fmla="*/ 4987568 w 9959171"/>
              <a:gd name="connsiteY5" fmla="*/ 15264526 h 258321635"/>
              <a:gd name="connsiteX6" fmla="*/ 6011236 w 9959171"/>
              <a:gd name="connsiteY6" fmla="*/ 23184021 h 258321635"/>
              <a:gd name="connsiteX7" fmla="*/ 6919925 w 9959171"/>
              <a:gd name="connsiteY7" fmla="*/ 22098188 h 258321635"/>
              <a:gd name="connsiteX8" fmla="*/ 7905804 w 9959171"/>
              <a:gd name="connsiteY8" fmla="*/ 18790735 h 258321635"/>
              <a:gd name="connsiteX9" fmla="*/ 8947439 w 9959171"/>
              <a:gd name="connsiteY9" fmla="*/ 20823849 h 258321635"/>
              <a:gd name="connsiteX10" fmla="*/ 9959171 w 9959171"/>
              <a:gd name="connsiteY10" fmla="*/ 13454364 h 258321635"/>
              <a:gd name="connsiteX0" fmla="*/ 0 w 9959171"/>
              <a:gd name="connsiteY0" fmla="*/ 214934706 h 255601286"/>
              <a:gd name="connsiteX1" fmla="*/ 922760 w 9959171"/>
              <a:gd name="connsiteY1" fmla="*/ 200784385 h 255601286"/>
              <a:gd name="connsiteX2" fmla="*/ 1834156 w 9959171"/>
              <a:gd name="connsiteY2" fmla="*/ 198629887 h 255601286"/>
              <a:gd name="connsiteX3" fmla="*/ 2841778 w 9959171"/>
              <a:gd name="connsiteY3" fmla="*/ 252724667 h 255601286"/>
              <a:gd name="connsiteX4" fmla="*/ 3826611 w 9959171"/>
              <a:gd name="connsiteY4" fmla="*/ 244124228 h 255601286"/>
              <a:gd name="connsiteX5" fmla="*/ 4987568 w 9959171"/>
              <a:gd name="connsiteY5" fmla="*/ 14781584 h 255601286"/>
              <a:gd name="connsiteX6" fmla="*/ 6011236 w 9959171"/>
              <a:gd name="connsiteY6" fmla="*/ 22701079 h 255601286"/>
              <a:gd name="connsiteX7" fmla="*/ 6919925 w 9959171"/>
              <a:gd name="connsiteY7" fmla="*/ 21615246 h 255601286"/>
              <a:gd name="connsiteX8" fmla="*/ 7905804 w 9959171"/>
              <a:gd name="connsiteY8" fmla="*/ 18307793 h 255601286"/>
              <a:gd name="connsiteX9" fmla="*/ 8947439 w 9959171"/>
              <a:gd name="connsiteY9" fmla="*/ 20340907 h 255601286"/>
              <a:gd name="connsiteX10" fmla="*/ 9959171 w 9959171"/>
              <a:gd name="connsiteY10" fmla="*/ 12971422 h 255601286"/>
              <a:gd name="connsiteX0" fmla="*/ 0 w 9959171"/>
              <a:gd name="connsiteY0" fmla="*/ 204754951 h 246049979"/>
              <a:gd name="connsiteX1" fmla="*/ 922760 w 9959171"/>
              <a:gd name="connsiteY1" fmla="*/ 190604630 h 246049979"/>
              <a:gd name="connsiteX2" fmla="*/ 1834156 w 9959171"/>
              <a:gd name="connsiteY2" fmla="*/ 188450132 h 246049979"/>
              <a:gd name="connsiteX3" fmla="*/ 2841778 w 9959171"/>
              <a:gd name="connsiteY3" fmla="*/ 242544912 h 246049979"/>
              <a:gd name="connsiteX4" fmla="*/ 3826611 w 9959171"/>
              <a:gd name="connsiteY4" fmla="*/ 233944473 h 246049979"/>
              <a:gd name="connsiteX5" fmla="*/ 4859506 w 9959171"/>
              <a:gd name="connsiteY5" fmla="*/ 178848815 h 246049979"/>
              <a:gd name="connsiteX6" fmla="*/ 6011236 w 9959171"/>
              <a:gd name="connsiteY6" fmla="*/ 12521324 h 246049979"/>
              <a:gd name="connsiteX7" fmla="*/ 6919925 w 9959171"/>
              <a:gd name="connsiteY7" fmla="*/ 11435491 h 246049979"/>
              <a:gd name="connsiteX8" fmla="*/ 7905804 w 9959171"/>
              <a:gd name="connsiteY8" fmla="*/ 8128038 h 246049979"/>
              <a:gd name="connsiteX9" fmla="*/ 8947439 w 9959171"/>
              <a:gd name="connsiteY9" fmla="*/ 10161152 h 246049979"/>
              <a:gd name="connsiteX10" fmla="*/ 9959171 w 9959171"/>
              <a:gd name="connsiteY10" fmla="*/ 2791667 h 246049979"/>
              <a:gd name="connsiteX0" fmla="*/ 0 w 9959171"/>
              <a:gd name="connsiteY0" fmla="*/ 204754951 h 246049979"/>
              <a:gd name="connsiteX1" fmla="*/ 922760 w 9959171"/>
              <a:gd name="connsiteY1" fmla="*/ 190604630 h 246049979"/>
              <a:gd name="connsiteX2" fmla="*/ 1834156 w 9959171"/>
              <a:gd name="connsiteY2" fmla="*/ 188450132 h 246049979"/>
              <a:gd name="connsiteX3" fmla="*/ 2841778 w 9959171"/>
              <a:gd name="connsiteY3" fmla="*/ 242544912 h 246049979"/>
              <a:gd name="connsiteX4" fmla="*/ 3826611 w 9959171"/>
              <a:gd name="connsiteY4" fmla="*/ 233944473 h 246049979"/>
              <a:gd name="connsiteX5" fmla="*/ 4859506 w 9959171"/>
              <a:gd name="connsiteY5" fmla="*/ 178848815 h 246049979"/>
              <a:gd name="connsiteX6" fmla="*/ 6011236 w 9959171"/>
              <a:gd name="connsiteY6" fmla="*/ 12521324 h 246049979"/>
              <a:gd name="connsiteX7" fmla="*/ 6919925 w 9959171"/>
              <a:gd name="connsiteY7" fmla="*/ 11435491 h 246049979"/>
              <a:gd name="connsiteX8" fmla="*/ 7905804 w 9959171"/>
              <a:gd name="connsiteY8" fmla="*/ 8128038 h 246049979"/>
              <a:gd name="connsiteX9" fmla="*/ 8947439 w 9959171"/>
              <a:gd name="connsiteY9" fmla="*/ 10161152 h 246049979"/>
              <a:gd name="connsiteX10" fmla="*/ 9959171 w 9959171"/>
              <a:gd name="connsiteY10" fmla="*/ 2791667 h 246049979"/>
              <a:gd name="connsiteX0" fmla="*/ 0 w 9959171"/>
              <a:gd name="connsiteY0" fmla="*/ 203086597 h 244381625"/>
              <a:gd name="connsiteX1" fmla="*/ 922760 w 9959171"/>
              <a:gd name="connsiteY1" fmla="*/ 188936276 h 244381625"/>
              <a:gd name="connsiteX2" fmla="*/ 1834156 w 9959171"/>
              <a:gd name="connsiteY2" fmla="*/ 186781778 h 244381625"/>
              <a:gd name="connsiteX3" fmla="*/ 2841778 w 9959171"/>
              <a:gd name="connsiteY3" fmla="*/ 240876558 h 244381625"/>
              <a:gd name="connsiteX4" fmla="*/ 3826611 w 9959171"/>
              <a:gd name="connsiteY4" fmla="*/ 232276119 h 244381625"/>
              <a:gd name="connsiteX5" fmla="*/ 4859506 w 9959171"/>
              <a:gd name="connsiteY5" fmla="*/ 177180461 h 244381625"/>
              <a:gd name="connsiteX6" fmla="*/ 5822909 w 9959171"/>
              <a:gd name="connsiteY6" fmla="*/ 126286103 h 244381625"/>
              <a:gd name="connsiteX7" fmla="*/ 6919925 w 9959171"/>
              <a:gd name="connsiteY7" fmla="*/ 9767137 h 244381625"/>
              <a:gd name="connsiteX8" fmla="*/ 7905804 w 9959171"/>
              <a:gd name="connsiteY8" fmla="*/ 6459684 h 244381625"/>
              <a:gd name="connsiteX9" fmla="*/ 8947439 w 9959171"/>
              <a:gd name="connsiteY9" fmla="*/ 8492798 h 244381625"/>
              <a:gd name="connsiteX10" fmla="*/ 9959171 w 9959171"/>
              <a:gd name="connsiteY10" fmla="*/ 1123313 h 244381625"/>
              <a:gd name="connsiteX0" fmla="*/ 0 w 9959171"/>
              <a:gd name="connsiteY0" fmla="*/ 203086597 h 244381625"/>
              <a:gd name="connsiteX1" fmla="*/ 922760 w 9959171"/>
              <a:gd name="connsiteY1" fmla="*/ 188936276 h 244381625"/>
              <a:gd name="connsiteX2" fmla="*/ 1834156 w 9959171"/>
              <a:gd name="connsiteY2" fmla="*/ 186781778 h 244381625"/>
              <a:gd name="connsiteX3" fmla="*/ 2841778 w 9959171"/>
              <a:gd name="connsiteY3" fmla="*/ 240876558 h 244381625"/>
              <a:gd name="connsiteX4" fmla="*/ 3826611 w 9959171"/>
              <a:gd name="connsiteY4" fmla="*/ 232276119 h 244381625"/>
              <a:gd name="connsiteX5" fmla="*/ 4859506 w 9959171"/>
              <a:gd name="connsiteY5" fmla="*/ 177180461 h 244381625"/>
              <a:gd name="connsiteX6" fmla="*/ 5822909 w 9959171"/>
              <a:gd name="connsiteY6" fmla="*/ 126286103 h 244381625"/>
              <a:gd name="connsiteX7" fmla="*/ 6919925 w 9959171"/>
              <a:gd name="connsiteY7" fmla="*/ 9767137 h 244381625"/>
              <a:gd name="connsiteX8" fmla="*/ 7905804 w 9959171"/>
              <a:gd name="connsiteY8" fmla="*/ 6459684 h 244381625"/>
              <a:gd name="connsiteX9" fmla="*/ 8947439 w 9959171"/>
              <a:gd name="connsiteY9" fmla="*/ 8492798 h 244381625"/>
              <a:gd name="connsiteX10" fmla="*/ 9959171 w 9959171"/>
              <a:gd name="connsiteY10" fmla="*/ 1123313 h 244381625"/>
              <a:gd name="connsiteX0" fmla="*/ 0 w 9959171"/>
              <a:gd name="connsiteY0" fmla="*/ 207803408 h 249098436"/>
              <a:gd name="connsiteX1" fmla="*/ 922760 w 9959171"/>
              <a:gd name="connsiteY1" fmla="*/ 193653087 h 249098436"/>
              <a:gd name="connsiteX2" fmla="*/ 1834156 w 9959171"/>
              <a:gd name="connsiteY2" fmla="*/ 191498589 h 249098436"/>
              <a:gd name="connsiteX3" fmla="*/ 2841778 w 9959171"/>
              <a:gd name="connsiteY3" fmla="*/ 245593369 h 249098436"/>
              <a:gd name="connsiteX4" fmla="*/ 3826611 w 9959171"/>
              <a:gd name="connsiteY4" fmla="*/ 236992930 h 249098436"/>
              <a:gd name="connsiteX5" fmla="*/ 4859506 w 9959171"/>
              <a:gd name="connsiteY5" fmla="*/ 181897272 h 249098436"/>
              <a:gd name="connsiteX6" fmla="*/ 5792777 w 9959171"/>
              <a:gd name="connsiteY6" fmla="*/ 195083641 h 249098436"/>
              <a:gd name="connsiteX7" fmla="*/ 6919925 w 9959171"/>
              <a:gd name="connsiteY7" fmla="*/ 14483948 h 249098436"/>
              <a:gd name="connsiteX8" fmla="*/ 7905804 w 9959171"/>
              <a:gd name="connsiteY8" fmla="*/ 11176495 h 249098436"/>
              <a:gd name="connsiteX9" fmla="*/ 8947439 w 9959171"/>
              <a:gd name="connsiteY9" fmla="*/ 13209609 h 249098436"/>
              <a:gd name="connsiteX10" fmla="*/ 9959171 w 9959171"/>
              <a:gd name="connsiteY10" fmla="*/ 5840124 h 249098436"/>
              <a:gd name="connsiteX0" fmla="*/ 0 w 9959171"/>
              <a:gd name="connsiteY0" fmla="*/ 207803408 h 249098436"/>
              <a:gd name="connsiteX1" fmla="*/ 922760 w 9959171"/>
              <a:gd name="connsiteY1" fmla="*/ 193653087 h 249098436"/>
              <a:gd name="connsiteX2" fmla="*/ 1834156 w 9959171"/>
              <a:gd name="connsiteY2" fmla="*/ 191498589 h 249098436"/>
              <a:gd name="connsiteX3" fmla="*/ 2841778 w 9959171"/>
              <a:gd name="connsiteY3" fmla="*/ 245593369 h 249098436"/>
              <a:gd name="connsiteX4" fmla="*/ 3826611 w 9959171"/>
              <a:gd name="connsiteY4" fmla="*/ 236992930 h 249098436"/>
              <a:gd name="connsiteX5" fmla="*/ 4859506 w 9959171"/>
              <a:gd name="connsiteY5" fmla="*/ 181897272 h 249098436"/>
              <a:gd name="connsiteX6" fmla="*/ 5792777 w 9959171"/>
              <a:gd name="connsiteY6" fmla="*/ 195083641 h 249098436"/>
              <a:gd name="connsiteX7" fmla="*/ 6919925 w 9959171"/>
              <a:gd name="connsiteY7" fmla="*/ 14483948 h 249098436"/>
              <a:gd name="connsiteX8" fmla="*/ 7905804 w 9959171"/>
              <a:gd name="connsiteY8" fmla="*/ 11176495 h 249098436"/>
              <a:gd name="connsiteX9" fmla="*/ 8947439 w 9959171"/>
              <a:gd name="connsiteY9" fmla="*/ 13209609 h 249098436"/>
              <a:gd name="connsiteX10" fmla="*/ 9959171 w 9959171"/>
              <a:gd name="connsiteY10" fmla="*/ 5840124 h 249098436"/>
              <a:gd name="connsiteX0" fmla="*/ 0 w 9959171"/>
              <a:gd name="connsiteY0" fmla="*/ 209644869 h 250939897"/>
              <a:gd name="connsiteX1" fmla="*/ 922760 w 9959171"/>
              <a:gd name="connsiteY1" fmla="*/ 195494548 h 250939897"/>
              <a:gd name="connsiteX2" fmla="*/ 1834156 w 9959171"/>
              <a:gd name="connsiteY2" fmla="*/ 193340050 h 250939897"/>
              <a:gd name="connsiteX3" fmla="*/ 2841778 w 9959171"/>
              <a:gd name="connsiteY3" fmla="*/ 247434830 h 250939897"/>
              <a:gd name="connsiteX4" fmla="*/ 3826611 w 9959171"/>
              <a:gd name="connsiteY4" fmla="*/ 238834391 h 250939897"/>
              <a:gd name="connsiteX5" fmla="*/ 4859506 w 9959171"/>
              <a:gd name="connsiteY5" fmla="*/ 183738733 h 250939897"/>
              <a:gd name="connsiteX6" fmla="*/ 5792777 w 9959171"/>
              <a:gd name="connsiteY6" fmla="*/ 196925102 h 250939897"/>
              <a:gd name="connsiteX7" fmla="*/ 6934992 w 9959171"/>
              <a:gd name="connsiteY7" fmla="*/ 208567703 h 250939897"/>
              <a:gd name="connsiteX8" fmla="*/ 7905804 w 9959171"/>
              <a:gd name="connsiteY8" fmla="*/ 13017956 h 250939897"/>
              <a:gd name="connsiteX9" fmla="*/ 8947439 w 9959171"/>
              <a:gd name="connsiteY9" fmla="*/ 15051070 h 250939897"/>
              <a:gd name="connsiteX10" fmla="*/ 9959171 w 9959171"/>
              <a:gd name="connsiteY10" fmla="*/ 7681585 h 250939897"/>
              <a:gd name="connsiteX0" fmla="*/ 0 w 9959171"/>
              <a:gd name="connsiteY0" fmla="*/ 209644869 h 250939897"/>
              <a:gd name="connsiteX1" fmla="*/ 922760 w 9959171"/>
              <a:gd name="connsiteY1" fmla="*/ 195494548 h 250939897"/>
              <a:gd name="connsiteX2" fmla="*/ 1834156 w 9959171"/>
              <a:gd name="connsiteY2" fmla="*/ 193340050 h 250939897"/>
              <a:gd name="connsiteX3" fmla="*/ 2841778 w 9959171"/>
              <a:gd name="connsiteY3" fmla="*/ 247434830 h 250939897"/>
              <a:gd name="connsiteX4" fmla="*/ 3826611 w 9959171"/>
              <a:gd name="connsiteY4" fmla="*/ 238834391 h 250939897"/>
              <a:gd name="connsiteX5" fmla="*/ 4859506 w 9959171"/>
              <a:gd name="connsiteY5" fmla="*/ 183738733 h 250939897"/>
              <a:gd name="connsiteX6" fmla="*/ 5792777 w 9959171"/>
              <a:gd name="connsiteY6" fmla="*/ 196925102 h 250939897"/>
              <a:gd name="connsiteX7" fmla="*/ 6934992 w 9959171"/>
              <a:gd name="connsiteY7" fmla="*/ 208567703 h 250939897"/>
              <a:gd name="connsiteX8" fmla="*/ 7905804 w 9959171"/>
              <a:gd name="connsiteY8" fmla="*/ 13017956 h 250939897"/>
              <a:gd name="connsiteX9" fmla="*/ 8947439 w 9959171"/>
              <a:gd name="connsiteY9" fmla="*/ 15051070 h 250939897"/>
              <a:gd name="connsiteX10" fmla="*/ 9959171 w 9959171"/>
              <a:gd name="connsiteY10" fmla="*/ 7681585 h 250939897"/>
              <a:gd name="connsiteX0" fmla="*/ 0 w 9959171"/>
              <a:gd name="connsiteY0" fmla="*/ 209838509 h 251133537"/>
              <a:gd name="connsiteX1" fmla="*/ 922760 w 9959171"/>
              <a:gd name="connsiteY1" fmla="*/ 195688188 h 251133537"/>
              <a:gd name="connsiteX2" fmla="*/ 1834156 w 9959171"/>
              <a:gd name="connsiteY2" fmla="*/ 193533690 h 251133537"/>
              <a:gd name="connsiteX3" fmla="*/ 2841778 w 9959171"/>
              <a:gd name="connsiteY3" fmla="*/ 247628470 h 251133537"/>
              <a:gd name="connsiteX4" fmla="*/ 3826611 w 9959171"/>
              <a:gd name="connsiteY4" fmla="*/ 239028031 h 251133537"/>
              <a:gd name="connsiteX5" fmla="*/ 4859506 w 9959171"/>
              <a:gd name="connsiteY5" fmla="*/ 183932373 h 251133537"/>
              <a:gd name="connsiteX6" fmla="*/ 5792777 w 9959171"/>
              <a:gd name="connsiteY6" fmla="*/ 197118742 h 251133537"/>
              <a:gd name="connsiteX7" fmla="*/ 6754199 w 9959171"/>
              <a:gd name="connsiteY7" fmla="*/ 211394808 h 251133537"/>
              <a:gd name="connsiteX8" fmla="*/ 7905804 w 9959171"/>
              <a:gd name="connsiteY8" fmla="*/ 13211596 h 251133537"/>
              <a:gd name="connsiteX9" fmla="*/ 8947439 w 9959171"/>
              <a:gd name="connsiteY9" fmla="*/ 15244710 h 251133537"/>
              <a:gd name="connsiteX10" fmla="*/ 9959171 w 9959171"/>
              <a:gd name="connsiteY10" fmla="*/ 7875225 h 251133537"/>
              <a:gd name="connsiteX0" fmla="*/ 0 w 9959171"/>
              <a:gd name="connsiteY0" fmla="*/ 209451228 h 250746256"/>
              <a:gd name="connsiteX1" fmla="*/ 922760 w 9959171"/>
              <a:gd name="connsiteY1" fmla="*/ 195300907 h 250746256"/>
              <a:gd name="connsiteX2" fmla="*/ 1834156 w 9959171"/>
              <a:gd name="connsiteY2" fmla="*/ 193146409 h 250746256"/>
              <a:gd name="connsiteX3" fmla="*/ 2841778 w 9959171"/>
              <a:gd name="connsiteY3" fmla="*/ 247241189 h 250746256"/>
              <a:gd name="connsiteX4" fmla="*/ 3826611 w 9959171"/>
              <a:gd name="connsiteY4" fmla="*/ 238640750 h 250746256"/>
              <a:gd name="connsiteX5" fmla="*/ 4859506 w 9959171"/>
              <a:gd name="connsiteY5" fmla="*/ 183545092 h 250746256"/>
              <a:gd name="connsiteX6" fmla="*/ 5792777 w 9959171"/>
              <a:gd name="connsiteY6" fmla="*/ 196731461 h 250746256"/>
              <a:gd name="connsiteX7" fmla="*/ 6769265 w 9959171"/>
              <a:gd name="connsiteY7" fmla="*/ 205740597 h 250746256"/>
              <a:gd name="connsiteX8" fmla="*/ 7905804 w 9959171"/>
              <a:gd name="connsiteY8" fmla="*/ 12824315 h 250746256"/>
              <a:gd name="connsiteX9" fmla="*/ 8947439 w 9959171"/>
              <a:gd name="connsiteY9" fmla="*/ 14857429 h 250746256"/>
              <a:gd name="connsiteX10" fmla="*/ 9959171 w 9959171"/>
              <a:gd name="connsiteY10" fmla="*/ 7487944 h 250746256"/>
              <a:gd name="connsiteX0" fmla="*/ 0 w 9959171"/>
              <a:gd name="connsiteY0" fmla="*/ 209773980 h 251069008"/>
              <a:gd name="connsiteX1" fmla="*/ 922760 w 9959171"/>
              <a:gd name="connsiteY1" fmla="*/ 195623659 h 251069008"/>
              <a:gd name="connsiteX2" fmla="*/ 1834156 w 9959171"/>
              <a:gd name="connsiteY2" fmla="*/ 193469161 h 251069008"/>
              <a:gd name="connsiteX3" fmla="*/ 2841778 w 9959171"/>
              <a:gd name="connsiteY3" fmla="*/ 247563941 h 251069008"/>
              <a:gd name="connsiteX4" fmla="*/ 3826611 w 9959171"/>
              <a:gd name="connsiteY4" fmla="*/ 238963502 h 251069008"/>
              <a:gd name="connsiteX5" fmla="*/ 4859506 w 9959171"/>
              <a:gd name="connsiteY5" fmla="*/ 183867844 h 251069008"/>
              <a:gd name="connsiteX6" fmla="*/ 5792777 w 9959171"/>
              <a:gd name="connsiteY6" fmla="*/ 197054213 h 251069008"/>
              <a:gd name="connsiteX7" fmla="*/ 6769265 w 9959171"/>
              <a:gd name="connsiteY7" fmla="*/ 210452439 h 251069008"/>
              <a:gd name="connsiteX8" fmla="*/ 7905804 w 9959171"/>
              <a:gd name="connsiteY8" fmla="*/ 13147067 h 251069008"/>
              <a:gd name="connsiteX9" fmla="*/ 8947439 w 9959171"/>
              <a:gd name="connsiteY9" fmla="*/ 15180181 h 251069008"/>
              <a:gd name="connsiteX10" fmla="*/ 9959171 w 9959171"/>
              <a:gd name="connsiteY10" fmla="*/ 7810696 h 251069008"/>
              <a:gd name="connsiteX0" fmla="*/ 0 w 9959171"/>
              <a:gd name="connsiteY0" fmla="*/ 209160877 h 250455905"/>
              <a:gd name="connsiteX1" fmla="*/ 922760 w 9959171"/>
              <a:gd name="connsiteY1" fmla="*/ 195010556 h 250455905"/>
              <a:gd name="connsiteX2" fmla="*/ 1834156 w 9959171"/>
              <a:gd name="connsiteY2" fmla="*/ 192856058 h 250455905"/>
              <a:gd name="connsiteX3" fmla="*/ 2841778 w 9959171"/>
              <a:gd name="connsiteY3" fmla="*/ 246950838 h 250455905"/>
              <a:gd name="connsiteX4" fmla="*/ 3826611 w 9959171"/>
              <a:gd name="connsiteY4" fmla="*/ 238350399 h 250455905"/>
              <a:gd name="connsiteX5" fmla="*/ 4859506 w 9959171"/>
              <a:gd name="connsiteY5" fmla="*/ 183254741 h 250455905"/>
              <a:gd name="connsiteX6" fmla="*/ 5792777 w 9959171"/>
              <a:gd name="connsiteY6" fmla="*/ 196441110 h 250455905"/>
              <a:gd name="connsiteX7" fmla="*/ 6731600 w 9959171"/>
              <a:gd name="connsiteY7" fmla="*/ 201500048 h 250455905"/>
              <a:gd name="connsiteX8" fmla="*/ 7905804 w 9959171"/>
              <a:gd name="connsiteY8" fmla="*/ 12533964 h 250455905"/>
              <a:gd name="connsiteX9" fmla="*/ 8947439 w 9959171"/>
              <a:gd name="connsiteY9" fmla="*/ 14567078 h 250455905"/>
              <a:gd name="connsiteX10" fmla="*/ 9959171 w 9959171"/>
              <a:gd name="connsiteY10" fmla="*/ 7197593 h 250455905"/>
              <a:gd name="connsiteX0" fmla="*/ 0 w 9959171"/>
              <a:gd name="connsiteY0" fmla="*/ 209160877 h 250455905"/>
              <a:gd name="connsiteX1" fmla="*/ 922760 w 9959171"/>
              <a:gd name="connsiteY1" fmla="*/ 195010556 h 250455905"/>
              <a:gd name="connsiteX2" fmla="*/ 1834156 w 9959171"/>
              <a:gd name="connsiteY2" fmla="*/ 192856058 h 250455905"/>
              <a:gd name="connsiteX3" fmla="*/ 2841778 w 9959171"/>
              <a:gd name="connsiteY3" fmla="*/ 246950838 h 250455905"/>
              <a:gd name="connsiteX4" fmla="*/ 3826611 w 9959171"/>
              <a:gd name="connsiteY4" fmla="*/ 238350399 h 250455905"/>
              <a:gd name="connsiteX5" fmla="*/ 4859506 w 9959171"/>
              <a:gd name="connsiteY5" fmla="*/ 183254741 h 250455905"/>
              <a:gd name="connsiteX6" fmla="*/ 5792777 w 9959171"/>
              <a:gd name="connsiteY6" fmla="*/ 196441110 h 250455905"/>
              <a:gd name="connsiteX7" fmla="*/ 6731600 w 9959171"/>
              <a:gd name="connsiteY7" fmla="*/ 201500048 h 250455905"/>
              <a:gd name="connsiteX8" fmla="*/ 7905804 w 9959171"/>
              <a:gd name="connsiteY8" fmla="*/ 12533964 h 250455905"/>
              <a:gd name="connsiteX9" fmla="*/ 8947439 w 9959171"/>
              <a:gd name="connsiteY9" fmla="*/ 14567078 h 250455905"/>
              <a:gd name="connsiteX10" fmla="*/ 9959171 w 9959171"/>
              <a:gd name="connsiteY10" fmla="*/ 7197593 h 250455905"/>
              <a:gd name="connsiteX0" fmla="*/ 0 w 9959171"/>
              <a:gd name="connsiteY0" fmla="*/ 201963284 h 243258312"/>
              <a:gd name="connsiteX1" fmla="*/ 922760 w 9959171"/>
              <a:gd name="connsiteY1" fmla="*/ 187812963 h 243258312"/>
              <a:gd name="connsiteX2" fmla="*/ 1834156 w 9959171"/>
              <a:gd name="connsiteY2" fmla="*/ 185658465 h 243258312"/>
              <a:gd name="connsiteX3" fmla="*/ 2841778 w 9959171"/>
              <a:gd name="connsiteY3" fmla="*/ 239753245 h 243258312"/>
              <a:gd name="connsiteX4" fmla="*/ 3826611 w 9959171"/>
              <a:gd name="connsiteY4" fmla="*/ 231152806 h 243258312"/>
              <a:gd name="connsiteX5" fmla="*/ 4859506 w 9959171"/>
              <a:gd name="connsiteY5" fmla="*/ 176057148 h 243258312"/>
              <a:gd name="connsiteX6" fmla="*/ 5792777 w 9959171"/>
              <a:gd name="connsiteY6" fmla="*/ 189243517 h 243258312"/>
              <a:gd name="connsiteX7" fmla="*/ 6731600 w 9959171"/>
              <a:gd name="connsiteY7" fmla="*/ 194302455 h 243258312"/>
              <a:gd name="connsiteX8" fmla="*/ 7845539 w 9959171"/>
              <a:gd name="connsiteY8" fmla="*/ 217768436 h 243258312"/>
              <a:gd name="connsiteX9" fmla="*/ 8947439 w 9959171"/>
              <a:gd name="connsiteY9" fmla="*/ 7369485 h 243258312"/>
              <a:gd name="connsiteX10" fmla="*/ 9959171 w 9959171"/>
              <a:gd name="connsiteY10" fmla="*/ 0 h 243258312"/>
              <a:gd name="connsiteX0" fmla="*/ 0 w 9959171"/>
              <a:gd name="connsiteY0" fmla="*/ 201963284 h 243258312"/>
              <a:gd name="connsiteX1" fmla="*/ 922760 w 9959171"/>
              <a:gd name="connsiteY1" fmla="*/ 187812963 h 243258312"/>
              <a:gd name="connsiteX2" fmla="*/ 1834156 w 9959171"/>
              <a:gd name="connsiteY2" fmla="*/ 185658465 h 243258312"/>
              <a:gd name="connsiteX3" fmla="*/ 2841778 w 9959171"/>
              <a:gd name="connsiteY3" fmla="*/ 239753245 h 243258312"/>
              <a:gd name="connsiteX4" fmla="*/ 3826611 w 9959171"/>
              <a:gd name="connsiteY4" fmla="*/ 231152806 h 243258312"/>
              <a:gd name="connsiteX5" fmla="*/ 4859506 w 9959171"/>
              <a:gd name="connsiteY5" fmla="*/ 176057148 h 243258312"/>
              <a:gd name="connsiteX6" fmla="*/ 5792777 w 9959171"/>
              <a:gd name="connsiteY6" fmla="*/ 189243517 h 243258312"/>
              <a:gd name="connsiteX7" fmla="*/ 6731600 w 9959171"/>
              <a:gd name="connsiteY7" fmla="*/ 194302455 h 243258312"/>
              <a:gd name="connsiteX8" fmla="*/ 7845539 w 9959171"/>
              <a:gd name="connsiteY8" fmla="*/ 217768436 h 243258312"/>
              <a:gd name="connsiteX9" fmla="*/ 8947439 w 9959171"/>
              <a:gd name="connsiteY9" fmla="*/ 7369485 h 243258312"/>
              <a:gd name="connsiteX10" fmla="*/ 9959171 w 9959171"/>
              <a:gd name="connsiteY10" fmla="*/ 0 h 243258312"/>
              <a:gd name="connsiteX0" fmla="*/ 0 w 9959171"/>
              <a:gd name="connsiteY0" fmla="*/ 201963284 h 243258312"/>
              <a:gd name="connsiteX1" fmla="*/ 922760 w 9959171"/>
              <a:gd name="connsiteY1" fmla="*/ 187812963 h 243258312"/>
              <a:gd name="connsiteX2" fmla="*/ 1834156 w 9959171"/>
              <a:gd name="connsiteY2" fmla="*/ 185658465 h 243258312"/>
              <a:gd name="connsiteX3" fmla="*/ 2841778 w 9959171"/>
              <a:gd name="connsiteY3" fmla="*/ 239753245 h 243258312"/>
              <a:gd name="connsiteX4" fmla="*/ 3826611 w 9959171"/>
              <a:gd name="connsiteY4" fmla="*/ 231152806 h 243258312"/>
              <a:gd name="connsiteX5" fmla="*/ 4859506 w 9959171"/>
              <a:gd name="connsiteY5" fmla="*/ 176057148 h 243258312"/>
              <a:gd name="connsiteX6" fmla="*/ 5792777 w 9959171"/>
              <a:gd name="connsiteY6" fmla="*/ 189243517 h 243258312"/>
              <a:gd name="connsiteX7" fmla="*/ 6731600 w 9959171"/>
              <a:gd name="connsiteY7" fmla="*/ 194302455 h 243258312"/>
              <a:gd name="connsiteX8" fmla="*/ 7785274 w 9959171"/>
              <a:gd name="connsiteY8" fmla="*/ 226107724 h 243258312"/>
              <a:gd name="connsiteX9" fmla="*/ 8947439 w 9959171"/>
              <a:gd name="connsiteY9" fmla="*/ 7369485 h 243258312"/>
              <a:gd name="connsiteX10" fmla="*/ 9959171 w 9959171"/>
              <a:gd name="connsiteY10" fmla="*/ 0 h 243258312"/>
              <a:gd name="connsiteX0" fmla="*/ 0 w 9959171"/>
              <a:gd name="connsiteY0" fmla="*/ 201963284 h 243258312"/>
              <a:gd name="connsiteX1" fmla="*/ 922760 w 9959171"/>
              <a:gd name="connsiteY1" fmla="*/ 187812963 h 243258312"/>
              <a:gd name="connsiteX2" fmla="*/ 1834156 w 9959171"/>
              <a:gd name="connsiteY2" fmla="*/ 185658465 h 243258312"/>
              <a:gd name="connsiteX3" fmla="*/ 2841778 w 9959171"/>
              <a:gd name="connsiteY3" fmla="*/ 239753245 h 243258312"/>
              <a:gd name="connsiteX4" fmla="*/ 3826611 w 9959171"/>
              <a:gd name="connsiteY4" fmla="*/ 231152806 h 243258312"/>
              <a:gd name="connsiteX5" fmla="*/ 4859506 w 9959171"/>
              <a:gd name="connsiteY5" fmla="*/ 176057148 h 243258312"/>
              <a:gd name="connsiteX6" fmla="*/ 5792777 w 9959171"/>
              <a:gd name="connsiteY6" fmla="*/ 189243517 h 243258312"/>
              <a:gd name="connsiteX7" fmla="*/ 6731600 w 9959171"/>
              <a:gd name="connsiteY7" fmla="*/ 194302455 h 243258312"/>
              <a:gd name="connsiteX8" fmla="*/ 7785274 w 9959171"/>
              <a:gd name="connsiteY8" fmla="*/ 226107724 h 243258312"/>
              <a:gd name="connsiteX9" fmla="*/ 8646117 w 9959171"/>
              <a:gd name="connsiteY9" fmla="*/ 171082610 h 243258312"/>
              <a:gd name="connsiteX10" fmla="*/ 9959171 w 9959171"/>
              <a:gd name="connsiteY10" fmla="*/ 0 h 243258312"/>
              <a:gd name="connsiteX0" fmla="*/ 0 w 9748245"/>
              <a:gd name="connsiteY0" fmla="*/ 31097443 h 72392471"/>
              <a:gd name="connsiteX1" fmla="*/ 922760 w 9748245"/>
              <a:gd name="connsiteY1" fmla="*/ 16947122 h 72392471"/>
              <a:gd name="connsiteX2" fmla="*/ 1834156 w 9748245"/>
              <a:gd name="connsiteY2" fmla="*/ 14792624 h 72392471"/>
              <a:gd name="connsiteX3" fmla="*/ 2841778 w 9748245"/>
              <a:gd name="connsiteY3" fmla="*/ 68887404 h 72392471"/>
              <a:gd name="connsiteX4" fmla="*/ 3826611 w 9748245"/>
              <a:gd name="connsiteY4" fmla="*/ 60286965 h 72392471"/>
              <a:gd name="connsiteX5" fmla="*/ 4859506 w 9748245"/>
              <a:gd name="connsiteY5" fmla="*/ 5191307 h 72392471"/>
              <a:gd name="connsiteX6" fmla="*/ 5792777 w 9748245"/>
              <a:gd name="connsiteY6" fmla="*/ 18377676 h 72392471"/>
              <a:gd name="connsiteX7" fmla="*/ 6731600 w 9748245"/>
              <a:gd name="connsiteY7" fmla="*/ 23436614 h 72392471"/>
              <a:gd name="connsiteX8" fmla="*/ 7785274 w 9748245"/>
              <a:gd name="connsiteY8" fmla="*/ 55241883 h 72392471"/>
              <a:gd name="connsiteX9" fmla="*/ 8646117 w 9748245"/>
              <a:gd name="connsiteY9" fmla="*/ 216769 h 72392471"/>
              <a:gd name="connsiteX10" fmla="*/ 9748245 w 9748245"/>
              <a:gd name="connsiteY10" fmla="*/ 50344404 h 72392471"/>
              <a:gd name="connsiteX0" fmla="*/ 0 w 9740712"/>
              <a:gd name="connsiteY0" fmla="*/ 31322216 h 72617244"/>
              <a:gd name="connsiteX1" fmla="*/ 922760 w 9740712"/>
              <a:gd name="connsiteY1" fmla="*/ 17171895 h 72617244"/>
              <a:gd name="connsiteX2" fmla="*/ 1834156 w 9740712"/>
              <a:gd name="connsiteY2" fmla="*/ 15017397 h 72617244"/>
              <a:gd name="connsiteX3" fmla="*/ 2841778 w 9740712"/>
              <a:gd name="connsiteY3" fmla="*/ 69112177 h 72617244"/>
              <a:gd name="connsiteX4" fmla="*/ 3826611 w 9740712"/>
              <a:gd name="connsiteY4" fmla="*/ 60511738 h 72617244"/>
              <a:gd name="connsiteX5" fmla="*/ 4859506 w 9740712"/>
              <a:gd name="connsiteY5" fmla="*/ 5416080 h 72617244"/>
              <a:gd name="connsiteX6" fmla="*/ 5792777 w 9740712"/>
              <a:gd name="connsiteY6" fmla="*/ 18602449 h 72617244"/>
              <a:gd name="connsiteX7" fmla="*/ 6731600 w 9740712"/>
              <a:gd name="connsiteY7" fmla="*/ 23661387 h 72617244"/>
              <a:gd name="connsiteX8" fmla="*/ 7785274 w 9740712"/>
              <a:gd name="connsiteY8" fmla="*/ 55466656 h 72617244"/>
              <a:gd name="connsiteX9" fmla="*/ 8646117 w 9740712"/>
              <a:gd name="connsiteY9" fmla="*/ 441542 h 72617244"/>
              <a:gd name="connsiteX10" fmla="*/ 9740712 w 9740712"/>
              <a:gd name="connsiteY10" fmla="*/ 21601171 h 72617244"/>
              <a:gd name="connsiteX0" fmla="*/ 0 w 9740712"/>
              <a:gd name="connsiteY0" fmla="*/ 31932835 h 73227863"/>
              <a:gd name="connsiteX1" fmla="*/ 922760 w 9740712"/>
              <a:gd name="connsiteY1" fmla="*/ 17782514 h 73227863"/>
              <a:gd name="connsiteX2" fmla="*/ 1834156 w 9740712"/>
              <a:gd name="connsiteY2" fmla="*/ 15628016 h 73227863"/>
              <a:gd name="connsiteX3" fmla="*/ 2841778 w 9740712"/>
              <a:gd name="connsiteY3" fmla="*/ 69722796 h 73227863"/>
              <a:gd name="connsiteX4" fmla="*/ 3826611 w 9740712"/>
              <a:gd name="connsiteY4" fmla="*/ 61122357 h 73227863"/>
              <a:gd name="connsiteX5" fmla="*/ 4859506 w 9740712"/>
              <a:gd name="connsiteY5" fmla="*/ 6026699 h 73227863"/>
              <a:gd name="connsiteX6" fmla="*/ 5792777 w 9740712"/>
              <a:gd name="connsiteY6" fmla="*/ 19213068 h 73227863"/>
              <a:gd name="connsiteX7" fmla="*/ 6731600 w 9740712"/>
              <a:gd name="connsiteY7" fmla="*/ 24272006 h 73227863"/>
              <a:gd name="connsiteX8" fmla="*/ 7785274 w 9740712"/>
              <a:gd name="connsiteY8" fmla="*/ 56077275 h 73227863"/>
              <a:gd name="connsiteX9" fmla="*/ 8646117 w 9740712"/>
              <a:gd name="connsiteY9" fmla="*/ 1052161 h 73227863"/>
              <a:gd name="connsiteX10" fmla="*/ 9740712 w 9740712"/>
              <a:gd name="connsiteY10" fmla="*/ 5972162 h 73227863"/>
              <a:gd name="connsiteX0" fmla="*/ 0 w 9770845"/>
              <a:gd name="connsiteY0" fmla="*/ 31446581 h 72741609"/>
              <a:gd name="connsiteX1" fmla="*/ 922760 w 9770845"/>
              <a:gd name="connsiteY1" fmla="*/ 17296260 h 72741609"/>
              <a:gd name="connsiteX2" fmla="*/ 1834156 w 9770845"/>
              <a:gd name="connsiteY2" fmla="*/ 15141762 h 72741609"/>
              <a:gd name="connsiteX3" fmla="*/ 2841778 w 9770845"/>
              <a:gd name="connsiteY3" fmla="*/ 69236542 h 72741609"/>
              <a:gd name="connsiteX4" fmla="*/ 3826611 w 9770845"/>
              <a:gd name="connsiteY4" fmla="*/ 60636103 h 72741609"/>
              <a:gd name="connsiteX5" fmla="*/ 4859506 w 9770845"/>
              <a:gd name="connsiteY5" fmla="*/ 5540445 h 72741609"/>
              <a:gd name="connsiteX6" fmla="*/ 5792777 w 9770845"/>
              <a:gd name="connsiteY6" fmla="*/ 18726814 h 72741609"/>
              <a:gd name="connsiteX7" fmla="*/ 6731600 w 9770845"/>
              <a:gd name="connsiteY7" fmla="*/ 23785752 h 72741609"/>
              <a:gd name="connsiteX8" fmla="*/ 7785274 w 9770845"/>
              <a:gd name="connsiteY8" fmla="*/ 55591021 h 72741609"/>
              <a:gd name="connsiteX9" fmla="*/ 8646117 w 9770845"/>
              <a:gd name="connsiteY9" fmla="*/ 565907 h 72741609"/>
              <a:gd name="connsiteX10" fmla="*/ 9770845 w 9770845"/>
              <a:gd name="connsiteY10" fmla="*/ 15580820 h 72741609"/>
              <a:gd name="connsiteX0" fmla="*/ 0 w 9770845"/>
              <a:gd name="connsiteY0" fmla="*/ 18659691 h 72741609"/>
              <a:gd name="connsiteX1" fmla="*/ 922760 w 9770845"/>
              <a:gd name="connsiteY1" fmla="*/ 17296260 h 72741609"/>
              <a:gd name="connsiteX2" fmla="*/ 1834156 w 9770845"/>
              <a:gd name="connsiteY2" fmla="*/ 15141762 h 72741609"/>
              <a:gd name="connsiteX3" fmla="*/ 2841778 w 9770845"/>
              <a:gd name="connsiteY3" fmla="*/ 69236542 h 72741609"/>
              <a:gd name="connsiteX4" fmla="*/ 3826611 w 9770845"/>
              <a:gd name="connsiteY4" fmla="*/ 60636103 h 72741609"/>
              <a:gd name="connsiteX5" fmla="*/ 4859506 w 9770845"/>
              <a:gd name="connsiteY5" fmla="*/ 5540445 h 72741609"/>
              <a:gd name="connsiteX6" fmla="*/ 5792777 w 9770845"/>
              <a:gd name="connsiteY6" fmla="*/ 18726814 h 72741609"/>
              <a:gd name="connsiteX7" fmla="*/ 6731600 w 9770845"/>
              <a:gd name="connsiteY7" fmla="*/ 23785752 h 72741609"/>
              <a:gd name="connsiteX8" fmla="*/ 7785274 w 9770845"/>
              <a:gd name="connsiteY8" fmla="*/ 55591021 h 72741609"/>
              <a:gd name="connsiteX9" fmla="*/ 8646117 w 9770845"/>
              <a:gd name="connsiteY9" fmla="*/ 565907 h 72741609"/>
              <a:gd name="connsiteX10" fmla="*/ 9770845 w 9770845"/>
              <a:gd name="connsiteY10" fmla="*/ 15580820 h 72741609"/>
              <a:gd name="connsiteX0" fmla="*/ 0 w 9770845"/>
              <a:gd name="connsiteY0" fmla="*/ 17986697 h 72741609"/>
              <a:gd name="connsiteX1" fmla="*/ 922760 w 9770845"/>
              <a:gd name="connsiteY1" fmla="*/ 17296260 h 72741609"/>
              <a:gd name="connsiteX2" fmla="*/ 1834156 w 9770845"/>
              <a:gd name="connsiteY2" fmla="*/ 15141762 h 72741609"/>
              <a:gd name="connsiteX3" fmla="*/ 2841778 w 9770845"/>
              <a:gd name="connsiteY3" fmla="*/ 69236542 h 72741609"/>
              <a:gd name="connsiteX4" fmla="*/ 3826611 w 9770845"/>
              <a:gd name="connsiteY4" fmla="*/ 60636103 h 72741609"/>
              <a:gd name="connsiteX5" fmla="*/ 4859506 w 9770845"/>
              <a:gd name="connsiteY5" fmla="*/ 5540445 h 72741609"/>
              <a:gd name="connsiteX6" fmla="*/ 5792777 w 9770845"/>
              <a:gd name="connsiteY6" fmla="*/ 18726814 h 72741609"/>
              <a:gd name="connsiteX7" fmla="*/ 6731600 w 9770845"/>
              <a:gd name="connsiteY7" fmla="*/ 23785752 h 72741609"/>
              <a:gd name="connsiteX8" fmla="*/ 7785274 w 9770845"/>
              <a:gd name="connsiteY8" fmla="*/ 55591021 h 72741609"/>
              <a:gd name="connsiteX9" fmla="*/ 8646117 w 9770845"/>
              <a:gd name="connsiteY9" fmla="*/ 565907 h 72741609"/>
              <a:gd name="connsiteX10" fmla="*/ 9770845 w 9770845"/>
              <a:gd name="connsiteY10" fmla="*/ 15580820 h 72741609"/>
              <a:gd name="connsiteX0" fmla="*/ 0 w 9770845"/>
              <a:gd name="connsiteY0" fmla="*/ 17986697 h 72492714"/>
              <a:gd name="connsiteX1" fmla="*/ 922760 w 9770845"/>
              <a:gd name="connsiteY1" fmla="*/ 17296260 h 72492714"/>
              <a:gd name="connsiteX2" fmla="*/ 1845707 w 9770845"/>
              <a:gd name="connsiteY2" fmla="*/ 18506733 h 72492714"/>
              <a:gd name="connsiteX3" fmla="*/ 2841778 w 9770845"/>
              <a:gd name="connsiteY3" fmla="*/ 69236542 h 72492714"/>
              <a:gd name="connsiteX4" fmla="*/ 3826611 w 9770845"/>
              <a:gd name="connsiteY4" fmla="*/ 60636103 h 72492714"/>
              <a:gd name="connsiteX5" fmla="*/ 4859506 w 9770845"/>
              <a:gd name="connsiteY5" fmla="*/ 5540445 h 72492714"/>
              <a:gd name="connsiteX6" fmla="*/ 5792777 w 9770845"/>
              <a:gd name="connsiteY6" fmla="*/ 18726814 h 72492714"/>
              <a:gd name="connsiteX7" fmla="*/ 6731600 w 9770845"/>
              <a:gd name="connsiteY7" fmla="*/ 23785752 h 72492714"/>
              <a:gd name="connsiteX8" fmla="*/ 7785274 w 9770845"/>
              <a:gd name="connsiteY8" fmla="*/ 55591021 h 72492714"/>
              <a:gd name="connsiteX9" fmla="*/ 8646117 w 9770845"/>
              <a:gd name="connsiteY9" fmla="*/ 565907 h 72492714"/>
              <a:gd name="connsiteX10" fmla="*/ 9770845 w 9770845"/>
              <a:gd name="connsiteY10" fmla="*/ 15580820 h 72492714"/>
              <a:gd name="connsiteX0" fmla="*/ 0 w 9770845"/>
              <a:gd name="connsiteY0" fmla="*/ 17986697 h 60720063"/>
              <a:gd name="connsiteX1" fmla="*/ 922760 w 9770845"/>
              <a:gd name="connsiteY1" fmla="*/ 17296260 h 60720063"/>
              <a:gd name="connsiteX2" fmla="*/ 1845707 w 9770845"/>
              <a:gd name="connsiteY2" fmla="*/ 18506733 h 60720063"/>
              <a:gd name="connsiteX3" fmla="*/ 2853329 w 9770845"/>
              <a:gd name="connsiteY3" fmla="*/ 18088982 h 60720063"/>
              <a:gd name="connsiteX4" fmla="*/ 3826611 w 9770845"/>
              <a:gd name="connsiteY4" fmla="*/ 60636103 h 60720063"/>
              <a:gd name="connsiteX5" fmla="*/ 4859506 w 9770845"/>
              <a:gd name="connsiteY5" fmla="*/ 5540445 h 60720063"/>
              <a:gd name="connsiteX6" fmla="*/ 5792777 w 9770845"/>
              <a:gd name="connsiteY6" fmla="*/ 18726814 h 60720063"/>
              <a:gd name="connsiteX7" fmla="*/ 6731600 w 9770845"/>
              <a:gd name="connsiteY7" fmla="*/ 23785752 h 60720063"/>
              <a:gd name="connsiteX8" fmla="*/ 7785274 w 9770845"/>
              <a:gd name="connsiteY8" fmla="*/ 55591021 h 60720063"/>
              <a:gd name="connsiteX9" fmla="*/ 8646117 w 9770845"/>
              <a:gd name="connsiteY9" fmla="*/ 565907 h 60720063"/>
              <a:gd name="connsiteX10" fmla="*/ 9770845 w 9770845"/>
              <a:gd name="connsiteY10" fmla="*/ 15580820 h 60720063"/>
              <a:gd name="connsiteX0" fmla="*/ 0 w 9770845"/>
              <a:gd name="connsiteY0" fmla="*/ 17986697 h 60720505"/>
              <a:gd name="connsiteX1" fmla="*/ 922760 w 9770845"/>
              <a:gd name="connsiteY1" fmla="*/ 17296260 h 60720505"/>
              <a:gd name="connsiteX2" fmla="*/ 1845707 w 9770845"/>
              <a:gd name="connsiteY2" fmla="*/ 17160745 h 60720505"/>
              <a:gd name="connsiteX3" fmla="*/ 2853329 w 9770845"/>
              <a:gd name="connsiteY3" fmla="*/ 18088982 h 60720505"/>
              <a:gd name="connsiteX4" fmla="*/ 3826611 w 9770845"/>
              <a:gd name="connsiteY4" fmla="*/ 60636103 h 60720505"/>
              <a:gd name="connsiteX5" fmla="*/ 4859506 w 9770845"/>
              <a:gd name="connsiteY5" fmla="*/ 5540445 h 60720505"/>
              <a:gd name="connsiteX6" fmla="*/ 5792777 w 9770845"/>
              <a:gd name="connsiteY6" fmla="*/ 18726814 h 60720505"/>
              <a:gd name="connsiteX7" fmla="*/ 6731600 w 9770845"/>
              <a:gd name="connsiteY7" fmla="*/ 23785752 h 60720505"/>
              <a:gd name="connsiteX8" fmla="*/ 7785274 w 9770845"/>
              <a:gd name="connsiteY8" fmla="*/ 55591021 h 60720505"/>
              <a:gd name="connsiteX9" fmla="*/ 8646117 w 9770845"/>
              <a:gd name="connsiteY9" fmla="*/ 565907 h 60720505"/>
              <a:gd name="connsiteX10" fmla="*/ 9770845 w 9770845"/>
              <a:gd name="connsiteY10" fmla="*/ 15580820 h 60720505"/>
              <a:gd name="connsiteX0" fmla="*/ 0 w 9770845"/>
              <a:gd name="connsiteY0" fmla="*/ 17313703 h 60720505"/>
              <a:gd name="connsiteX1" fmla="*/ 922760 w 9770845"/>
              <a:gd name="connsiteY1" fmla="*/ 17296260 h 60720505"/>
              <a:gd name="connsiteX2" fmla="*/ 1845707 w 9770845"/>
              <a:gd name="connsiteY2" fmla="*/ 17160745 h 60720505"/>
              <a:gd name="connsiteX3" fmla="*/ 2853329 w 9770845"/>
              <a:gd name="connsiteY3" fmla="*/ 18088982 h 60720505"/>
              <a:gd name="connsiteX4" fmla="*/ 3826611 w 9770845"/>
              <a:gd name="connsiteY4" fmla="*/ 60636103 h 60720505"/>
              <a:gd name="connsiteX5" fmla="*/ 4859506 w 9770845"/>
              <a:gd name="connsiteY5" fmla="*/ 5540445 h 60720505"/>
              <a:gd name="connsiteX6" fmla="*/ 5792777 w 9770845"/>
              <a:gd name="connsiteY6" fmla="*/ 18726814 h 60720505"/>
              <a:gd name="connsiteX7" fmla="*/ 6731600 w 9770845"/>
              <a:gd name="connsiteY7" fmla="*/ 23785752 h 60720505"/>
              <a:gd name="connsiteX8" fmla="*/ 7785274 w 9770845"/>
              <a:gd name="connsiteY8" fmla="*/ 55591021 h 60720505"/>
              <a:gd name="connsiteX9" fmla="*/ 8646117 w 9770845"/>
              <a:gd name="connsiteY9" fmla="*/ 565907 h 60720505"/>
              <a:gd name="connsiteX10" fmla="*/ 9770845 w 9770845"/>
              <a:gd name="connsiteY10" fmla="*/ 15580820 h 60720505"/>
              <a:gd name="connsiteX0" fmla="*/ 0 w 9770845"/>
              <a:gd name="connsiteY0" fmla="*/ 17313703 h 60754287"/>
              <a:gd name="connsiteX1" fmla="*/ 922760 w 9770845"/>
              <a:gd name="connsiteY1" fmla="*/ 17296260 h 60754287"/>
              <a:gd name="connsiteX2" fmla="*/ 1845707 w 9770845"/>
              <a:gd name="connsiteY2" fmla="*/ 17160745 h 60754287"/>
              <a:gd name="connsiteX3" fmla="*/ 2853329 w 9770845"/>
              <a:gd name="connsiteY3" fmla="*/ 20107965 h 60754287"/>
              <a:gd name="connsiteX4" fmla="*/ 3826611 w 9770845"/>
              <a:gd name="connsiteY4" fmla="*/ 60636103 h 60754287"/>
              <a:gd name="connsiteX5" fmla="*/ 4859506 w 9770845"/>
              <a:gd name="connsiteY5" fmla="*/ 5540445 h 60754287"/>
              <a:gd name="connsiteX6" fmla="*/ 5792777 w 9770845"/>
              <a:gd name="connsiteY6" fmla="*/ 18726814 h 60754287"/>
              <a:gd name="connsiteX7" fmla="*/ 6731600 w 9770845"/>
              <a:gd name="connsiteY7" fmla="*/ 23785752 h 60754287"/>
              <a:gd name="connsiteX8" fmla="*/ 7785274 w 9770845"/>
              <a:gd name="connsiteY8" fmla="*/ 55591021 h 60754287"/>
              <a:gd name="connsiteX9" fmla="*/ 8646117 w 9770845"/>
              <a:gd name="connsiteY9" fmla="*/ 565907 h 60754287"/>
              <a:gd name="connsiteX10" fmla="*/ 9770845 w 9770845"/>
              <a:gd name="connsiteY10" fmla="*/ 15580820 h 60754287"/>
              <a:gd name="connsiteX0" fmla="*/ 0 w 9770845"/>
              <a:gd name="connsiteY0" fmla="*/ 17313703 h 55939276"/>
              <a:gd name="connsiteX1" fmla="*/ 922760 w 9770845"/>
              <a:gd name="connsiteY1" fmla="*/ 17296260 h 55939276"/>
              <a:gd name="connsiteX2" fmla="*/ 1845707 w 9770845"/>
              <a:gd name="connsiteY2" fmla="*/ 17160745 h 55939276"/>
              <a:gd name="connsiteX3" fmla="*/ 2853329 w 9770845"/>
              <a:gd name="connsiteY3" fmla="*/ 20107965 h 55939276"/>
              <a:gd name="connsiteX4" fmla="*/ 3803510 w 9770845"/>
              <a:gd name="connsiteY4" fmla="*/ 18237470 h 55939276"/>
              <a:gd name="connsiteX5" fmla="*/ 4859506 w 9770845"/>
              <a:gd name="connsiteY5" fmla="*/ 5540445 h 55939276"/>
              <a:gd name="connsiteX6" fmla="*/ 5792777 w 9770845"/>
              <a:gd name="connsiteY6" fmla="*/ 18726814 h 55939276"/>
              <a:gd name="connsiteX7" fmla="*/ 6731600 w 9770845"/>
              <a:gd name="connsiteY7" fmla="*/ 23785752 h 55939276"/>
              <a:gd name="connsiteX8" fmla="*/ 7785274 w 9770845"/>
              <a:gd name="connsiteY8" fmla="*/ 55591021 h 55939276"/>
              <a:gd name="connsiteX9" fmla="*/ 8646117 w 9770845"/>
              <a:gd name="connsiteY9" fmla="*/ 565907 h 55939276"/>
              <a:gd name="connsiteX10" fmla="*/ 9770845 w 9770845"/>
              <a:gd name="connsiteY10" fmla="*/ 15580820 h 55939276"/>
              <a:gd name="connsiteX0" fmla="*/ 0 w 9770845"/>
              <a:gd name="connsiteY0" fmla="*/ 17313703 h 55939276"/>
              <a:gd name="connsiteX1" fmla="*/ 922760 w 9770845"/>
              <a:gd name="connsiteY1" fmla="*/ 17296260 h 55939276"/>
              <a:gd name="connsiteX2" fmla="*/ 1845707 w 9770845"/>
              <a:gd name="connsiteY2" fmla="*/ 17160745 h 55939276"/>
              <a:gd name="connsiteX3" fmla="*/ 2864880 w 9770845"/>
              <a:gd name="connsiteY3" fmla="*/ 17415988 h 55939276"/>
              <a:gd name="connsiteX4" fmla="*/ 3803510 w 9770845"/>
              <a:gd name="connsiteY4" fmla="*/ 18237470 h 55939276"/>
              <a:gd name="connsiteX5" fmla="*/ 4859506 w 9770845"/>
              <a:gd name="connsiteY5" fmla="*/ 5540445 h 55939276"/>
              <a:gd name="connsiteX6" fmla="*/ 5792777 w 9770845"/>
              <a:gd name="connsiteY6" fmla="*/ 18726814 h 55939276"/>
              <a:gd name="connsiteX7" fmla="*/ 6731600 w 9770845"/>
              <a:gd name="connsiteY7" fmla="*/ 23785752 h 55939276"/>
              <a:gd name="connsiteX8" fmla="*/ 7785274 w 9770845"/>
              <a:gd name="connsiteY8" fmla="*/ 55591021 h 55939276"/>
              <a:gd name="connsiteX9" fmla="*/ 8646117 w 9770845"/>
              <a:gd name="connsiteY9" fmla="*/ 565907 h 55939276"/>
              <a:gd name="connsiteX10" fmla="*/ 9770845 w 9770845"/>
              <a:gd name="connsiteY10" fmla="*/ 15580820 h 55939276"/>
              <a:gd name="connsiteX0" fmla="*/ 0 w 9770845"/>
              <a:gd name="connsiteY0" fmla="*/ 17313703 h 55939276"/>
              <a:gd name="connsiteX1" fmla="*/ 922760 w 9770845"/>
              <a:gd name="connsiteY1" fmla="*/ 17296260 h 55939276"/>
              <a:gd name="connsiteX2" fmla="*/ 1845707 w 9770845"/>
              <a:gd name="connsiteY2" fmla="*/ 17160745 h 55939276"/>
              <a:gd name="connsiteX3" fmla="*/ 2864880 w 9770845"/>
              <a:gd name="connsiteY3" fmla="*/ 17415988 h 55939276"/>
              <a:gd name="connsiteX4" fmla="*/ 3826612 w 9770845"/>
              <a:gd name="connsiteY4" fmla="*/ 16891481 h 55939276"/>
              <a:gd name="connsiteX5" fmla="*/ 4859506 w 9770845"/>
              <a:gd name="connsiteY5" fmla="*/ 5540445 h 55939276"/>
              <a:gd name="connsiteX6" fmla="*/ 5792777 w 9770845"/>
              <a:gd name="connsiteY6" fmla="*/ 18726814 h 55939276"/>
              <a:gd name="connsiteX7" fmla="*/ 6731600 w 9770845"/>
              <a:gd name="connsiteY7" fmla="*/ 23785752 h 55939276"/>
              <a:gd name="connsiteX8" fmla="*/ 7785274 w 9770845"/>
              <a:gd name="connsiteY8" fmla="*/ 55591021 h 55939276"/>
              <a:gd name="connsiteX9" fmla="*/ 8646117 w 9770845"/>
              <a:gd name="connsiteY9" fmla="*/ 565907 h 55939276"/>
              <a:gd name="connsiteX10" fmla="*/ 9770845 w 9770845"/>
              <a:gd name="connsiteY10" fmla="*/ 15580820 h 55939276"/>
              <a:gd name="connsiteX0" fmla="*/ 0 w 9770845"/>
              <a:gd name="connsiteY0" fmla="*/ 17313703 h 55939276"/>
              <a:gd name="connsiteX1" fmla="*/ 922760 w 9770845"/>
              <a:gd name="connsiteY1" fmla="*/ 17296260 h 55939276"/>
              <a:gd name="connsiteX2" fmla="*/ 1845707 w 9770845"/>
              <a:gd name="connsiteY2" fmla="*/ 17160745 h 55939276"/>
              <a:gd name="connsiteX3" fmla="*/ 2864880 w 9770845"/>
              <a:gd name="connsiteY3" fmla="*/ 17415988 h 55939276"/>
              <a:gd name="connsiteX4" fmla="*/ 3826612 w 9770845"/>
              <a:gd name="connsiteY4" fmla="*/ 16891481 h 55939276"/>
              <a:gd name="connsiteX5" fmla="*/ 4882608 w 9770845"/>
              <a:gd name="connsiteY5" fmla="*/ 14962364 h 55939276"/>
              <a:gd name="connsiteX6" fmla="*/ 5792777 w 9770845"/>
              <a:gd name="connsiteY6" fmla="*/ 18726814 h 55939276"/>
              <a:gd name="connsiteX7" fmla="*/ 6731600 w 9770845"/>
              <a:gd name="connsiteY7" fmla="*/ 23785752 h 55939276"/>
              <a:gd name="connsiteX8" fmla="*/ 7785274 w 9770845"/>
              <a:gd name="connsiteY8" fmla="*/ 55591021 h 55939276"/>
              <a:gd name="connsiteX9" fmla="*/ 8646117 w 9770845"/>
              <a:gd name="connsiteY9" fmla="*/ 565907 h 55939276"/>
              <a:gd name="connsiteX10" fmla="*/ 9770845 w 9770845"/>
              <a:gd name="connsiteY10" fmla="*/ 15580820 h 55939276"/>
              <a:gd name="connsiteX0" fmla="*/ 0 w 9770845"/>
              <a:gd name="connsiteY0" fmla="*/ 17313703 h 55942809"/>
              <a:gd name="connsiteX1" fmla="*/ 922760 w 9770845"/>
              <a:gd name="connsiteY1" fmla="*/ 17296260 h 55942809"/>
              <a:gd name="connsiteX2" fmla="*/ 1845707 w 9770845"/>
              <a:gd name="connsiteY2" fmla="*/ 17160745 h 55942809"/>
              <a:gd name="connsiteX3" fmla="*/ 2864880 w 9770845"/>
              <a:gd name="connsiteY3" fmla="*/ 17415988 h 55942809"/>
              <a:gd name="connsiteX4" fmla="*/ 3826612 w 9770845"/>
              <a:gd name="connsiteY4" fmla="*/ 16891481 h 55942809"/>
              <a:gd name="connsiteX5" fmla="*/ 4882608 w 9770845"/>
              <a:gd name="connsiteY5" fmla="*/ 14962364 h 55942809"/>
              <a:gd name="connsiteX6" fmla="*/ 5792777 w 9770845"/>
              <a:gd name="connsiteY6" fmla="*/ 16707832 h 55942809"/>
              <a:gd name="connsiteX7" fmla="*/ 6731600 w 9770845"/>
              <a:gd name="connsiteY7" fmla="*/ 23785752 h 55942809"/>
              <a:gd name="connsiteX8" fmla="*/ 7785274 w 9770845"/>
              <a:gd name="connsiteY8" fmla="*/ 55591021 h 55942809"/>
              <a:gd name="connsiteX9" fmla="*/ 8646117 w 9770845"/>
              <a:gd name="connsiteY9" fmla="*/ 565907 h 55942809"/>
              <a:gd name="connsiteX10" fmla="*/ 9770845 w 9770845"/>
              <a:gd name="connsiteY10" fmla="*/ 15580820 h 55942809"/>
              <a:gd name="connsiteX0" fmla="*/ 0 w 9770845"/>
              <a:gd name="connsiteY0" fmla="*/ 17313703 h 55776327"/>
              <a:gd name="connsiteX1" fmla="*/ 922760 w 9770845"/>
              <a:gd name="connsiteY1" fmla="*/ 17296260 h 55776327"/>
              <a:gd name="connsiteX2" fmla="*/ 1845707 w 9770845"/>
              <a:gd name="connsiteY2" fmla="*/ 17160745 h 55776327"/>
              <a:gd name="connsiteX3" fmla="*/ 2864880 w 9770845"/>
              <a:gd name="connsiteY3" fmla="*/ 17415988 h 55776327"/>
              <a:gd name="connsiteX4" fmla="*/ 3826612 w 9770845"/>
              <a:gd name="connsiteY4" fmla="*/ 16891481 h 55776327"/>
              <a:gd name="connsiteX5" fmla="*/ 4882608 w 9770845"/>
              <a:gd name="connsiteY5" fmla="*/ 14962364 h 55776327"/>
              <a:gd name="connsiteX6" fmla="*/ 5792777 w 9770845"/>
              <a:gd name="connsiteY6" fmla="*/ 16707832 h 55776327"/>
              <a:gd name="connsiteX7" fmla="*/ 6731600 w 9770845"/>
              <a:gd name="connsiteY7" fmla="*/ 18401799 h 55776327"/>
              <a:gd name="connsiteX8" fmla="*/ 7785274 w 9770845"/>
              <a:gd name="connsiteY8" fmla="*/ 55591021 h 55776327"/>
              <a:gd name="connsiteX9" fmla="*/ 8646117 w 9770845"/>
              <a:gd name="connsiteY9" fmla="*/ 565907 h 55776327"/>
              <a:gd name="connsiteX10" fmla="*/ 9770845 w 9770845"/>
              <a:gd name="connsiteY10" fmla="*/ 15580820 h 55776327"/>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82608 w 9770845"/>
              <a:gd name="connsiteY5" fmla="*/ 14962364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82608 w 9770845"/>
              <a:gd name="connsiteY5" fmla="*/ 15635358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82608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36405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36405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508831"/>
              <a:gd name="connsiteX1" fmla="*/ 922760 w 9770845"/>
              <a:gd name="connsiteY1" fmla="*/ 17296260 h 18508831"/>
              <a:gd name="connsiteX2" fmla="*/ 1845707 w 9770845"/>
              <a:gd name="connsiteY2" fmla="*/ 17160745 h 18508831"/>
              <a:gd name="connsiteX3" fmla="*/ 2864880 w 9770845"/>
              <a:gd name="connsiteY3" fmla="*/ 17415988 h 18508831"/>
              <a:gd name="connsiteX4" fmla="*/ 3826612 w 9770845"/>
              <a:gd name="connsiteY4" fmla="*/ 16891481 h 18508831"/>
              <a:gd name="connsiteX5" fmla="*/ 4836405 w 9770845"/>
              <a:gd name="connsiteY5" fmla="*/ 16981346 h 18508831"/>
              <a:gd name="connsiteX6" fmla="*/ 5792777 w 9770845"/>
              <a:gd name="connsiteY6" fmla="*/ 18053820 h 18508831"/>
              <a:gd name="connsiteX7" fmla="*/ 6731600 w 9770845"/>
              <a:gd name="connsiteY7" fmla="*/ 18401799 h 18508831"/>
              <a:gd name="connsiteX8" fmla="*/ 7785274 w 9770845"/>
              <a:gd name="connsiteY8" fmla="*/ 16557358 h 18508831"/>
              <a:gd name="connsiteX9" fmla="*/ 8646117 w 9770845"/>
              <a:gd name="connsiteY9" fmla="*/ 565907 h 18508831"/>
              <a:gd name="connsiteX10" fmla="*/ 9770845 w 9770845"/>
              <a:gd name="connsiteY10" fmla="*/ 15580820 h 18508831"/>
              <a:gd name="connsiteX0" fmla="*/ 0 w 9770845"/>
              <a:gd name="connsiteY0" fmla="*/ 17313703 h 18554812"/>
              <a:gd name="connsiteX1" fmla="*/ 922760 w 9770845"/>
              <a:gd name="connsiteY1" fmla="*/ 17296260 h 18554812"/>
              <a:gd name="connsiteX2" fmla="*/ 1845707 w 9770845"/>
              <a:gd name="connsiteY2" fmla="*/ 17160745 h 18554812"/>
              <a:gd name="connsiteX3" fmla="*/ 2864880 w 9770845"/>
              <a:gd name="connsiteY3" fmla="*/ 17415988 h 18554812"/>
              <a:gd name="connsiteX4" fmla="*/ 3826612 w 9770845"/>
              <a:gd name="connsiteY4" fmla="*/ 16891481 h 18554812"/>
              <a:gd name="connsiteX5" fmla="*/ 4836405 w 9770845"/>
              <a:gd name="connsiteY5" fmla="*/ 16981346 h 18554812"/>
              <a:gd name="connsiteX6" fmla="*/ 5792777 w 9770845"/>
              <a:gd name="connsiteY6" fmla="*/ 17380826 h 18554812"/>
              <a:gd name="connsiteX7" fmla="*/ 6731600 w 9770845"/>
              <a:gd name="connsiteY7" fmla="*/ 18401799 h 18554812"/>
              <a:gd name="connsiteX8" fmla="*/ 7785274 w 9770845"/>
              <a:gd name="connsiteY8" fmla="*/ 16557358 h 18554812"/>
              <a:gd name="connsiteX9" fmla="*/ 8646117 w 9770845"/>
              <a:gd name="connsiteY9" fmla="*/ 565907 h 18554812"/>
              <a:gd name="connsiteX10" fmla="*/ 9770845 w 9770845"/>
              <a:gd name="connsiteY10" fmla="*/ 15580820 h 18554812"/>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36405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36405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508831"/>
              <a:gd name="connsiteX1" fmla="*/ 922760 w 9770845"/>
              <a:gd name="connsiteY1" fmla="*/ 17296260 h 18508831"/>
              <a:gd name="connsiteX2" fmla="*/ 1845707 w 9770845"/>
              <a:gd name="connsiteY2" fmla="*/ 17160745 h 18508831"/>
              <a:gd name="connsiteX3" fmla="*/ 2864880 w 9770845"/>
              <a:gd name="connsiteY3" fmla="*/ 17415988 h 18508831"/>
              <a:gd name="connsiteX4" fmla="*/ 3826612 w 9770845"/>
              <a:gd name="connsiteY4" fmla="*/ 16891481 h 18508831"/>
              <a:gd name="connsiteX5" fmla="*/ 4836405 w 9770845"/>
              <a:gd name="connsiteY5" fmla="*/ 16981346 h 18508831"/>
              <a:gd name="connsiteX6" fmla="*/ 5792777 w 9770845"/>
              <a:gd name="connsiteY6" fmla="*/ 18053820 h 18508831"/>
              <a:gd name="connsiteX7" fmla="*/ 6731600 w 9770845"/>
              <a:gd name="connsiteY7" fmla="*/ 18401799 h 18508831"/>
              <a:gd name="connsiteX8" fmla="*/ 7785274 w 9770845"/>
              <a:gd name="connsiteY8" fmla="*/ 16557358 h 18508831"/>
              <a:gd name="connsiteX9" fmla="*/ 8646117 w 9770845"/>
              <a:gd name="connsiteY9" fmla="*/ 565907 h 18508831"/>
              <a:gd name="connsiteX10" fmla="*/ 9770845 w 9770845"/>
              <a:gd name="connsiteY10" fmla="*/ 15580820 h 18508831"/>
              <a:gd name="connsiteX0" fmla="*/ 0 w 9770845"/>
              <a:gd name="connsiteY0" fmla="*/ 17313703 h 18648431"/>
              <a:gd name="connsiteX1" fmla="*/ 922760 w 9770845"/>
              <a:gd name="connsiteY1" fmla="*/ 17296260 h 18648431"/>
              <a:gd name="connsiteX2" fmla="*/ 1845707 w 9770845"/>
              <a:gd name="connsiteY2" fmla="*/ 17160745 h 18648431"/>
              <a:gd name="connsiteX3" fmla="*/ 2864880 w 9770845"/>
              <a:gd name="connsiteY3" fmla="*/ 17415988 h 18648431"/>
              <a:gd name="connsiteX4" fmla="*/ 3826612 w 9770845"/>
              <a:gd name="connsiteY4" fmla="*/ 16891481 h 18648431"/>
              <a:gd name="connsiteX5" fmla="*/ 4836405 w 9770845"/>
              <a:gd name="connsiteY5" fmla="*/ 16981346 h 18648431"/>
              <a:gd name="connsiteX6" fmla="*/ 5792777 w 9770845"/>
              <a:gd name="connsiteY6" fmla="*/ 16034838 h 18648431"/>
              <a:gd name="connsiteX7" fmla="*/ 6731600 w 9770845"/>
              <a:gd name="connsiteY7" fmla="*/ 18401799 h 18648431"/>
              <a:gd name="connsiteX8" fmla="*/ 7785274 w 9770845"/>
              <a:gd name="connsiteY8" fmla="*/ 16557358 h 18648431"/>
              <a:gd name="connsiteX9" fmla="*/ 8646117 w 9770845"/>
              <a:gd name="connsiteY9" fmla="*/ 565907 h 18648431"/>
              <a:gd name="connsiteX10" fmla="*/ 9770845 w 9770845"/>
              <a:gd name="connsiteY10" fmla="*/ 15580820 h 18648431"/>
              <a:gd name="connsiteX0" fmla="*/ 0 w 9770845"/>
              <a:gd name="connsiteY0" fmla="*/ 17313703 h 18254029"/>
              <a:gd name="connsiteX1" fmla="*/ 922760 w 9770845"/>
              <a:gd name="connsiteY1" fmla="*/ 17296260 h 18254029"/>
              <a:gd name="connsiteX2" fmla="*/ 1845707 w 9770845"/>
              <a:gd name="connsiteY2" fmla="*/ 17160745 h 18254029"/>
              <a:gd name="connsiteX3" fmla="*/ 2864880 w 9770845"/>
              <a:gd name="connsiteY3" fmla="*/ 17415988 h 18254029"/>
              <a:gd name="connsiteX4" fmla="*/ 3826612 w 9770845"/>
              <a:gd name="connsiteY4" fmla="*/ 16891481 h 18254029"/>
              <a:gd name="connsiteX5" fmla="*/ 4836405 w 9770845"/>
              <a:gd name="connsiteY5" fmla="*/ 16981346 h 18254029"/>
              <a:gd name="connsiteX6" fmla="*/ 5792777 w 9770845"/>
              <a:gd name="connsiteY6" fmla="*/ 16034838 h 18254029"/>
              <a:gd name="connsiteX7" fmla="*/ 6731600 w 9770845"/>
              <a:gd name="connsiteY7" fmla="*/ 17728805 h 18254029"/>
              <a:gd name="connsiteX8" fmla="*/ 7785274 w 9770845"/>
              <a:gd name="connsiteY8" fmla="*/ 16557358 h 18254029"/>
              <a:gd name="connsiteX9" fmla="*/ 8646117 w 9770845"/>
              <a:gd name="connsiteY9" fmla="*/ 565907 h 18254029"/>
              <a:gd name="connsiteX10" fmla="*/ 9770845 w 9770845"/>
              <a:gd name="connsiteY10" fmla="*/ 15580820 h 18254029"/>
              <a:gd name="connsiteX0" fmla="*/ 0 w 9770845"/>
              <a:gd name="connsiteY0" fmla="*/ 6494736 h 6924024"/>
              <a:gd name="connsiteX1" fmla="*/ 922760 w 9770845"/>
              <a:gd name="connsiteY1" fmla="*/ 6477293 h 6924024"/>
              <a:gd name="connsiteX2" fmla="*/ 1845707 w 9770845"/>
              <a:gd name="connsiteY2" fmla="*/ 6341778 h 6924024"/>
              <a:gd name="connsiteX3" fmla="*/ 2864880 w 9770845"/>
              <a:gd name="connsiteY3" fmla="*/ 6597021 h 6924024"/>
              <a:gd name="connsiteX4" fmla="*/ 3826612 w 9770845"/>
              <a:gd name="connsiteY4" fmla="*/ 6072514 h 6924024"/>
              <a:gd name="connsiteX5" fmla="*/ 4836405 w 9770845"/>
              <a:gd name="connsiteY5" fmla="*/ 6162379 h 6924024"/>
              <a:gd name="connsiteX6" fmla="*/ 5792777 w 9770845"/>
              <a:gd name="connsiteY6" fmla="*/ 5215871 h 6924024"/>
              <a:gd name="connsiteX7" fmla="*/ 6731600 w 9770845"/>
              <a:gd name="connsiteY7" fmla="*/ 6909838 h 6924024"/>
              <a:gd name="connsiteX8" fmla="*/ 7785274 w 9770845"/>
              <a:gd name="connsiteY8" fmla="*/ 5738391 h 6924024"/>
              <a:gd name="connsiteX9" fmla="*/ 8726972 w 9770845"/>
              <a:gd name="connsiteY9" fmla="*/ 1187841 h 6924024"/>
              <a:gd name="connsiteX10" fmla="*/ 9770845 w 9770845"/>
              <a:gd name="connsiteY10" fmla="*/ 4761853 h 6924024"/>
              <a:gd name="connsiteX0" fmla="*/ 0 w 9782396"/>
              <a:gd name="connsiteY0" fmla="*/ 6163096 h 8468179"/>
              <a:gd name="connsiteX1" fmla="*/ 922760 w 9782396"/>
              <a:gd name="connsiteY1" fmla="*/ 6145653 h 8468179"/>
              <a:gd name="connsiteX2" fmla="*/ 1845707 w 9782396"/>
              <a:gd name="connsiteY2" fmla="*/ 6010138 h 8468179"/>
              <a:gd name="connsiteX3" fmla="*/ 2864880 w 9782396"/>
              <a:gd name="connsiteY3" fmla="*/ 6265381 h 8468179"/>
              <a:gd name="connsiteX4" fmla="*/ 3826612 w 9782396"/>
              <a:gd name="connsiteY4" fmla="*/ 5740874 h 8468179"/>
              <a:gd name="connsiteX5" fmla="*/ 4836405 w 9782396"/>
              <a:gd name="connsiteY5" fmla="*/ 5830739 h 8468179"/>
              <a:gd name="connsiteX6" fmla="*/ 5792777 w 9782396"/>
              <a:gd name="connsiteY6" fmla="*/ 4884231 h 8468179"/>
              <a:gd name="connsiteX7" fmla="*/ 6731600 w 9782396"/>
              <a:gd name="connsiteY7" fmla="*/ 6578198 h 8468179"/>
              <a:gd name="connsiteX8" fmla="*/ 7785274 w 9782396"/>
              <a:gd name="connsiteY8" fmla="*/ 5406751 h 8468179"/>
              <a:gd name="connsiteX9" fmla="*/ 8726972 w 9782396"/>
              <a:gd name="connsiteY9" fmla="*/ 856201 h 8468179"/>
              <a:gd name="connsiteX10" fmla="*/ 9782396 w 9782396"/>
              <a:gd name="connsiteY10" fmla="*/ 8468179 h 8468179"/>
              <a:gd name="connsiteX0" fmla="*/ 0 w 9782396"/>
              <a:gd name="connsiteY0" fmla="*/ 7237944 h 7667232"/>
              <a:gd name="connsiteX1" fmla="*/ 922760 w 9782396"/>
              <a:gd name="connsiteY1" fmla="*/ 7220501 h 7667232"/>
              <a:gd name="connsiteX2" fmla="*/ 1845707 w 9782396"/>
              <a:gd name="connsiteY2" fmla="*/ 7084986 h 7667232"/>
              <a:gd name="connsiteX3" fmla="*/ 2864880 w 9782396"/>
              <a:gd name="connsiteY3" fmla="*/ 7340229 h 7667232"/>
              <a:gd name="connsiteX4" fmla="*/ 3826612 w 9782396"/>
              <a:gd name="connsiteY4" fmla="*/ 6815722 h 7667232"/>
              <a:gd name="connsiteX5" fmla="*/ 4836405 w 9782396"/>
              <a:gd name="connsiteY5" fmla="*/ 6905587 h 7667232"/>
              <a:gd name="connsiteX6" fmla="*/ 5792777 w 9782396"/>
              <a:gd name="connsiteY6" fmla="*/ 5959079 h 7667232"/>
              <a:gd name="connsiteX7" fmla="*/ 6731600 w 9782396"/>
              <a:gd name="connsiteY7" fmla="*/ 7653046 h 7667232"/>
              <a:gd name="connsiteX8" fmla="*/ 7785274 w 9782396"/>
              <a:gd name="connsiteY8" fmla="*/ 6481599 h 7667232"/>
              <a:gd name="connsiteX9" fmla="*/ 8726972 w 9782396"/>
              <a:gd name="connsiteY9" fmla="*/ 1931049 h 7667232"/>
              <a:gd name="connsiteX10" fmla="*/ 9782396 w 9782396"/>
              <a:gd name="connsiteY10" fmla="*/ 1467097 h 7667232"/>
              <a:gd name="connsiteX0" fmla="*/ 0 w 9782396"/>
              <a:gd name="connsiteY0" fmla="*/ 5855800 h 6277801"/>
              <a:gd name="connsiteX1" fmla="*/ 922760 w 9782396"/>
              <a:gd name="connsiteY1" fmla="*/ 5838357 h 6277801"/>
              <a:gd name="connsiteX2" fmla="*/ 1845707 w 9782396"/>
              <a:gd name="connsiteY2" fmla="*/ 5702842 h 6277801"/>
              <a:gd name="connsiteX3" fmla="*/ 2864880 w 9782396"/>
              <a:gd name="connsiteY3" fmla="*/ 5958085 h 6277801"/>
              <a:gd name="connsiteX4" fmla="*/ 3826612 w 9782396"/>
              <a:gd name="connsiteY4" fmla="*/ 5433578 h 6277801"/>
              <a:gd name="connsiteX5" fmla="*/ 4836405 w 9782396"/>
              <a:gd name="connsiteY5" fmla="*/ 5523443 h 6277801"/>
              <a:gd name="connsiteX6" fmla="*/ 5792777 w 9782396"/>
              <a:gd name="connsiteY6" fmla="*/ 4576935 h 6277801"/>
              <a:gd name="connsiteX7" fmla="*/ 6731600 w 9782396"/>
              <a:gd name="connsiteY7" fmla="*/ 6270902 h 6277801"/>
              <a:gd name="connsiteX8" fmla="*/ 7785274 w 9782396"/>
              <a:gd name="connsiteY8" fmla="*/ 5099455 h 6277801"/>
              <a:gd name="connsiteX9" fmla="*/ 8726972 w 9782396"/>
              <a:gd name="connsiteY9" fmla="*/ 3240882 h 6277801"/>
              <a:gd name="connsiteX10" fmla="*/ 9782396 w 9782396"/>
              <a:gd name="connsiteY10" fmla="*/ 84953 h 6277801"/>
              <a:gd name="connsiteX0" fmla="*/ 0 w 9782396"/>
              <a:gd name="connsiteY0" fmla="*/ 5855800 h 6277801"/>
              <a:gd name="connsiteX1" fmla="*/ 922760 w 9782396"/>
              <a:gd name="connsiteY1" fmla="*/ 5838357 h 6277801"/>
              <a:gd name="connsiteX2" fmla="*/ 1845707 w 9782396"/>
              <a:gd name="connsiteY2" fmla="*/ 5702842 h 6277801"/>
              <a:gd name="connsiteX3" fmla="*/ 2864880 w 9782396"/>
              <a:gd name="connsiteY3" fmla="*/ 5958085 h 6277801"/>
              <a:gd name="connsiteX4" fmla="*/ 3826612 w 9782396"/>
              <a:gd name="connsiteY4" fmla="*/ 5433578 h 6277801"/>
              <a:gd name="connsiteX5" fmla="*/ 4836405 w 9782396"/>
              <a:gd name="connsiteY5" fmla="*/ 5523443 h 6277801"/>
              <a:gd name="connsiteX6" fmla="*/ 5792777 w 9782396"/>
              <a:gd name="connsiteY6" fmla="*/ 4576935 h 6277801"/>
              <a:gd name="connsiteX7" fmla="*/ 6731600 w 9782396"/>
              <a:gd name="connsiteY7" fmla="*/ 6270902 h 6277801"/>
              <a:gd name="connsiteX8" fmla="*/ 7785274 w 9782396"/>
              <a:gd name="connsiteY8" fmla="*/ 5099455 h 6277801"/>
              <a:gd name="connsiteX9" fmla="*/ 8726972 w 9782396"/>
              <a:gd name="connsiteY9" fmla="*/ 3240882 h 6277801"/>
              <a:gd name="connsiteX10" fmla="*/ 9782396 w 9782396"/>
              <a:gd name="connsiteY10" fmla="*/ 84953 h 6277801"/>
              <a:gd name="connsiteX0" fmla="*/ 0 w 9782396"/>
              <a:gd name="connsiteY0" fmla="*/ 5770848 h 6192849"/>
              <a:gd name="connsiteX1" fmla="*/ 922760 w 9782396"/>
              <a:gd name="connsiteY1" fmla="*/ 5753405 h 6192849"/>
              <a:gd name="connsiteX2" fmla="*/ 1845707 w 9782396"/>
              <a:gd name="connsiteY2" fmla="*/ 5617890 h 6192849"/>
              <a:gd name="connsiteX3" fmla="*/ 2864880 w 9782396"/>
              <a:gd name="connsiteY3" fmla="*/ 5873133 h 6192849"/>
              <a:gd name="connsiteX4" fmla="*/ 3826612 w 9782396"/>
              <a:gd name="connsiteY4" fmla="*/ 5348626 h 6192849"/>
              <a:gd name="connsiteX5" fmla="*/ 4836405 w 9782396"/>
              <a:gd name="connsiteY5" fmla="*/ 5438491 h 6192849"/>
              <a:gd name="connsiteX6" fmla="*/ 5792777 w 9782396"/>
              <a:gd name="connsiteY6" fmla="*/ 4491983 h 6192849"/>
              <a:gd name="connsiteX7" fmla="*/ 6731600 w 9782396"/>
              <a:gd name="connsiteY7" fmla="*/ 6185950 h 6192849"/>
              <a:gd name="connsiteX8" fmla="*/ 7785274 w 9782396"/>
              <a:gd name="connsiteY8" fmla="*/ 5014503 h 6192849"/>
              <a:gd name="connsiteX9" fmla="*/ 8726972 w 9782396"/>
              <a:gd name="connsiteY9" fmla="*/ 3155930 h 6192849"/>
              <a:gd name="connsiteX10" fmla="*/ 9782396 w 9782396"/>
              <a:gd name="connsiteY10" fmla="*/ 1 h 6192849"/>
              <a:gd name="connsiteX0" fmla="*/ 0 w 9782396"/>
              <a:gd name="connsiteY0" fmla="*/ 3114420 h 3536421"/>
              <a:gd name="connsiteX1" fmla="*/ 922760 w 9782396"/>
              <a:gd name="connsiteY1" fmla="*/ 3096977 h 3536421"/>
              <a:gd name="connsiteX2" fmla="*/ 1845707 w 9782396"/>
              <a:gd name="connsiteY2" fmla="*/ 2961462 h 3536421"/>
              <a:gd name="connsiteX3" fmla="*/ 2864880 w 9782396"/>
              <a:gd name="connsiteY3" fmla="*/ 3216705 h 3536421"/>
              <a:gd name="connsiteX4" fmla="*/ 3826612 w 9782396"/>
              <a:gd name="connsiteY4" fmla="*/ 2692198 h 3536421"/>
              <a:gd name="connsiteX5" fmla="*/ 4836405 w 9782396"/>
              <a:gd name="connsiteY5" fmla="*/ 2782063 h 3536421"/>
              <a:gd name="connsiteX6" fmla="*/ 5792777 w 9782396"/>
              <a:gd name="connsiteY6" fmla="*/ 1835555 h 3536421"/>
              <a:gd name="connsiteX7" fmla="*/ 6731600 w 9782396"/>
              <a:gd name="connsiteY7" fmla="*/ 3529522 h 3536421"/>
              <a:gd name="connsiteX8" fmla="*/ 7785274 w 9782396"/>
              <a:gd name="connsiteY8" fmla="*/ 2358075 h 3536421"/>
              <a:gd name="connsiteX9" fmla="*/ 8726972 w 9782396"/>
              <a:gd name="connsiteY9" fmla="*/ 499502 h 3536421"/>
              <a:gd name="connsiteX10" fmla="*/ 9782396 w 9782396"/>
              <a:gd name="connsiteY10" fmla="*/ 35549 h 3536421"/>
              <a:gd name="connsiteX0" fmla="*/ 0 w 9782396"/>
              <a:gd name="connsiteY0" fmla="*/ 3114420 h 3536421"/>
              <a:gd name="connsiteX1" fmla="*/ 922760 w 9782396"/>
              <a:gd name="connsiteY1" fmla="*/ 3096977 h 3536421"/>
              <a:gd name="connsiteX2" fmla="*/ 1845707 w 9782396"/>
              <a:gd name="connsiteY2" fmla="*/ 2961462 h 3536421"/>
              <a:gd name="connsiteX3" fmla="*/ 2864880 w 9782396"/>
              <a:gd name="connsiteY3" fmla="*/ 3216705 h 3536421"/>
              <a:gd name="connsiteX4" fmla="*/ 3826612 w 9782396"/>
              <a:gd name="connsiteY4" fmla="*/ 2692198 h 3536421"/>
              <a:gd name="connsiteX5" fmla="*/ 4836405 w 9782396"/>
              <a:gd name="connsiteY5" fmla="*/ 2782063 h 3536421"/>
              <a:gd name="connsiteX6" fmla="*/ 5792777 w 9782396"/>
              <a:gd name="connsiteY6" fmla="*/ 1835555 h 3536421"/>
              <a:gd name="connsiteX7" fmla="*/ 6731600 w 9782396"/>
              <a:gd name="connsiteY7" fmla="*/ 3529522 h 3536421"/>
              <a:gd name="connsiteX8" fmla="*/ 7785274 w 9782396"/>
              <a:gd name="connsiteY8" fmla="*/ 2358075 h 3536421"/>
              <a:gd name="connsiteX9" fmla="*/ 8726972 w 9782396"/>
              <a:gd name="connsiteY9" fmla="*/ 499502 h 3536421"/>
              <a:gd name="connsiteX10" fmla="*/ 9782396 w 9782396"/>
              <a:gd name="connsiteY10" fmla="*/ 35549 h 3536421"/>
              <a:gd name="connsiteX0" fmla="*/ 0 w 9782396"/>
              <a:gd name="connsiteY0" fmla="*/ 3114420 h 3221562"/>
              <a:gd name="connsiteX1" fmla="*/ 922760 w 9782396"/>
              <a:gd name="connsiteY1" fmla="*/ 3096977 h 3221562"/>
              <a:gd name="connsiteX2" fmla="*/ 1845707 w 9782396"/>
              <a:gd name="connsiteY2" fmla="*/ 2961462 h 3221562"/>
              <a:gd name="connsiteX3" fmla="*/ 2864880 w 9782396"/>
              <a:gd name="connsiteY3" fmla="*/ 3216705 h 3221562"/>
              <a:gd name="connsiteX4" fmla="*/ 3826612 w 9782396"/>
              <a:gd name="connsiteY4" fmla="*/ 2692198 h 3221562"/>
              <a:gd name="connsiteX5" fmla="*/ 4836405 w 9782396"/>
              <a:gd name="connsiteY5" fmla="*/ 2782063 h 3221562"/>
              <a:gd name="connsiteX6" fmla="*/ 5792777 w 9782396"/>
              <a:gd name="connsiteY6" fmla="*/ 1835555 h 3221562"/>
              <a:gd name="connsiteX7" fmla="*/ 6743151 w 9782396"/>
              <a:gd name="connsiteY7" fmla="*/ 1510539 h 3221562"/>
              <a:gd name="connsiteX8" fmla="*/ 7785274 w 9782396"/>
              <a:gd name="connsiteY8" fmla="*/ 2358075 h 3221562"/>
              <a:gd name="connsiteX9" fmla="*/ 8726972 w 9782396"/>
              <a:gd name="connsiteY9" fmla="*/ 499502 h 3221562"/>
              <a:gd name="connsiteX10" fmla="*/ 9782396 w 9782396"/>
              <a:gd name="connsiteY10" fmla="*/ 35549 h 3221562"/>
              <a:gd name="connsiteX0" fmla="*/ 0 w 9782396"/>
              <a:gd name="connsiteY0" fmla="*/ 3114420 h 3221562"/>
              <a:gd name="connsiteX1" fmla="*/ 922760 w 9782396"/>
              <a:gd name="connsiteY1" fmla="*/ 3096977 h 3221562"/>
              <a:gd name="connsiteX2" fmla="*/ 1845707 w 9782396"/>
              <a:gd name="connsiteY2" fmla="*/ 2961462 h 3221562"/>
              <a:gd name="connsiteX3" fmla="*/ 2864880 w 9782396"/>
              <a:gd name="connsiteY3" fmla="*/ 3216705 h 3221562"/>
              <a:gd name="connsiteX4" fmla="*/ 3826612 w 9782396"/>
              <a:gd name="connsiteY4" fmla="*/ 2692198 h 3221562"/>
              <a:gd name="connsiteX5" fmla="*/ 4836405 w 9782396"/>
              <a:gd name="connsiteY5" fmla="*/ 2782063 h 3221562"/>
              <a:gd name="connsiteX6" fmla="*/ 5792778 w 9782396"/>
              <a:gd name="connsiteY6" fmla="*/ 2508548 h 3221562"/>
              <a:gd name="connsiteX7" fmla="*/ 6743151 w 9782396"/>
              <a:gd name="connsiteY7" fmla="*/ 1510539 h 3221562"/>
              <a:gd name="connsiteX8" fmla="*/ 7785274 w 9782396"/>
              <a:gd name="connsiteY8" fmla="*/ 2358075 h 3221562"/>
              <a:gd name="connsiteX9" fmla="*/ 8726972 w 9782396"/>
              <a:gd name="connsiteY9" fmla="*/ 499502 h 3221562"/>
              <a:gd name="connsiteX10" fmla="*/ 9782396 w 9782396"/>
              <a:gd name="connsiteY10" fmla="*/ 35549 h 3221562"/>
              <a:gd name="connsiteX0" fmla="*/ 0 w 9782396"/>
              <a:gd name="connsiteY0" fmla="*/ 3114420 h 3221562"/>
              <a:gd name="connsiteX1" fmla="*/ 922760 w 9782396"/>
              <a:gd name="connsiteY1" fmla="*/ 3096977 h 3221562"/>
              <a:gd name="connsiteX2" fmla="*/ 1845707 w 9782396"/>
              <a:gd name="connsiteY2" fmla="*/ 2961462 h 3221562"/>
              <a:gd name="connsiteX3" fmla="*/ 2864880 w 9782396"/>
              <a:gd name="connsiteY3" fmla="*/ 3216705 h 3221562"/>
              <a:gd name="connsiteX4" fmla="*/ 3826612 w 9782396"/>
              <a:gd name="connsiteY4" fmla="*/ 2692198 h 3221562"/>
              <a:gd name="connsiteX5" fmla="*/ 4836405 w 9782396"/>
              <a:gd name="connsiteY5" fmla="*/ 2782063 h 3221562"/>
              <a:gd name="connsiteX6" fmla="*/ 5792778 w 9782396"/>
              <a:gd name="connsiteY6" fmla="*/ 2508548 h 3221562"/>
              <a:gd name="connsiteX7" fmla="*/ 6743151 w 9782396"/>
              <a:gd name="connsiteY7" fmla="*/ 2856527 h 3221562"/>
              <a:gd name="connsiteX8" fmla="*/ 7785274 w 9782396"/>
              <a:gd name="connsiteY8" fmla="*/ 2358075 h 3221562"/>
              <a:gd name="connsiteX9" fmla="*/ 8726972 w 9782396"/>
              <a:gd name="connsiteY9" fmla="*/ 499502 h 3221562"/>
              <a:gd name="connsiteX10" fmla="*/ 9782396 w 9782396"/>
              <a:gd name="connsiteY10" fmla="*/ 35549 h 3221562"/>
              <a:gd name="connsiteX0" fmla="*/ 0 w 9782396"/>
              <a:gd name="connsiteY0" fmla="*/ 3114420 h 3221562"/>
              <a:gd name="connsiteX1" fmla="*/ 922760 w 9782396"/>
              <a:gd name="connsiteY1" fmla="*/ 3096977 h 3221562"/>
              <a:gd name="connsiteX2" fmla="*/ 1845707 w 9782396"/>
              <a:gd name="connsiteY2" fmla="*/ 2961462 h 3221562"/>
              <a:gd name="connsiteX3" fmla="*/ 2864880 w 9782396"/>
              <a:gd name="connsiteY3" fmla="*/ 3216705 h 3221562"/>
              <a:gd name="connsiteX4" fmla="*/ 3826612 w 9782396"/>
              <a:gd name="connsiteY4" fmla="*/ 2692198 h 3221562"/>
              <a:gd name="connsiteX5" fmla="*/ 4836405 w 9782396"/>
              <a:gd name="connsiteY5" fmla="*/ 2782063 h 3221562"/>
              <a:gd name="connsiteX6" fmla="*/ 5792778 w 9782396"/>
              <a:gd name="connsiteY6" fmla="*/ 2508548 h 3221562"/>
              <a:gd name="connsiteX7" fmla="*/ 6743151 w 9782396"/>
              <a:gd name="connsiteY7" fmla="*/ 2183533 h 3221562"/>
              <a:gd name="connsiteX8" fmla="*/ 7785274 w 9782396"/>
              <a:gd name="connsiteY8" fmla="*/ 2358075 h 3221562"/>
              <a:gd name="connsiteX9" fmla="*/ 8726972 w 9782396"/>
              <a:gd name="connsiteY9" fmla="*/ 499502 h 3221562"/>
              <a:gd name="connsiteX10" fmla="*/ 9782396 w 9782396"/>
              <a:gd name="connsiteY10" fmla="*/ 35549 h 3221562"/>
              <a:gd name="connsiteX0" fmla="*/ 0 w 9782396"/>
              <a:gd name="connsiteY0" fmla="*/ 3078871 h 3186013"/>
              <a:gd name="connsiteX1" fmla="*/ 922760 w 9782396"/>
              <a:gd name="connsiteY1" fmla="*/ 3061428 h 3186013"/>
              <a:gd name="connsiteX2" fmla="*/ 1845707 w 9782396"/>
              <a:gd name="connsiteY2" fmla="*/ 2925913 h 3186013"/>
              <a:gd name="connsiteX3" fmla="*/ 2864880 w 9782396"/>
              <a:gd name="connsiteY3" fmla="*/ 3181156 h 3186013"/>
              <a:gd name="connsiteX4" fmla="*/ 3826612 w 9782396"/>
              <a:gd name="connsiteY4" fmla="*/ 2656649 h 3186013"/>
              <a:gd name="connsiteX5" fmla="*/ 4836405 w 9782396"/>
              <a:gd name="connsiteY5" fmla="*/ 2746514 h 3186013"/>
              <a:gd name="connsiteX6" fmla="*/ 5792778 w 9782396"/>
              <a:gd name="connsiteY6" fmla="*/ 2472999 h 3186013"/>
              <a:gd name="connsiteX7" fmla="*/ 6743151 w 9782396"/>
              <a:gd name="connsiteY7" fmla="*/ 2147984 h 3186013"/>
              <a:gd name="connsiteX8" fmla="*/ 7785274 w 9782396"/>
              <a:gd name="connsiteY8" fmla="*/ 2322526 h 3186013"/>
              <a:gd name="connsiteX9" fmla="*/ 8726972 w 9782396"/>
              <a:gd name="connsiteY9" fmla="*/ 1809941 h 3186013"/>
              <a:gd name="connsiteX10" fmla="*/ 9782396 w 9782396"/>
              <a:gd name="connsiteY10" fmla="*/ 0 h 3186013"/>
              <a:gd name="connsiteX0" fmla="*/ 0 w 9782396"/>
              <a:gd name="connsiteY0" fmla="*/ 1529583 h 1636725"/>
              <a:gd name="connsiteX1" fmla="*/ 922760 w 9782396"/>
              <a:gd name="connsiteY1" fmla="*/ 1512140 h 1636725"/>
              <a:gd name="connsiteX2" fmla="*/ 1845707 w 9782396"/>
              <a:gd name="connsiteY2" fmla="*/ 1376625 h 1636725"/>
              <a:gd name="connsiteX3" fmla="*/ 2864880 w 9782396"/>
              <a:gd name="connsiteY3" fmla="*/ 1631868 h 1636725"/>
              <a:gd name="connsiteX4" fmla="*/ 3826612 w 9782396"/>
              <a:gd name="connsiteY4" fmla="*/ 1107361 h 1636725"/>
              <a:gd name="connsiteX5" fmla="*/ 4836405 w 9782396"/>
              <a:gd name="connsiteY5" fmla="*/ 1197226 h 1636725"/>
              <a:gd name="connsiteX6" fmla="*/ 5792778 w 9782396"/>
              <a:gd name="connsiteY6" fmla="*/ 923711 h 1636725"/>
              <a:gd name="connsiteX7" fmla="*/ 6743151 w 9782396"/>
              <a:gd name="connsiteY7" fmla="*/ 598696 h 1636725"/>
              <a:gd name="connsiteX8" fmla="*/ 7785274 w 9782396"/>
              <a:gd name="connsiteY8" fmla="*/ 773238 h 1636725"/>
              <a:gd name="connsiteX9" fmla="*/ 8726972 w 9782396"/>
              <a:gd name="connsiteY9" fmla="*/ 260653 h 1636725"/>
              <a:gd name="connsiteX10" fmla="*/ 9782396 w 9782396"/>
              <a:gd name="connsiteY10" fmla="*/ 469694 h 1636725"/>
              <a:gd name="connsiteX0" fmla="*/ 0 w 9648086"/>
              <a:gd name="connsiteY0" fmla="*/ 44916751 h 44916752"/>
              <a:gd name="connsiteX1" fmla="*/ 788450 w 9648086"/>
              <a:gd name="connsiteY1" fmla="*/ 3144338 h 44916752"/>
              <a:gd name="connsiteX2" fmla="*/ 1711397 w 9648086"/>
              <a:gd name="connsiteY2" fmla="*/ 3008823 h 44916752"/>
              <a:gd name="connsiteX3" fmla="*/ 2730570 w 9648086"/>
              <a:gd name="connsiteY3" fmla="*/ 3264066 h 44916752"/>
              <a:gd name="connsiteX4" fmla="*/ 3692302 w 9648086"/>
              <a:gd name="connsiteY4" fmla="*/ 2739559 h 44916752"/>
              <a:gd name="connsiteX5" fmla="*/ 4702095 w 9648086"/>
              <a:gd name="connsiteY5" fmla="*/ 2829424 h 44916752"/>
              <a:gd name="connsiteX6" fmla="*/ 5658468 w 9648086"/>
              <a:gd name="connsiteY6" fmla="*/ 2555909 h 44916752"/>
              <a:gd name="connsiteX7" fmla="*/ 6608841 w 9648086"/>
              <a:gd name="connsiteY7" fmla="*/ 2230894 h 44916752"/>
              <a:gd name="connsiteX8" fmla="*/ 7650964 w 9648086"/>
              <a:gd name="connsiteY8" fmla="*/ 2405436 h 44916752"/>
              <a:gd name="connsiteX9" fmla="*/ 8592662 w 9648086"/>
              <a:gd name="connsiteY9" fmla="*/ 1892851 h 44916752"/>
              <a:gd name="connsiteX10" fmla="*/ 9648086 w 9648086"/>
              <a:gd name="connsiteY10" fmla="*/ 2101892 h 44916752"/>
              <a:gd name="connsiteX0" fmla="*/ 0 w 9674949"/>
              <a:gd name="connsiteY0" fmla="*/ 55301283 h 55301283"/>
              <a:gd name="connsiteX1" fmla="*/ 815313 w 9674949"/>
              <a:gd name="connsiteY1" fmla="*/ 3860431 h 55301283"/>
              <a:gd name="connsiteX2" fmla="*/ 1738260 w 9674949"/>
              <a:gd name="connsiteY2" fmla="*/ 3724916 h 55301283"/>
              <a:gd name="connsiteX3" fmla="*/ 2757433 w 9674949"/>
              <a:gd name="connsiteY3" fmla="*/ 3980159 h 55301283"/>
              <a:gd name="connsiteX4" fmla="*/ 3719165 w 9674949"/>
              <a:gd name="connsiteY4" fmla="*/ 3455652 h 55301283"/>
              <a:gd name="connsiteX5" fmla="*/ 4728958 w 9674949"/>
              <a:gd name="connsiteY5" fmla="*/ 3545517 h 55301283"/>
              <a:gd name="connsiteX6" fmla="*/ 5685331 w 9674949"/>
              <a:gd name="connsiteY6" fmla="*/ 3272002 h 55301283"/>
              <a:gd name="connsiteX7" fmla="*/ 6635704 w 9674949"/>
              <a:gd name="connsiteY7" fmla="*/ 2946987 h 55301283"/>
              <a:gd name="connsiteX8" fmla="*/ 7677827 w 9674949"/>
              <a:gd name="connsiteY8" fmla="*/ 3121529 h 55301283"/>
              <a:gd name="connsiteX9" fmla="*/ 8619525 w 9674949"/>
              <a:gd name="connsiteY9" fmla="*/ 2608944 h 55301283"/>
              <a:gd name="connsiteX10" fmla="*/ 9674949 w 9674949"/>
              <a:gd name="connsiteY10" fmla="*/ 2817985 h 55301283"/>
              <a:gd name="connsiteX0" fmla="*/ 0 w 9674949"/>
              <a:gd name="connsiteY0" fmla="*/ 53018957 h 53018957"/>
              <a:gd name="connsiteX1" fmla="*/ 815313 w 9674949"/>
              <a:gd name="connsiteY1" fmla="*/ 3703048 h 53018957"/>
              <a:gd name="connsiteX2" fmla="*/ 1738260 w 9674949"/>
              <a:gd name="connsiteY2" fmla="*/ 3567533 h 53018957"/>
              <a:gd name="connsiteX3" fmla="*/ 2757433 w 9674949"/>
              <a:gd name="connsiteY3" fmla="*/ 3822776 h 53018957"/>
              <a:gd name="connsiteX4" fmla="*/ 3719165 w 9674949"/>
              <a:gd name="connsiteY4" fmla="*/ 3298269 h 53018957"/>
              <a:gd name="connsiteX5" fmla="*/ 4728958 w 9674949"/>
              <a:gd name="connsiteY5" fmla="*/ 3388134 h 53018957"/>
              <a:gd name="connsiteX6" fmla="*/ 5685331 w 9674949"/>
              <a:gd name="connsiteY6" fmla="*/ 3114619 h 53018957"/>
              <a:gd name="connsiteX7" fmla="*/ 6635704 w 9674949"/>
              <a:gd name="connsiteY7" fmla="*/ 2789604 h 53018957"/>
              <a:gd name="connsiteX8" fmla="*/ 7677827 w 9674949"/>
              <a:gd name="connsiteY8" fmla="*/ 2964146 h 53018957"/>
              <a:gd name="connsiteX9" fmla="*/ 8619525 w 9674949"/>
              <a:gd name="connsiteY9" fmla="*/ 2451561 h 53018957"/>
              <a:gd name="connsiteX10" fmla="*/ 9674949 w 9674949"/>
              <a:gd name="connsiteY10" fmla="*/ 2660602 h 53018957"/>
              <a:gd name="connsiteX0" fmla="*/ 0 w 9674949"/>
              <a:gd name="connsiteY0" fmla="*/ 52429654 h 52429654"/>
              <a:gd name="connsiteX1" fmla="*/ 976486 w 9674949"/>
              <a:gd name="connsiteY1" fmla="*/ 44443702 h 52429654"/>
              <a:gd name="connsiteX2" fmla="*/ 1738260 w 9674949"/>
              <a:gd name="connsiteY2" fmla="*/ 2978230 h 52429654"/>
              <a:gd name="connsiteX3" fmla="*/ 2757433 w 9674949"/>
              <a:gd name="connsiteY3" fmla="*/ 3233473 h 52429654"/>
              <a:gd name="connsiteX4" fmla="*/ 3719165 w 9674949"/>
              <a:gd name="connsiteY4" fmla="*/ 2708966 h 52429654"/>
              <a:gd name="connsiteX5" fmla="*/ 4728958 w 9674949"/>
              <a:gd name="connsiteY5" fmla="*/ 2798831 h 52429654"/>
              <a:gd name="connsiteX6" fmla="*/ 5685331 w 9674949"/>
              <a:gd name="connsiteY6" fmla="*/ 2525316 h 52429654"/>
              <a:gd name="connsiteX7" fmla="*/ 6635704 w 9674949"/>
              <a:gd name="connsiteY7" fmla="*/ 2200301 h 52429654"/>
              <a:gd name="connsiteX8" fmla="*/ 7677827 w 9674949"/>
              <a:gd name="connsiteY8" fmla="*/ 2374843 h 52429654"/>
              <a:gd name="connsiteX9" fmla="*/ 8619525 w 9674949"/>
              <a:gd name="connsiteY9" fmla="*/ 1862258 h 52429654"/>
              <a:gd name="connsiteX10" fmla="*/ 9674949 w 9674949"/>
              <a:gd name="connsiteY10" fmla="*/ 2071299 h 52429654"/>
              <a:gd name="connsiteX0" fmla="*/ 0 w 9674949"/>
              <a:gd name="connsiteY0" fmla="*/ 52429654 h 52429654"/>
              <a:gd name="connsiteX1" fmla="*/ 976486 w 9674949"/>
              <a:gd name="connsiteY1" fmla="*/ 44443702 h 52429654"/>
              <a:gd name="connsiteX2" fmla="*/ 1738260 w 9674949"/>
              <a:gd name="connsiteY2" fmla="*/ 2978230 h 52429654"/>
              <a:gd name="connsiteX3" fmla="*/ 2757433 w 9674949"/>
              <a:gd name="connsiteY3" fmla="*/ 3233473 h 52429654"/>
              <a:gd name="connsiteX4" fmla="*/ 3719165 w 9674949"/>
              <a:gd name="connsiteY4" fmla="*/ 2708966 h 52429654"/>
              <a:gd name="connsiteX5" fmla="*/ 4728958 w 9674949"/>
              <a:gd name="connsiteY5" fmla="*/ 2798831 h 52429654"/>
              <a:gd name="connsiteX6" fmla="*/ 5685331 w 9674949"/>
              <a:gd name="connsiteY6" fmla="*/ 2525316 h 52429654"/>
              <a:gd name="connsiteX7" fmla="*/ 6635704 w 9674949"/>
              <a:gd name="connsiteY7" fmla="*/ 2200301 h 52429654"/>
              <a:gd name="connsiteX8" fmla="*/ 7677827 w 9674949"/>
              <a:gd name="connsiteY8" fmla="*/ 2374843 h 52429654"/>
              <a:gd name="connsiteX9" fmla="*/ 8619525 w 9674949"/>
              <a:gd name="connsiteY9" fmla="*/ 1862258 h 52429654"/>
              <a:gd name="connsiteX10" fmla="*/ 9674949 w 9674949"/>
              <a:gd name="connsiteY10" fmla="*/ 2071299 h 52429654"/>
              <a:gd name="connsiteX0" fmla="*/ 0 w 9674949"/>
              <a:gd name="connsiteY0" fmla="*/ 52531908 h 52531908"/>
              <a:gd name="connsiteX1" fmla="*/ 889184 w 9674949"/>
              <a:gd name="connsiteY1" fmla="*/ 45927166 h 52531908"/>
              <a:gd name="connsiteX2" fmla="*/ 1738260 w 9674949"/>
              <a:gd name="connsiteY2" fmla="*/ 3080484 h 52531908"/>
              <a:gd name="connsiteX3" fmla="*/ 2757433 w 9674949"/>
              <a:gd name="connsiteY3" fmla="*/ 3335727 h 52531908"/>
              <a:gd name="connsiteX4" fmla="*/ 3719165 w 9674949"/>
              <a:gd name="connsiteY4" fmla="*/ 2811220 h 52531908"/>
              <a:gd name="connsiteX5" fmla="*/ 4728958 w 9674949"/>
              <a:gd name="connsiteY5" fmla="*/ 2901085 h 52531908"/>
              <a:gd name="connsiteX6" fmla="*/ 5685331 w 9674949"/>
              <a:gd name="connsiteY6" fmla="*/ 2627570 h 52531908"/>
              <a:gd name="connsiteX7" fmla="*/ 6635704 w 9674949"/>
              <a:gd name="connsiteY7" fmla="*/ 2302555 h 52531908"/>
              <a:gd name="connsiteX8" fmla="*/ 7677827 w 9674949"/>
              <a:gd name="connsiteY8" fmla="*/ 2477097 h 52531908"/>
              <a:gd name="connsiteX9" fmla="*/ 8619525 w 9674949"/>
              <a:gd name="connsiteY9" fmla="*/ 1964512 h 52531908"/>
              <a:gd name="connsiteX10" fmla="*/ 9674949 w 9674949"/>
              <a:gd name="connsiteY10" fmla="*/ 2173553 h 52531908"/>
              <a:gd name="connsiteX0" fmla="*/ 0 w 9674949"/>
              <a:gd name="connsiteY0" fmla="*/ 51358384 h 51358384"/>
              <a:gd name="connsiteX1" fmla="*/ 889184 w 9674949"/>
              <a:gd name="connsiteY1" fmla="*/ 44753642 h 51358384"/>
              <a:gd name="connsiteX2" fmla="*/ 1899432 w 9674949"/>
              <a:gd name="connsiteY2" fmla="*/ 29106113 h 51358384"/>
              <a:gd name="connsiteX3" fmla="*/ 2757433 w 9674949"/>
              <a:gd name="connsiteY3" fmla="*/ 2162203 h 51358384"/>
              <a:gd name="connsiteX4" fmla="*/ 3719165 w 9674949"/>
              <a:gd name="connsiteY4" fmla="*/ 1637696 h 51358384"/>
              <a:gd name="connsiteX5" fmla="*/ 4728958 w 9674949"/>
              <a:gd name="connsiteY5" fmla="*/ 1727561 h 51358384"/>
              <a:gd name="connsiteX6" fmla="*/ 5685331 w 9674949"/>
              <a:gd name="connsiteY6" fmla="*/ 1454046 h 51358384"/>
              <a:gd name="connsiteX7" fmla="*/ 6635704 w 9674949"/>
              <a:gd name="connsiteY7" fmla="*/ 1129031 h 51358384"/>
              <a:gd name="connsiteX8" fmla="*/ 7677827 w 9674949"/>
              <a:gd name="connsiteY8" fmla="*/ 1303573 h 51358384"/>
              <a:gd name="connsiteX9" fmla="*/ 8619525 w 9674949"/>
              <a:gd name="connsiteY9" fmla="*/ 790988 h 51358384"/>
              <a:gd name="connsiteX10" fmla="*/ 9674949 w 9674949"/>
              <a:gd name="connsiteY10" fmla="*/ 1000029 h 51358384"/>
              <a:gd name="connsiteX0" fmla="*/ 0 w 9674949"/>
              <a:gd name="connsiteY0" fmla="*/ 51358384 h 51358384"/>
              <a:gd name="connsiteX1" fmla="*/ 889184 w 9674949"/>
              <a:gd name="connsiteY1" fmla="*/ 44753642 h 51358384"/>
              <a:gd name="connsiteX2" fmla="*/ 1899432 w 9674949"/>
              <a:gd name="connsiteY2" fmla="*/ 29106113 h 51358384"/>
              <a:gd name="connsiteX3" fmla="*/ 2757433 w 9674949"/>
              <a:gd name="connsiteY3" fmla="*/ 2162203 h 51358384"/>
              <a:gd name="connsiteX4" fmla="*/ 3719165 w 9674949"/>
              <a:gd name="connsiteY4" fmla="*/ 1637696 h 51358384"/>
              <a:gd name="connsiteX5" fmla="*/ 4728958 w 9674949"/>
              <a:gd name="connsiteY5" fmla="*/ 1727561 h 51358384"/>
              <a:gd name="connsiteX6" fmla="*/ 5685331 w 9674949"/>
              <a:gd name="connsiteY6" fmla="*/ 1454046 h 51358384"/>
              <a:gd name="connsiteX7" fmla="*/ 6635704 w 9674949"/>
              <a:gd name="connsiteY7" fmla="*/ 1129031 h 51358384"/>
              <a:gd name="connsiteX8" fmla="*/ 7677827 w 9674949"/>
              <a:gd name="connsiteY8" fmla="*/ 1303573 h 51358384"/>
              <a:gd name="connsiteX9" fmla="*/ 8619525 w 9674949"/>
              <a:gd name="connsiteY9" fmla="*/ 790988 h 51358384"/>
              <a:gd name="connsiteX10" fmla="*/ 9674949 w 9674949"/>
              <a:gd name="connsiteY10" fmla="*/ 1000029 h 51358384"/>
              <a:gd name="connsiteX0" fmla="*/ 0 w 9674949"/>
              <a:gd name="connsiteY0" fmla="*/ 51829080 h 51829080"/>
              <a:gd name="connsiteX1" fmla="*/ 889184 w 9674949"/>
              <a:gd name="connsiteY1" fmla="*/ 45224338 h 51829080"/>
              <a:gd name="connsiteX2" fmla="*/ 1892717 w 9674949"/>
              <a:gd name="connsiteY2" fmla="*/ 35951607 h 51829080"/>
              <a:gd name="connsiteX3" fmla="*/ 2757433 w 9674949"/>
              <a:gd name="connsiteY3" fmla="*/ 2632899 h 51829080"/>
              <a:gd name="connsiteX4" fmla="*/ 3719165 w 9674949"/>
              <a:gd name="connsiteY4" fmla="*/ 2108392 h 51829080"/>
              <a:gd name="connsiteX5" fmla="*/ 4728958 w 9674949"/>
              <a:gd name="connsiteY5" fmla="*/ 2198257 h 51829080"/>
              <a:gd name="connsiteX6" fmla="*/ 5685331 w 9674949"/>
              <a:gd name="connsiteY6" fmla="*/ 1924742 h 51829080"/>
              <a:gd name="connsiteX7" fmla="*/ 6635704 w 9674949"/>
              <a:gd name="connsiteY7" fmla="*/ 1599727 h 51829080"/>
              <a:gd name="connsiteX8" fmla="*/ 7677827 w 9674949"/>
              <a:gd name="connsiteY8" fmla="*/ 1774269 h 51829080"/>
              <a:gd name="connsiteX9" fmla="*/ 8619525 w 9674949"/>
              <a:gd name="connsiteY9" fmla="*/ 1261684 h 51829080"/>
              <a:gd name="connsiteX10" fmla="*/ 9674949 w 9674949"/>
              <a:gd name="connsiteY10" fmla="*/ 1470725 h 51829080"/>
              <a:gd name="connsiteX0" fmla="*/ 0 w 9674949"/>
              <a:gd name="connsiteY0" fmla="*/ 51829080 h 51829080"/>
              <a:gd name="connsiteX1" fmla="*/ 889184 w 9674949"/>
              <a:gd name="connsiteY1" fmla="*/ 45224338 h 51829080"/>
              <a:gd name="connsiteX2" fmla="*/ 1892717 w 9674949"/>
              <a:gd name="connsiteY2" fmla="*/ 35951607 h 51829080"/>
              <a:gd name="connsiteX3" fmla="*/ 2757433 w 9674949"/>
              <a:gd name="connsiteY3" fmla="*/ 2632899 h 51829080"/>
              <a:gd name="connsiteX4" fmla="*/ 3719165 w 9674949"/>
              <a:gd name="connsiteY4" fmla="*/ 2108392 h 51829080"/>
              <a:gd name="connsiteX5" fmla="*/ 4728958 w 9674949"/>
              <a:gd name="connsiteY5" fmla="*/ 2198257 h 51829080"/>
              <a:gd name="connsiteX6" fmla="*/ 5685331 w 9674949"/>
              <a:gd name="connsiteY6" fmla="*/ 1924742 h 51829080"/>
              <a:gd name="connsiteX7" fmla="*/ 6635704 w 9674949"/>
              <a:gd name="connsiteY7" fmla="*/ 1599727 h 51829080"/>
              <a:gd name="connsiteX8" fmla="*/ 7677827 w 9674949"/>
              <a:gd name="connsiteY8" fmla="*/ 1774269 h 51829080"/>
              <a:gd name="connsiteX9" fmla="*/ 8619525 w 9674949"/>
              <a:gd name="connsiteY9" fmla="*/ 1261684 h 51829080"/>
              <a:gd name="connsiteX10" fmla="*/ 9674949 w 9674949"/>
              <a:gd name="connsiteY10" fmla="*/ 1470725 h 51829080"/>
              <a:gd name="connsiteX0" fmla="*/ 0 w 9674949"/>
              <a:gd name="connsiteY0" fmla="*/ 53579361 h 57339020"/>
              <a:gd name="connsiteX1" fmla="*/ 889184 w 9674949"/>
              <a:gd name="connsiteY1" fmla="*/ 46974619 h 57339020"/>
              <a:gd name="connsiteX2" fmla="*/ 1892717 w 9674949"/>
              <a:gd name="connsiteY2" fmla="*/ 37701888 h 57339020"/>
              <a:gd name="connsiteX3" fmla="*/ 2898459 w 9674949"/>
              <a:gd name="connsiteY3" fmla="*/ 56444079 h 57339020"/>
              <a:gd name="connsiteX4" fmla="*/ 3719165 w 9674949"/>
              <a:gd name="connsiteY4" fmla="*/ 3858673 h 57339020"/>
              <a:gd name="connsiteX5" fmla="*/ 4728958 w 9674949"/>
              <a:gd name="connsiteY5" fmla="*/ 3948538 h 57339020"/>
              <a:gd name="connsiteX6" fmla="*/ 5685331 w 9674949"/>
              <a:gd name="connsiteY6" fmla="*/ 3675023 h 57339020"/>
              <a:gd name="connsiteX7" fmla="*/ 6635704 w 9674949"/>
              <a:gd name="connsiteY7" fmla="*/ 3350008 h 57339020"/>
              <a:gd name="connsiteX8" fmla="*/ 7677827 w 9674949"/>
              <a:gd name="connsiteY8" fmla="*/ 3524550 h 57339020"/>
              <a:gd name="connsiteX9" fmla="*/ 8619525 w 9674949"/>
              <a:gd name="connsiteY9" fmla="*/ 3011965 h 57339020"/>
              <a:gd name="connsiteX10" fmla="*/ 9674949 w 9674949"/>
              <a:gd name="connsiteY10" fmla="*/ 3221006 h 57339020"/>
              <a:gd name="connsiteX0" fmla="*/ 0 w 9674949"/>
              <a:gd name="connsiteY0" fmla="*/ 53579361 h 57339020"/>
              <a:gd name="connsiteX1" fmla="*/ 889184 w 9674949"/>
              <a:gd name="connsiteY1" fmla="*/ 46974619 h 57339020"/>
              <a:gd name="connsiteX2" fmla="*/ 1892717 w 9674949"/>
              <a:gd name="connsiteY2" fmla="*/ 37701888 h 57339020"/>
              <a:gd name="connsiteX3" fmla="*/ 2898459 w 9674949"/>
              <a:gd name="connsiteY3" fmla="*/ 56444079 h 57339020"/>
              <a:gd name="connsiteX4" fmla="*/ 3719165 w 9674949"/>
              <a:gd name="connsiteY4" fmla="*/ 3858673 h 57339020"/>
              <a:gd name="connsiteX5" fmla="*/ 4728958 w 9674949"/>
              <a:gd name="connsiteY5" fmla="*/ 3948538 h 57339020"/>
              <a:gd name="connsiteX6" fmla="*/ 5685331 w 9674949"/>
              <a:gd name="connsiteY6" fmla="*/ 3675023 h 57339020"/>
              <a:gd name="connsiteX7" fmla="*/ 6635704 w 9674949"/>
              <a:gd name="connsiteY7" fmla="*/ 3350008 h 57339020"/>
              <a:gd name="connsiteX8" fmla="*/ 7677827 w 9674949"/>
              <a:gd name="connsiteY8" fmla="*/ 3524550 h 57339020"/>
              <a:gd name="connsiteX9" fmla="*/ 8619525 w 9674949"/>
              <a:gd name="connsiteY9" fmla="*/ 3011965 h 57339020"/>
              <a:gd name="connsiteX10" fmla="*/ 9674949 w 9674949"/>
              <a:gd name="connsiteY10" fmla="*/ 3221006 h 57339020"/>
              <a:gd name="connsiteX0" fmla="*/ 0 w 9674949"/>
              <a:gd name="connsiteY0" fmla="*/ 53579361 h 56448651"/>
              <a:gd name="connsiteX1" fmla="*/ 889184 w 9674949"/>
              <a:gd name="connsiteY1" fmla="*/ 46974619 h 56448651"/>
              <a:gd name="connsiteX2" fmla="*/ 1892717 w 9674949"/>
              <a:gd name="connsiteY2" fmla="*/ 37701888 h 56448651"/>
              <a:gd name="connsiteX3" fmla="*/ 2898459 w 9674949"/>
              <a:gd name="connsiteY3" fmla="*/ 56444079 h 56448651"/>
              <a:gd name="connsiteX4" fmla="*/ 3719165 w 9674949"/>
              <a:gd name="connsiteY4" fmla="*/ 3858673 h 56448651"/>
              <a:gd name="connsiteX5" fmla="*/ 4728958 w 9674949"/>
              <a:gd name="connsiteY5" fmla="*/ 3948538 h 56448651"/>
              <a:gd name="connsiteX6" fmla="*/ 5685331 w 9674949"/>
              <a:gd name="connsiteY6" fmla="*/ 3675023 h 56448651"/>
              <a:gd name="connsiteX7" fmla="*/ 6635704 w 9674949"/>
              <a:gd name="connsiteY7" fmla="*/ 3350008 h 56448651"/>
              <a:gd name="connsiteX8" fmla="*/ 7677827 w 9674949"/>
              <a:gd name="connsiteY8" fmla="*/ 3524550 h 56448651"/>
              <a:gd name="connsiteX9" fmla="*/ 8619525 w 9674949"/>
              <a:gd name="connsiteY9" fmla="*/ 3011965 h 56448651"/>
              <a:gd name="connsiteX10" fmla="*/ 9674949 w 9674949"/>
              <a:gd name="connsiteY10" fmla="*/ 3221006 h 56448651"/>
              <a:gd name="connsiteX0" fmla="*/ 0 w 9674949"/>
              <a:gd name="connsiteY0" fmla="*/ 53579361 h 56451994"/>
              <a:gd name="connsiteX1" fmla="*/ 889184 w 9674949"/>
              <a:gd name="connsiteY1" fmla="*/ 46974619 h 56451994"/>
              <a:gd name="connsiteX2" fmla="*/ 1892717 w 9674949"/>
              <a:gd name="connsiteY2" fmla="*/ 37701888 h 56451994"/>
              <a:gd name="connsiteX3" fmla="*/ 2898459 w 9674949"/>
              <a:gd name="connsiteY3" fmla="*/ 56444079 h 56451994"/>
              <a:gd name="connsiteX4" fmla="*/ 3719165 w 9674949"/>
              <a:gd name="connsiteY4" fmla="*/ 3858673 h 56451994"/>
              <a:gd name="connsiteX5" fmla="*/ 4728958 w 9674949"/>
              <a:gd name="connsiteY5" fmla="*/ 3948538 h 56451994"/>
              <a:gd name="connsiteX6" fmla="*/ 5685331 w 9674949"/>
              <a:gd name="connsiteY6" fmla="*/ 3675023 h 56451994"/>
              <a:gd name="connsiteX7" fmla="*/ 6635704 w 9674949"/>
              <a:gd name="connsiteY7" fmla="*/ 3350008 h 56451994"/>
              <a:gd name="connsiteX8" fmla="*/ 7677827 w 9674949"/>
              <a:gd name="connsiteY8" fmla="*/ 3524550 h 56451994"/>
              <a:gd name="connsiteX9" fmla="*/ 8619525 w 9674949"/>
              <a:gd name="connsiteY9" fmla="*/ 3011965 h 56451994"/>
              <a:gd name="connsiteX10" fmla="*/ 9674949 w 9674949"/>
              <a:gd name="connsiteY10" fmla="*/ 3221006 h 56451994"/>
              <a:gd name="connsiteX0" fmla="*/ 0 w 9674949"/>
              <a:gd name="connsiteY0" fmla="*/ 53516408 h 55539381"/>
              <a:gd name="connsiteX1" fmla="*/ 889184 w 9674949"/>
              <a:gd name="connsiteY1" fmla="*/ 46911666 h 55539381"/>
              <a:gd name="connsiteX2" fmla="*/ 1892717 w 9674949"/>
              <a:gd name="connsiteY2" fmla="*/ 37638935 h 55539381"/>
              <a:gd name="connsiteX3" fmla="*/ 2898459 w 9674949"/>
              <a:gd name="connsiteY3" fmla="*/ 55531153 h 55539381"/>
              <a:gd name="connsiteX4" fmla="*/ 3719165 w 9674949"/>
              <a:gd name="connsiteY4" fmla="*/ 3795720 h 55539381"/>
              <a:gd name="connsiteX5" fmla="*/ 4728958 w 9674949"/>
              <a:gd name="connsiteY5" fmla="*/ 3885585 h 55539381"/>
              <a:gd name="connsiteX6" fmla="*/ 5685331 w 9674949"/>
              <a:gd name="connsiteY6" fmla="*/ 3612070 h 55539381"/>
              <a:gd name="connsiteX7" fmla="*/ 6635704 w 9674949"/>
              <a:gd name="connsiteY7" fmla="*/ 3287055 h 55539381"/>
              <a:gd name="connsiteX8" fmla="*/ 7677827 w 9674949"/>
              <a:gd name="connsiteY8" fmla="*/ 3461597 h 55539381"/>
              <a:gd name="connsiteX9" fmla="*/ 8619525 w 9674949"/>
              <a:gd name="connsiteY9" fmla="*/ 2949012 h 55539381"/>
              <a:gd name="connsiteX10" fmla="*/ 9674949 w 9674949"/>
              <a:gd name="connsiteY10" fmla="*/ 3158053 h 55539381"/>
              <a:gd name="connsiteX0" fmla="*/ 0 w 9674949"/>
              <a:gd name="connsiteY0" fmla="*/ 52934045 h 52934045"/>
              <a:gd name="connsiteX1" fmla="*/ 889184 w 9674949"/>
              <a:gd name="connsiteY1" fmla="*/ 46329303 h 52934045"/>
              <a:gd name="connsiteX2" fmla="*/ 1892717 w 9674949"/>
              <a:gd name="connsiteY2" fmla="*/ 37056572 h 52934045"/>
              <a:gd name="connsiteX3" fmla="*/ 2878313 w 9674949"/>
              <a:gd name="connsiteY3" fmla="*/ 47086526 h 52934045"/>
              <a:gd name="connsiteX4" fmla="*/ 3719165 w 9674949"/>
              <a:gd name="connsiteY4" fmla="*/ 3213357 h 52934045"/>
              <a:gd name="connsiteX5" fmla="*/ 4728958 w 9674949"/>
              <a:gd name="connsiteY5" fmla="*/ 3303222 h 52934045"/>
              <a:gd name="connsiteX6" fmla="*/ 5685331 w 9674949"/>
              <a:gd name="connsiteY6" fmla="*/ 3029707 h 52934045"/>
              <a:gd name="connsiteX7" fmla="*/ 6635704 w 9674949"/>
              <a:gd name="connsiteY7" fmla="*/ 2704692 h 52934045"/>
              <a:gd name="connsiteX8" fmla="*/ 7677827 w 9674949"/>
              <a:gd name="connsiteY8" fmla="*/ 2879234 h 52934045"/>
              <a:gd name="connsiteX9" fmla="*/ 8619525 w 9674949"/>
              <a:gd name="connsiteY9" fmla="*/ 2366649 h 52934045"/>
              <a:gd name="connsiteX10" fmla="*/ 9674949 w 9674949"/>
              <a:gd name="connsiteY10" fmla="*/ 2575690 h 52934045"/>
              <a:gd name="connsiteX0" fmla="*/ 0 w 9674949"/>
              <a:gd name="connsiteY0" fmla="*/ 52228399 h 52228399"/>
              <a:gd name="connsiteX1" fmla="*/ 889184 w 9674949"/>
              <a:gd name="connsiteY1" fmla="*/ 45623657 h 52228399"/>
              <a:gd name="connsiteX2" fmla="*/ 1892717 w 9674949"/>
              <a:gd name="connsiteY2" fmla="*/ 36350926 h 52228399"/>
              <a:gd name="connsiteX3" fmla="*/ 2878313 w 9674949"/>
              <a:gd name="connsiteY3" fmla="*/ 46380880 h 52228399"/>
              <a:gd name="connsiteX4" fmla="*/ 3826614 w 9674949"/>
              <a:gd name="connsiteY4" fmla="*/ 36719157 h 52228399"/>
              <a:gd name="connsiteX5" fmla="*/ 4728958 w 9674949"/>
              <a:gd name="connsiteY5" fmla="*/ 2597576 h 52228399"/>
              <a:gd name="connsiteX6" fmla="*/ 5685331 w 9674949"/>
              <a:gd name="connsiteY6" fmla="*/ 2324061 h 52228399"/>
              <a:gd name="connsiteX7" fmla="*/ 6635704 w 9674949"/>
              <a:gd name="connsiteY7" fmla="*/ 1999046 h 52228399"/>
              <a:gd name="connsiteX8" fmla="*/ 7677827 w 9674949"/>
              <a:gd name="connsiteY8" fmla="*/ 2173588 h 52228399"/>
              <a:gd name="connsiteX9" fmla="*/ 8619525 w 9674949"/>
              <a:gd name="connsiteY9" fmla="*/ 1661003 h 52228399"/>
              <a:gd name="connsiteX10" fmla="*/ 9674949 w 9674949"/>
              <a:gd name="connsiteY10" fmla="*/ 1870044 h 52228399"/>
              <a:gd name="connsiteX0" fmla="*/ 0 w 9674949"/>
              <a:gd name="connsiteY0" fmla="*/ 52228399 h 52228399"/>
              <a:gd name="connsiteX1" fmla="*/ 889184 w 9674949"/>
              <a:gd name="connsiteY1" fmla="*/ 45623657 h 52228399"/>
              <a:gd name="connsiteX2" fmla="*/ 1892717 w 9674949"/>
              <a:gd name="connsiteY2" fmla="*/ 36350926 h 52228399"/>
              <a:gd name="connsiteX3" fmla="*/ 2878313 w 9674949"/>
              <a:gd name="connsiteY3" fmla="*/ 46380880 h 52228399"/>
              <a:gd name="connsiteX4" fmla="*/ 3826614 w 9674949"/>
              <a:gd name="connsiteY4" fmla="*/ 36719157 h 52228399"/>
              <a:gd name="connsiteX5" fmla="*/ 4728958 w 9674949"/>
              <a:gd name="connsiteY5" fmla="*/ 2597576 h 52228399"/>
              <a:gd name="connsiteX6" fmla="*/ 5685331 w 9674949"/>
              <a:gd name="connsiteY6" fmla="*/ 2324061 h 52228399"/>
              <a:gd name="connsiteX7" fmla="*/ 6635704 w 9674949"/>
              <a:gd name="connsiteY7" fmla="*/ 1999046 h 52228399"/>
              <a:gd name="connsiteX8" fmla="*/ 7677827 w 9674949"/>
              <a:gd name="connsiteY8" fmla="*/ 2173588 h 52228399"/>
              <a:gd name="connsiteX9" fmla="*/ 8619525 w 9674949"/>
              <a:gd name="connsiteY9" fmla="*/ 1661003 h 52228399"/>
              <a:gd name="connsiteX10" fmla="*/ 9674949 w 9674949"/>
              <a:gd name="connsiteY10" fmla="*/ 1870044 h 52228399"/>
              <a:gd name="connsiteX0" fmla="*/ 0 w 9674949"/>
              <a:gd name="connsiteY0" fmla="*/ 52228399 h 52228399"/>
              <a:gd name="connsiteX1" fmla="*/ 889184 w 9674949"/>
              <a:gd name="connsiteY1" fmla="*/ 45623657 h 52228399"/>
              <a:gd name="connsiteX2" fmla="*/ 1892717 w 9674949"/>
              <a:gd name="connsiteY2" fmla="*/ 36350926 h 52228399"/>
              <a:gd name="connsiteX3" fmla="*/ 2878313 w 9674949"/>
              <a:gd name="connsiteY3" fmla="*/ 46380880 h 52228399"/>
              <a:gd name="connsiteX4" fmla="*/ 3826614 w 9674949"/>
              <a:gd name="connsiteY4" fmla="*/ 36719157 h 52228399"/>
              <a:gd name="connsiteX5" fmla="*/ 4728958 w 9674949"/>
              <a:gd name="connsiteY5" fmla="*/ 2597576 h 52228399"/>
              <a:gd name="connsiteX6" fmla="*/ 5685331 w 9674949"/>
              <a:gd name="connsiteY6" fmla="*/ 2324061 h 52228399"/>
              <a:gd name="connsiteX7" fmla="*/ 6635704 w 9674949"/>
              <a:gd name="connsiteY7" fmla="*/ 1999046 h 52228399"/>
              <a:gd name="connsiteX8" fmla="*/ 7677827 w 9674949"/>
              <a:gd name="connsiteY8" fmla="*/ 2173588 h 52228399"/>
              <a:gd name="connsiteX9" fmla="*/ 8619525 w 9674949"/>
              <a:gd name="connsiteY9" fmla="*/ 1661003 h 52228399"/>
              <a:gd name="connsiteX10" fmla="*/ 9674949 w 9674949"/>
              <a:gd name="connsiteY10" fmla="*/ 1870044 h 52228399"/>
              <a:gd name="connsiteX0" fmla="*/ 0 w 9674949"/>
              <a:gd name="connsiteY0" fmla="*/ 51542613 h 51542613"/>
              <a:gd name="connsiteX1" fmla="*/ 889184 w 9674949"/>
              <a:gd name="connsiteY1" fmla="*/ 44937871 h 51542613"/>
              <a:gd name="connsiteX2" fmla="*/ 1892717 w 9674949"/>
              <a:gd name="connsiteY2" fmla="*/ 35665140 h 51542613"/>
              <a:gd name="connsiteX3" fmla="*/ 2878313 w 9674949"/>
              <a:gd name="connsiteY3" fmla="*/ 45695094 h 51542613"/>
              <a:gd name="connsiteX4" fmla="*/ 3826614 w 9674949"/>
              <a:gd name="connsiteY4" fmla="*/ 36033371 h 51542613"/>
              <a:gd name="connsiteX5" fmla="*/ 4802829 w 9674949"/>
              <a:gd name="connsiteY5" fmla="*/ 22311163 h 51542613"/>
              <a:gd name="connsiteX6" fmla="*/ 5685331 w 9674949"/>
              <a:gd name="connsiteY6" fmla="*/ 1638275 h 51542613"/>
              <a:gd name="connsiteX7" fmla="*/ 6635704 w 9674949"/>
              <a:gd name="connsiteY7" fmla="*/ 1313260 h 51542613"/>
              <a:gd name="connsiteX8" fmla="*/ 7677827 w 9674949"/>
              <a:gd name="connsiteY8" fmla="*/ 1487802 h 51542613"/>
              <a:gd name="connsiteX9" fmla="*/ 8619525 w 9674949"/>
              <a:gd name="connsiteY9" fmla="*/ 975217 h 51542613"/>
              <a:gd name="connsiteX10" fmla="*/ 9674949 w 9674949"/>
              <a:gd name="connsiteY10" fmla="*/ 1184258 h 51542613"/>
              <a:gd name="connsiteX0" fmla="*/ 0 w 9674949"/>
              <a:gd name="connsiteY0" fmla="*/ 51542613 h 51542613"/>
              <a:gd name="connsiteX1" fmla="*/ 889184 w 9674949"/>
              <a:gd name="connsiteY1" fmla="*/ 44937871 h 51542613"/>
              <a:gd name="connsiteX2" fmla="*/ 1892717 w 9674949"/>
              <a:gd name="connsiteY2" fmla="*/ 35665140 h 51542613"/>
              <a:gd name="connsiteX3" fmla="*/ 2878313 w 9674949"/>
              <a:gd name="connsiteY3" fmla="*/ 45695094 h 51542613"/>
              <a:gd name="connsiteX4" fmla="*/ 3826614 w 9674949"/>
              <a:gd name="connsiteY4" fmla="*/ 36033371 h 51542613"/>
              <a:gd name="connsiteX5" fmla="*/ 4802829 w 9674949"/>
              <a:gd name="connsiteY5" fmla="*/ 22311163 h 51542613"/>
              <a:gd name="connsiteX6" fmla="*/ 5685331 w 9674949"/>
              <a:gd name="connsiteY6" fmla="*/ 1638275 h 51542613"/>
              <a:gd name="connsiteX7" fmla="*/ 6635704 w 9674949"/>
              <a:gd name="connsiteY7" fmla="*/ 1313260 h 51542613"/>
              <a:gd name="connsiteX8" fmla="*/ 7677827 w 9674949"/>
              <a:gd name="connsiteY8" fmla="*/ 1487802 h 51542613"/>
              <a:gd name="connsiteX9" fmla="*/ 8619525 w 9674949"/>
              <a:gd name="connsiteY9" fmla="*/ 975217 h 51542613"/>
              <a:gd name="connsiteX10" fmla="*/ 9674949 w 9674949"/>
              <a:gd name="connsiteY10" fmla="*/ 1184258 h 51542613"/>
              <a:gd name="connsiteX0" fmla="*/ 0 w 9674949"/>
              <a:gd name="connsiteY0" fmla="*/ 51719347 h 51719347"/>
              <a:gd name="connsiteX1" fmla="*/ 889184 w 9674949"/>
              <a:gd name="connsiteY1" fmla="*/ 45114605 h 51719347"/>
              <a:gd name="connsiteX2" fmla="*/ 1892717 w 9674949"/>
              <a:gd name="connsiteY2" fmla="*/ 35841874 h 51719347"/>
              <a:gd name="connsiteX3" fmla="*/ 2878313 w 9674949"/>
              <a:gd name="connsiteY3" fmla="*/ 45871828 h 51719347"/>
              <a:gd name="connsiteX4" fmla="*/ 3826614 w 9674949"/>
              <a:gd name="connsiteY4" fmla="*/ 36210105 h 51719347"/>
              <a:gd name="connsiteX5" fmla="*/ 4802829 w 9674949"/>
              <a:gd name="connsiteY5" fmla="*/ 22487897 h 51719347"/>
              <a:gd name="connsiteX6" fmla="*/ 5812926 w 9674949"/>
              <a:gd name="connsiteY6" fmla="*/ 22533118 h 51719347"/>
              <a:gd name="connsiteX7" fmla="*/ 6635704 w 9674949"/>
              <a:gd name="connsiteY7" fmla="*/ 1489994 h 51719347"/>
              <a:gd name="connsiteX8" fmla="*/ 7677827 w 9674949"/>
              <a:gd name="connsiteY8" fmla="*/ 1664536 h 51719347"/>
              <a:gd name="connsiteX9" fmla="*/ 8619525 w 9674949"/>
              <a:gd name="connsiteY9" fmla="*/ 1151951 h 51719347"/>
              <a:gd name="connsiteX10" fmla="*/ 9674949 w 9674949"/>
              <a:gd name="connsiteY10" fmla="*/ 1360992 h 51719347"/>
              <a:gd name="connsiteX0" fmla="*/ 0 w 9674949"/>
              <a:gd name="connsiteY0" fmla="*/ 51719347 h 51719347"/>
              <a:gd name="connsiteX1" fmla="*/ 889184 w 9674949"/>
              <a:gd name="connsiteY1" fmla="*/ 45114605 h 51719347"/>
              <a:gd name="connsiteX2" fmla="*/ 1892717 w 9674949"/>
              <a:gd name="connsiteY2" fmla="*/ 35841874 h 51719347"/>
              <a:gd name="connsiteX3" fmla="*/ 2878313 w 9674949"/>
              <a:gd name="connsiteY3" fmla="*/ 45871828 h 51719347"/>
              <a:gd name="connsiteX4" fmla="*/ 3826614 w 9674949"/>
              <a:gd name="connsiteY4" fmla="*/ 36210105 h 51719347"/>
              <a:gd name="connsiteX5" fmla="*/ 4802829 w 9674949"/>
              <a:gd name="connsiteY5" fmla="*/ 22487897 h 51719347"/>
              <a:gd name="connsiteX6" fmla="*/ 5812926 w 9674949"/>
              <a:gd name="connsiteY6" fmla="*/ 22533118 h 51719347"/>
              <a:gd name="connsiteX7" fmla="*/ 6635704 w 9674949"/>
              <a:gd name="connsiteY7" fmla="*/ 1489994 h 51719347"/>
              <a:gd name="connsiteX8" fmla="*/ 7677827 w 9674949"/>
              <a:gd name="connsiteY8" fmla="*/ 1664536 h 51719347"/>
              <a:gd name="connsiteX9" fmla="*/ 8619525 w 9674949"/>
              <a:gd name="connsiteY9" fmla="*/ 1151951 h 51719347"/>
              <a:gd name="connsiteX10" fmla="*/ 9674949 w 9674949"/>
              <a:gd name="connsiteY10" fmla="*/ 1360992 h 51719347"/>
              <a:gd name="connsiteX0" fmla="*/ 0 w 9674949"/>
              <a:gd name="connsiteY0" fmla="*/ 51758648 h 51758648"/>
              <a:gd name="connsiteX1" fmla="*/ 889184 w 9674949"/>
              <a:gd name="connsiteY1" fmla="*/ 45153906 h 51758648"/>
              <a:gd name="connsiteX2" fmla="*/ 1892717 w 9674949"/>
              <a:gd name="connsiteY2" fmla="*/ 35881175 h 51758648"/>
              <a:gd name="connsiteX3" fmla="*/ 2878313 w 9674949"/>
              <a:gd name="connsiteY3" fmla="*/ 45911129 h 51758648"/>
              <a:gd name="connsiteX4" fmla="*/ 3826614 w 9674949"/>
              <a:gd name="connsiteY4" fmla="*/ 36249406 h 51758648"/>
              <a:gd name="connsiteX5" fmla="*/ 4802829 w 9674949"/>
              <a:gd name="connsiteY5" fmla="*/ 22527198 h 51758648"/>
              <a:gd name="connsiteX6" fmla="*/ 5759202 w 9674949"/>
              <a:gd name="connsiteY6" fmla="*/ 23103640 h 51758648"/>
              <a:gd name="connsiteX7" fmla="*/ 6635704 w 9674949"/>
              <a:gd name="connsiteY7" fmla="*/ 1529295 h 51758648"/>
              <a:gd name="connsiteX8" fmla="*/ 7677827 w 9674949"/>
              <a:gd name="connsiteY8" fmla="*/ 1703837 h 51758648"/>
              <a:gd name="connsiteX9" fmla="*/ 8619525 w 9674949"/>
              <a:gd name="connsiteY9" fmla="*/ 1191252 h 51758648"/>
              <a:gd name="connsiteX10" fmla="*/ 9674949 w 9674949"/>
              <a:gd name="connsiteY10" fmla="*/ 1400293 h 51758648"/>
              <a:gd name="connsiteX0" fmla="*/ 0 w 9674949"/>
              <a:gd name="connsiteY0" fmla="*/ 51758648 h 51758648"/>
              <a:gd name="connsiteX1" fmla="*/ 889184 w 9674949"/>
              <a:gd name="connsiteY1" fmla="*/ 45153906 h 51758648"/>
              <a:gd name="connsiteX2" fmla="*/ 1892717 w 9674949"/>
              <a:gd name="connsiteY2" fmla="*/ 35881175 h 51758648"/>
              <a:gd name="connsiteX3" fmla="*/ 2878313 w 9674949"/>
              <a:gd name="connsiteY3" fmla="*/ 45911129 h 51758648"/>
              <a:gd name="connsiteX4" fmla="*/ 3826614 w 9674949"/>
              <a:gd name="connsiteY4" fmla="*/ 36249406 h 51758648"/>
              <a:gd name="connsiteX5" fmla="*/ 4802829 w 9674949"/>
              <a:gd name="connsiteY5" fmla="*/ 22527198 h 51758648"/>
              <a:gd name="connsiteX6" fmla="*/ 5759202 w 9674949"/>
              <a:gd name="connsiteY6" fmla="*/ 23103640 h 51758648"/>
              <a:gd name="connsiteX7" fmla="*/ 6635704 w 9674949"/>
              <a:gd name="connsiteY7" fmla="*/ 1529295 h 51758648"/>
              <a:gd name="connsiteX8" fmla="*/ 7677827 w 9674949"/>
              <a:gd name="connsiteY8" fmla="*/ 1703837 h 51758648"/>
              <a:gd name="connsiteX9" fmla="*/ 8619525 w 9674949"/>
              <a:gd name="connsiteY9" fmla="*/ 1191252 h 51758648"/>
              <a:gd name="connsiteX10" fmla="*/ 9674949 w 9674949"/>
              <a:gd name="connsiteY10" fmla="*/ 1400293 h 51758648"/>
              <a:gd name="connsiteX0" fmla="*/ 0 w 9674949"/>
              <a:gd name="connsiteY0" fmla="*/ 53472311 h 53472311"/>
              <a:gd name="connsiteX1" fmla="*/ 889184 w 9674949"/>
              <a:gd name="connsiteY1" fmla="*/ 46867569 h 53472311"/>
              <a:gd name="connsiteX2" fmla="*/ 1892717 w 9674949"/>
              <a:gd name="connsiteY2" fmla="*/ 37594838 h 53472311"/>
              <a:gd name="connsiteX3" fmla="*/ 2878313 w 9674949"/>
              <a:gd name="connsiteY3" fmla="*/ 47624792 h 53472311"/>
              <a:gd name="connsiteX4" fmla="*/ 3826614 w 9674949"/>
              <a:gd name="connsiteY4" fmla="*/ 37963069 h 53472311"/>
              <a:gd name="connsiteX5" fmla="*/ 4802829 w 9674949"/>
              <a:gd name="connsiteY5" fmla="*/ 24240861 h 53472311"/>
              <a:gd name="connsiteX6" fmla="*/ 5759202 w 9674949"/>
              <a:gd name="connsiteY6" fmla="*/ 24817303 h 53472311"/>
              <a:gd name="connsiteX7" fmla="*/ 6763299 w 9674949"/>
              <a:gd name="connsiteY7" fmla="*/ 47229101 h 53472311"/>
              <a:gd name="connsiteX8" fmla="*/ 7677827 w 9674949"/>
              <a:gd name="connsiteY8" fmla="*/ 3417500 h 53472311"/>
              <a:gd name="connsiteX9" fmla="*/ 8619525 w 9674949"/>
              <a:gd name="connsiteY9" fmla="*/ 2904915 h 53472311"/>
              <a:gd name="connsiteX10" fmla="*/ 9674949 w 9674949"/>
              <a:gd name="connsiteY10" fmla="*/ 3113956 h 53472311"/>
              <a:gd name="connsiteX0" fmla="*/ 0 w 9674949"/>
              <a:gd name="connsiteY0" fmla="*/ 53472311 h 53472311"/>
              <a:gd name="connsiteX1" fmla="*/ 889184 w 9674949"/>
              <a:gd name="connsiteY1" fmla="*/ 46867569 h 53472311"/>
              <a:gd name="connsiteX2" fmla="*/ 1892717 w 9674949"/>
              <a:gd name="connsiteY2" fmla="*/ 37594838 h 53472311"/>
              <a:gd name="connsiteX3" fmla="*/ 2878313 w 9674949"/>
              <a:gd name="connsiteY3" fmla="*/ 47624792 h 53472311"/>
              <a:gd name="connsiteX4" fmla="*/ 3826614 w 9674949"/>
              <a:gd name="connsiteY4" fmla="*/ 37963069 h 53472311"/>
              <a:gd name="connsiteX5" fmla="*/ 4802829 w 9674949"/>
              <a:gd name="connsiteY5" fmla="*/ 24240861 h 53472311"/>
              <a:gd name="connsiteX6" fmla="*/ 5759202 w 9674949"/>
              <a:gd name="connsiteY6" fmla="*/ 24817303 h 53472311"/>
              <a:gd name="connsiteX7" fmla="*/ 6763299 w 9674949"/>
              <a:gd name="connsiteY7" fmla="*/ 47229101 h 53472311"/>
              <a:gd name="connsiteX8" fmla="*/ 7677827 w 9674949"/>
              <a:gd name="connsiteY8" fmla="*/ 3417500 h 53472311"/>
              <a:gd name="connsiteX9" fmla="*/ 8619525 w 9674949"/>
              <a:gd name="connsiteY9" fmla="*/ 2904915 h 53472311"/>
              <a:gd name="connsiteX10" fmla="*/ 9674949 w 9674949"/>
              <a:gd name="connsiteY10" fmla="*/ 3113956 h 53472311"/>
              <a:gd name="connsiteX0" fmla="*/ 0 w 9674949"/>
              <a:gd name="connsiteY0" fmla="*/ 50828064 h 50828064"/>
              <a:gd name="connsiteX1" fmla="*/ 889184 w 9674949"/>
              <a:gd name="connsiteY1" fmla="*/ 44223322 h 50828064"/>
              <a:gd name="connsiteX2" fmla="*/ 1892717 w 9674949"/>
              <a:gd name="connsiteY2" fmla="*/ 34950591 h 50828064"/>
              <a:gd name="connsiteX3" fmla="*/ 2878313 w 9674949"/>
              <a:gd name="connsiteY3" fmla="*/ 44980545 h 50828064"/>
              <a:gd name="connsiteX4" fmla="*/ 3826614 w 9674949"/>
              <a:gd name="connsiteY4" fmla="*/ 35318822 h 50828064"/>
              <a:gd name="connsiteX5" fmla="*/ 4802829 w 9674949"/>
              <a:gd name="connsiteY5" fmla="*/ 21596614 h 50828064"/>
              <a:gd name="connsiteX6" fmla="*/ 5759202 w 9674949"/>
              <a:gd name="connsiteY6" fmla="*/ 22173056 h 50828064"/>
              <a:gd name="connsiteX7" fmla="*/ 6763299 w 9674949"/>
              <a:gd name="connsiteY7" fmla="*/ 44584854 h 50828064"/>
              <a:gd name="connsiteX8" fmla="*/ 7771846 w 9674949"/>
              <a:gd name="connsiteY8" fmla="*/ 15435287 h 50828064"/>
              <a:gd name="connsiteX9" fmla="*/ 8619525 w 9674949"/>
              <a:gd name="connsiteY9" fmla="*/ 260668 h 50828064"/>
              <a:gd name="connsiteX10" fmla="*/ 9674949 w 9674949"/>
              <a:gd name="connsiteY10" fmla="*/ 469709 h 50828064"/>
              <a:gd name="connsiteX0" fmla="*/ 0 w 9674949"/>
              <a:gd name="connsiteY0" fmla="*/ 50828064 h 50828064"/>
              <a:gd name="connsiteX1" fmla="*/ 889184 w 9674949"/>
              <a:gd name="connsiteY1" fmla="*/ 44223322 h 50828064"/>
              <a:gd name="connsiteX2" fmla="*/ 1892717 w 9674949"/>
              <a:gd name="connsiteY2" fmla="*/ 34950591 h 50828064"/>
              <a:gd name="connsiteX3" fmla="*/ 2878313 w 9674949"/>
              <a:gd name="connsiteY3" fmla="*/ 44980545 h 50828064"/>
              <a:gd name="connsiteX4" fmla="*/ 3826614 w 9674949"/>
              <a:gd name="connsiteY4" fmla="*/ 35318822 h 50828064"/>
              <a:gd name="connsiteX5" fmla="*/ 4802829 w 9674949"/>
              <a:gd name="connsiteY5" fmla="*/ 21596614 h 50828064"/>
              <a:gd name="connsiteX6" fmla="*/ 5759202 w 9674949"/>
              <a:gd name="connsiteY6" fmla="*/ 22173056 h 50828064"/>
              <a:gd name="connsiteX7" fmla="*/ 6763299 w 9674949"/>
              <a:gd name="connsiteY7" fmla="*/ 44584854 h 50828064"/>
              <a:gd name="connsiteX8" fmla="*/ 7771846 w 9674949"/>
              <a:gd name="connsiteY8" fmla="*/ 15435287 h 50828064"/>
              <a:gd name="connsiteX9" fmla="*/ 8619525 w 9674949"/>
              <a:gd name="connsiteY9" fmla="*/ 260668 h 50828064"/>
              <a:gd name="connsiteX10" fmla="*/ 9674949 w 9674949"/>
              <a:gd name="connsiteY10" fmla="*/ 469709 h 50828064"/>
              <a:gd name="connsiteX0" fmla="*/ 0 w 9674949"/>
              <a:gd name="connsiteY0" fmla="*/ 50358358 h 50358358"/>
              <a:gd name="connsiteX1" fmla="*/ 889184 w 9674949"/>
              <a:gd name="connsiteY1" fmla="*/ 43753616 h 50358358"/>
              <a:gd name="connsiteX2" fmla="*/ 1892717 w 9674949"/>
              <a:gd name="connsiteY2" fmla="*/ 34480885 h 50358358"/>
              <a:gd name="connsiteX3" fmla="*/ 2878313 w 9674949"/>
              <a:gd name="connsiteY3" fmla="*/ 44510839 h 50358358"/>
              <a:gd name="connsiteX4" fmla="*/ 3826614 w 9674949"/>
              <a:gd name="connsiteY4" fmla="*/ 34849116 h 50358358"/>
              <a:gd name="connsiteX5" fmla="*/ 4802829 w 9674949"/>
              <a:gd name="connsiteY5" fmla="*/ 21126908 h 50358358"/>
              <a:gd name="connsiteX6" fmla="*/ 5759202 w 9674949"/>
              <a:gd name="connsiteY6" fmla="*/ 21703350 h 50358358"/>
              <a:gd name="connsiteX7" fmla="*/ 6763299 w 9674949"/>
              <a:gd name="connsiteY7" fmla="*/ 44115148 h 50358358"/>
              <a:gd name="connsiteX8" fmla="*/ 7771846 w 9674949"/>
              <a:gd name="connsiteY8" fmla="*/ 14965581 h 50358358"/>
              <a:gd name="connsiteX9" fmla="*/ 8740405 w 9674949"/>
              <a:gd name="connsiteY9" fmla="*/ 20827819 h 50358358"/>
              <a:gd name="connsiteX10" fmla="*/ 9674949 w 9674949"/>
              <a:gd name="connsiteY10" fmla="*/ 3 h 50358358"/>
              <a:gd name="connsiteX0" fmla="*/ 0 w 9674949"/>
              <a:gd name="connsiteY0" fmla="*/ 50358358 h 50358358"/>
              <a:gd name="connsiteX1" fmla="*/ 889184 w 9674949"/>
              <a:gd name="connsiteY1" fmla="*/ 43753616 h 50358358"/>
              <a:gd name="connsiteX2" fmla="*/ 1892717 w 9674949"/>
              <a:gd name="connsiteY2" fmla="*/ 34480885 h 50358358"/>
              <a:gd name="connsiteX3" fmla="*/ 2878313 w 9674949"/>
              <a:gd name="connsiteY3" fmla="*/ 44510839 h 50358358"/>
              <a:gd name="connsiteX4" fmla="*/ 3826614 w 9674949"/>
              <a:gd name="connsiteY4" fmla="*/ 34849116 h 50358358"/>
              <a:gd name="connsiteX5" fmla="*/ 4802829 w 9674949"/>
              <a:gd name="connsiteY5" fmla="*/ 21126908 h 50358358"/>
              <a:gd name="connsiteX6" fmla="*/ 5759202 w 9674949"/>
              <a:gd name="connsiteY6" fmla="*/ 21703350 h 50358358"/>
              <a:gd name="connsiteX7" fmla="*/ 6763299 w 9674949"/>
              <a:gd name="connsiteY7" fmla="*/ 44115148 h 50358358"/>
              <a:gd name="connsiteX8" fmla="*/ 7771846 w 9674949"/>
              <a:gd name="connsiteY8" fmla="*/ 14965581 h 50358358"/>
              <a:gd name="connsiteX9" fmla="*/ 8740405 w 9674949"/>
              <a:gd name="connsiteY9" fmla="*/ 20827819 h 50358358"/>
              <a:gd name="connsiteX10" fmla="*/ 9674949 w 9674949"/>
              <a:gd name="connsiteY10" fmla="*/ 3 h 50358358"/>
              <a:gd name="connsiteX0" fmla="*/ 0 w 9674949"/>
              <a:gd name="connsiteY0" fmla="*/ 50358358 h 50358358"/>
              <a:gd name="connsiteX1" fmla="*/ 889184 w 9674949"/>
              <a:gd name="connsiteY1" fmla="*/ 43753616 h 50358358"/>
              <a:gd name="connsiteX2" fmla="*/ 1892717 w 9674949"/>
              <a:gd name="connsiteY2" fmla="*/ 34480885 h 50358358"/>
              <a:gd name="connsiteX3" fmla="*/ 2878313 w 9674949"/>
              <a:gd name="connsiteY3" fmla="*/ 44510839 h 50358358"/>
              <a:gd name="connsiteX4" fmla="*/ 3826614 w 9674949"/>
              <a:gd name="connsiteY4" fmla="*/ 34849116 h 50358358"/>
              <a:gd name="connsiteX5" fmla="*/ 4802829 w 9674949"/>
              <a:gd name="connsiteY5" fmla="*/ 21126908 h 50358358"/>
              <a:gd name="connsiteX6" fmla="*/ 5759202 w 9674949"/>
              <a:gd name="connsiteY6" fmla="*/ 21703350 h 50358358"/>
              <a:gd name="connsiteX7" fmla="*/ 6763299 w 9674949"/>
              <a:gd name="connsiteY7" fmla="*/ 44115148 h 50358358"/>
              <a:gd name="connsiteX8" fmla="*/ 7771846 w 9674949"/>
              <a:gd name="connsiteY8" fmla="*/ 14965581 h 50358358"/>
              <a:gd name="connsiteX9" fmla="*/ 8740405 w 9674949"/>
              <a:gd name="connsiteY9" fmla="*/ 20827819 h 50358358"/>
              <a:gd name="connsiteX10" fmla="*/ 9674949 w 9674949"/>
              <a:gd name="connsiteY10" fmla="*/ 3 h 50358358"/>
              <a:gd name="connsiteX0" fmla="*/ 0 w 9842837"/>
              <a:gd name="connsiteY0" fmla="*/ 36319839 h 36319839"/>
              <a:gd name="connsiteX1" fmla="*/ 889184 w 9842837"/>
              <a:gd name="connsiteY1" fmla="*/ 29715097 h 36319839"/>
              <a:gd name="connsiteX2" fmla="*/ 1892717 w 9842837"/>
              <a:gd name="connsiteY2" fmla="*/ 20442366 h 36319839"/>
              <a:gd name="connsiteX3" fmla="*/ 2878313 w 9842837"/>
              <a:gd name="connsiteY3" fmla="*/ 30472320 h 36319839"/>
              <a:gd name="connsiteX4" fmla="*/ 3826614 w 9842837"/>
              <a:gd name="connsiteY4" fmla="*/ 20810597 h 36319839"/>
              <a:gd name="connsiteX5" fmla="*/ 4802829 w 9842837"/>
              <a:gd name="connsiteY5" fmla="*/ 7088389 h 36319839"/>
              <a:gd name="connsiteX6" fmla="*/ 5759202 w 9842837"/>
              <a:gd name="connsiteY6" fmla="*/ 7664831 h 36319839"/>
              <a:gd name="connsiteX7" fmla="*/ 6763299 w 9842837"/>
              <a:gd name="connsiteY7" fmla="*/ 30076629 h 36319839"/>
              <a:gd name="connsiteX8" fmla="*/ 7771846 w 9842837"/>
              <a:gd name="connsiteY8" fmla="*/ 927062 h 36319839"/>
              <a:gd name="connsiteX9" fmla="*/ 8740405 w 9842837"/>
              <a:gd name="connsiteY9" fmla="*/ 6789300 h 36319839"/>
              <a:gd name="connsiteX10" fmla="*/ 9842837 w 9842837"/>
              <a:gd name="connsiteY10" fmla="*/ 6573340 h 36319839"/>
              <a:gd name="connsiteX0" fmla="*/ 0 w 9842837"/>
              <a:gd name="connsiteY0" fmla="*/ 36319839 h 36319839"/>
              <a:gd name="connsiteX1" fmla="*/ 889184 w 9842837"/>
              <a:gd name="connsiteY1" fmla="*/ 29715097 h 36319839"/>
              <a:gd name="connsiteX2" fmla="*/ 1892717 w 9842837"/>
              <a:gd name="connsiteY2" fmla="*/ 20442366 h 36319839"/>
              <a:gd name="connsiteX3" fmla="*/ 2878313 w 9842837"/>
              <a:gd name="connsiteY3" fmla="*/ 30472320 h 36319839"/>
              <a:gd name="connsiteX4" fmla="*/ 3826614 w 9842837"/>
              <a:gd name="connsiteY4" fmla="*/ 20810597 h 36319839"/>
              <a:gd name="connsiteX5" fmla="*/ 4802829 w 9842837"/>
              <a:gd name="connsiteY5" fmla="*/ 7088389 h 36319839"/>
              <a:gd name="connsiteX6" fmla="*/ 5759202 w 9842837"/>
              <a:gd name="connsiteY6" fmla="*/ 7664831 h 36319839"/>
              <a:gd name="connsiteX7" fmla="*/ 6763299 w 9842837"/>
              <a:gd name="connsiteY7" fmla="*/ 30076629 h 36319839"/>
              <a:gd name="connsiteX8" fmla="*/ 7771846 w 9842837"/>
              <a:gd name="connsiteY8" fmla="*/ 927062 h 36319839"/>
              <a:gd name="connsiteX9" fmla="*/ 8740405 w 9842837"/>
              <a:gd name="connsiteY9" fmla="*/ 6789300 h 36319839"/>
              <a:gd name="connsiteX10" fmla="*/ 9842837 w 9842837"/>
              <a:gd name="connsiteY10" fmla="*/ 6679597 h 3631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42837" h="36319839">
                <a:moveTo>
                  <a:pt x="0" y="36319839"/>
                </a:moveTo>
                <a:cubicBezTo>
                  <a:pt x="305505" y="35466116"/>
                  <a:pt x="573731" y="32361342"/>
                  <a:pt x="889184" y="29715097"/>
                </a:cubicBezTo>
                <a:cubicBezTo>
                  <a:pt x="1204637" y="27068852"/>
                  <a:pt x="1561196" y="20316162"/>
                  <a:pt x="1892717" y="20442366"/>
                </a:cubicBezTo>
                <a:cubicBezTo>
                  <a:pt x="2224239" y="20568570"/>
                  <a:pt x="2555997" y="30410948"/>
                  <a:pt x="2878313" y="30472320"/>
                </a:cubicBezTo>
                <a:cubicBezTo>
                  <a:pt x="3200629" y="30533692"/>
                  <a:pt x="3505861" y="24707919"/>
                  <a:pt x="3826614" y="20810597"/>
                </a:cubicBezTo>
                <a:cubicBezTo>
                  <a:pt x="4147367" y="16913275"/>
                  <a:pt x="4480731" y="9279350"/>
                  <a:pt x="4802829" y="7088389"/>
                </a:cubicBezTo>
                <a:cubicBezTo>
                  <a:pt x="5124927" y="4897428"/>
                  <a:pt x="5432457" y="3833458"/>
                  <a:pt x="5759202" y="7664831"/>
                </a:cubicBezTo>
                <a:cubicBezTo>
                  <a:pt x="6085947" y="11496204"/>
                  <a:pt x="6427858" y="31199590"/>
                  <a:pt x="6763299" y="30076629"/>
                </a:cubicBezTo>
                <a:cubicBezTo>
                  <a:pt x="7098740" y="28953668"/>
                  <a:pt x="7442328" y="4808283"/>
                  <a:pt x="7771846" y="927062"/>
                </a:cubicBezTo>
                <a:cubicBezTo>
                  <a:pt x="8101364" y="-2954159"/>
                  <a:pt x="8448796" y="6594190"/>
                  <a:pt x="8740405" y="6789300"/>
                </a:cubicBezTo>
                <a:cubicBezTo>
                  <a:pt x="9055115" y="6630133"/>
                  <a:pt x="9842837" y="6679597"/>
                  <a:pt x="9842837" y="6679597"/>
                </a:cubicBezTo>
              </a:path>
            </a:pathLst>
          </a:custGeom>
          <a:noFill/>
          <a:ln w="136525" cap="rnd" algn="ctr">
            <a:solidFill>
              <a:srgbClr val="FFCD00"/>
            </a:solidFill>
            <a:round/>
            <a:headEnd/>
            <a:tailEnd/>
          </a:ln>
        </p:spPr>
        <p:txBody>
          <a:bodyPr rtlCol="0" anchor="ctr"/>
          <a:lstStyle/>
          <a:p>
            <a:pPr algn="ctr"/>
            <a:endParaRPr lang="en-US" dirty="0"/>
          </a:p>
        </p:txBody>
      </p:sp>
      <p:sp>
        <p:nvSpPr>
          <p:cNvPr id="198" name="Freeform: Shape 107">
            <a:extLst>
              <a:ext uri="{FF2B5EF4-FFF2-40B4-BE49-F238E27FC236}">
                <a16:creationId xmlns:a16="http://schemas.microsoft.com/office/drawing/2014/main" id="{5F5EE060-E92F-49EE-A05D-531223EE6A10}"/>
              </a:ext>
            </a:extLst>
          </p:cNvPr>
          <p:cNvSpPr/>
          <p:nvPr/>
        </p:nvSpPr>
        <p:spPr bwMode="gray">
          <a:xfrm flipV="1">
            <a:off x="1144653" y="2858742"/>
            <a:ext cx="10346787" cy="2596918"/>
          </a:xfrm>
          <a:custGeom>
            <a:avLst/>
            <a:gdLst>
              <a:gd name="connsiteX0" fmla="*/ 0 w 9855200"/>
              <a:gd name="connsiteY0" fmla="*/ 2713159 h 3112619"/>
              <a:gd name="connsiteX1" fmla="*/ 939800 w 9855200"/>
              <a:gd name="connsiteY1" fmla="*/ 731959 h 3112619"/>
              <a:gd name="connsiteX2" fmla="*/ 1972733 w 9855200"/>
              <a:gd name="connsiteY2" fmla="*/ 1070626 h 3112619"/>
              <a:gd name="connsiteX3" fmla="*/ 2921000 w 9855200"/>
              <a:gd name="connsiteY3" fmla="*/ 1620959 h 3112619"/>
              <a:gd name="connsiteX4" fmla="*/ 3877733 w 9855200"/>
              <a:gd name="connsiteY4" fmla="*/ 706559 h 3112619"/>
              <a:gd name="connsiteX5" fmla="*/ 4910666 w 9855200"/>
              <a:gd name="connsiteY5" fmla="*/ 672692 h 3112619"/>
              <a:gd name="connsiteX6" fmla="*/ 5808133 w 9855200"/>
              <a:gd name="connsiteY6" fmla="*/ 173159 h 3112619"/>
              <a:gd name="connsiteX7" fmla="*/ 6874933 w 9855200"/>
              <a:gd name="connsiteY7" fmla="*/ 113892 h 3112619"/>
              <a:gd name="connsiteX8" fmla="*/ 7882466 w 9855200"/>
              <a:gd name="connsiteY8" fmla="*/ 1637892 h 3112619"/>
              <a:gd name="connsiteX9" fmla="*/ 8805333 w 9855200"/>
              <a:gd name="connsiteY9" fmla="*/ 2975626 h 3112619"/>
              <a:gd name="connsiteX10" fmla="*/ 9855200 w 9855200"/>
              <a:gd name="connsiteY10" fmla="*/ 3068759 h 3112619"/>
              <a:gd name="connsiteX11" fmla="*/ 9855200 w 9855200"/>
              <a:gd name="connsiteY11" fmla="*/ 3068759 h 3112619"/>
              <a:gd name="connsiteX0" fmla="*/ 0 w 9855200"/>
              <a:gd name="connsiteY0" fmla="*/ 2564478 h 2963938"/>
              <a:gd name="connsiteX1" fmla="*/ 939800 w 9855200"/>
              <a:gd name="connsiteY1" fmla="*/ 583278 h 2963938"/>
              <a:gd name="connsiteX2" fmla="*/ 1972733 w 9855200"/>
              <a:gd name="connsiteY2" fmla="*/ 921945 h 2963938"/>
              <a:gd name="connsiteX3" fmla="*/ 2921000 w 9855200"/>
              <a:gd name="connsiteY3" fmla="*/ 1472278 h 2963938"/>
              <a:gd name="connsiteX4" fmla="*/ 3877733 w 9855200"/>
              <a:gd name="connsiteY4" fmla="*/ 557878 h 2963938"/>
              <a:gd name="connsiteX5" fmla="*/ 4910666 w 9855200"/>
              <a:gd name="connsiteY5" fmla="*/ 524011 h 2963938"/>
              <a:gd name="connsiteX6" fmla="*/ 5808133 w 9855200"/>
              <a:gd name="connsiteY6" fmla="*/ 24478 h 2963938"/>
              <a:gd name="connsiteX7" fmla="*/ 6671569 w 9855200"/>
              <a:gd name="connsiteY7" fmla="*/ 1404544 h 2963938"/>
              <a:gd name="connsiteX8" fmla="*/ 7882466 w 9855200"/>
              <a:gd name="connsiteY8" fmla="*/ 1489211 h 2963938"/>
              <a:gd name="connsiteX9" fmla="*/ 8805333 w 9855200"/>
              <a:gd name="connsiteY9" fmla="*/ 2826945 h 2963938"/>
              <a:gd name="connsiteX10" fmla="*/ 9855200 w 9855200"/>
              <a:gd name="connsiteY10" fmla="*/ 2920078 h 2963938"/>
              <a:gd name="connsiteX11" fmla="*/ 9855200 w 9855200"/>
              <a:gd name="connsiteY11" fmla="*/ 2920078 h 2963938"/>
              <a:gd name="connsiteX0" fmla="*/ 0 w 9855200"/>
              <a:gd name="connsiteY0" fmla="*/ 2124213 h 2523673"/>
              <a:gd name="connsiteX1" fmla="*/ 939800 w 9855200"/>
              <a:gd name="connsiteY1" fmla="*/ 143013 h 2523673"/>
              <a:gd name="connsiteX2" fmla="*/ 1972733 w 9855200"/>
              <a:gd name="connsiteY2" fmla="*/ 481680 h 2523673"/>
              <a:gd name="connsiteX3" fmla="*/ 2921000 w 9855200"/>
              <a:gd name="connsiteY3" fmla="*/ 1032013 h 2523673"/>
              <a:gd name="connsiteX4" fmla="*/ 3877733 w 9855200"/>
              <a:gd name="connsiteY4" fmla="*/ 117613 h 2523673"/>
              <a:gd name="connsiteX5" fmla="*/ 4910666 w 9855200"/>
              <a:gd name="connsiteY5" fmla="*/ 83746 h 2523673"/>
              <a:gd name="connsiteX6" fmla="*/ 5850501 w 9855200"/>
              <a:gd name="connsiteY6" fmla="*/ 778013 h 2523673"/>
              <a:gd name="connsiteX7" fmla="*/ 6671569 w 9855200"/>
              <a:gd name="connsiteY7" fmla="*/ 964279 h 2523673"/>
              <a:gd name="connsiteX8" fmla="*/ 7882466 w 9855200"/>
              <a:gd name="connsiteY8" fmla="*/ 1048946 h 2523673"/>
              <a:gd name="connsiteX9" fmla="*/ 8805333 w 9855200"/>
              <a:gd name="connsiteY9" fmla="*/ 2386680 h 2523673"/>
              <a:gd name="connsiteX10" fmla="*/ 9855200 w 9855200"/>
              <a:gd name="connsiteY10" fmla="*/ 2479813 h 2523673"/>
              <a:gd name="connsiteX11" fmla="*/ 9855200 w 9855200"/>
              <a:gd name="connsiteY11" fmla="*/ 2479813 h 2523673"/>
              <a:gd name="connsiteX0" fmla="*/ 0 w 9810080"/>
              <a:gd name="connsiteY0" fmla="*/ 71509606 h 71509607"/>
              <a:gd name="connsiteX1" fmla="*/ 894680 w 9810080"/>
              <a:gd name="connsiteY1" fmla="*/ 4857891 h 71509607"/>
              <a:gd name="connsiteX2" fmla="*/ 1927613 w 9810080"/>
              <a:gd name="connsiteY2" fmla="*/ 5196558 h 71509607"/>
              <a:gd name="connsiteX3" fmla="*/ 2875880 w 9810080"/>
              <a:gd name="connsiteY3" fmla="*/ 5746891 h 71509607"/>
              <a:gd name="connsiteX4" fmla="*/ 3832613 w 9810080"/>
              <a:gd name="connsiteY4" fmla="*/ 4832491 h 71509607"/>
              <a:gd name="connsiteX5" fmla="*/ 4865546 w 9810080"/>
              <a:gd name="connsiteY5" fmla="*/ 4798624 h 71509607"/>
              <a:gd name="connsiteX6" fmla="*/ 5805381 w 9810080"/>
              <a:gd name="connsiteY6" fmla="*/ 5492891 h 71509607"/>
              <a:gd name="connsiteX7" fmla="*/ 6626449 w 9810080"/>
              <a:gd name="connsiteY7" fmla="*/ 5679157 h 71509607"/>
              <a:gd name="connsiteX8" fmla="*/ 7837346 w 9810080"/>
              <a:gd name="connsiteY8" fmla="*/ 5763824 h 71509607"/>
              <a:gd name="connsiteX9" fmla="*/ 8760213 w 9810080"/>
              <a:gd name="connsiteY9" fmla="*/ 7101558 h 71509607"/>
              <a:gd name="connsiteX10" fmla="*/ 9810080 w 9810080"/>
              <a:gd name="connsiteY10" fmla="*/ 7194691 h 71509607"/>
              <a:gd name="connsiteX11" fmla="*/ 9810080 w 9810080"/>
              <a:gd name="connsiteY11" fmla="*/ 7194691 h 71509607"/>
              <a:gd name="connsiteX0" fmla="*/ 0 w 9810080"/>
              <a:gd name="connsiteY0" fmla="*/ 71509607 h 71509607"/>
              <a:gd name="connsiteX1" fmla="*/ 894680 w 9810080"/>
              <a:gd name="connsiteY1" fmla="*/ 4857891 h 71509607"/>
              <a:gd name="connsiteX2" fmla="*/ 1927613 w 9810080"/>
              <a:gd name="connsiteY2" fmla="*/ 5196558 h 71509607"/>
              <a:gd name="connsiteX3" fmla="*/ 2875880 w 9810080"/>
              <a:gd name="connsiteY3" fmla="*/ 5746891 h 71509607"/>
              <a:gd name="connsiteX4" fmla="*/ 3832613 w 9810080"/>
              <a:gd name="connsiteY4" fmla="*/ 4832491 h 71509607"/>
              <a:gd name="connsiteX5" fmla="*/ 4865546 w 9810080"/>
              <a:gd name="connsiteY5" fmla="*/ 4798624 h 71509607"/>
              <a:gd name="connsiteX6" fmla="*/ 5805381 w 9810080"/>
              <a:gd name="connsiteY6" fmla="*/ 5492891 h 71509607"/>
              <a:gd name="connsiteX7" fmla="*/ 6626449 w 9810080"/>
              <a:gd name="connsiteY7" fmla="*/ 5679157 h 71509607"/>
              <a:gd name="connsiteX8" fmla="*/ 7837346 w 9810080"/>
              <a:gd name="connsiteY8" fmla="*/ 5763824 h 71509607"/>
              <a:gd name="connsiteX9" fmla="*/ 8760213 w 9810080"/>
              <a:gd name="connsiteY9" fmla="*/ 7101558 h 71509607"/>
              <a:gd name="connsiteX10" fmla="*/ 9810080 w 9810080"/>
              <a:gd name="connsiteY10" fmla="*/ 7194691 h 71509607"/>
              <a:gd name="connsiteX11" fmla="*/ 9810080 w 9810080"/>
              <a:gd name="connsiteY11" fmla="*/ 7194691 h 71509607"/>
              <a:gd name="connsiteX0" fmla="*/ 0 w 9810080"/>
              <a:gd name="connsiteY0" fmla="*/ 76881361 h 156801961"/>
              <a:gd name="connsiteX1" fmla="*/ 975896 w 9810080"/>
              <a:gd name="connsiteY1" fmla="*/ 155869804 h 156801961"/>
              <a:gd name="connsiteX2" fmla="*/ 1927613 w 9810080"/>
              <a:gd name="connsiteY2" fmla="*/ 10568312 h 156801961"/>
              <a:gd name="connsiteX3" fmla="*/ 2875880 w 9810080"/>
              <a:gd name="connsiteY3" fmla="*/ 11118645 h 156801961"/>
              <a:gd name="connsiteX4" fmla="*/ 3832613 w 9810080"/>
              <a:gd name="connsiteY4" fmla="*/ 10204245 h 156801961"/>
              <a:gd name="connsiteX5" fmla="*/ 4865546 w 9810080"/>
              <a:gd name="connsiteY5" fmla="*/ 10170378 h 156801961"/>
              <a:gd name="connsiteX6" fmla="*/ 5805381 w 9810080"/>
              <a:gd name="connsiteY6" fmla="*/ 10864645 h 156801961"/>
              <a:gd name="connsiteX7" fmla="*/ 6626449 w 9810080"/>
              <a:gd name="connsiteY7" fmla="*/ 11050911 h 156801961"/>
              <a:gd name="connsiteX8" fmla="*/ 7837346 w 9810080"/>
              <a:gd name="connsiteY8" fmla="*/ 11135578 h 156801961"/>
              <a:gd name="connsiteX9" fmla="*/ 8760213 w 9810080"/>
              <a:gd name="connsiteY9" fmla="*/ 12473312 h 156801961"/>
              <a:gd name="connsiteX10" fmla="*/ 9810080 w 9810080"/>
              <a:gd name="connsiteY10" fmla="*/ 12566445 h 156801961"/>
              <a:gd name="connsiteX11" fmla="*/ 9810080 w 9810080"/>
              <a:gd name="connsiteY11" fmla="*/ 12566445 h 156801961"/>
              <a:gd name="connsiteX0" fmla="*/ 0 w 9810080"/>
              <a:gd name="connsiteY0" fmla="*/ 76491983 h 151207476"/>
              <a:gd name="connsiteX1" fmla="*/ 975896 w 9810080"/>
              <a:gd name="connsiteY1" fmla="*/ 150222659 h 151207476"/>
              <a:gd name="connsiteX2" fmla="*/ 1927613 w 9810080"/>
              <a:gd name="connsiteY2" fmla="*/ 10178934 h 151207476"/>
              <a:gd name="connsiteX3" fmla="*/ 2875880 w 9810080"/>
              <a:gd name="connsiteY3" fmla="*/ 10729267 h 151207476"/>
              <a:gd name="connsiteX4" fmla="*/ 3832613 w 9810080"/>
              <a:gd name="connsiteY4" fmla="*/ 9814867 h 151207476"/>
              <a:gd name="connsiteX5" fmla="*/ 4865546 w 9810080"/>
              <a:gd name="connsiteY5" fmla="*/ 9781000 h 151207476"/>
              <a:gd name="connsiteX6" fmla="*/ 5805381 w 9810080"/>
              <a:gd name="connsiteY6" fmla="*/ 10475267 h 151207476"/>
              <a:gd name="connsiteX7" fmla="*/ 6626449 w 9810080"/>
              <a:gd name="connsiteY7" fmla="*/ 10661533 h 151207476"/>
              <a:gd name="connsiteX8" fmla="*/ 7837346 w 9810080"/>
              <a:gd name="connsiteY8" fmla="*/ 10746200 h 151207476"/>
              <a:gd name="connsiteX9" fmla="*/ 8760213 w 9810080"/>
              <a:gd name="connsiteY9" fmla="*/ 12083934 h 151207476"/>
              <a:gd name="connsiteX10" fmla="*/ 9810080 w 9810080"/>
              <a:gd name="connsiteY10" fmla="*/ 12177067 h 151207476"/>
              <a:gd name="connsiteX11" fmla="*/ 9810080 w 9810080"/>
              <a:gd name="connsiteY11" fmla="*/ 12177067 h 151207476"/>
              <a:gd name="connsiteX0" fmla="*/ 0 w 9810080"/>
              <a:gd name="connsiteY0" fmla="*/ 68463690 h 142468211"/>
              <a:gd name="connsiteX1" fmla="*/ 975896 w 9810080"/>
              <a:gd name="connsiteY1" fmla="*/ 142194366 h 142468211"/>
              <a:gd name="connsiteX2" fmla="*/ 2071996 w 9810080"/>
              <a:gd name="connsiteY2" fmla="*/ 35274567 h 142468211"/>
              <a:gd name="connsiteX3" fmla="*/ 2875880 w 9810080"/>
              <a:gd name="connsiteY3" fmla="*/ 2700974 h 142468211"/>
              <a:gd name="connsiteX4" fmla="*/ 3832613 w 9810080"/>
              <a:gd name="connsiteY4" fmla="*/ 1786574 h 142468211"/>
              <a:gd name="connsiteX5" fmla="*/ 4865546 w 9810080"/>
              <a:gd name="connsiteY5" fmla="*/ 1752707 h 142468211"/>
              <a:gd name="connsiteX6" fmla="*/ 5805381 w 9810080"/>
              <a:gd name="connsiteY6" fmla="*/ 2446974 h 142468211"/>
              <a:gd name="connsiteX7" fmla="*/ 6626449 w 9810080"/>
              <a:gd name="connsiteY7" fmla="*/ 2633240 h 142468211"/>
              <a:gd name="connsiteX8" fmla="*/ 7837346 w 9810080"/>
              <a:gd name="connsiteY8" fmla="*/ 2717907 h 142468211"/>
              <a:gd name="connsiteX9" fmla="*/ 8760213 w 9810080"/>
              <a:gd name="connsiteY9" fmla="*/ 4055641 h 142468211"/>
              <a:gd name="connsiteX10" fmla="*/ 9810080 w 9810080"/>
              <a:gd name="connsiteY10" fmla="*/ 4148774 h 142468211"/>
              <a:gd name="connsiteX11" fmla="*/ 9810080 w 9810080"/>
              <a:gd name="connsiteY11" fmla="*/ 4148774 h 142468211"/>
              <a:gd name="connsiteX0" fmla="*/ 0 w 9810080"/>
              <a:gd name="connsiteY0" fmla="*/ 70324746 h 144072589"/>
              <a:gd name="connsiteX1" fmla="*/ 975896 w 9810080"/>
              <a:gd name="connsiteY1" fmla="*/ 144055422 h 144072589"/>
              <a:gd name="connsiteX2" fmla="*/ 1900541 w 9810080"/>
              <a:gd name="connsiteY2" fmla="*/ 62372905 h 144072589"/>
              <a:gd name="connsiteX3" fmla="*/ 2875880 w 9810080"/>
              <a:gd name="connsiteY3" fmla="*/ 4562030 h 144072589"/>
              <a:gd name="connsiteX4" fmla="*/ 3832613 w 9810080"/>
              <a:gd name="connsiteY4" fmla="*/ 3647630 h 144072589"/>
              <a:gd name="connsiteX5" fmla="*/ 4865546 w 9810080"/>
              <a:gd name="connsiteY5" fmla="*/ 3613763 h 144072589"/>
              <a:gd name="connsiteX6" fmla="*/ 5805381 w 9810080"/>
              <a:gd name="connsiteY6" fmla="*/ 4308030 h 144072589"/>
              <a:gd name="connsiteX7" fmla="*/ 6626449 w 9810080"/>
              <a:gd name="connsiteY7" fmla="*/ 4494296 h 144072589"/>
              <a:gd name="connsiteX8" fmla="*/ 7837346 w 9810080"/>
              <a:gd name="connsiteY8" fmla="*/ 4578963 h 144072589"/>
              <a:gd name="connsiteX9" fmla="*/ 8760213 w 9810080"/>
              <a:gd name="connsiteY9" fmla="*/ 5916697 h 144072589"/>
              <a:gd name="connsiteX10" fmla="*/ 9810080 w 9810080"/>
              <a:gd name="connsiteY10" fmla="*/ 6009830 h 144072589"/>
              <a:gd name="connsiteX11" fmla="*/ 9810080 w 9810080"/>
              <a:gd name="connsiteY11" fmla="*/ 6009830 h 144072589"/>
              <a:gd name="connsiteX0" fmla="*/ 0 w 9810080"/>
              <a:gd name="connsiteY0" fmla="*/ 71763194 h 145558950"/>
              <a:gd name="connsiteX1" fmla="*/ 975896 w 9810080"/>
              <a:gd name="connsiteY1" fmla="*/ 145493870 h 145558950"/>
              <a:gd name="connsiteX2" fmla="*/ 1891517 w 9810080"/>
              <a:gd name="connsiteY2" fmla="*/ 83265091 h 145558950"/>
              <a:gd name="connsiteX3" fmla="*/ 2875880 w 9810080"/>
              <a:gd name="connsiteY3" fmla="*/ 6000478 h 145558950"/>
              <a:gd name="connsiteX4" fmla="*/ 3832613 w 9810080"/>
              <a:gd name="connsiteY4" fmla="*/ 5086078 h 145558950"/>
              <a:gd name="connsiteX5" fmla="*/ 4865546 w 9810080"/>
              <a:gd name="connsiteY5" fmla="*/ 5052211 h 145558950"/>
              <a:gd name="connsiteX6" fmla="*/ 5805381 w 9810080"/>
              <a:gd name="connsiteY6" fmla="*/ 5746478 h 145558950"/>
              <a:gd name="connsiteX7" fmla="*/ 6626449 w 9810080"/>
              <a:gd name="connsiteY7" fmla="*/ 5932744 h 145558950"/>
              <a:gd name="connsiteX8" fmla="*/ 7837346 w 9810080"/>
              <a:gd name="connsiteY8" fmla="*/ 6017411 h 145558950"/>
              <a:gd name="connsiteX9" fmla="*/ 8760213 w 9810080"/>
              <a:gd name="connsiteY9" fmla="*/ 7355145 h 145558950"/>
              <a:gd name="connsiteX10" fmla="*/ 9810080 w 9810080"/>
              <a:gd name="connsiteY10" fmla="*/ 7448278 h 145558950"/>
              <a:gd name="connsiteX11" fmla="*/ 9810080 w 9810080"/>
              <a:gd name="connsiteY11" fmla="*/ 7448278 h 145558950"/>
              <a:gd name="connsiteX0" fmla="*/ 0 w 9810080"/>
              <a:gd name="connsiteY0" fmla="*/ 70907710 h 144638385"/>
              <a:gd name="connsiteX1" fmla="*/ 975896 w 9810080"/>
              <a:gd name="connsiteY1" fmla="*/ 144638386 h 144638385"/>
              <a:gd name="connsiteX2" fmla="*/ 1954685 w 9810080"/>
              <a:gd name="connsiteY2" fmla="*/ 70842519 h 144638385"/>
              <a:gd name="connsiteX3" fmla="*/ 2875880 w 9810080"/>
              <a:gd name="connsiteY3" fmla="*/ 5144994 h 144638385"/>
              <a:gd name="connsiteX4" fmla="*/ 3832613 w 9810080"/>
              <a:gd name="connsiteY4" fmla="*/ 4230594 h 144638385"/>
              <a:gd name="connsiteX5" fmla="*/ 4865546 w 9810080"/>
              <a:gd name="connsiteY5" fmla="*/ 4196727 h 144638385"/>
              <a:gd name="connsiteX6" fmla="*/ 5805381 w 9810080"/>
              <a:gd name="connsiteY6" fmla="*/ 4890994 h 144638385"/>
              <a:gd name="connsiteX7" fmla="*/ 6626449 w 9810080"/>
              <a:gd name="connsiteY7" fmla="*/ 5077260 h 144638385"/>
              <a:gd name="connsiteX8" fmla="*/ 7837346 w 9810080"/>
              <a:gd name="connsiteY8" fmla="*/ 5161927 h 144638385"/>
              <a:gd name="connsiteX9" fmla="*/ 8760213 w 9810080"/>
              <a:gd name="connsiteY9" fmla="*/ 6499661 h 144638385"/>
              <a:gd name="connsiteX10" fmla="*/ 9810080 w 9810080"/>
              <a:gd name="connsiteY10" fmla="*/ 6592794 h 144638385"/>
              <a:gd name="connsiteX11" fmla="*/ 9810080 w 9810080"/>
              <a:gd name="connsiteY11" fmla="*/ 6592794 h 144638385"/>
              <a:gd name="connsiteX0" fmla="*/ 0 w 9810080"/>
              <a:gd name="connsiteY0" fmla="*/ 77101498 h 151672201"/>
              <a:gd name="connsiteX1" fmla="*/ 975896 w 9810080"/>
              <a:gd name="connsiteY1" fmla="*/ 150832174 h 151672201"/>
              <a:gd name="connsiteX2" fmla="*/ 1954685 w 9810080"/>
              <a:gd name="connsiteY2" fmla="*/ 77036307 h 151672201"/>
              <a:gd name="connsiteX3" fmla="*/ 2875880 w 9810080"/>
              <a:gd name="connsiteY3" fmla="*/ 150669610 h 151672201"/>
              <a:gd name="connsiteX4" fmla="*/ 3832613 w 9810080"/>
              <a:gd name="connsiteY4" fmla="*/ 10424382 h 151672201"/>
              <a:gd name="connsiteX5" fmla="*/ 4865546 w 9810080"/>
              <a:gd name="connsiteY5" fmla="*/ 10390515 h 151672201"/>
              <a:gd name="connsiteX6" fmla="*/ 5805381 w 9810080"/>
              <a:gd name="connsiteY6" fmla="*/ 11084782 h 151672201"/>
              <a:gd name="connsiteX7" fmla="*/ 6626449 w 9810080"/>
              <a:gd name="connsiteY7" fmla="*/ 11271048 h 151672201"/>
              <a:gd name="connsiteX8" fmla="*/ 7837346 w 9810080"/>
              <a:gd name="connsiteY8" fmla="*/ 11355715 h 151672201"/>
              <a:gd name="connsiteX9" fmla="*/ 8760213 w 9810080"/>
              <a:gd name="connsiteY9" fmla="*/ 12693449 h 151672201"/>
              <a:gd name="connsiteX10" fmla="*/ 9810080 w 9810080"/>
              <a:gd name="connsiteY10" fmla="*/ 12786582 h 151672201"/>
              <a:gd name="connsiteX11" fmla="*/ 9810080 w 9810080"/>
              <a:gd name="connsiteY11" fmla="*/ 12786582 h 151672201"/>
              <a:gd name="connsiteX0" fmla="*/ 0 w 9810080"/>
              <a:gd name="connsiteY0" fmla="*/ 75747395 h 154788994"/>
              <a:gd name="connsiteX1" fmla="*/ 975896 w 9810080"/>
              <a:gd name="connsiteY1" fmla="*/ 149478071 h 154788994"/>
              <a:gd name="connsiteX2" fmla="*/ 1954685 w 9810080"/>
              <a:gd name="connsiteY2" fmla="*/ 75682204 h 154788994"/>
              <a:gd name="connsiteX3" fmla="*/ 2875880 w 9810080"/>
              <a:gd name="connsiteY3" fmla="*/ 149315507 h 154788994"/>
              <a:gd name="connsiteX4" fmla="*/ 3940901 w 9810080"/>
              <a:gd name="connsiteY4" fmla="*/ 133679377 h 154788994"/>
              <a:gd name="connsiteX5" fmla="*/ 4865546 w 9810080"/>
              <a:gd name="connsiteY5" fmla="*/ 9036412 h 154788994"/>
              <a:gd name="connsiteX6" fmla="*/ 5805381 w 9810080"/>
              <a:gd name="connsiteY6" fmla="*/ 9730679 h 154788994"/>
              <a:gd name="connsiteX7" fmla="*/ 6626449 w 9810080"/>
              <a:gd name="connsiteY7" fmla="*/ 9916945 h 154788994"/>
              <a:gd name="connsiteX8" fmla="*/ 7837346 w 9810080"/>
              <a:gd name="connsiteY8" fmla="*/ 10001612 h 154788994"/>
              <a:gd name="connsiteX9" fmla="*/ 8760213 w 9810080"/>
              <a:gd name="connsiteY9" fmla="*/ 11339346 h 154788994"/>
              <a:gd name="connsiteX10" fmla="*/ 9810080 w 9810080"/>
              <a:gd name="connsiteY10" fmla="*/ 11432479 h 154788994"/>
              <a:gd name="connsiteX11" fmla="*/ 9810080 w 9810080"/>
              <a:gd name="connsiteY11" fmla="*/ 11432479 h 154788994"/>
              <a:gd name="connsiteX0" fmla="*/ 0 w 9810080"/>
              <a:gd name="connsiteY0" fmla="*/ 75747395 h 154658888"/>
              <a:gd name="connsiteX1" fmla="*/ 975896 w 9810080"/>
              <a:gd name="connsiteY1" fmla="*/ 149478071 h 154658888"/>
              <a:gd name="connsiteX2" fmla="*/ 1954685 w 9810080"/>
              <a:gd name="connsiteY2" fmla="*/ 75682204 h 154658888"/>
              <a:gd name="connsiteX3" fmla="*/ 2875880 w 9810080"/>
              <a:gd name="connsiteY3" fmla="*/ 149315507 h 154658888"/>
              <a:gd name="connsiteX4" fmla="*/ 3940901 w 9810080"/>
              <a:gd name="connsiteY4" fmla="*/ 133679377 h 154658888"/>
              <a:gd name="connsiteX5" fmla="*/ 4865546 w 9810080"/>
              <a:gd name="connsiteY5" fmla="*/ 9036412 h 154658888"/>
              <a:gd name="connsiteX6" fmla="*/ 5805381 w 9810080"/>
              <a:gd name="connsiteY6" fmla="*/ 9730679 h 154658888"/>
              <a:gd name="connsiteX7" fmla="*/ 6626449 w 9810080"/>
              <a:gd name="connsiteY7" fmla="*/ 9916945 h 154658888"/>
              <a:gd name="connsiteX8" fmla="*/ 7837346 w 9810080"/>
              <a:gd name="connsiteY8" fmla="*/ 10001612 h 154658888"/>
              <a:gd name="connsiteX9" fmla="*/ 8760213 w 9810080"/>
              <a:gd name="connsiteY9" fmla="*/ 11339346 h 154658888"/>
              <a:gd name="connsiteX10" fmla="*/ 9810080 w 9810080"/>
              <a:gd name="connsiteY10" fmla="*/ 11432479 h 154658888"/>
              <a:gd name="connsiteX11" fmla="*/ 9810080 w 9810080"/>
              <a:gd name="connsiteY11" fmla="*/ 11432479 h 154658888"/>
              <a:gd name="connsiteX0" fmla="*/ 0 w 9810080"/>
              <a:gd name="connsiteY0" fmla="*/ 75747395 h 153336967"/>
              <a:gd name="connsiteX1" fmla="*/ 975896 w 9810080"/>
              <a:gd name="connsiteY1" fmla="*/ 149478071 h 153336967"/>
              <a:gd name="connsiteX2" fmla="*/ 1954685 w 9810080"/>
              <a:gd name="connsiteY2" fmla="*/ 75682204 h 153336967"/>
              <a:gd name="connsiteX3" fmla="*/ 2875880 w 9810080"/>
              <a:gd name="connsiteY3" fmla="*/ 149315507 h 153336967"/>
              <a:gd name="connsiteX4" fmla="*/ 3940901 w 9810080"/>
              <a:gd name="connsiteY4" fmla="*/ 133679377 h 153336967"/>
              <a:gd name="connsiteX5" fmla="*/ 4865546 w 9810080"/>
              <a:gd name="connsiteY5" fmla="*/ 9036412 h 153336967"/>
              <a:gd name="connsiteX6" fmla="*/ 5805381 w 9810080"/>
              <a:gd name="connsiteY6" fmla="*/ 9730679 h 153336967"/>
              <a:gd name="connsiteX7" fmla="*/ 6626449 w 9810080"/>
              <a:gd name="connsiteY7" fmla="*/ 9916945 h 153336967"/>
              <a:gd name="connsiteX8" fmla="*/ 7837346 w 9810080"/>
              <a:gd name="connsiteY8" fmla="*/ 10001612 h 153336967"/>
              <a:gd name="connsiteX9" fmla="*/ 8760213 w 9810080"/>
              <a:gd name="connsiteY9" fmla="*/ 11339346 h 153336967"/>
              <a:gd name="connsiteX10" fmla="*/ 9810080 w 9810080"/>
              <a:gd name="connsiteY10" fmla="*/ 11432479 h 153336967"/>
              <a:gd name="connsiteX11" fmla="*/ 9810080 w 9810080"/>
              <a:gd name="connsiteY11" fmla="*/ 11432479 h 153336967"/>
              <a:gd name="connsiteX0" fmla="*/ 0 w 9810080"/>
              <a:gd name="connsiteY0" fmla="*/ 76915530 h 161432935"/>
              <a:gd name="connsiteX1" fmla="*/ 975896 w 9810080"/>
              <a:gd name="connsiteY1" fmla="*/ 150646206 h 161432935"/>
              <a:gd name="connsiteX2" fmla="*/ 1954685 w 9810080"/>
              <a:gd name="connsiteY2" fmla="*/ 76850339 h 161432935"/>
              <a:gd name="connsiteX3" fmla="*/ 2875880 w 9810080"/>
              <a:gd name="connsiteY3" fmla="*/ 150483642 h 161432935"/>
              <a:gd name="connsiteX4" fmla="*/ 3913830 w 9810080"/>
              <a:gd name="connsiteY4" fmla="*/ 150620813 h 161432935"/>
              <a:gd name="connsiteX5" fmla="*/ 4865546 w 9810080"/>
              <a:gd name="connsiteY5" fmla="*/ 10204547 h 161432935"/>
              <a:gd name="connsiteX6" fmla="*/ 5805381 w 9810080"/>
              <a:gd name="connsiteY6" fmla="*/ 10898814 h 161432935"/>
              <a:gd name="connsiteX7" fmla="*/ 6626449 w 9810080"/>
              <a:gd name="connsiteY7" fmla="*/ 11085080 h 161432935"/>
              <a:gd name="connsiteX8" fmla="*/ 7837346 w 9810080"/>
              <a:gd name="connsiteY8" fmla="*/ 11169747 h 161432935"/>
              <a:gd name="connsiteX9" fmla="*/ 8760213 w 9810080"/>
              <a:gd name="connsiteY9" fmla="*/ 12507481 h 161432935"/>
              <a:gd name="connsiteX10" fmla="*/ 9810080 w 9810080"/>
              <a:gd name="connsiteY10" fmla="*/ 12600614 h 161432935"/>
              <a:gd name="connsiteX11" fmla="*/ 9810080 w 9810080"/>
              <a:gd name="connsiteY11" fmla="*/ 12600614 h 161432935"/>
              <a:gd name="connsiteX0" fmla="*/ 0 w 9810080"/>
              <a:gd name="connsiteY0" fmla="*/ 76915530 h 157932559"/>
              <a:gd name="connsiteX1" fmla="*/ 975896 w 9810080"/>
              <a:gd name="connsiteY1" fmla="*/ 150646206 h 157932559"/>
              <a:gd name="connsiteX2" fmla="*/ 1954685 w 9810080"/>
              <a:gd name="connsiteY2" fmla="*/ 76850339 h 157932559"/>
              <a:gd name="connsiteX3" fmla="*/ 2875880 w 9810080"/>
              <a:gd name="connsiteY3" fmla="*/ 150483642 h 157932559"/>
              <a:gd name="connsiteX4" fmla="*/ 3913830 w 9810080"/>
              <a:gd name="connsiteY4" fmla="*/ 150620813 h 157932559"/>
              <a:gd name="connsiteX5" fmla="*/ 4865546 w 9810080"/>
              <a:gd name="connsiteY5" fmla="*/ 10204547 h 157932559"/>
              <a:gd name="connsiteX6" fmla="*/ 5805381 w 9810080"/>
              <a:gd name="connsiteY6" fmla="*/ 10898814 h 157932559"/>
              <a:gd name="connsiteX7" fmla="*/ 6626449 w 9810080"/>
              <a:gd name="connsiteY7" fmla="*/ 11085080 h 157932559"/>
              <a:gd name="connsiteX8" fmla="*/ 7837346 w 9810080"/>
              <a:gd name="connsiteY8" fmla="*/ 11169747 h 157932559"/>
              <a:gd name="connsiteX9" fmla="*/ 8760213 w 9810080"/>
              <a:gd name="connsiteY9" fmla="*/ 12507481 h 157932559"/>
              <a:gd name="connsiteX10" fmla="*/ 9810080 w 9810080"/>
              <a:gd name="connsiteY10" fmla="*/ 12600614 h 157932559"/>
              <a:gd name="connsiteX11" fmla="*/ 9810080 w 9810080"/>
              <a:gd name="connsiteY11" fmla="*/ 12600614 h 157932559"/>
              <a:gd name="connsiteX0" fmla="*/ 0 w 9810080"/>
              <a:gd name="connsiteY0" fmla="*/ 76798728 h 157098216"/>
              <a:gd name="connsiteX1" fmla="*/ 975896 w 9810080"/>
              <a:gd name="connsiteY1" fmla="*/ 150529404 h 157098216"/>
              <a:gd name="connsiteX2" fmla="*/ 1954685 w 9810080"/>
              <a:gd name="connsiteY2" fmla="*/ 76733537 h 157098216"/>
              <a:gd name="connsiteX3" fmla="*/ 2875880 w 9810080"/>
              <a:gd name="connsiteY3" fmla="*/ 150366840 h 157098216"/>
              <a:gd name="connsiteX4" fmla="*/ 3913831 w 9810080"/>
              <a:gd name="connsiteY4" fmla="*/ 148926681 h 157098216"/>
              <a:gd name="connsiteX5" fmla="*/ 4865546 w 9810080"/>
              <a:gd name="connsiteY5" fmla="*/ 10087745 h 157098216"/>
              <a:gd name="connsiteX6" fmla="*/ 5805381 w 9810080"/>
              <a:gd name="connsiteY6" fmla="*/ 10782012 h 157098216"/>
              <a:gd name="connsiteX7" fmla="*/ 6626449 w 9810080"/>
              <a:gd name="connsiteY7" fmla="*/ 10968278 h 157098216"/>
              <a:gd name="connsiteX8" fmla="*/ 7837346 w 9810080"/>
              <a:gd name="connsiteY8" fmla="*/ 11052945 h 157098216"/>
              <a:gd name="connsiteX9" fmla="*/ 8760213 w 9810080"/>
              <a:gd name="connsiteY9" fmla="*/ 12390679 h 157098216"/>
              <a:gd name="connsiteX10" fmla="*/ 9810080 w 9810080"/>
              <a:gd name="connsiteY10" fmla="*/ 12483812 h 157098216"/>
              <a:gd name="connsiteX11" fmla="*/ 9810080 w 9810080"/>
              <a:gd name="connsiteY11" fmla="*/ 12483812 h 157098216"/>
              <a:gd name="connsiteX0" fmla="*/ 0 w 9810080"/>
              <a:gd name="connsiteY0" fmla="*/ 77927947 h 168213439"/>
              <a:gd name="connsiteX1" fmla="*/ 975896 w 9810080"/>
              <a:gd name="connsiteY1" fmla="*/ 151658623 h 168213439"/>
              <a:gd name="connsiteX2" fmla="*/ 1954685 w 9810080"/>
              <a:gd name="connsiteY2" fmla="*/ 77862756 h 168213439"/>
              <a:gd name="connsiteX3" fmla="*/ 2875880 w 9810080"/>
              <a:gd name="connsiteY3" fmla="*/ 151496059 h 168213439"/>
              <a:gd name="connsiteX4" fmla="*/ 3976999 w 9810080"/>
              <a:gd name="connsiteY4" fmla="*/ 165303423 h 168213439"/>
              <a:gd name="connsiteX5" fmla="*/ 4865546 w 9810080"/>
              <a:gd name="connsiteY5" fmla="*/ 11216964 h 168213439"/>
              <a:gd name="connsiteX6" fmla="*/ 5805381 w 9810080"/>
              <a:gd name="connsiteY6" fmla="*/ 11911231 h 168213439"/>
              <a:gd name="connsiteX7" fmla="*/ 6626449 w 9810080"/>
              <a:gd name="connsiteY7" fmla="*/ 12097497 h 168213439"/>
              <a:gd name="connsiteX8" fmla="*/ 7837346 w 9810080"/>
              <a:gd name="connsiteY8" fmla="*/ 12182164 h 168213439"/>
              <a:gd name="connsiteX9" fmla="*/ 8760213 w 9810080"/>
              <a:gd name="connsiteY9" fmla="*/ 13519898 h 168213439"/>
              <a:gd name="connsiteX10" fmla="*/ 9810080 w 9810080"/>
              <a:gd name="connsiteY10" fmla="*/ 13613031 h 168213439"/>
              <a:gd name="connsiteX11" fmla="*/ 9810080 w 9810080"/>
              <a:gd name="connsiteY11" fmla="*/ 13613031 h 168213439"/>
              <a:gd name="connsiteX0" fmla="*/ 0 w 9810080"/>
              <a:gd name="connsiteY0" fmla="*/ 76876559 h 157646238"/>
              <a:gd name="connsiteX1" fmla="*/ 975896 w 9810080"/>
              <a:gd name="connsiteY1" fmla="*/ 150607235 h 157646238"/>
              <a:gd name="connsiteX2" fmla="*/ 1954685 w 9810080"/>
              <a:gd name="connsiteY2" fmla="*/ 76811368 h 157646238"/>
              <a:gd name="connsiteX3" fmla="*/ 2875880 w 9810080"/>
              <a:gd name="connsiteY3" fmla="*/ 150444671 h 157646238"/>
              <a:gd name="connsiteX4" fmla="*/ 3895784 w 9810080"/>
              <a:gd name="connsiteY4" fmla="*/ 150056065 h 157646238"/>
              <a:gd name="connsiteX5" fmla="*/ 4865546 w 9810080"/>
              <a:gd name="connsiteY5" fmla="*/ 10165576 h 157646238"/>
              <a:gd name="connsiteX6" fmla="*/ 5805381 w 9810080"/>
              <a:gd name="connsiteY6" fmla="*/ 10859843 h 157646238"/>
              <a:gd name="connsiteX7" fmla="*/ 6626449 w 9810080"/>
              <a:gd name="connsiteY7" fmla="*/ 11046109 h 157646238"/>
              <a:gd name="connsiteX8" fmla="*/ 7837346 w 9810080"/>
              <a:gd name="connsiteY8" fmla="*/ 11130776 h 157646238"/>
              <a:gd name="connsiteX9" fmla="*/ 8760213 w 9810080"/>
              <a:gd name="connsiteY9" fmla="*/ 12468510 h 157646238"/>
              <a:gd name="connsiteX10" fmla="*/ 9810080 w 9810080"/>
              <a:gd name="connsiteY10" fmla="*/ 12561643 h 157646238"/>
              <a:gd name="connsiteX11" fmla="*/ 9810080 w 9810080"/>
              <a:gd name="connsiteY11" fmla="*/ 12561643 h 157646238"/>
              <a:gd name="connsiteX0" fmla="*/ 0 w 9810080"/>
              <a:gd name="connsiteY0" fmla="*/ 74403725 h 154345906"/>
              <a:gd name="connsiteX1" fmla="*/ 975896 w 9810080"/>
              <a:gd name="connsiteY1" fmla="*/ 148134401 h 154345906"/>
              <a:gd name="connsiteX2" fmla="*/ 1954685 w 9810080"/>
              <a:gd name="connsiteY2" fmla="*/ 74338534 h 154345906"/>
              <a:gd name="connsiteX3" fmla="*/ 2875880 w 9810080"/>
              <a:gd name="connsiteY3" fmla="*/ 147971837 h 154345906"/>
              <a:gd name="connsiteX4" fmla="*/ 3895784 w 9810080"/>
              <a:gd name="connsiteY4" fmla="*/ 147583231 h 154345906"/>
              <a:gd name="connsiteX5" fmla="*/ 4829451 w 9810080"/>
              <a:gd name="connsiteY5" fmla="*/ 122312056 h 154345906"/>
              <a:gd name="connsiteX6" fmla="*/ 5805381 w 9810080"/>
              <a:gd name="connsiteY6" fmla="*/ 8387009 h 154345906"/>
              <a:gd name="connsiteX7" fmla="*/ 6626449 w 9810080"/>
              <a:gd name="connsiteY7" fmla="*/ 8573275 h 154345906"/>
              <a:gd name="connsiteX8" fmla="*/ 7837346 w 9810080"/>
              <a:gd name="connsiteY8" fmla="*/ 8657942 h 154345906"/>
              <a:gd name="connsiteX9" fmla="*/ 8760213 w 9810080"/>
              <a:gd name="connsiteY9" fmla="*/ 9995676 h 154345906"/>
              <a:gd name="connsiteX10" fmla="*/ 9810080 w 9810080"/>
              <a:gd name="connsiteY10" fmla="*/ 10088809 h 154345906"/>
              <a:gd name="connsiteX11" fmla="*/ 9810080 w 9810080"/>
              <a:gd name="connsiteY11" fmla="*/ 10088809 h 154345906"/>
              <a:gd name="connsiteX0" fmla="*/ 0 w 9810080"/>
              <a:gd name="connsiteY0" fmla="*/ 74403725 h 154345906"/>
              <a:gd name="connsiteX1" fmla="*/ 975896 w 9810080"/>
              <a:gd name="connsiteY1" fmla="*/ 148134401 h 154345906"/>
              <a:gd name="connsiteX2" fmla="*/ 1954685 w 9810080"/>
              <a:gd name="connsiteY2" fmla="*/ 74338534 h 154345906"/>
              <a:gd name="connsiteX3" fmla="*/ 2875880 w 9810080"/>
              <a:gd name="connsiteY3" fmla="*/ 147971837 h 154345906"/>
              <a:gd name="connsiteX4" fmla="*/ 3895784 w 9810080"/>
              <a:gd name="connsiteY4" fmla="*/ 147583231 h 154345906"/>
              <a:gd name="connsiteX5" fmla="*/ 4829451 w 9810080"/>
              <a:gd name="connsiteY5" fmla="*/ 122312056 h 154345906"/>
              <a:gd name="connsiteX6" fmla="*/ 5805381 w 9810080"/>
              <a:gd name="connsiteY6" fmla="*/ 8387009 h 154345906"/>
              <a:gd name="connsiteX7" fmla="*/ 6626449 w 9810080"/>
              <a:gd name="connsiteY7" fmla="*/ 8573275 h 154345906"/>
              <a:gd name="connsiteX8" fmla="*/ 7837346 w 9810080"/>
              <a:gd name="connsiteY8" fmla="*/ 8657942 h 154345906"/>
              <a:gd name="connsiteX9" fmla="*/ 8760213 w 9810080"/>
              <a:gd name="connsiteY9" fmla="*/ 9995676 h 154345906"/>
              <a:gd name="connsiteX10" fmla="*/ 9810080 w 9810080"/>
              <a:gd name="connsiteY10" fmla="*/ 10088809 h 154345906"/>
              <a:gd name="connsiteX11" fmla="*/ 9810080 w 9810080"/>
              <a:gd name="connsiteY11" fmla="*/ 10088809 h 154345906"/>
              <a:gd name="connsiteX0" fmla="*/ 0 w 9810080"/>
              <a:gd name="connsiteY0" fmla="*/ 71716495 h 153568584"/>
              <a:gd name="connsiteX1" fmla="*/ 975896 w 9810080"/>
              <a:gd name="connsiteY1" fmla="*/ 145447171 h 153568584"/>
              <a:gd name="connsiteX2" fmla="*/ 1954685 w 9810080"/>
              <a:gd name="connsiteY2" fmla="*/ 71651304 h 153568584"/>
              <a:gd name="connsiteX3" fmla="*/ 2875880 w 9810080"/>
              <a:gd name="connsiteY3" fmla="*/ 145284607 h 153568584"/>
              <a:gd name="connsiteX4" fmla="*/ 3895784 w 9810080"/>
              <a:gd name="connsiteY4" fmla="*/ 144896001 h 153568584"/>
              <a:gd name="connsiteX5" fmla="*/ 4856523 w 9810080"/>
              <a:gd name="connsiteY5" fmla="*/ 83346233 h 153568584"/>
              <a:gd name="connsiteX6" fmla="*/ 5805381 w 9810080"/>
              <a:gd name="connsiteY6" fmla="*/ 5699779 h 153568584"/>
              <a:gd name="connsiteX7" fmla="*/ 6626449 w 9810080"/>
              <a:gd name="connsiteY7" fmla="*/ 5886045 h 153568584"/>
              <a:gd name="connsiteX8" fmla="*/ 7837346 w 9810080"/>
              <a:gd name="connsiteY8" fmla="*/ 5970712 h 153568584"/>
              <a:gd name="connsiteX9" fmla="*/ 8760213 w 9810080"/>
              <a:gd name="connsiteY9" fmla="*/ 7308446 h 153568584"/>
              <a:gd name="connsiteX10" fmla="*/ 9810080 w 9810080"/>
              <a:gd name="connsiteY10" fmla="*/ 7401579 h 153568584"/>
              <a:gd name="connsiteX11" fmla="*/ 9810080 w 9810080"/>
              <a:gd name="connsiteY11" fmla="*/ 7401579 h 153568584"/>
              <a:gd name="connsiteX0" fmla="*/ 0 w 9810080"/>
              <a:gd name="connsiteY0" fmla="*/ 70236647 h 153309753"/>
              <a:gd name="connsiteX1" fmla="*/ 975896 w 9810080"/>
              <a:gd name="connsiteY1" fmla="*/ 143967323 h 153309753"/>
              <a:gd name="connsiteX2" fmla="*/ 1954685 w 9810080"/>
              <a:gd name="connsiteY2" fmla="*/ 70171456 h 153309753"/>
              <a:gd name="connsiteX3" fmla="*/ 2875880 w 9810080"/>
              <a:gd name="connsiteY3" fmla="*/ 143804759 h 153309753"/>
              <a:gd name="connsiteX4" fmla="*/ 3895784 w 9810080"/>
              <a:gd name="connsiteY4" fmla="*/ 143416153 h 153309753"/>
              <a:gd name="connsiteX5" fmla="*/ 4874572 w 9810080"/>
              <a:gd name="connsiteY5" fmla="*/ 61886871 h 153309753"/>
              <a:gd name="connsiteX6" fmla="*/ 5805381 w 9810080"/>
              <a:gd name="connsiteY6" fmla="*/ 4219931 h 153309753"/>
              <a:gd name="connsiteX7" fmla="*/ 6626449 w 9810080"/>
              <a:gd name="connsiteY7" fmla="*/ 4406197 h 153309753"/>
              <a:gd name="connsiteX8" fmla="*/ 7837346 w 9810080"/>
              <a:gd name="connsiteY8" fmla="*/ 4490864 h 153309753"/>
              <a:gd name="connsiteX9" fmla="*/ 8760213 w 9810080"/>
              <a:gd name="connsiteY9" fmla="*/ 5828598 h 153309753"/>
              <a:gd name="connsiteX10" fmla="*/ 9810080 w 9810080"/>
              <a:gd name="connsiteY10" fmla="*/ 5921731 h 153309753"/>
              <a:gd name="connsiteX11" fmla="*/ 9810080 w 9810080"/>
              <a:gd name="connsiteY11" fmla="*/ 5921731 h 153309753"/>
              <a:gd name="connsiteX0" fmla="*/ 0 w 9810080"/>
              <a:gd name="connsiteY0" fmla="*/ 74214665 h 157287771"/>
              <a:gd name="connsiteX1" fmla="*/ 975896 w 9810080"/>
              <a:gd name="connsiteY1" fmla="*/ 147945341 h 157287771"/>
              <a:gd name="connsiteX2" fmla="*/ 1954685 w 9810080"/>
              <a:gd name="connsiteY2" fmla="*/ 74149474 h 157287771"/>
              <a:gd name="connsiteX3" fmla="*/ 2875880 w 9810080"/>
              <a:gd name="connsiteY3" fmla="*/ 147782777 h 157287771"/>
              <a:gd name="connsiteX4" fmla="*/ 3895784 w 9810080"/>
              <a:gd name="connsiteY4" fmla="*/ 147394171 h 157287771"/>
              <a:gd name="connsiteX5" fmla="*/ 4874572 w 9810080"/>
              <a:gd name="connsiteY5" fmla="*/ 65864889 h 157287771"/>
              <a:gd name="connsiteX6" fmla="*/ 5832453 w 9810080"/>
              <a:gd name="connsiteY6" fmla="*/ 121239968 h 157287771"/>
              <a:gd name="connsiteX7" fmla="*/ 6626449 w 9810080"/>
              <a:gd name="connsiteY7" fmla="*/ 8384215 h 157287771"/>
              <a:gd name="connsiteX8" fmla="*/ 7837346 w 9810080"/>
              <a:gd name="connsiteY8" fmla="*/ 8468882 h 157287771"/>
              <a:gd name="connsiteX9" fmla="*/ 8760213 w 9810080"/>
              <a:gd name="connsiteY9" fmla="*/ 9806616 h 157287771"/>
              <a:gd name="connsiteX10" fmla="*/ 9810080 w 9810080"/>
              <a:gd name="connsiteY10" fmla="*/ 9899749 h 157287771"/>
              <a:gd name="connsiteX11" fmla="*/ 9810080 w 9810080"/>
              <a:gd name="connsiteY11" fmla="*/ 9899749 h 157287771"/>
              <a:gd name="connsiteX0" fmla="*/ 0 w 9810080"/>
              <a:gd name="connsiteY0" fmla="*/ 74214665 h 157287771"/>
              <a:gd name="connsiteX1" fmla="*/ 975896 w 9810080"/>
              <a:gd name="connsiteY1" fmla="*/ 147945341 h 157287771"/>
              <a:gd name="connsiteX2" fmla="*/ 1954685 w 9810080"/>
              <a:gd name="connsiteY2" fmla="*/ 74149474 h 157287771"/>
              <a:gd name="connsiteX3" fmla="*/ 2875880 w 9810080"/>
              <a:gd name="connsiteY3" fmla="*/ 147782777 h 157287771"/>
              <a:gd name="connsiteX4" fmla="*/ 3895784 w 9810080"/>
              <a:gd name="connsiteY4" fmla="*/ 147394171 h 157287771"/>
              <a:gd name="connsiteX5" fmla="*/ 4874572 w 9810080"/>
              <a:gd name="connsiteY5" fmla="*/ 65864889 h 157287771"/>
              <a:gd name="connsiteX6" fmla="*/ 5832453 w 9810080"/>
              <a:gd name="connsiteY6" fmla="*/ 121239968 h 157287771"/>
              <a:gd name="connsiteX7" fmla="*/ 6626449 w 9810080"/>
              <a:gd name="connsiteY7" fmla="*/ 8384215 h 157287771"/>
              <a:gd name="connsiteX8" fmla="*/ 7837346 w 9810080"/>
              <a:gd name="connsiteY8" fmla="*/ 8468882 h 157287771"/>
              <a:gd name="connsiteX9" fmla="*/ 8760213 w 9810080"/>
              <a:gd name="connsiteY9" fmla="*/ 9806616 h 157287771"/>
              <a:gd name="connsiteX10" fmla="*/ 9810080 w 9810080"/>
              <a:gd name="connsiteY10" fmla="*/ 9899749 h 157287771"/>
              <a:gd name="connsiteX11" fmla="*/ 9810080 w 9810080"/>
              <a:gd name="connsiteY11" fmla="*/ 9899749 h 157287771"/>
              <a:gd name="connsiteX0" fmla="*/ 0 w 9810080"/>
              <a:gd name="connsiteY0" fmla="*/ 76006170 h 159079276"/>
              <a:gd name="connsiteX1" fmla="*/ 975896 w 9810080"/>
              <a:gd name="connsiteY1" fmla="*/ 149736846 h 159079276"/>
              <a:gd name="connsiteX2" fmla="*/ 1954685 w 9810080"/>
              <a:gd name="connsiteY2" fmla="*/ 75940979 h 159079276"/>
              <a:gd name="connsiteX3" fmla="*/ 2875880 w 9810080"/>
              <a:gd name="connsiteY3" fmla="*/ 149574282 h 159079276"/>
              <a:gd name="connsiteX4" fmla="*/ 3895784 w 9810080"/>
              <a:gd name="connsiteY4" fmla="*/ 149185676 h 159079276"/>
              <a:gd name="connsiteX5" fmla="*/ 4874572 w 9810080"/>
              <a:gd name="connsiteY5" fmla="*/ 67656394 h 159079276"/>
              <a:gd name="connsiteX6" fmla="*/ 5814405 w 9810080"/>
              <a:gd name="connsiteY6" fmla="*/ 147217202 h 159079276"/>
              <a:gd name="connsiteX7" fmla="*/ 6626449 w 9810080"/>
              <a:gd name="connsiteY7" fmla="*/ 10175720 h 159079276"/>
              <a:gd name="connsiteX8" fmla="*/ 7837346 w 9810080"/>
              <a:gd name="connsiteY8" fmla="*/ 10260387 h 159079276"/>
              <a:gd name="connsiteX9" fmla="*/ 8760213 w 9810080"/>
              <a:gd name="connsiteY9" fmla="*/ 11598121 h 159079276"/>
              <a:gd name="connsiteX10" fmla="*/ 9810080 w 9810080"/>
              <a:gd name="connsiteY10" fmla="*/ 11691254 h 159079276"/>
              <a:gd name="connsiteX11" fmla="*/ 9810080 w 9810080"/>
              <a:gd name="connsiteY11" fmla="*/ 11691254 h 159079276"/>
              <a:gd name="connsiteX0" fmla="*/ 0 w 9810080"/>
              <a:gd name="connsiteY0" fmla="*/ 74002699 h 157075805"/>
              <a:gd name="connsiteX1" fmla="*/ 975896 w 9810080"/>
              <a:gd name="connsiteY1" fmla="*/ 147733375 h 157075805"/>
              <a:gd name="connsiteX2" fmla="*/ 1954685 w 9810080"/>
              <a:gd name="connsiteY2" fmla="*/ 73937508 h 157075805"/>
              <a:gd name="connsiteX3" fmla="*/ 2875880 w 9810080"/>
              <a:gd name="connsiteY3" fmla="*/ 147570811 h 157075805"/>
              <a:gd name="connsiteX4" fmla="*/ 3895784 w 9810080"/>
              <a:gd name="connsiteY4" fmla="*/ 147182205 h 157075805"/>
              <a:gd name="connsiteX5" fmla="*/ 4874572 w 9810080"/>
              <a:gd name="connsiteY5" fmla="*/ 65652923 h 157075805"/>
              <a:gd name="connsiteX6" fmla="*/ 5814405 w 9810080"/>
              <a:gd name="connsiteY6" fmla="*/ 145213731 h 157075805"/>
              <a:gd name="connsiteX7" fmla="*/ 6852049 w 9810080"/>
              <a:gd name="connsiteY7" fmla="*/ 124894683 h 157075805"/>
              <a:gd name="connsiteX8" fmla="*/ 7837346 w 9810080"/>
              <a:gd name="connsiteY8" fmla="*/ 8256916 h 157075805"/>
              <a:gd name="connsiteX9" fmla="*/ 8760213 w 9810080"/>
              <a:gd name="connsiteY9" fmla="*/ 9594650 h 157075805"/>
              <a:gd name="connsiteX10" fmla="*/ 9810080 w 9810080"/>
              <a:gd name="connsiteY10" fmla="*/ 9687783 h 157075805"/>
              <a:gd name="connsiteX11" fmla="*/ 9810080 w 9810080"/>
              <a:gd name="connsiteY11" fmla="*/ 9687783 h 157075805"/>
              <a:gd name="connsiteX0" fmla="*/ 0 w 9810080"/>
              <a:gd name="connsiteY0" fmla="*/ 74002699 h 157075805"/>
              <a:gd name="connsiteX1" fmla="*/ 975896 w 9810080"/>
              <a:gd name="connsiteY1" fmla="*/ 147733375 h 157075805"/>
              <a:gd name="connsiteX2" fmla="*/ 1954685 w 9810080"/>
              <a:gd name="connsiteY2" fmla="*/ 73937508 h 157075805"/>
              <a:gd name="connsiteX3" fmla="*/ 2875880 w 9810080"/>
              <a:gd name="connsiteY3" fmla="*/ 147570811 h 157075805"/>
              <a:gd name="connsiteX4" fmla="*/ 3895784 w 9810080"/>
              <a:gd name="connsiteY4" fmla="*/ 147182205 h 157075805"/>
              <a:gd name="connsiteX5" fmla="*/ 4874572 w 9810080"/>
              <a:gd name="connsiteY5" fmla="*/ 65652923 h 157075805"/>
              <a:gd name="connsiteX6" fmla="*/ 5814405 w 9810080"/>
              <a:gd name="connsiteY6" fmla="*/ 145213731 h 157075805"/>
              <a:gd name="connsiteX7" fmla="*/ 6852049 w 9810080"/>
              <a:gd name="connsiteY7" fmla="*/ 124894683 h 157075805"/>
              <a:gd name="connsiteX8" fmla="*/ 7837346 w 9810080"/>
              <a:gd name="connsiteY8" fmla="*/ 8256916 h 157075805"/>
              <a:gd name="connsiteX9" fmla="*/ 8760213 w 9810080"/>
              <a:gd name="connsiteY9" fmla="*/ 9594650 h 157075805"/>
              <a:gd name="connsiteX10" fmla="*/ 9810080 w 9810080"/>
              <a:gd name="connsiteY10" fmla="*/ 9687783 h 157075805"/>
              <a:gd name="connsiteX11" fmla="*/ 9810080 w 9810080"/>
              <a:gd name="connsiteY11" fmla="*/ 9687783 h 157075805"/>
              <a:gd name="connsiteX0" fmla="*/ 0 w 9810080"/>
              <a:gd name="connsiteY0" fmla="*/ 74080475 h 157153581"/>
              <a:gd name="connsiteX1" fmla="*/ 975896 w 9810080"/>
              <a:gd name="connsiteY1" fmla="*/ 147811151 h 157153581"/>
              <a:gd name="connsiteX2" fmla="*/ 1954685 w 9810080"/>
              <a:gd name="connsiteY2" fmla="*/ 74015284 h 157153581"/>
              <a:gd name="connsiteX3" fmla="*/ 2875880 w 9810080"/>
              <a:gd name="connsiteY3" fmla="*/ 147648587 h 157153581"/>
              <a:gd name="connsiteX4" fmla="*/ 3895784 w 9810080"/>
              <a:gd name="connsiteY4" fmla="*/ 147259981 h 157153581"/>
              <a:gd name="connsiteX5" fmla="*/ 4874572 w 9810080"/>
              <a:gd name="connsiteY5" fmla="*/ 65730699 h 157153581"/>
              <a:gd name="connsiteX6" fmla="*/ 5814405 w 9810080"/>
              <a:gd name="connsiteY6" fmla="*/ 145291507 h 157153581"/>
              <a:gd name="connsiteX7" fmla="*/ 6770833 w 9810080"/>
              <a:gd name="connsiteY7" fmla="*/ 126024012 h 157153581"/>
              <a:gd name="connsiteX8" fmla="*/ 7837346 w 9810080"/>
              <a:gd name="connsiteY8" fmla="*/ 8334692 h 157153581"/>
              <a:gd name="connsiteX9" fmla="*/ 8760213 w 9810080"/>
              <a:gd name="connsiteY9" fmla="*/ 9672426 h 157153581"/>
              <a:gd name="connsiteX10" fmla="*/ 9810080 w 9810080"/>
              <a:gd name="connsiteY10" fmla="*/ 9765559 h 157153581"/>
              <a:gd name="connsiteX11" fmla="*/ 9810080 w 9810080"/>
              <a:gd name="connsiteY11" fmla="*/ 9765559 h 157153581"/>
              <a:gd name="connsiteX0" fmla="*/ 0 w 9810080"/>
              <a:gd name="connsiteY0" fmla="*/ 70970085 h 154043191"/>
              <a:gd name="connsiteX1" fmla="*/ 975896 w 9810080"/>
              <a:gd name="connsiteY1" fmla="*/ 144700761 h 154043191"/>
              <a:gd name="connsiteX2" fmla="*/ 1954685 w 9810080"/>
              <a:gd name="connsiteY2" fmla="*/ 70904894 h 154043191"/>
              <a:gd name="connsiteX3" fmla="*/ 2875880 w 9810080"/>
              <a:gd name="connsiteY3" fmla="*/ 144538197 h 154043191"/>
              <a:gd name="connsiteX4" fmla="*/ 3895784 w 9810080"/>
              <a:gd name="connsiteY4" fmla="*/ 144149591 h 154043191"/>
              <a:gd name="connsiteX5" fmla="*/ 4874572 w 9810080"/>
              <a:gd name="connsiteY5" fmla="*/ 62620309 h 154043191"/>
              <a:gd name="connsiteX6" fmla="*/ 5814405 w 9810080"/>
              <a:gd name="connsiteY6" fmla="*/ 142181117 h 154043191"/>
              <a:gd name="connsiteX7" fmla="*/ 6806929 w 9810080"/>
              <a:gd name="connsiteY7" fmla="*/ 80851486 h 154043191"/>
              <a:gd name="connsiteX8" fmla="*/ 7837346 w 9810080"/>
              <a:gd name="connsiteY8" fmla="*/ 5224302 h 154043191"/>
              <a:gd name="connsiteX9" fmla="*/ 8760213 w 9810080"/>
              <a:gd name="connsiteY9" fmla="*/ 6562036 h 154043191"/>
              <a:gd name="connsiteX10" fmla="*/ 9810080 w 9810080"/>
              <a:gd name="connsiteY10" fmla="*/ 6655169 h 154043191"/>
              <a:gd name="connsiteX11" fmla="*/ 9810080 w 9810080"/>
              <a:gd name="connsiteY11" fmla="*/ 6655169 h 154043191"/>
              <a:gd name="connsiteX0" fmla="*/ 0 w 9810080"/>
              <a:gd name="connsiteY0" fmla="*/ 70003153 h 153076259"/>
              <a:gd name="connsiteX1" fmla="*/ 975896 w 9810080"/>
              <a:gd name="connsiteY1" fmla="*/ 143733829 h 153076259"/>
              <a:gd name="connsiteX2" fmla="*/ 1954685 w 9810080"/>
              <a:gd name="connsiteY2" fmla="*/ 69937962 h 153076259"/>
              <a:gd name="connsiteX3" fmla="*/ 2875880 w 9810080"/>
              <a:gd name="connsiteY3" fmla="*/ 143571265 h 153076259"/>
              <a:gd name="connsiteX4" fmla="*/ 3895784 w 9810080"/>
              <a:gd name="connsiteY4" fmla="*/ 143182659 h 153076259"/>
              <a:gd name="connsiteX5" fmla="*/ 4874572 w 9810080"/>
              <a:gd name="connsiteY5" fmla="*/ 61653377 h 153076259"/>
              <a:gd name="connsiteX6" fmla="*/ 5814405 w 9810080"/>
              <a:gd name="connsiteY6" fmla="*/ 141214185 h 153076259"/>
              <a:gd name="connsiteX7" fmla="*/ 6806929 w 9810080"/>
              <a:gd name="connsiteY7" fmla="*/ 79884554 h 153076259"/>
              <a:gd name="connsiteX8" fmla="*/ 7891490 w 9810080"/>
              <a:gd name="connsiteY8" fmla="*/ 81546560 h 153076259"/>
              <a:gd name="connsiteX9" fmla="*/ 8760213 w 9810080"/>
              <a:gd name="connsiteY9" fmla="*/ 5595104 h 153076259"/>
              <a:gd name="connsiteX10" fmla="*/ 9810080 w 9810080"/>
              <a:gd name="connsiteY10" fmla="*/ 5688237 h 153076259"/>
              <a:gd name="connsiteX11" fmla="*/ 9810080 w 9810080"/>
              <a:gd name="connsiteY11" fmla="*/ 5688237 h 153076259"/>
              <a:gd name="connsiteX0" fmla="*/ 0 w 9810080"/>
              <a:gd name="connsiteY0" fmla="*/ 70003153 h 153076259"/>
              <a:gd name="connsiteX1" fmla="*/ 975896 w 9810080"/>
              <a:gd name="connsiteY1" fmla="*/ 143733829 h 153076259"/>
              <a:gd name="connsiteX2" fmla="*/ 1954685 w 9810080"/>
              <a:gd name="connsiteY2" fmla="*/ 69937962 h 153076259"/>
              <a:gd name="connsiteX3" fmla="*/ 2875880 w 9810080"/>
              <a:gd name="connsiteY3" fmla="*/ 143571265 h 153076259"/>
              <a:gd name="connsiteX4" fmla="*/ 3895784 w 9810080"/>
              <a:gd name="connsiteY4" fmla="*/ 143182659 h 153076259"/>
              <a:gd name="connsiteX5" fmla="*/ 4874572 w 9810080"/>
              <a:gd name="connsiteY5" fmla="*/ 61653377 h 153076259"/>
              <a:gd name="connsiteX6" fmla="*/ 5814405 w 9810080"/>
              <a:gd name="connsiteY6" fmla="*/ 141214185 h 153076259"/>
              <a:gd name="connsiteX7" fmla="*/ 6806929 w 9810080"/>
              <a:gd name="connsiteY7" fmla="*/ 79884554 h 153076259"/>
              <a:gd name="connsiteX8" fmla="*/ 7891490 w 9810080"/>
              <a:gd name="connsiteY8" fmla="*/ 81546560 h 153076259"/>
              <a:gd name="connsiteX9" fmla="*/ 8760213 w 9810080"/>
              <a:gd name="connsiteY9" fmla="*/ 5595104 h 153076259"/>
              <a:gd name="connsiteX10" fmla="*/ 9810080 w 9810080"/>
              <a:gd name="connsiteY10" fmla="*/ 5688237 h 153076259"/>
              <a:gd name="connsiteX11" fmla="*/ 9810080 w 9810080"/>
              <a:gd name="connsiteY11" fmla="*/ 5688237 h 153076259"/>
              <a:gd name="connsiteX0" fmla="*/ 0 w 9810080"/>
              <a:gd name="connsiteY0" fmla="*/ 70197842 h 153270948"/>
              <a:gd name="connsiteX1" fmla="*/ 975896 w 9810080"/>
              <a:gd name="connsiteY1" fmla="*/ 143928518 h 153270948"/>
              <a:gd name="connsiteX2" fmla="*/ 1954685 w 9810080"/>
              <a:gd name="connsiteY2" fmla="*/ 70132651 h 153270948"/>
              <a:gd name="connsiteX3" fmla="*/ 2875880 w 9810080"/>
              <a:gd name="connsiteY3" fmla="*/ 143765954 h 153270948"/>
              <a:gd name="connsiteX4" fmla="*/ 3895784 w 9810080"/>
              <a:gd name="connsiteY4" fmla="*/ 143377348 h 153270948"/>
              <a:gd name="connsiteX5" fmla="*/ 4874572 w 9810080"/>
              <a:gd name="connsiteY5" fmla="*/ 61848066 h 153270948"/>
              <a:gd name="connsiteX6" fmla="*/ 5814405 w 9810080"/>
              <a:gd name="connsiteY6" fmla="*/ 141408874 h 153270948"/>
              <a:gd name="connsiteX7" fmla="*/ 6806929 w 9810080"/>
              <a:gd name="connsiteY7" fmla="*/ 80079243 h 153270948"/>
              <a:gd name="connsiteX8" fmla="*/ 7774179 w 9810080"/>
              <a:gd name="connsiteY8" fmla="*/ 84370132 h 153270948"/>
              <a:gd name="connsiteX9" fmla="*/ 8760213 w 9810080"/>
              <a:gd name="connsiteY9" fmla="*/ 5789793 h 153270948"/>
              <a:gd name="connsiteX10" fmla="*/ 9810080 w 9810080"/>
              <a:gd name="connsiteY10" fmla="*/ 5882926 h 153270948"/>
              <a:gd name="connsiteX11" fmla="*/ 9810080 w 9810080"/>
              <a:gd name="connsiteY11" fmla="*/ 5882926 h 153270948"/>
              <a:gd name="connsiteX0" fmla="*/ 0 w 9810080"/>
              <a:gd name="connsiteY0" fmla="*/ 64314939 h 160662568"/>
              <a:gd name="connsiteX1" fmla="*/ 975896 w 9810080"/>
              <a:gd name="connsiteY1" fmla="*/ 138045615 h 160662568"/>
              <a:gd name="connsiteX2" fmla="*/ 1954685 w 9810080"/>
              <a:gd name="connsiteY2" fmla="*/ 64249748 h 160662568"/>
              <a:gd name="connsiteX3" fmla="*/ 2875880 w 9810080"/>
              <a:gd name="connsiteY3" fmla="*/ 137883051 h 160662568"/>
              <a:gd name="connsiteX4" fmla="*/ 3895784 w 9810080"/>
              <a:gd name="connsiteY4" fmla="*/ 137494445 h 160662568"/>
              <a:gd name="connsiteX5" fmla="*/ 4874572 w 9810080"/>
              <a:gd name="connsiteY5" fmla="*/ 55965163 h 160662568"/>
              <a:gd name="connsiteX6" fmla="*/ 5814405 w 9810080"/>
              <a:gd name="connsiteY6" fmla="*/ 135525971 h 160662568"/>
              <a:gd name="connsiteX7" fmla="*/ 6806929 w 9810080"/>
              <a:gd name="connsiteY7" fmla="*/ 74196340 h 160662568"/>
              <a:gd name="connsiteX8" fmla="*/ 7774179 w 9810080"/>
              <a:gd name="connsiteY8" fmla="*/ 78487229 h 160662568"/>
              <a:gd name="connsiteX9" fmla="*/ 8769237 w 9810080"/>
              <a:gd name="connsiteY9" fmla="*/ 159217221 h 160662568"/>
              <a:gd name="connsiteX10" fmla="*/ 9810080 w 9810080"/>
              <a:gd name="connsiteY10" fmla="*/ 23 h 160662568"/>
              <a:gd name="connsiteX11" fmla="*/ 9810080 w 9810080"/>
              <a:gd name="connsiteY11" fmla="*/ 23 h 160662568"/>
              <a:gd name="connsiteX0" fmla="*/ 0 w 9810080"/>
              <a:gd name="connsiteY0" fmla="*/ 64314939 h 159436639"/>
              <a:gd name="connsiteX1" fmla="*/ 975896 w 9810080"/>
              <a:gd name="connsiteY1" fmla="*/ 138045615 h 159436639"/>
              <a:gd name="connsiteX2" fmla="*/ 1954685 w 9810080"/>
              <a:gd name="connsiteY2" fmla="*/ 64249748 h 159436639"/>
              <a:gd name="connsiteX3" fmla="*/ 2875880 w 9810080"/>
              <a:gd name="connsiteY3" fmla="*/ 137883051 h 159436639"/>
              <a:gd name="connsiteX4" fmla="*/ 3895784 w 9810080"/>
              <a:gd name="connsiteY4" fmla="*/ 137494445 h 159436639"/>
              <a:gd name="connsiteX5" fmla="*/ 4874572 w 9810080"/>
              <a:gd name="connsiteY5" fmla="*/ 55965163 h 159436639"/>
              <a:gd name="connsiteX6" fmla="*/ 5814405 w 9810080"/>
              <a:gd name="connsiteY6" fmla="*/ 135525971 h 159436639"/>
              <a:gd name="connsiteX7" fmla="*/ 6806929 w 9810080"/>
              <a:gd name="connsiteY7" fmla="*/ 74196340 h 159436639"/>
              <a:gd name="connsiteX8" fmla="*/ 7774179 w 9810080"/>
              <a:gd name="connsiteY8" fmla="*/ 78487229 h 159436639"/>
              <a:gd name="connsiteX9" fmla="*/ 8769237 w 9810080"/>
              <a:gd name="connsiteY9" fmla="*/ 159217221 h 159436639"/>
              <a:gd name="connsiteX10" fmla="*/ 9810080 w 9810080"/>
              <a:gd name="connsiteY10" fmla="*/ 23 h 159436639"/>
              <a:gd name="connsiteX11" fmla="*/ 9810080 w 9810080"/>
              <a:gd name="connsiteY11" fmla="*/ 23 h 159436639"/>
              <a:gd name="connsiteX0" fmla="*/ 0 w 9810080"/>
              <a:gd name="connsiteY0" fmla="*/ 64314939 h 159436639"/>
              <a:gd name="connsiteX1" fmla="*/ 975896 w 9810080"/>
              <a:gd name="connsiteY1" fmla="*/ 138045615 h 159436639"/>
              <a:gd name="connsiteX2" fmla="*/ 1954685 w 9810080"/>
              <a:gd name="connsiteY2" fmla="*/ 64249748 h 159436639"/>
              <a:gd name="connsiteX3" fmla="*/ 2875880 w 9810080"/>
              <a:gd name="connsiteY3" fmla="*/ 137883051 h 159436639"/>
              <a:gd name="connsiteX4" fmla="*/ 3895784 w 9810080"/>
              <a:gd name="connsiteY4" fmla="*/ 137494445 h 159436639"/>
              <a:gd name="connsiteX5" fmla="*/ 4874572 w 9810080"/>
              <a:gd name="connsiteY5" fmla="*/ 55965163 h 159436639"/>
              <a:gd name="connsiteX6" fmla="*/ 5814405 w 9810080"/>
              <a:gd name="connsiteY6" fmla="*/ 135525971 h 159436639"/>
              <a:gd name="connsiteX7" fmla="*/ 6806929 w 9810080"/>
              <a:gd name="connsiteY7" fmla="*/ 74196340 h 159436639"/>
              <a:gd name="connsiteX8" fmla="*/ 7774179 w 9810080"/>
              <a:gd name="connsiteY8" fmla="*/ 78487229 h 159436639"/>
              <a:gd name="connsiteX9" fmla="*/ 8769237 w 9810080"/>
              <a:gd name="connsiteY9" fmla="*/ 159217221 h 159436639"/>
              <a:gd name="connsiteX10" fmla="*/ 9810080 w 9810080"/>
              <a:gd name="connsiteY10" fmla="*/ 23 h 159436639"/>
              <a:gd name="connsiteX11" fmla="*/ 9810080 w 9810080"/>
              <a:gd name="connsiteY11" fmla="*/ 83072720 h 159436639"/>
              <a:gd name="connsiteX0" fmla="*/ 0 w 9810080"/>
              <a:gd name="connsiteY0" fmla="*/ 8350825 h 103316144"/>
              <a:gd name="connsiteX1" fmla="*/ 975896 w 9810080"/>
              <a:gd name="connsiteY1" fmla="*/ 82081501 h 103316144"/>
              <a:gd name="connsiteX2" fmla="*/ 1954685 w 9810080"/>
              <a:gd name="connsiteY2" fmla="*/ 8285634 h 103316144"/>
              <a:gd name="connsiteX3" fmla="*/ 2875880 w 9810080"/>
              <a:gd name="connsiteY3" fmla="*/ 81918937 h 103316144"/>
              <a:gd name="connsiteX4" fmla="*/ 3895784 w 9810080"/>
              <a:gd name="connsiteY4" fmla="*/ 81530331 h 103316144"/>
              <a:gd name="connsiteX5" fmla="*/ 4874572 w 9810080"/>
              <a:gd name="connsiteY5" fmla="*/ 1049 h 103316144"/>
              <a:gd name="connsiteX6" fmla="*/ 5814405 w 9810080"/>
              <a:gd name="connsiteY6" fmla="*/ 79561857 h 103316144"/>
              <a:gd name="connsiteX7" fmla="*/ 6806929 w 9810080"/>
              <a:gd name="connsiteY7" fmla="*/ 18232226 h 103316144"/>
              <a:gd name="connsiteX8" fmla="*/ 7774179 w 9810080"/>
              <a:gd name="connsiteY8" fmla="*/ 22523115 h 103316144"/>
              <a:gd name="connsiteX9" fmla="*/ 8769237 w 9810080"/>
              <a:gd name="connsiteY9" fmla="*/ 103253107 h 103316144"/>
              <a:gd name="connsiteX10" fmla="*/ 9593504 w 9810080"/>
              <a:gd name="connsiteY10" fmla="*/ 37098363 h 103316144"/>
              <a:gd name="connsiteX11" fmla="*/ 9810080 w 9810080"/>
              <a:gd name="connsiteY11" fmla="*/ 27108606 h 103316144"/>
              <a:gd name="connsiteX0" fmla="*/ 0 w 9593504"/>
              <a:gd name="connsiteY0" fmla="*/ 8350825 h 103316144"/>
              <a:gd name="connsiteX1" fmla="*/ 975896 w 9593504"/>
              <a:gd name="connsiteY1" fmla="*/ 82081501 h 103316144"/>
              <a:gd name="connsiteX2" fmla="*/ 1954685 w 9593504"/>
              <a:gd name="connsiteY2" fmla="*/ 8285634 h 103316144"/>
              <a:gd name="connsiteX3" fmla="*/ 2875880 w 9593504"/>
              <a:gd name="connsiteY3" fmla="*/ 81918937 h 103316144"/>
              <a:gd name="connsiteX4" fmla="*/ 3895784 w 9593504"/>
              <a:gd name="connsiteY4" fmla="*/ 81530331 h 103316144"/>
              <a:gd name="connsiteX5" fmla="*/ 4874572 w 9593504"/>
              <a:gd name="connsiteY5" fmla="*/ 1049 h 103316144"/>
              <a:gd name="connsiteX6" fmla="*/ 5814405 w 9593504"/>
              <a:gd name="connsiteY6" fmla="*/ 79561857 h 103316144"/>
              <a:gd name="connsiteX7" fmla="*/ 6806929 w 9593504"/>
              <a:gd name="connsiteY7" fmla="*/ 18232226 h 103316144"/>
              <a:gd name="connsiteX8" fmla="*/ 7774179 w 9593504"/>
              <a:gd name="connsiteY8" fmla="*/ 22523115 h 103316144"/>
              <a:gd name="connsiteX9" fmla="*/ 8769237 w 9593504"/>
              <a:gd name="connsiteY9" fmla="*/ 103253107 h 103316144"/>
              <a:gd name="connsiteX10" fmla="*/ 9593504 w 9593504"/>
              <a:gd name="connsiteY10" fmla="*/ 37098363 h 103316144"/>
              <a:gd name="connsiteX0" fmla="*/ 0 w 9873247"/>
              <a:gd name="connsiteY0" fmla="*/ 8350825 h 103287054"/>
              <a:gd name="connsiteX1" fmla="*/ 975896 w 9873247"/>
              <a:gd name="connsiteY1" fmla="*/ 82081501 h 103287054"/>
              <a:gd name="connsiteX2" fmla="*/ 1954685 w 9873247"/>
              <a:gd name="connsiteY2" fmla="*/ 8285634 h 103287054"/>
              <a:gd name="connsiteX3" fmla="*/ 2875880 w 9873247"/>
              <a:gd name="connsiteY3" fmla="*/ 81918937 h 103287054"/>
              <a:gd name="connsiteX4" fmla="*/ 3895784 w 9873247"/>
              <a:gd name="connsiteY4" fmla="*/ 81530331 h 103287054"/>
              <a:gd name="connsiteX5" fmla="*/ 4874572 w 9873247"/>
              <a:gd name="connsiteY5" fmla="*/ 1049 h 103287054"/>
              <a:gd name="connsiteX6" fmla="*/ 5814405 w 9873247"/>
              <a:gd name="connsiteY6" fmla="*/ 79561857 h 103287054"/>
              <a:gd name="connsiteX7" fmla="*/ 6806929 w 9873247"/>
              <a:gd name="connsiteY7" fmla="*/ 18232226 h 103287054"/>
              <a:gd name="connsiteX8" fmla="*/ 7774179 w 9873247"/>
              <a:gd name="connsiteY8" fmla="*/ 22523115 h 103287054"/>
              <a:gd name="connsiteX9" fmla="*/ 8769237 w 9873247"/>
              <a:gd name="connsiteY9" fmla="*/ 103253107 h 103287054"/>
              <a:gd name="connsiteX10" fmla="*/ 9873247 w 9873247"/>
              <a:gd name="connsiteY10" fmla="*/ 33417926 h 103287054"/>
              <a:gd name="connsiteX0" fmla="*/ 0 w 9846175"/>
              <a:gd name="connsiteY0" fmla="*/ 10159938 h 105230137"/>
              <a:gd name="connsiteX1" fmla="*/ 975896 w 9846175"/>
              <a:gd name="connsiteY1" fmla="*/ 83890614 h 105230137"/>
              <a:gd name="connsiteX2" fmla="*/ 1954685 w 9846175"/>
              <a:gd name="connsiteY2" fmla="*/ 10094747 h 105230137"/>
              <a:gd name="connsiteX3" fmla="*/ 2875880 w 9846175"/>
              <a:gd name="connsiteY3" fmla="*/ 83728050 h 105230137"/>
              <a:gd name="connsiteX4" fmla="*/ 3895784 w 9846175"/>
              <a:gd name="connsiteY4" fmla="*/ 83339444 h 105230137"/>
              <a:gd name="connsiteX5" fmla="*/ 4874572 w 9846175"/>
              <a:gd name="connsiteY5" fmla="*/ 1810162 h 105230137"/>
              <a:gd name="connsiteX6" fmla="*/ 5814405 w 9846175"/>
              <a:gd name="connsiteY6" fmla="*/ 81370970 h 105230137"/>
              <a:gd name="connsiteX7" fmla="*/ 6806929 w 9846175"/>
              <a:gd name="connsiteY7" fmla="*/ 20041339 h 105230137"/>
              <a:gd name="connsiteX8" fmla="*/ 7774179 w 9846175"/>
              <a:gd name="connsiteY8" fmla="*/ 24332228 h 105230137"/>
              <a:gd name="connsiteX9" fmla="*/ 8769237 w 9846175"/>
              <a:gd name="connsiteY9" fmla="*/ 105062220 h 105230137"/>
              <a:gd name="connsiteX10" fmla="*/ 9846175 w 9846175"/>
              <a:gd name="connsiteY10" fmla="*/ 0 h 105230137"/>
              <a:gd name="connsiteX0" fmla="*/ 0 w 9846175"/>
              <a:gd name="connsiteY0" fmla="*/ 10159938 h 105230137"/>
              <a:gd name="connsiteX1" fmla="*/ 1013157 w 9846175"/>
              <a:gd name="connsiteY1" fmla="*/ 12249300 h 105230137"/>
              <a:gd name="connsiteX2" fmla="*/ 1954685 w 9846175"/>
              <a:gd name="connsiteY2" fmla="*/ 10094747 h 105230137"/>
              <a:gd name="connsiteX3" fmla="*/ 2875880 w 9846175"/>
              <a:gd name="connsiteY3" fmla="*/ 83728050 h 105230137"/>
              <a:gd name="connsiteX4" fmla="*/ 3895784 w 9846175"/>
              <a:gd name="connsiteY4" fmla="*/ 83339444 h 105230137"/>
              <a:gd name="connsiteX5" fmla="*/ 4874572 w 9846175"/>
              <a:gd name="connsiteY5" fmla="*/ 1810162 h 105230137"/>
              <a:gd name="connsiteX6" fmla="*/ 5814405 w 9846175"/>
              <a:gd name="connsiteY6" fmla="*/ 81370970 h 105230137"/>
              <a:gd name="connsiteX7" fmla="*/ 6806929 w 9846175"/>
              <a:gd name="connsiteY7" fmla="*/ 20041339 h 105230137"/>
              <a:gd name="connsiteX8" fmla="*/ 7774179 w 9846175"/>
              <a:gd name="connsiteY8" fmla="*/ 24332228 h 105230137"/>
              <a:gd name="connsiteX9" fmla="*/ 8769237 w 9846175"/>
              <a:gd name="connsiteY9" fmla="*/ 105062220 h 105230137"/>
              <a:gd name="connsiteX10" fmla="*/ 9846175 w 9846175"/>
              <a:gd name="connsiteY10" fmla="*/ 0 h 105230137"/>
              <a:gd name="connsiteX0" fmla="*/ 0 w 9846175"/>
              <a:gd name="connsiteY0" fmla="*/ 10159938 h 105230137"/>
              <a:gd name="connsiteX1" fmla="*/ 1013157 w 9846175"/>
              <a:gd name="connsiteY1" fmla="*/ 12249300 h 105230137"/>
              <a:gd name="connsiteX2" fmla="*/ 1954685 w 9846175"/>
              <a:gd name="connsiteY2" fmla="*/ 10094747 h 105230137"/>
              <a:gd name="connsiteX3" fmla="*/ 2894510 w 9846175"/>
              <a:gd name="connsiteY3" fmla="*/ 13714961 h 105230137"/>
              <a:gd name="connsiteX4" fmla="*/ 3895784 w 9846175"/>
              <a:gd name="connsiteY4" fmla="*/ 83339444 h 105230137"/>
              <a:gd name="connsiteX5" fmla="*/ 4874572 w 9846175"/>
              <a:gd name="connsiteY5" fmla="*/ 1810162 h 105230137"/>
              <a:gd name="connsiteX6" fmla="*/ 5814405 w 9846175"/>
              <a:gd name="connsiteY6" fmla="*/ 81370970 h 105230137"/>
              <a:gd name="connsiteX7" fmla="*/ 6806929 w 9846175"/>
              <a:gd name="connsiteY7" fmla="*/ 20041339 h 105230137"/>
              <a:gd name="connsiteX8" fmla="*/ 7774179 w 9846175"/>
              <a:gd name="connsiteY8" fmla="*/ 24332228 h 105230137"/>
              <a:gd name="connsiteX9" fmla="*/ 8769237 w 9846175"/>
              <a:gd name="connsiteY9" fmla="*/ 105062220 h 105230137"/>
              <a:gd name="connsiteX10" fmla="*/ 9846175 w 9846175"/>
              <a:gd name="connsiteY10" fmla="*/ 0 h 105230137"/>
              <a:gd name="connsiteX0" fmla="*/ 0 w 9846175"/>
              <a:gd name="connsiteY0" fmla="*/ 12014812 h 107085011"/>
              <a:gd name="connsiteX1" fmla="*/ 1013157 w 9846175"/>
              <a:gd name="connsiteY1" fmla="*/ 14104174 h 107085011"/>
              <a:gd name="connsiteX2" fmla="*/ 1954685 w 9846175"/>
              <a:gd name="connsiteY2" fmla="*/ 11949621 h 107085011"/>
              <a:gd name="connsiteX3" fmla="*/ 2894510 w 9846175"/>
              <a:gd name="connsiteY3" fmla="*/ 15569835 h 107085011"/>
              <a:gd name="connsiteX4" fmla="*/ 3849208 w 9846175"/>
              <a:gd name="connsiteY4" fmla="*/ 13553006 h 107085011"/>
              <a:gd name="connsiteX5" fmla="*/ 4874572 w 9846175"/>
              <a:gd name="connsiteY5" fmla="*/ 3665036 h 107085011"/>
              <a:gd name="connsiteX6" fmla="*/ 5814405 w 9846175"/>
              <a:gd name="connsiteY6" fmla="*/ 83225844 h 107085011"/>
              <a:gd name="connsiteX7" fmla="*/ 6806929 w 9846175"/>
              <a:gd name="connsiteY7" fmla="*/ 21896213 h 107085011"/>
              <a:gd name="connsiteX8" fmla="*/ 7774179 w 9846175"/>
              <a:gd name="connsiteY8" fmla="*/ 26187102 h 107085011"/>
              <a:gd name="connsiteX9" fmla="*/ 8769237 w 9846175"/>
              <a:gd name="connsiteY9" fmla="*/ 106917094 h 107085011"/>
              <a:gd name="connsiteX10" fmla="*/ 9846175 w 9846175"/>
              <a:gd name="connsiteY10" fmla="*/ 1854874 h 107085011"/>
              <a:gd name="connsiteX0" fmla="*/ 0 w 9846175"/>
              <a:gd name="connsiteY0" fmla="*/ 10159938 h 105230137"/>
              <a:gd name="connsiteX1" fmla="*/ 1013157 w 9846175"/>
              <a:gd name="connsiteY1" fmla="*/ 12249300 h 105230137"/>
              <a:gd name="connsiteX2" fmla="*/ 1954685 w 9846175"/>
              <a:gd name="connsiteY2" fmla="*/ 10094747 h 105230137"/>
              <a:gd name="connsiteX3" fmla="*/ 2894510 w 9846175"/>
              <a:gd name="connsiteY3" fmla="*/ 13714961 h 105230137"/>
              <a:gd name="connsiteX4" fmla="*/ 3849208 w 9846175"/>
              <a:gd name="connsiteY4" fmla="*/ 11698132 h 105230137"/>
              <a:gd name="connsiteX5" fmla="*/ 4874572 w 9846175"/>
              <a:gd name="connsiteY5" fmla="*/ 1810162 h 105230137"/>
              <a:gd name="connsiteX6" fmla="*/ 5898240 w 9846175"/>
              <a:gd name="connsiteY6" fmla="*/ 9729657 h 105230137"/>
              <a:gd name="connsiteX7" fmla="*/ 6806929 w 9846175"/>
              <a:gd name="connsiteY7" fmla="*/ 20041339 h 105230137"/>
              <a:gd name="connsiteX8" fmla="*/ 7774179 w 9846175"/>
              <a:gd name="connsiteY8" fmla="*/ 24332228 h 105230137"/>
              <a:gd name="connsiteX9" fmla="*/ 8769237 w 9846175"/>
              <a:gd name="connsiteY9" fmla="*/ 105062220 h 105230137"/>
              <a:gd name="connsiteX10" fmla="*/ 9846175 w 9846175"/>
              <a:gd name="connsiteY10" fmla="*/ 0 h 105230137"/>
              <a:gd name="connsiteX0" fmla="*/ 0 w 9846175"/>
              <a:gd name="connsiteY0" fmla="*/ 10159938 h 105234553"/>
              <a:gd name="connsiteX1" fmla="*/ 1013157 w 9846175"/>
              <a:gd name="connsiteY1" fmla="*/ 12249300 h 105234553"/>
              <a:gd name="connsiteX2" fmla="*/ 1954685 w 9846175"/>
              <a:gd name="connsiteY2" fmla="*/ 10094747 h 105234553"/>
              <a:gd name="connsiteX3" fmla="*/ 2894510 w 9846175"/>
              <a:gd name="connsiteY3" fmla="*/ 13714961 h 105234553"/>
              <a:gd name="connsiteX4" fmla="*/ 3849208 w 9846175"/>
              <a:gd name="connsiteY4" fmla="*/ 11698132 h 105234553"/>
              <a:gd name="connsiteX5" fmla="*/ 4874572 w 9846175"/>
              <a:gd name="connsiteY5" fmla="*/ 1810162 h 105234553"/>
              <a:gd name="connsiteX6" fmla="*/ 5898240 w 9846175"/>
              <a:gd name="connsiteY6" fmla="*/ 9729657 h 105234553"/>
              <a:gd name="connsiteX7" fmla="*/ 6806929 w 9846175"/>
              <a:gd name="connsiteY7" fmla="*/ 8643824 h 105234553"/>
              <a:gd name="connsiteX8" fmla="*/ 7774179 w 9846175"/>
              <a:gd name="connsiteY8" fmla="*/ 24332228 h 105234553"/>
              <a:gd name="connsiteX9" fmla="*/ 8769237 w 9846175"/>
              <a:gd name="connsiteY9" fmla="*/ 105062220 h 105234553"/>
              <a:gd name="connsiteX10" fmla="*/ 9846175 w 9846175"/>
              <a:gd name="connsiteY10" fmla="*/ 0 h 105234553"/>
              <a:gd name="connsiteX0" fmla="*/ 0 w 9846175"/>
              <a:gd name="connsiteY0" fmla="*/ 11334311 h 106372825"/>
              <a:gd name="connsiteX1" fmla="*/ 1013157 w 9846175"/>
              <a:gd name="connsiteY1" fmla="*/ 13423673 h 106372825"/>
              <a:gd name="connsiteX2" fmla="*/ 1954685 w 9846175"/>
              <a:gd name="connsiteY2" fmla="*/ 11269120 h 106372825"/>
              <a:gd name="connsiteX3" fmla="*/ 2894510 w 9846175"/>
              <a:gd name="connsiteY3" fmla="*/ 14889334 h 106372825"/>
              <a:gd name="connsiteX4" fmla="*/ 3849208 w 9846175"/>
              <a:gd name="connsiteY4" fmla="*/ 12872505 h 106372825"/>
              <a:gd name="connsiteX5" fmla="*/ 4874572 w 9846175"/>
              <a:gd name="connsiteY5" fmla="*/ 2984535 h 106372825"/>
              <a:gd name="connsiteX6" fmla="*/ 5898240 w 9846175"/>
              <a:gd name="connsiteY6" fmla="*/ 10904030 h 106372825"/>
              <a:gd name="connsiteX7" fmla="*/ 6806929 w 9846175"/>
              <a:gd name="connsiteY7" fmla="*/ 9818197 h 106372825"/>
              <a:gd name="connsiteX8" fmla="*/ 7792808 w 9846175"/>
              <a:gd name="connsiteY8" fmla="*/ 6510744 h 106372825"/>
              <a:gd name="connsiteX9" fmla="*/ 8769237 w 9846175"/>
              <a:gd name="connsiteY9" fmla="*/ 106236593 h 106372825"/>
              <a:gd name="connsiteX10" fmla="*/ 9846175 w 9846175"/>
              <a:gd name="connsiteY10" fmla="*/ 1174373 h 106372825"/>
              <a:gd name="connsiteX0" fmla="*/ 0 w 9846175"/>
              <a:gd name="connsiteY0" fmla="*/ 10159938 h 13798313"/>
              <a:gd name="connsiteX1" fmla="*/ 1013157 w 9846175"/>
              <a:gd name="connsiteY1" fmla="*/ 12249300 h 13798313"/>
              <a:gd name="connsiteX2" fmla="*/ 1954685 w 9846175"/>
              <a:gd name="connsiteY2" fmla="*/ 10094747 h 13798313"/>
              <a:gd name="connsiteX3" fmla="*/ 2894510 w 9846175"/>
              <a:gd name="connsiteY3" fmla="*/ 13714961 h 13798313"/>
              <a:gd name="connsiteX4" fmla="*/ 3849208 w 9846175"/>
              <a:gd name="connsiteY4" fmla="*/ 11698132 h 13798313"/>
              <a:gd name="connsiteX5" fmla="*/ 4874572 w 9846175"/>
              <a:gd name="connsiteY5" fmla="*/ 1810162 h 13798313"/>
              <a:gd name="connsiteX6" fmla="*/ 5898240 w 9846175"/>
              <a:gd name="connsiteY6" fmla="*/ 9729657 h 13798313"/>
              <a:gd name="connsiteX7" fmla="*/ 6806929 w 9846175"/>
              <a:gd name="connsiteY7" fmla="*/ 8643824 h 13798313"/>
              <a:gd name="connsiteX8" fmla="*/ 7792808 w 9846175"/>
              <a:gd name="connsiteY8" fmla="*/ 5336371 h 13798313"/>
              <a:gd name="connsiteX9" fmla="*/ 8834443 w 9846175"/>
              <a:gd name="connsiteY9" fmla="*/ 7369485 h 13798313"/>
              <a:gd name="connsiteX10" fmla="*/ 9846175 w 9846175"/>
              <a:gd name="connsiteY10" fmla="*/ 0 h 13798313"/>
              <a:gd name="connsiteX0" fmla="*/ 0 w 9959171"/>
              <a:gd name="connsiteY0" fmla="*/ 204565672 h 204565672"/>
              <a:gd name="connsiteX1" fmla="*/ 1126153 w 9959171"/>
              <a:gd name="connsiteY1" fmla="*/ 14851688 h 204565672"/>
              <a:gd name="connsiteX2" fmla="*/ 2067681 w 9959171"/>
              <a:gd name="connsiteY2" fmla="*/ 12697135 h 204565672"/>
              <a:gd name="connsiteX3" fmla="*/ 3007506 w 9959171"/>
              <a:gd name="connsiteY3" fmla="*/ 16317349 h 204565672"/>
              <a:gd name="connsiteX4" fmla="*/ 3962204 w 9959171"/>
              <a:gd name="connsiteY4" fmla="*/ 14300520 h 204565672"/>
              <a:gd name="connsiteX5" fmla="*/ 4987568 w 9959171"/>
              <a:gd name="connsiteY5" fmla="*/ 4412550 h 204565672"/>
              <a:gd name="connsiteX6" fmla="*/ 6011236 w 9959171"/>
              <a:gd name="connsiteY6" fmla="*/ 12332045 h 204565672"/>
              <a:gd name="connsiteX7" fmla="*/ 6919925 w 9959171"/>
              <a:gd name="connsiteY7" fmla="*/ 11246212 h 204565672"/>
              <a:gd name="connsiteX8" fmla="*/ 7905804 w 9959171"/>
              <a:gd name="connsiteY8" fmla="*/ 7938759 h 204565672"/>
              <a:gd name="connsiteX9" fmla="*/ 8947439 w 9959171"/>
              <a:gd name="connsiteY9" fmla="*/ 9971873 h 204565672"/>
              <a:gd name="connsiteX10" fmla="*/ 9959171 w 9959171"/>
              <a:gd name="connsiteY10" fmla="*/ 2602388 h 204565672"/>
              <a:gd name="connsiteX0" fmla="*/ 0 w 9959171"/>
              <a:gd name="connsiteY0" fmla="*/ 203488175 h 205210846"/>
              <a:gd name="connsiteX1" fmla="*/ 990557 w 9959171"/>
              <a:gd name="connsiteY1" fmla="*/ 183193139 h 205210846"/>
              <a:gd name="connsiteX2" fmla="*/ 2067681 w 9959171"/>
              <a:gd name="connsiteY2" fmla="*/ 11619638 h 205210846"/>
              <a:gd name="connsiteX3" fmla="*/ 3007506 w 9959171"/>
              <a:gd name="connsiteY3" fmla="*/ 15239852 h 205210846"/>
              <a:gd name="connsiteX4" fmla="*/ 3962204 w 9959171"/>
              <a:gd name="connsiteY4" fmla="*/ 13223023 h 205210846"/>
              <a:gd name="connsiteX5" fmla="*/ 4987568 w 9959171"/>
              <a:gd name="connsiteY5" fmla="*/ 3335053 h 205210846"/>
              <a:gd name="connsiteX6" fmla="*/ 6011236 w 9959171"/>
              <a:gd name="connsiteY6" fmla="*/ 11254548 h 205210846"/>
              <a:gd name="connsiteX7" fmla="*/ 6919925 w 9959171"/>
              <a:gd name="connsiteY7" fmla="*/ 10168715 h 205210846"/>
              <a:gd name="connsiteX8" fmla="*/ 7905804 w 9959171"/>
              <a:gd name="connsiteY8" fmla="*/ 6861262 h 205210846"/>
              <a:gd name="connsiteX9" fmla="*/ 8947439 w 9959171"/>
              <a:gd name="connsiteY9" fmla="*/ 8894376 h 205210846"/>
              <a:gd name="connsiteX10" fmla="*/ 9959171 w 9959171"/>
              <a:gd name="connsiteY10" fmla="*/ 1524891 h 205210846"/>
              <a:gd name="connsiteX0" fmla="*/ 0 w 9959171"/>
              <a:gd name="connsiteY0" fmla="*/ 203488175 h 203488175"/>
              <a:gd name="connsiteX1" fmla="*/ 990557 w 9959171"/>
              <a:gd name="connsiteY1" fmla="*/ 183193139 h 203488175"/>
              <a:gd name="connsiteX2" fmla="*/ 2067681 w 9959171"/>
              <a:gd name="connsiteY2" fmla="*/ 11619638 h 203488175"/>
              <a:gd name="connsiteX3" fmla="*/ 3007506 w 9959171"/>
              <a:gd name="connsiteY3" fmla="*/ 15239852 h 203488175"/>
              <a:gd name="connsiteX4" fmla="*/ 3962204 w 9959171"/>
              <a:gd name="connsiteY4" fmla="*/ 13223023 h 203488175"/>
              <a:gd name="connsiteX5" fmla="*/ 4987568 w 9959171"/>
              <a:gd name="connsiteY5" fmla="*/ 3335053 h 203488175"/>
              <a:gd name="connsiteX6" fmla="*/ 6011236 w 9959171"/>
              <a:gd name="connsiteY6" fmla="*/ 11254548 h 203488175"/>
              <a:gd name="connsiteX7" fmla="*/ 6919925 w 9959171"/>
              <a:gd name="connsiteY7" fmla="*/ 10168715 h 203488175"/>
              <a:gd name="connsiteX8" fmla="*/ 7905804 w 9959171"/>
              <a:gd name="connsiteY8" fmla="*/ 6861262 h 203488175"/>
              <a:gd name="connsiteX9" fmla="*/ 8947439 w 9959171"/>
              <a:gd name="connsiteY9" fmla="*/ 8894376 h 203488175"/>
              <a:gd name="connsiteX10" fmla="*/ 9959171 w 9959171"/>
              <a:gd name="connsiteY10" fmla="*/ 1524891 h 203488175"/>
              <a:gd name="connsiteX0" fmla="*/ 0 w 9959171"/>
              <a:gd name="connsiteY0" fmla="*/ 203941419 h 203941419"/>
              <a:gd name="connsiteX1" fmla="*/ 922760 w 9959171"/>
              <a:gd name="connsiteY1" fmla="*/ 189791098 h 203941419"/>
              <a:gd name="connsiteX2" fmla="*/ 2067681 w 9959171"/>
              <a:gd name="connsiteY2" fmla="*/ 12072882 h 203941419"/>
              <a:gd name="connsiteX3" fmla="*/ 3007506 w 9959171"/>
              <a:gd name="connsiteY3" fmla="*/ 15693096 h 203941419"/>
              <a:gd name="connsiteX4" fmla="*/ 3962204 w 9959171"/>
              <a:gd name="connsiteY4" fmla="*/ 13676267 h 203941419"/>
              <a:gd name="connsiteX5" fmla="*/ 4987568 w 9959171"/>
              <a:gd name="connsiteY5" fmla="*/ 3788297 h 203941419"/>
              <a:gd name="connsiteX6" fmla="*/ 6011236 w 9959171"/>
              <a:gd name="connsiteY6" fmla="*/ 11707792 h 203941419"/>
              <a:gd name="connsiteX7" fmla="*/ 6919925 w 9959171"/>
              <a:gd name="connsiteY7" fmla="*/ 10621959 h 203941419"/>
              <a:gd name="connsiteX8" fmla="*/ 7905804 w 9959171"/>
              <a:gd name="connsiteY8" fmla="*/ 7314506 h 203941419"/>
              <a:gd name="connsiteX9" fmla="*/ 8947439 w 9959171"/>
              <a:gd name="connsiteY9" fmla="*/ 9347620 h 203941419"/>
              <a:gd name="connsiteX10" fmla="*/ 9959171 w 9959171"/>
              <a:gd name="connsiteY10" fmla="*/ 1978135 h 203941419"/>
              <a:gd name="connsiteX0" fmla="*/ 0 w 9959171"/>
              <a:gd name="connsiteY0" fmla="*/ 203941419 h 203941419"/>
              <a:gd name="connsiteX1" fmla="*/ 922760 w 9959171"/>
              <a:gd name="connsiteY1" fmla="*/ 189791098 h 203941419"/>
              <a:gd name="connsiteX2" fmla="*/ 2067681 w 9959171"/>
              <a:gd name="connsiteY2" fmla="*/ 12072882 h 203941419"/>
              <a:gd name="connsiteX3" fmla="*/ 3007506 w 9959171"/>
              <a:gd name="connsiteY3" fmla="*/ 15693096 h 203941419"/>
              <a:gd name="connsiteX4" fmla="*/ 3962204 w 9959171"/>
              <a:gd name="connsiteY4" fmla="*/ 13676267 h 203941419"/>
              <a:gd name="connsiteX5" fmla="*/ 4987568 w 9959171"/>
              <a:gd name="connsiteY5" fmla="*/ 3788297 h 203941419"/>
              <a:gd name="connsiteX6" fmla="*/ 6011236 w 9959171"/>
              <a:gd name="connsiteY6" fmla="*/ 11707792 h 203941419"/>
              <a:gd name="connsiteX7" fmla="*/ 6919925 w 9959171"/>
              <a:gd name="connsiteY7" fmla="*/ 10621959 h 203941419"/>
              <a:gd name="connsiteX8" fmla="*/ 7905804 w 9959171"/>
              <a:gd name="connsiteY8" fmla="*/ 7314506 h 203941419"/>
              <a:gd name="connsiteX9" fmla="*/ 8947439 w 9959171"/>
              <a:gd name="connsiteY9" fmla="*/ 9347620 h 203941419"/>
              <a:gd name="connsiteX10" fmla="*/ 9959171 w 9959171"/>
              <a:gd name="connsiteY10" fmla="*/ 1978135 h 203941419"/>
              <a:gd name="connsiteX0" fmla="*/ 0 w 9959171"/>
              <a:gd name="connsiteY0" fmla="*/ 201963284 h 201963284"/>
              <a:gd name="connsiteX1" fmla="*/ 922760 w 9959171"/>
              <a:gd name="connsiteY1" fmla="*/ 187812963 h 201963284"/>
              <a:gd name="connsiteX2" fmla="*/ 2060148 w 9959171"/>
              <a:gd name="connsiteY2" fmla="*/ 107093679 h 201963284"/>
              <a:gd name="connsiteX3" fmla="*/ 3007506 w 9959171"/>
              <a:gd name="connsiteY3" fmla="*/ 13714961 h 201963284"/>
              <a:gd name="connsiteX4" fmla="*/ 3962204 w 9959171"/>
              <a:gd name="connsiteY4" fmla="*/ 11698132 h 201963284"/>
              <a:gd name="connsiteX5" fmla="*/ 4987568 w 9959171"/>
              <a:gd name="connsiteY5" fmla="*/ 1810162 h 201963284"/>
              <a:gd name="connsiteX6" fmla="*/ 6011236 w 9959171"/>
              <a:gd name="connsiteY6" fmla="*/ 9729657 h 201963284"/>
              <a:gd name="connsiteX7" fmla="*/ 6919925 w 9959171"/>
              <a:gd name="connsiteY7" fmla="*/ 8643824 h 201963284"/>
              <a:gd name="connsiteX8" fmla="*/ 7905804 w 9959171"/>
              <a:gd name="connsiteY8" fmla="*/ 5336371 h 201963284"/>
              <a:gd name="connsiteX9" fmla="*/ 8947439 w 9959171"/>
              <a:gd name="connsiteY9" fmla="*/ 7369485 h 201963284"/>
              <a:gd name="connsiteX10" fmla="*/ 9959171 w 9959171"/>
              <a:gd name="connsiteY10" fmla="*/ 0 h 201963284"/>
              <a:gd name="connsiteX0" fmla="*/ 0 w 9959171"/>
              <a:gd name="connsiteY0" fmla="*/ 201963284 h 201963284"/>
              <a:gd name="connsiteX1" fmla="*/ 922760 w 9959171"/>
              <a:gd name="connsiteY1" fmla="*/ 187812963 h 201963284"/>
              <a:gd name="connsiteX2" fmla="*/ 2060148 w 9959171"/>
              <a:gd name="connsiteY2" fmla="*/ 107093679 h 201963284"/>
              <a:gd name="connsiteX3" fmla="*/ 3007506 w 9959171"/>
              <a:gd name="connsiteY3" fmla="*/ 13714961 h 201963284"/>
              <a:gd name="connsiteX4" fmla="*/ 3962204 w 9959171"/>
              <a:gd name="connsiteY4" fmla="*/ 11698132 h 201963284"/>
              <a:gd name="connsiteX5" fmla="*/ 4987568 w 9959171"/>
              <a:gd name="connsiteY5" fmla="*/ 1810162 h 201963284"/>
              <a:gd name="connsiteX6" fmla="*/ 6011236 w 9959171"/>
              <a:gd name="connsiteY6" fmla="*/ 9729657 h 201963284"/>
              <a:gd name="connsiteX7" fmla="*/ 6919925 w 9959171"/>
              <a:gd name="connsiteY7" fmla="*/ 8643824 h 201963284"/>
              <a:gd name="connsiteX8" fmla="*/ 7905804 w 9959171"/>
              <a:gd name="connsiteY8" fmla="*/ 5336371 h 201963284"/>
              <a:gd name="connsiteX9" fmla="*/ 8947439 w 9959171"/>
              <a:gd name="connsiteY9" fmla="*/ 7369485 h 201963284"/>
              <a:gd name="connsiteX10" fmla="*/ 9959171 w 9959171"/>
              <a:gd name="connsiteY10" fmla="*/ 0 h 201963284"/>
              <a:gd name="connsiteX0" fmla="*/ 0 w 9959171"/>
              <a:gd name="connsiteY0" fmla="*/ 201963284 h 201963284"/>
              <a:gd name="connsiteX1" fmla="*/ 922760 w 9959171"/>
              <a:gd name="connsiteY1" fmla="*/ 187812963 h 201963284"/>
              <a:gd name="connsiteX2" fmla="*/ 1834156 w 9959171"/>
              <a:gd name="connsiteY2" fmla="*/ 185658465 h 201963284"/>
              <a:gd name="connsiteX3" fmla="*/ 3007506 w 9959171"/>
              <a:gd name="connsiteY3" fmla="*/ 13714961 h 201963284"/>
              <a:gd name="connsiteX4" fmla="*/ 3962204 w 9959171"/>
              <a:gd name="connsiteY4" fmla="*/ 11698132 h 201963284"/>
              <a:gd name="connsiteX5" fmla="*/ 4987568 w 9959171"/>
              <a:gd name="connsiteY5" fmla="*/ 1810162 h 201963284"/>
              <a:gd name="connsiteX6" fmla="*/ 6011236 w 9959171"/>
              <a:gd name="connsiteY6" fmla="*/ 9729657 h 201963284"/>
              <a:gd name="connsiteX7" fmla="*/ 6919925 w 9959171"/>
              <a:gd name="connsiteY7" fmla="*/ 8643824 h 201963284"/>
              <a:gd name="connsiteX8" fmla="*/ 7905804 w 9959171"/>
              <a:gd name="connsiteY8" fmla="*/ 5336371 h 201963284"/>
              <a:gd name="connsiteX9" fmla="*/ 8947439 w 9959171"/>
              <a:gd name="connsiteY9" fmla="*/ 7369485 h 201963284"/>
              <a:gd name="connsiteX10" fmla="*/ 9959171 w 9959171"/>
              <a:gd name="connsiteY10" fmla="*/ 0 h 201963284"/>
              <a:gd name="connsiteX0" fmla="*/ 0 w 9959171"/>
              <a:gd name="connsiteY0" fmla="*/ 201963284 h 201963284"/>
              <a:gd name="connsiteX1" fmla="*/ 922760 w 9959171"/>
              <a:gd name="connsiteY1" fmla="*/ 187812963 h 201963284"/>
              <a:gd name="connsiteX2" fmla="*/ 1834156 w 9959171"/>
              <a:gd name="connsiteY2" fmla="*/ 185658465 h 201963284"/>
              <a:gd name="connsiteX3" fmla="*/ 3007506 w 9959171"/>
              <a:gd name="connsiteY3" fmla="*/ 13714961 h 201963284"/>
              <a:gd name="connsiteX4" fmla="*/ 3962204 w 9959171"/>
              <a:gd name="connsiteY4" fmla="*/ 11698132 h 201963284"/>
              <a:gd name="connsiteX5" fmla="*/ 4987568 w 9959171"/>
              <a:gd name="connsiteY5" fmla="*/ 1810162 h 201963284"/>
              <a:gd name="connsiteX6" fmla="*/ 6011236 w 9959171"/>
              <a:gd name="connsiteY6" fmla="*/ 9729657 h 201963284"/>
              <a:gd name="connsiteX7" fmla="*/ 6919925 w 9959171"/>
              <a:gd name="connsiteY7" fmla="*/ 8643824 h 201963284"/>
              <a:gd name="connsiteX8" fmla="*/ 7905804 w 9959171"/>
              <a:gd name="connsiteY8" fmla="*/ 5336371 h 201963284"/>
              <a:gd name="connsiteX9" fmla="*/ 8947439 w 9959171"/>
              <a:gd name="connsiteY9" fmla="*/ 7369485 h 201963284"/>
              <a:gd name="connsiteX10" fmla="*/ 9959171 w 9959171"/>
              <a:gd name="connsiteY10" fmla="*/ 0 h 201963284"/>
              <a:gd name="connsiteX0" fmla="*/ 0 w 9959171"/>
              <a:gd name="connsiteY0" fmla="*/ 210498751 h 251246916"/>
              <a:gd name="connsiteX1" fmla="*/ 922760 w 9959171"/>
              <a:gd name="connsiteY1" fmla="*/ 196348430 h 251246916"/>
              <a:gd name="connsiteX2" fmla="*/ 1834156 w 9959171"/>
              <a:gd name="connsiteY2" fmla="*/ 194193932 h 251246916"/>
              <a:gd name="connsiteX3" fmla="*/ 2841778 w 9959171"/>
              <a:gd name="connsiteY3" fmla="*/ 244338513 h 251246916"/>
              <a:gd name="connsiteX4" fmla="*/ 3962204 w 9959171"/>
              <a:gd name="connsiteY4" fmla="*/ 20233599 h 251246916"/>
              <a:gd name="connsiteX5" fmla="*/ 4987568 w 9959171"/>
              <a:gd name="connsiteY5" fmla="*/ 10345629 h 251246916"/>
              <a:gd name="connsiteX6" fmla="*/ 6011236 w 9959171"/>
              <a:gd name="connsiteY6" fmla="*/ 18265124 h 251246916"/>
              <a:gd name="connsiteX7" fmla="*/ 6919925 w 9959171"/>
              <a:gd name="connsiteY7" fmla="*/ 17179291 h 251246916"/>
              <a:gd name="connsiteX8" fmla="*/ 7905804 w 9959171"/>
              <a:gd name="connsiteY8" fmla="*/ 13871838 h 251246916"/>
              <a:gd name="connsiteX9" fmla="*/ 8947439 w 9959171"/>
              <a:gd name="connsiteY9" fmla="*/ 15904952 h 251246916"/>
              <a:gd name="connsiteX10" fmla="*/ 9959171 w 9959171"/>
              <a:gd name="connsiteY10" fmla="*/ 8535467 h 251246916"/>
              <a:gd name="connsiteX0" fmla="*/ 0 w 9959171"/>
              <a:gd name="connsiteY0" fmla="*/ 210498751 h 244689142"/>
              <a:gd name="connsiteX1" fmla="*/ 922760 w 9959171"/>
              <a:gd name="connsiteY1" fmla="*/ 196348430 h 244689142"/>
              <a:gd name="connsiteX2" fmla="*/ 1834156 w 9959171"/>
              <a:gd name="connsiteY2" fmla="*/ 194193932 h 244689142"/>
              <a:gd name="connsiteX3" fmla="*/ 2841778 w 9959171"/>
              <a:gd name="connsiteY3" fmla="*/ 244338513 h 244689142"/>
              <a:gd name="connsiteX4" fmla="*/ 3962204 w 9959171"/>
              <a:gd name="connsiteY4" fmla="*/ 20233599 h 244689142"/>
              <a:gd name="connsiteX5" fmla="*/ 4987568 w 9959171"/>
              <a:gd name="connsiteY5" fmla="*/ 10345629 h 244689142"/>
              <a:gd name="connsiteX6" fmla="*/ 6011236 w 9959171"/>
              <a:gd name="connsiteY6" fmla="*/ 18265124 h 244689142"/>
              <a:gd name="connsiteX7" fmla="*/ 6919925 w 9959171"/>
              <a:gd name="connsiteY7" fmla="*/ 17179291 h 244689142"/>
              <a:gd name="connsiteX8" fmla="*/ 7905804 w 9959171"/>
              <a:gd name="connsiteY8" fmla="*/ 13871838 h 244689142"/>
              <a:gd name="connsiteX9" fmla="*/ 8947439 w 9959171"/>
              <a:gd name="connsiteY9" fmla="*/ 15904952 h 244689142"/>
              <a:gd name="connsiteX10" fmla="*/ 9959171 w 9959171"/>
              <a:gd name="connsiteY10" fmla="*/ 8535467 h 244689142"/>
              <a:gd name="connsiteX0" fmla="*/ 0 w 9959171"/>
              <a:gd name="connsiteY0" fmla="*/ 210783471 h 248902587"/>
              <a:gd name="connsiteX1" fmla="*/ 922760 w 9959171"/>
              <a:gd name="connsiteY1" fmla="*/ 196633150 h 248902587"/>
              <a:gd name="connsiteX2" fmla="*/ 1834156 w 9959171"/>
              <a:gd name="connsiteY2" fmla="*/ 194478652 h 248902587"/>
              <a:gd name="connsiteX3" fmla="*/ 2841778 w 9959171"/>
              <a:gd name="connsiteY3" fmla="*/ 248573432 h 248902587"/>
              <a:gd name="connsiteX4" fmla="*/ 3962204 w 9959171"/>
              <a:gd name="connsiteY4" fmla="*/ 20518319 h 248902587"/>
              <a:gd name="connsiteX5" fmla="*/ 4987568 w 9959171"/>
              <a:gd name="connsiteY5" fmla="*/ 10630349 h 248902587"/>
              <a:gd name="connsiteX6" fmla="*/ 6011236 w 9959171"/>
              <a:gd name="connsiteY6" fmla="*/ 18549844 h 248902587"/>
              <a:gd name="connsiteX7" fmla="*/ 6919925 w 9959171"/>
              <a:gd name="connsiteY7" fmla="*/ 17464011 h 248902587"/>
              <a:gd name="connsiteX8" fmla="*/ 7905804 w 9959171"/>
              <a:gd name="connsiteY8" fmla="*/ 14156558 h 248902587"/>
              <a:gd name="connsiteX9" fmla="*/ 8947439 w 9959171"/>
              <a:gd name="connsiteY9" fmla="*/ 16189672 h 248902587"/>
              <a:gd name="connsiteX10" fmla="*/ 9959171 w 9959171"/>
              <a:gd name="connsiteY10" fmla="*/ 8820187 h 248902587"/>
              <a:gd name="connsiteX0" fmla="*/ 0 w 9959171"/>
              <a:gd name="connsiteY0" fmla="*/ 205605136 h 245482582"/>
              <a:gd name="connsiteX1" fmla="*/ 922760 w 9959171"/>
              <a:gd name="connsiteY1" fmla="*/ 191454815 h 245482582"/>
              <a:gd name="connsiteX2" fmla="*/ 1834156 w 9959171"/>
              <a:gd name="connsiteY2" fmla="*/ 189300317 h 245482582"/>
              <a:gd name="connsiteX3" fmla="*/ 2841778 w 9959171"/>
              <a:gd name="connsiteY3" fmla="*/ 243395097 h 245482582"/>
              <a:gd name="connsiteX4" fmla="*/ 3969738 w 9959171"/>
              <a:gd name="connsiteY4" fmla="*/ 106194201 h 245482582"/>
              <a:gd name="connsiteX5" fmla="*/ 4987568 w 9959171"/>
              <a:gd name="connsiteY5" fmla="*/ 5452014 h 245482582"/>
              <a:gd name="connsiteX6" fmla="*/ 6011236 w 9959171"/>
              <a:gd name="connsiteY6" fmla="*/ 13371509 h 245482582"/>
              <a:gd name="connsiteX7" fmla="*/ 6919925 w 9959171"/>
              <a:gd name="connsiteY7" fmla="*/ 12285676 h 245482582"/>
              <a:gd name="connsiteX8" fmla="*/ 7905804 w 9959171"/>
              <a:gd name="connsiteY8" fmla="*/ 8978223 h 245482582"/>
              <a:gd name="connsiteX9" fmla="*/ 8947439 w 9959171"/>
              <a:gd name="connsiteY9" fmla="*/ 11011337 h 245482582"/>
              <a:gd name="connsiteX10" fmla="*/ 9959171 w 9959171"/>
              <a:gd name="connsiteY10" fmla="*/ 3641852 h 245482582"/>
              <a:gd name="connsiteX0" fmla="*/ 0 w 9959171"/>
              <a:gd name="connsiteY0" fmla="*/ 205605136 h 245482582"/>
              <a:gd name="connsiteX1" fmla="*/ 922760 w 9959171"/>
              <a:gd name="connsiteY1" fmla="*/ 191454815 h 245482582"/>
              <a:gd name="connsiteX2" fmla="*/ 1834156 w 9959171"/>
              <a:gd name="connsiteY2" fmla="*/ 189300317 h 245482582"/>
              <a:gd name="connsiteX3" fmla="*/ 2841778 w 9959171"/>
              <a:gd name="connsiteY3" fmla="*/ 243395097 h 245482582"/>
              <a:gd name="connsiteX4" fmla="*/ 3969738 w 9959171"/>
              <a:gd name="connsiteY4" fmla="*/ 106194201 h 245482582"/>
              <a:gd name="connsiteX5" fmla="*/ 4987568 w 9959171"/>
              <a:gd name="connsiteY5" fmla="*/ 5452014 h 245482582"/>
              <a:gd name="connsiteX6" fmla="*/ 6011236 w 9959171"/>
              <a:gd name="connsiteY6" fmla="*/ 13371509 h 245482582"/>
              <a:gd name="connsiteX7" fmla="*/ 6919925 w 9959171"/>
              <a:gd name="connsiteY7" fmla="*/ 12285676 h 245482582"/>
              <a:gd name="connsiteX8" fmla="*/ 7905804 w 9959171"/>
              <a:gd name="connsiteY8" fmla="*/ 8978223 h 245482582"/>
              <a:gd name="connsiteX9" fmla="*/ 8947439 w 9959171"/>
              <a:gd name="connsiteY9" fmla="*/ 11011337 h 245482582"/>
              <a:gd name="connsiteX10" fmla="*/ 9959171 w 9959171"/>
              <a:gd name="connsiteY10" fmla="*/ 3641852 h 245482582"/>
              <a:gd name="connsiteX0" fmla="*/ 0 w 9959171"/>
              <a:gd name="connsiteY0" fmla="*/ 213615876 h 252052445"/>
              <a:gd name="connsiteX1" fmla="*/ 922760 w 9959171"/>
              <a:gd name="connsiteY1" fmla="*/ 199465555 h 252052445"/>
              <a:gd name="connsiteX2" fmla="*/ 1834156 w 9959171"/>
              <a:gd name="connsiteY2" fmla="*/ 197311057 h 252052445"/>
              <a:gd name="connsiteX3" fmla="*/ 2841778 w 9959171"/>
              <a:gd name="connsiteY3" fmla="*/ 251405837 h 252052445"/>
              <a:gd name="connsiteX4" fmla="*/ 3864275 w 9959171"/>
              <a:gd name="connsiteY4" fmla="*/ 224810091 h 252052445"/>
              <a:gd name="connsiteX5" fmla="*/ 4987568 w 9959171"/>
              <a:gd name="connsiteY5" fmla="*/ 13462754 h 252052445"/>
              <a:gd name="connsiteX6" fmla="*/ 6011236 w 9959171"/>
              <a:gd name="connsiteY6" fmla="*/ 21382249 h 252052445"/>
              <a:gd name="connsiteX7" fmla="*/ 6919925 w 9959171"/>
              <a:gd name="connsiteY7" fmla="*/ 20296416 h 252052445"/>
              <a:gd name="connsiteX8" fmla="*/ 7905804 w 9959171"/>
              <a:gd name="connsiteY8" fmla="*/ 16988963 h 252052445"/>
              <a:gd name="connsiteX9" fmla="*/ 8947439 w 9959171"/>
              <a:gd name="connsiteY9" fmla="*/ 19022077 h 252052445"/>
              <a:gd name="connsiteX10" fmla="*/ 9959171 w 9959171"/>
              <a:gd name="connsiteY10" fmla="*/ 11652592 h 252052445"/>
              <a:gd name="connsiteX0" fmla="*/ 0 w 9959171"/>
              <a:gd name="connsiteY0" fmla="*/ 215417648 h 259327980"/>
              <a:gd name="connsiteX1" fmla="*/ 922760 w 9959171"/>
              <a:gd name="connsiteY1" fmla="*/ 201267327 h 259327980"/>
              <a:gd name="connsiteX2" fmla="*/ 1834156 w 9959171"/>
              <a:gd name="connsiteY2" fmla="*/ 199112829 h 259327980"/>
              <a:gd name="connsiteX3" fmla="*/ 2841778 w 9959171"/>
              <a:gd name="connsiteY3" fmla="*/ 253207609 h 259327980"/>
              <a:gd name="connsiteX4" fmla="*/ 3773878 w 9959171"/>
              <a:gd name="connsiteY4" fmla="*/ 251190778 h 259327980"/>
              <a:gd name="connsiteX5" fmla="*/ 4987568 w 9959171"/>
              <a:gd name="connsiteY5" fmla="*/ 15264526 h 259327980"/>
              <a:gd name="connsiteX6" fmla="*/ 6011236 w 9959171"/>
              <a:gd name="connsiteY6" fmla="*/ 23184021 h 259327980"/>
              <a:gd name="connsiteX7" fmla="*/ 6919925 w 9959171"/>
              <a:gd name="connsiteY7" fmla="*/ 22098188 h 259327980"/>
              <a:gd name="connsiteX8" fmla="*/ 7905804 w 9959171"/>
              <a:gd name="connsiteY8" fmla="*/ 18790735 h 259327980"/>
              <a:gd name="connsiteX9" fmla="*/ 8947439 w 9959171"/>
              <a:gd name="connsiteY9" fmla="*/ 20823849 h 259327980"/>
              <a:gd name="connsiteX10" fmla="*/ 9959171 w 9959171"/>
              <a:gd name="connsiteY10" fmla="*/ 13454364 h 259327980"/>
              <a:gd name="connsiteX0" fmla="*/ 0 w 9959171"/>
              <a:gd name="connsiteY0" fmla="*/ 215417648 h 258321635"/>
              <a:gd name="connsiteX1" fmla="*/ 922760 w 9959171"/>
              <a:gd name="connsiteY1" fmla="*/ 201267327 h 258321635"/>
              <a:gd name="connsiteX2" fmla="*/ 1834156 w 9959171"/>
              <a:gd name="connsiteY2" fmla="*/ 199112829 h 258321635"/>
              <a:gd name="connsiteX3" fmla="*/ 2841778 w 9959171"/>
              <a:gd name="connsiteY3" fmla="*/ 253207609 h 258321635"/>
              <a:gd name="connsiteX4" fmla="*/ 3773878 w 9959171"/>
              <a:gd name="connsiteY4" fmla="*/ 251190778 h 258321635"/>
              <a:gd name="connsiteX5" fmla="*/ 4987568 w 9959171"/>
              <a:gd name="connsiteY5" fmla="*/ 15264526 h 258321635"/>
              <a:gd name="connsiteX6" fmla="*/ 6011236 w 9959171"/>
              <a:gd name="connsiteY6" fmla="*/ 23184021 h 258321635"/>
              <a:gd name="connsiteX7" fmla="*/ 6919925 w 9959171"/>
              <a:gd name="connsiteY7" fmla="*/ 22098188 h 258321635"/>
              <a:gd name="connsiteX8" fmla="*/ 7905804 w 9959171"/>
              <a:gd name="connsiteY8" fmla="*/ 18790735 h 258321635"/>
              <a:gd name="connsiteX9" fmla="*/ 8947439 w 9959171"/>
              <a:gd name="connsiteY9" fmla="*/ 20823849 h 258321635"/>
              <a:gd name="connsiteX10" fmla="*/ 9959171 w 9959171"/>
              <a:gd name="connsiteY10" fmla="*/ 13454364 h 258321635"/>
              <a:gd name="connsiteX0" fmla="*/ 0 w 9959171"/>
              <a:gd name="connsiteY0" fmla="*/ 214934706 h 255601286"/>
              <a:gd name="connsiteX1" fmla="*/ 922760 w 9959171"/>
              <a:gd name="connsiteY1" fmla="*/ 200784385 h 255601286"/>
              <a:gd name="connsiteX2" fmla="*/ 1834156 w 9959171"/>
              <a:gd name="connsiteY2" fmla="*/ 198629887 h 255601286"/>
              <a:gd name="connsiteX3" fmla="*/ 2841778 w 9959171"/>
              <a:gd name="connsiteY3" fmla="*/ 252724667 h 255601286"/>
              <a:gd name="connsiteX4" fmla="*/ 3826611 w 9959171"/>
              <a:gd name="connsiteY4" fmla="*/ 244124228 h 255601286"/>
              <a:gd name="connsiteX5" fmla="*/ 4987568 w 9959171"/>
              <a:gd name="connsiteY5" fmla="*/ 14781584 h 255601286"/>
              <a:gd name="connsiteX6" fmla="*/ 6011236 w 9959171"/>
              <a:gd name="connsiteY6" fmla="*/ 22701079 h 255601286"/>
              <a:gd name="connsiteX7" fmla="*/ 6919925 w 9959171"/>
              <a:gd name="connsiteY7" fmla="*/ 21615246 h 255601286"/>
              <a:gd name="connsiteX8" fmla="*/ 7905804 w 9959171"/>
              <a:gd name="connsiteY8" fmla="*/ 18307793 h 255601286"/>
              <a:gd name="connsiteX9" fmla="*/ 8947439 w 9959171"/>
              <a:gd name="connsiteY9" fmla="*/ 20340907 h 255601286"/>
              <a:gd name="connsiteX10" fmla="*/ 9959171 w 9959171"/>
              <a:gd name="connsiteY10" fmla="*/ 12971422 h 255601286"/>
              <a:gd name="connsiteX0" fmla="*/ 0 w 9959171"/>
              <a:gd name="connsiteY0" fmla="*/ 204754951 h 246049979"/>
              <a:gd name="connsiteX1" fmla="*/ 922760 w 9959171"/>
              <a:gd name="connsiteY1" fmla="*/ 190604630 h 246049979"/>
              <a:gd name="connsiteX2" fmla="*/ 1834156 w 9959171"/>
              <a:gd name="connsiteY2" fmla="*/ 188450132 h 246049979"/>
              <a:gd name="connsiteX3" fmla="*/ 2841778 w 9959171"/>
              <a:gd name="connsiteY3" fmla="*/ 242544912 h 246049979"/>
              <a:gd name="connsiteX4" fmla="*/ 3826611 w 9959171"/>
              <a:gd name="connsiteY4" fmla="*/ 233944473 h 246049979"/>
              <a:gd name="connsiteX5" fmla="*/ 4859506 w 9959171"/>
              <a:gd name="connsiteY5" fmla="*/ 178848815 h 246049979"/>
              <a:gd name="connsiteX6" fmla="*/ 6011236 w 9959171"/>
              <a:gd name="connsiteY6" fmla="*/ 12521324 h 246049979"/>
              <a:gd name="connsiteX7" fmla="*/ 6919925 w 9959171"/>
              <a:gd name="connsiteY7" fmla="*/ 11435491 h 246049979"/>
              <a:gd name="connsiteX8" fmla="*/ 7905804 w 9959171"/>
              <a:gd name="connsiteY8" fmla="*/ 8128038 h 246049979"/>
              <a:gd name="connsiteX9" fmla="*/ 8947439 w 9959171"/>
              <a:gd name="connsiteY9" fmla="*/ 10161152 h 246049979"/>
              <a:gd name="connsiteX10" fmla="*/ 9959171 w 9959171"/>
              <a:gd name="connsiteY10" fmla="*/ 2791667 h 246049979"/>
              <a:gd name="connsiteX0" fmla="*/ 0 w 9959171"/>
              <a:gd name="connsiteY0" fmla="*/ 204754951 h 246049979"/>
              <a:gd name="connsiteX1" fmla="*/ 922760 w 9959171"/>
              <a:gd name="connsiteY1" fmla="*/ 190604630 h 246049979"/>
              <a:gd name="connsiteX2" fmla="*/ 1834156 w 9959171"/>
              <a:gd name="connsiteY2" fmla="*/ 188450132 h 246049979"/>
              <a:gd name="connsiteX3" fmla="*/ 2841778 w 9959171"/>
              <a:gd name="connsiteY3" fmla="*/ 242544912 h 246049979"/>
              <a:gd name="connsiteX4" fmla="*/ 3826611 w 9959171"/>
              <a:gd name="connsiteY4" fmla="*/ 233944473 h 246049979"/>
              <a:gd name="connsiteX5" fmla="*/ 4859506 w 9959171"/>
              <a:gd name="connsiteY5" fmla="*/ 178848815 h 246049979"/>
              <a:gd name="connsiteX6" fmla="*/ 6011236 w 9959171"/>
              <a:gd name="connsiteY6" fmla="*/ 12521324 h 246049979"/>
              <a:gd name="connsiteX7" fmla="*/ 6919925 w 9959171"/>
              <a:gd name="connsiteY7" fmla="*/ 11435491 h 246049979"/>
              <a:gd name="connsiteX8" fmla="*/ 7905804 w 9959171"/>
              <a:gd name="connsiteY8" fmla="*/ 8128038 h 246049979"/>
              <a:gd name="connsiteX9" fmla="*/ 8947439 w 9959171"/>
              <a:gd name="connsiteY9" fmla="*/ 10161152 h 246049979"/>
              <a:gd name="connsiteX10" fmla="*/ 9959171 w 9959171"/>
              <a:gd name="connsiteY10" fmla="*/ 2791667 h 246049979"/>
              <a:gd name="connsiteX0" fmla="*/ 0 w 9959171"/>
              <a:gd name="connsiteY0" fmla="*/ 203086597 h 244381625"/>
              <a:gd name="connsiteX1" fmla="*/ 922760 w 9959171"/>
              <a:gd name="connsiteY1" fmla="*/ 188936276 h 244381625"/>
              <a:gd name="connsiteX2" fmla="*/ 1834156 w 9959171"/>
              <a:gd name="connsiteY2" fmla="*/ 186781778 h 244381625"/>
              <a:gd name="connsiteX3" fmla="*/ 2841778 w 9959171"/>
              <a:gd name="connsiteY3" fmla="*/ 240876558 h 244381625"/>
              <a:gd name="connsiteX4" fmla="*/ 3826611 w 9959171"/>
              <a:gd name="connsiteY4" fmla="*/ 232276119 h 244381625"/>
              <a:gd name="connsiteX5" fmla="*/ 4859506 w 9959171"/>
              <a:gd name="connsiteY5" fmla="*/ 177180461 h 244381625"/>
              <a:gd name="connsiteX6" fmla="*/ 5822909 w 9959171"/>
              <a:gd name="connsiteY6" fmla="*/ 126286103 h 244381625"/>
              <a:gd name="connsiteX7" fmla="*/ 6919925 w 9959171"/>
              <a:gd name="connsiteY7" fmla="*/ 9767137 h 244381625"/>
              <a:gd name="connsiteX8" fmla="*/ 7905804 w 9959171"/>
              <a:gd name="connsiteY8" fmla="*/ 6459684 h 244381625"/>
              <a:gd name="connsiteX9" fmla="*/ 8947439 w 9959171"/>
              <a:gd name="connsiteY9" fmla="*/ 8492798 h 244381625"/>
              <a:gd name="connsiteX10" fmla="*/ 9959171 w 9959171"/>
              <a:gd name="connsiteY10" fmla="*/ 1123313 h 244381625"/>
              <a:gd name="connsiteX0" fmla="*/ 0 w 9959171"/>
              <a:gd name="connsiteY0" fmla="*/ 203086597 h 244381625"/>
              <a:gd name="connsiteX1" fmla="*/ 922760 w 9959171"/>
              <a:gd name="connsiteY1" fmla="*/ 188936276 h 244381625"/>
              <a:gd name="connsiteX2" fmla="*/ 1834156 w 9959171"/>
              <a:gd name="connsiteY2" fmla="*/ 186781778 h 244381625"/>
              <a:gd name="connsiteX3" fmla="*/ 2841778 w 9959171"/>
              <a:gd name="connsiteY3" fmla="*/ 240876558 h 244381625"/>
              <a:gd name="connsiteX4" fmla="*/ 3826611 w 9959171"/>
              <a:gd name="connsiteY4" fmla="*/ 232276119 h 244381625"/>
              <a:gd name="connsiteX5" fmla="*/ 4859506 w 9959171"/>
              <a:gd name="connsiteY5" fmla="*/ 177180461 h 244381625"/>
              <a:gd name="connsiteX6" fmla="*/ 5822909 w 9959171"/>
              <a:gd name="connsiteY6" fmla="*/ 126286103 h 244381625"/>
              <a:gd name="connsiteX7" fmla="*/ 6919925 w 9959171"/>
              <a:gd name="connsiteY7" fmla="*/ 9767137 h 244381625"/>
              <a:gd name="connsiteX8" fmla="*/ 7905804 w 9959171"/>
              <a:gd name="connsiteY8" fmla="*/ 6459684 h 244381625"/>
              <a:gd name="connsiteX9" fmla="*/ 8947439 w 9959171"/>
              <a:gd name="connsiteY9" fmla="*/ 8492798 h 244381625"/>
              <a:gd name="connsiteX10" fmla="*/ 9959171 w 9959171"/>
              <a:gd name="connsiteY10" fmla="*/ 1123313 h 244381625"/>
              <a:gd name="connsiteX0" fmla="*/ 0 w 9959171"/>
              <a:gd name="connsiteY0" fmla="*/ 207803408 h 249098436"/>
              <a:gd name="connsiteX1" fmla="*/ 922760 w 9959171"/>
              <a:gd name="connsiteY1" fmla="*/ 193653087 h 249098436"/>
              <a:gd name="connsiteX2" fmla="*/ 1834156 w 9959171"/>
              <a:gd name="connsiteY2" fmla="*/ 191498589 h 249098436"/>
              <a:gd name="connsiteX3" fmla="*/ 2841778 w 9959171"/>
              <a:gd name="connsiteY3" fmla="*/ 245593369 h 249098436"/>
              <a:gd name="connsiteX4" fmla="*/ 3826611 w 9959171"/>
              <a:gd name="connsiteY4" fmla="*/ 236992930 h 249098436"/>
              <a:gd name="connsiteX5" fmla="*/ 4859506 w 9959171"/>
              <a:gd name="connsiteY5" fmla="*/ 181897272 h 249098436"/>
              <a:gd name="connsiteX6" fmla="*/ 5792777 w 9959171"/>
              <a:gd name="connsiteY6" fmla="*/ 195083641 h 249098436"/>
              <a:gd name="connsiteX7" fmla="*/ 6919925 w 9959171"/>
              <a:gd name="connsiteY7" fmla="*/ 14483948 h 249098436"/>
              <a:gd name="connsiteX8" fmla="*/ 7905804 w 9959171"/>
              <a:gd name="connsiteY8" fmla="*/ 11176495 h 249098436"/>
              <a:gd name="connsiteX9" fmla="*/ 8947439 w 9959171"/>
              <a:gd name="connsiteY9" fmla="*/ 13209609 h 249098436"/>
              <a:gd name="connsiteX10" fmla="*/ 9959171 w 9959171"/>
              <a:gd name="connsiteY10" fmla="*/ 5840124 h 249098436"/>
              <a:gd name="connsiteX0" fmla="*/ 0 w 9959171"/>
              <a:gd name="connsiteY0" fmla="*/ 207803408 h 249098436"/>
              <a:gd name="connsiteX1" fmla="*/ 922760 w 9959171"/>
              <a:gd name="connsiteY1" fmla="*/ 193653087 h 249098436"/>
              <a:gd name="connsiteX2" fmla="*/ 1834156 w 9959171"/>
              <a:gd name="connsiteY2" fmla="*/ 191498589 h 249098436"/>
              <a:gd name="connsiteX3" fmla="*/ 2841778 w 9959171"/>
              <a:gd name="connsiteY3" fmla="*/ 245593369 h 249098436"/>
              <a:gd name="connsiteX4" fmla="*/ 3826611 w 9959171"/>
              <a:gd name="connsiteY4" fmla="*/ 236992930 h 249098436"/>
              <a:gd name="connsiteX5" fmla="*/ 4859506 w 9959171"/>
              <a:gd name="connsiteY5" fmla="*/ 181897272 h 249098436"/>
              <a:gd name="connsiteX6" fmla="*/ 5792777 w 9959171"/>
              <a:gd name="connsiteY6" fmla="*/ 195083641 h 249098436"/>
              <a:gd name="connsiteX7" fmla="*/ 6919925 w 9959171"/>
              <a:gd name="connsiteY7" fmla="*/ 14483948 h 249098436"/>
              <a:gd name="connsiteX8" fmla="*/ 7905804 w 9959171"/>
              <a:gd name="connsiteY8" fmla="*/ 11176495 h 249098436"/>
              <a:gd name="connsiteX9" fmla="*/ 8947439 w 9959171"/>
              <a:gd name="connsiteY9" fmla="*/ 13209609 h 249098436"/>
              <a:gd name="connsiteX10" fmla="*/ 9959171 w 9959171"/>
              <a:gd name="connsiteY10" fmla="*/ 5840124 h 249098436"/>
              <a:gd name="connsiteX0" fmla="*/ 0 w 9959171"/>
              <a:gd name="connsiteY0" fmla="*/ 209644869 h 250939897"/>
              <a:gd name="connsiteX1" fmla="*/ 922760 w 9959171"/>
              <a:gd name="connsiteY1" fmla="*/ 195494548 h 250939897"/>
              <a:gd name="connsiteX2" fmla="*/ 1834156 w 9959171"/>
              <a:gd name="connsiteY2" fmla="*/ 193340050 h 250939897"/>
              <a:gd name="connsiteX3" fmla="*/ 2841778 w 9959171"/>
              <a:gd name="connsiteY3" fmla="*/ 247434830 h 250939897"/>
              <a:gd name="connsiteX4" fmla="*/ 3826611 w 9959171"/>
              <a:gd name="connsiteY4" fmla="*/ 238834391 h 250939897"/>
              <a:gd name="connsiteX5" fmla="*/ 4859506 w 9959171"/>
              <a:gd name="connsiteY5" fmla="*/ 183738733 h 250939897"/>
              <a:gd name="connsiteX6" fmla="*/ 5792777 w 9959171"/>
              <a:gd name="connsiteY6" fmla="*/ 196925102 h 250939897"/>
              <a:gd name="connsiteX7" fmla="*/ 6934992 w 9959171"/>
              <a:gd name="connsiteY7" fmla="*/ 208567703 h 250939897"/>
              <a:gd name="connsiteX8" fmla="*/ 7905804 w 9959171"/>
              <a:gd name="connsiteY8" fmla="*/ 13017956 h 250939897"/>
              <a:gd name="connsiteX9" fmla="*/ 8947439 w 9959171"/>
              <a:gd name="connsiteY9" fmla="*/ 15051070 h 250939897"/>
              <a:gd name="connsiteX10" fmla="*/ 9959171 w 9959171"/>
              <a:gd name="connsiteY10" fmla="*/ 7681585 h 250939897"/>
              <a:gd name="connsiteX0" fmla="*/ 0 w 9959171"/>
              <a:gd name="connsiteY0" fmla="*/ 209644869 h 250939897"/>
              <a:gd name="connsiteX1" fmla="*/ 922760 w 9959171"/>
              <a:gd name="connsiteY1" fmla="*/ 195494548 h 250939897"/>
              <a:gd name="connsiteX2" fmla="*/ 1834156 w 9959171"/>
              <a:gd name="connsiteY2" fmla="*/ 193340050 h 250939897"/>
              <a:gd name="connsiteX3" fmla="*/ 2841778 w 9959171"/>
              <a:gd name="connsiteY3" fmla="*/ 247434830 h 250939897"/>
              <a:gd name="connsiteX4" fmla="*/ 3826611 w 9959171"/>
              <a:gd name="connsiteY4" fmla="*/ 238834391 h 250939897"/>
              <a:gd name="connsiteX5" fmla="*/ 4859506 w 9959171"/>
              <a:gd name="connsiteY5" fmla="*/ 183738733 h 250939897"/>
              <a:gd name="connsiteX6" fmla="*/ 5792777 w 9959171"/>
              <a:gd name="connsiteY6" fmla="*/ 196925102 h 250939897"/>
              <a:gd name="connsiteX7" fmla="*/ 6934992 w 9959171"/>
              <a:gd name="connsiteY7" fmla="*/ 208567703 h 250939897"/>
              <a:gd name="connsiteX8" fmla="*/ 7905804 w 9959171"/>
              <a:gd name="connsiteY8" fmla="*/ 13017956 h 250939897"/>
              <a:gd name="connsiteX9" fmla="*/ 8947439 w 9959171"/>
              <a:gd name="connsiteY9" fmla="*/ 15051070 h 250939897"/>
              <a:gd name="connsiteX10" fmla="*/ 9959171 w 9959171"/>
              <a:gd name="connsiteY10" fmla="*/ 7681585 h 250939897"/>
              <a:gd name="connsiteX0" fmla="*/ 0 w 9959171"/>
              <a:gd name="connsiteY0" fmla="*/ 209838509 h 251133537"/>
              <a:gd name="connsiteX1" fmla="*/ 922760 w 9959171"/>
              <a:gd name="connsiteY1" fmla="*/ 195688188 h 251133537"/>
              <a:gd name="connsiteX2" fmla="*/ 1834156 w 9959171"/>
              <a:gd name="connsiteY2" fmla="*/ 193533690 h 251133537"/>
              <a:gd name="connsiteX3" fmla="*/ 2841778 w 9959171"/>
              <a:gd name="connsiteY3" fmla="*/ 247628470 h 251133537"/>
              <a:gd name="connsiteX4" fmla="*/ 3826611 w 9959171"/>
              <a:gd name="connsiteY4" fmla="*/ 239028031 h 251133537"/>
              <a:gd name="connsiteX5" fmla="*/ 4859506 w 9959171"/>
              <a:gd name="connsiteY5" fmla="*/ 183932373 h 251133537"/>
              <a:gd name="connsiteX6" fmla="*/ 5792777 w 9959171"/>
              <a:gd name="connsiteY6" fmla="*/ 197118742 h 251133537"/>
              <a:gd name="connsiteX7" fmla="*/ 6754199 w 9959171"/>
              <a:gd name="connsiteY7" fmla="*/ 211394808 h 251133537"/>
              <a:gd name="connsiteX8" fmla="*/ 7905804 w 9959171"/>
              <a:gd name="connsiteY8" fmla="*/ 13211596 h 251133537"/>
              <a:gd name="connsiteX9" fmla="*/ 8947439 w 9959171"/>
              <a:gd name="connsiteY9" fmla="*/ 15244710 h 251133537"/>
              <a:gd name="connsiteX10" fmla="*/ 9959171 w 9959171"/>
              <a:gd name="connsiteY10" fmla="*/ 7875225 h 251133537"/>
              <a:gd name="connsiteX0" fmla="*/ 0 w 9959171"/>
              <a:gd name="connsiteY0" fmla="*/ 209451228 h 250746256"/>
              <a:gd name="connsiteX1" fmla="*/ 922760 w 9959171"/>
              <a:gd name="connsiteY1" fmla="*/ 195300907 h 250746256"/>
              <a:gd name="connsiteX2" fmla="*/ 1834156 w 9959171"/>
              <a:gd name="connsiteY2" fmla="*/ 193146409 h 250746256"/>
              <a:gd name="connsiteX3" fmla="*/ 2841778 w 9959171"/>
              <a:gd name="connsiteY3" fmla="*/ 247241189 h 250746256"/>
              <a:gd name="connsiteX4" fmla="*/ 3826611 w 9959171"/>
              <a:gd name="connsiteY4" fmla="*/ 238640750 h 250746256"/>
              <a:gd name="connsiteX5" fmla="*/ 4859506 w 9959171"/>
              <a:gd name="connsiteY5" fmla="*/ 183545092 h 250746256"/>
              <a:gd name="connsiteX6" fmla="*/ 5792777 w 9959171"/>
              <a:gd name="connsiteY6" fmla="*/ 196731461 h 250746256"/>
              <a:gd name="connsiteX7" fmla="*/ 6769265 w 9959171"/>
              <a:gd name="connsiteY7" fmla="*/ 205740597 h 250746256"/>
              <a:gd name="connsiteX8" fmla="*/ 7905804 w 9959171"/>
              <a:gd name="connsiteY8" fmla="*/ 12824315 h 250746256"/>
              <a:gd name="connsiteX9" fmla="*/ 8947439 w 9959171"/>
              <a:gd name="connsiteY9" fmla="*/ 14857429 h 250746256"/>
              <a:gd name="connsiteX10" fmla="*/ 9959171 w 9959171"/>
              <a:gd name="connsiteY10" fmla="*/ 7487944 h 250746256"/>
              <a:gd name="connsiteX0" fmla="*/ 0 w 9959171"/>
              <a:gd name="connsiteY0" fmla="*/ 209773980 h 251069008"/>
              <a:gd name="connsiteX1" fmla="*/ 922760 w 9959171"/>
              <a:gd name="connsiteY1" fmla="*/ 195623659 h 251069008"/>
              <a:gd name="connsiteX2" fmla="*/ 1834156 w 9959171"/>
              <a:gd name="connsiteY2" fmla="*/ 193469161 h 251069008"/>
              <a:gd name="connsiteX3" fmla="*/ 2841778 w 9959171"/>
              <a:gd name="connsiteY3" fmla="*/ 247563941 h 251069008"/>
              <a:gd name="connsiteX4" fmla="*/ 3826611 w 9959171"/>
              <a:gd name="connsiteY4" fmla="*/ 238963502 h 251069008"/>
              <a:gd name="connsiteX5" fmla="*/ 4859506 w 9959171"/>
              <a:gd name="connsiteY5" fmla="*/ 183867844 h 251069008"/>
              <a:gd name="connsiteX6" fmla="*/ 5792777 w 9959171"/>
              <a:gd name="connsiteY6" fmla="*/ 197054213 h 251069008"/>
              <a:gd name="connsiteX7" fmla="*/ 6769265 w 9959171"/>
              <a:gd name="connsiteY7" fmla="*/ 210452439 h 251069008"/>
              <a:gd name="connsiteX8" fmla="*/ 7905804 w 9959171"/>
              <a:gd name="connsiteY8" fmla="*/ 13147067 h 251069008"/>
              <a:gd name="connsiteX9" fmla="*/ 8947439 w 9959171"/>
              <a:gd name="connsiteY9" fmla="*/ 15180181 h 251069008"/>
              <a:gd name="connsiteX10" fmla="*/ 9959171 w 9959171"/>
              <a:gd name="connsiteY10" fmla="*/ 7810696 h 251069008"/>
              <a:gd name="connsiteX0" fmla="*/ 0 w 9959171"/>
              <a:gd name="connsiteY0" fmla="*/ 209160877 h 250455905"/>
              <a:gd name="connsiteX1" fmla="*/ 922760 w 9959171"/>
              <a:gd name="connsiteY1" fmla="*/ 195010556 h 250455905"/>
              <a:gd name="connsiteX2" fmla="*/ 1834156 w 9959171"/>
              <a:gd name="connsiteY2" fmla="*/ 192856058 h 250455905"/>
              <a:gd name="connsiteX3" fmla="*/ 2841778 w 9959171"/>
              <a:gd name="connsiteY3" fmla="*/ 246950838 h 250455905"/>
              <a:gd name="connsiteX4" fmla="*/ 3826611 w 9959171"/>
              <a:gd name="connsiteY4" fmla="*/ 238350399 h 250455905"/>
              <a:gd name="connsiteX5" fmla="*/ 4859506 w 9959171"/>
              <a:gd name="connsiteY5" fmla="*/ 183254741 h 250455905"/>
              <a:gd name="connsiteX6" fmla="*/ 5792777 w 9959171"/>
              <a:gd name="connsiteY6" fmla="*/ 196441110 h 250455905"/>
              <a:gd name="connsiteX7" fmla="*/ 6731600 w 9959171"/>
              <a:gd name="connsiteY7" fmla="*/ 201500048 h 250455905"/>
              <a:gd name="connsiteX8" fmla="*/ 7905804 w 9959171"/>
              <a:gd name="connsiteY8" fmla="*/ 12533964 h 250455905"/>
              <a:gd name="connsiteX9" fmla="*/ 8947439 w 9959171"/>
              <a:gd name="connsiteY9" fmla="*/ 14567078 h 250455905"/>
              <a:gd name="connsiteX10" fmla="*/ 9959171 w 9959171"/>
              <a:gd name="connsiteY10" fmla="*/ 7197593 h 250455905"/>
              <a:gd name="connsiteX0" fmla="*/ 0 w 9959171"/>
              <a:gd name="connsiteY0" fmla="*/ 209160877 h 250455905"/>
              <a:gd name="connsiteX1" fmla="*/ 922760 w 9959171"/>
              <a:gd name="connsiteY1" fmla="*/ 195010556 h 250455905"/>
              <a:gd name="connsiteX2" fmla="*/ 1834156 w 9959171"/>
              <a:gd name="connsiteY2" fmla="*/ 192856058 h 250455905"/>
              <a:gd name="connsiteX3" fmla="*/ 2841778 w 9959171"/>
              <a:gd name="connsiteY3" fmla="*/ 246950838 h 250455905"/>
              <a:gd name="connsiteX4" fmla="*/ 3826611 w 9959171"/>
              <a:gd name="connsiteY4" fmla="*/ 238350399 h 250455905"/>
              <a:gd name="connsiteX5" fmla="*/ 4859506 w 9959171"/>
              <a:gd name="connsiteY5" fmla="*/ 183254741 h 250455905"/>
              <a:gd name="connsiteX6" fmla="*/ 5792777 w 9959171"/>
              <a:gd name="connsiteY6" fmla="*/ 196441110 h 250455905"/>
              <a:gd name="connsiteX7" fmla="*/ 6731600 w 9959171"/>
              <a:gd name="connsiteY7" fmla="*/ 201500048 h 250455905"/>
              <a:gd name="connsiteX8" fmla="*/ 7905804 w 9959171"/>
              <a:gd name="connsiteY8" fmla="*/ 12533964 h 250455905"/>
              <a:gd name="connsiteX9" fmla="*/ 8947439 w 9959171"/>
              <a:gd name="connsiteY9" fmla="*/ 14567078 h 250455905"/>
              <a:gd name="connsiteX10" fmla="*/ 9959171 w 9959171"/>
              <a:gd name="connsiteY10" fmla="*/ 7197593 h 250455905"/>
              <a:gd name="connsiteX0" fmla="*/ 0 w 9959171"/>
              <a:gd name="connsiteY0" fmla="*/ 201963284 h 243258312"/>
              <a:gd name="connsiteX1" fmla="*/ 922760 w 9959171"/>
              <a:gd name="connsiteY1" fmla="*/ 187812963 h 243258312"/>
              <a:gd name="connsiteX2" fmla="*/ 1834156 w 9959171"/>
              <a:gd name="connsiteY2" fmla="*/ 185658465 h 243258312"/>
              <a:gd name="connsiteX3" fmla="*/ 2841778 w 9959171"/>
              <a:gd name="connsiteY3" fmla="*/ 239753245 h 243258312"/>
              <a:gd name="connsiteX4" fmla="*/ 3826611 w 9959171"/>
              <a:gd name="connsiteY4" fmla="*/ 231152806 h 243258312"/>
              <a:gd name="connsiteX5" fmla="*/ 4859506 w 9959171"/>
              <a:gd name="connsiteY5" fmla="*/ 176057148 h 243258312"/>
              <a:gd name="connsiteX6" fmla="*/ 5792777 w 9959171"/>
              <a:gd name="connsiteY6" fmla="*/ 189243517 h 243258312"/>
              <a:gd name="connsiteX7" fmla="*/ 6731600 w 9959171"/>
              <a:gd name="connsiteY7" fmla="*/ 194302455 h 243258312"/>
              <a:gd name="connsiteX8" fmla="*/ 7845539 w 9959171"/>
              <a:gd name="connsiteY8" fmla="*/ 217768436 h 243258312"/>
              <a:gd name="connsiteX9" fmla="*/ 8947439 w 9959171"/>
              <a:gd name="connsiteY9" fmla="*/ 7369485 h 243258312"/>
              <a:gd name="connsiteX10" fmla="*/ 9959171 w 9959171"/>
              <a:gd name="connsiteY10" fmla="*/ 0 h 243258312"/>
              <a:gd name="connsiteX0" fmla="*/ 0 w 9959171"/>
              <a:gd name="connsiteY0" fmla="*/ 201963284 h 243258312"/>
              <a:gd name="connsiteX1" fmla="*/ 922760 w 9959171"/>
              <a:gd name="connsiteY1" fmla="*/ 187812963 h 243258312"/>
              <a:gd name="connsiteX2" fmla="*/ 1834156 w 9959171"/>
              <a:gd name="connsiteY2" fmla="*/ 185658465 h 243258312"/>
              <a:gd name="connsiteX3" fmla="*/ 2841778 w 9959171"/>
              <a:gd name="connsiteY3" fmla="*/ 239753245 h 243258312"/>
              <a:gd name="connsiteX4" fmla="*/ 3826611 w 9959171"/>
              <a:gd name="connsiteY4" fmla="*/ 231152806 h 243258312"/>
              <a:gd name="connsiteX5" fmla="*/ 4859506 w 9959171"/>
              <a:gd name="connsiteY5" fmla="*/ 176057148 h 243258312"/>
              <a:gd name="connsiteX6" fmla="*/ 5792777 w 9959171"/>
              <a:gd name="connsiteY6" fmla="*/ 189243517 h 243258312"/>
              <a:gd name="connsiteX7" fmla="*/ 6731600 w 9959171"/>
              <a:gd name="connsiteY7" fmla="*/ 194302455 h 243258312"/>
              <a:gd name="connsiteX8" fmla="*/ 7845539 w 9959171"/>
              <a:gd name="connsiteY8" fmla="*/ 217768436 h 243258312"/>
              <a:gd name="connsiteX9" fmla="*/ 8947439 w 9959171"/>
              <a:gd name="connsiteY9" fmla="*/ 7369485 h 243258312"/>
              <a:gd name="connsiteX10" fmla="*/ 9959171 w 9959171"/>
              <a:gd name="connsiteY10" fmla="*/ 0 h 243258312"/>
              <a:gd name="connsiteX0" fmla="*/ 0 w 9959171"/>
              <a:gd name="connsiteY0" fmla="*/ 201963284 h 243258312"/>
              <a:gd name="connsiteX1" fmla="*/ 922760 w 9959171"/>
              <a:gd name="connsiteY1" fmla="*/ 187812963 h 243258312"/>
              <a:gd name="connsiteX2" fmla="*/ 1834156 w 9959171"/>
              <a:gd name="connsiteY2" fmla="*/ 185658465 h 243258312"/>
              <a:gd name="connsiteX3" fmla="*/ 2841778 w 9959171"/>
              <a:gd name="connsiteY3" fmla="*/ 239753245 h 243258312"/>
              <a:gd name="connsiteX4" fmla="*/ 3826611 w 9959171"/>
              <a:gd name="connsiteY4" fmla="*/ 231152806 h 243258312"/>
              <a:gd name="connsiteX5" fmla="*/ 4859506 w 9959171"/>
              <a:gd name="connsiteY5" fmla="*/ 176057148 h 243258312"/>
              <a:gd name="connsiteX6" fmla="*/ 5792777 w 9959171"/>
              <a:gd name="connsiteY6" fmla="*/ 189243517 h 243258312"/>
              <a:gd name="connsiteX7" fmla="*/ 6731600 w 9959171"/>
              <a:gd name="connsiteY7" fmla="*/ 194302455 h 243258312"/>
              <a:gd name="connsiteX8" fmla="*/ 7785274 w 9959171"/>
              <a:gd name="connsiteY8" fmla="*/ 226107724 h 243258312"/>
              <a:gd name="connsiteX9" fmla="*/ 8947439 w 9959171"/>
              <a:gd name="connsiteY9" fmla="*/ 7369485 h 243258312"/>
              <a:gd name="connsiteX10" fmla="*/ 9959171 w 9959171"/>
              <a:gd name="connsiteY10" fmla="*/ 0 h 243258312"/>
              <a:gd name="connsiteX0" fmla="*/ 0 w 9959171"/>
              <a:gd name="connsiteY0" fmla="*/ 201963284 h 243258312"/>
              <a:gd name="connsiteX1" fmla="*/ 922760 w 9959171"/>
              <a:gd name="connsiteY1" fmla="*/ 187812963 h 243258312"/>
              <a:gd name="connsiteX2" fmla="*/ 1834156 w 9959171"/>
              <a:gd name="connsiteY2" fmla="*/ 185658465 h 243258312"/>
              <a:gd name="connsiteX3" fmla="*/ 2841778 w 9959171"/>
              <a:gd name="connsiteY3" fmla="*/ 239753245 h 243258312"/>
              <a:gd name="connsiteX4" fmla="*/ 3826611 w 9959171"/>
              <a:gd name="connsiteY4" fmla="*/ 231152806 h 243258312"/>
              <a:gd name="connsiteX5" fmla="*/ 4859506 w 9959171"/>
              <a:gd name="connsiteY5" fmla="*/ 176057148 h 243258312"/>
              <a:gd name="connsiteX6" fmla="*/ 5792777 w 9959171"/>
              <a:gd name="connsiteY6" fmla="*/ 189243517 h 243258312"/>
              <a:gd name="connsiteX7" fmla="*/ 6731600 w 9959171"/>
              <a:gd name="connsiteY7" fmla="*/ 194302455 h 243258312"/>
              <a:gd name="connsiteX8" fmla="*/ 7785274 w 9959171"/>
              <a:gd name="connsiteY8" fmla="*/ 226107724 h 243258312"/>
              <a:gd name="connsiteX9" fmla="*/ 8646117 w 9959171"/>
              <a:gd name="connsiteY9" fmla="*/ 171082610 h 243258312"/>
              <a:gd name="connsiteX10" fmla="*/ 9959171 w 9959171"/>
              <a:gd name="connsiteY10" fmla="*/ 0 h 243258312"/>
              <a:gd name="connsiteX0" fmla="*/ 0 w 9748245"/>
              <a:gd name="connsiteY0" fmla="*/ 31097443 h 72392471"/>
              <a:gd name="connsiteX1" fmla="*/ 922760 w 9748245"/>
              <a:gd name="connsiteY1" fmla="*/ 16947122 h 72392471"/>
              <a:gd name="connsiteX2" fmla="*/ 1834156 w 9748245"/>
              <a:gd name="connsiteY2" fmla="*/ 14792624 h 72392471"/>
              <a:gd name="connsiteX3" fmla="*/ 2841778 w 9748245"/>
              <a:gd name="connsiteY3" fmla="*/ 68887404 h 72392471"/>
              <a:gd name="connsiteX4" fmla="*/ 3826611 w 9748245"/>
              <a:gd name="connsiteY4" fmla="*/ 60286965 h 72392471"/>
              <a:gd name="connsiteX5" fmla="*/ 4859506 w 9748245"/>
              <a:gd name="connsiteY5" fmla="*/ 5191307 h 72392471"/>
              <a:gd name="connsiteX6" fmla="*/ 5792777 w 9748245"/>
              <a:gd name="connsiteY6" fmla="*/ 18377676 h 72392471"/>
              <a:gd name="connsiteX7" fmla="*/ 6731600 w 9748245"/>
              <a:gd name="connsiteY7" fmla="*/ 23436614 h 72392471"/>
              <a:gd name="connsiteX8" fmla="*/ 7785274 w 9748245"/>
              <a:gd name="connsiteY8" fmla="*/ 55241883 h 72392471"/>
              <a:gd name="connsiteX9" fmla="*/ 8646117 w 9748245"/>
              <a:gd name="connsiteY9" fmla="*/ 216769 h 72392471"/>
              <a:gd name="connsiteX10" fmla="*/ 9748245 w 9748245"/>
              <a:gd name="connsiteY10" fmla="*/ 50344404 h 72392471"/>
              <a:gd name="connsiteX0" fmla="*/ 0 w 9740712"/>
              <a:gd name="connsiteY0" fmla="*/ 31322216 h 72617244"/>
              <a:gd name="connsiteX1" fmla="*/ 922760 w 9740712"/>
              <a:gd name="connsiteY1" fmla="*/ 17171895 h 72617244"/>
              <a:gd name="connsiteX2" fmla="*/ 1834156 w 9740712"/>
              <a:gd name="connsiteY2" fmla="*/ 15017397 h 72617244"/>
              <a:gd name="connsiteX3" fmla="*/ 2841778 w 9740712"/>
              <a:gd name="connsiteY3" fmla="*/ 69112177 h 72617244"/>
              <a:gd name="connsiteX4" fmla="*/ 3826611 w 9740712"/>
              <a:gd name="connsiteY4" fmla="*/ 60511738 h 72617244"/>
              <a:gd name="connsiteX5" fmla="*/ 4859506 w 9740712"/>
              <a:gd name="connsiteY5" fmla="*/ 5416080 h 72617244"/>
              <a:gd name="connsiteX6" fmla="*/ 5792777 w 9740712"/>
              <a:gd name="connsiteY6" fmla="*/ 18602449 h 72617244"/>
              <a:gd name="connsiteX7" fmla="*/ 6731600 w 9740712"/>
              <a:gd name="connsiteY7" fmla="*/ 23661387 h 72617244"/>
              <a:gd name="connsiteX8" fmla="*/ 7785274 w 9740712"/>
              <a:gd name="connsiteY8" fmla="*/ 55466656 h 72617244"/>
              <a:gd name="connsiteX9" fmla="*/ 8646117 w 9740712"/>
              <a:gd name="connsiteY9" fmla="*/ 441542 h 72617244"/>
              <a:gd name="connsiteX10" fmla="*/ 9740712 w 9740712"/>
              <a:gd name="connsiteY10" fmla="*/ 21601171 h 72617244"/>
              <a:gd name="connsiteX0" fmla="*/ 0 w 9740712"/>
              <a:gd name="connsiteY0" fmla="*/ 31932835 h 73227863"/>
              <a:gd name="connsiteX1" fmla="*/ 922760 w 9740712"/>
              <a:gd name="connsiteY1" fmla="*/ 17782514 h 73227863"/>
              <a:gd name="connsiteX2" fmla="*/ 1834156 w 9740712"/>
              <a:gd name="connsiteY2" fmla="*/ 15628016 h 73227863"/>
              <a:gd name="connsiteX3" fmla="*/ 2841778 w 9740712"/>
              <a:gd name="connsiteY3" fmla="*/ 69722796 h 73227863"/>
              <a:gd name="connsiteX4" fmla="*/ 3826611 w 9740712"/>
              <a:gd name="connsiteY4" fmla="*/ 61122357 h 73227863"/>
              <a:gd name="connsiteX5" fmla="*/ 4859506 w 9740712"/>
              <a:gd name="connsiteY5" fmla="*/ 6026699 h 73227863"/>
              <a:gd name="connsiteX6" fmla="*/ 5792777 w 9740712"/>
              <a:gd name="connsiteY6" fmla="*/ 19213068 h 73227863"/>
              <a:gd name="connsiteX7" fmla="*/ 6731600 w 9740712"/>
              <a:gd name="connsiteY7" fmla="*/ 24272006 h 73227863"/>
              <a:gd name="connsiteX8" fmla="*/ 7785274 w 9740712"/>
              <a:gd name="connsiteY8" fmla="*/ 56077275 h 73227863"/>
              <a:gd name="connsiteX9" fmla="*/ 8646117 w 9740712"/>
              <a:gd name="connsiteY9" fmla="*/ 1052161 h 73227863"/>
              <a:gd name="connsiteX10" fmla="*/ 9740712 w 9740712"/>
              <a:gd name="connsiteY10" fmla="*/ 5972162 h 73227863"/>
              <a:gd name="connsiteX0" fmla="*/ 0 w 9770845"/>
              <a:gd name="connsiteY0" fmla="*/ 31446581 h 72741609"/>
              <a:gd name="connsiteX1" fmla="*/ 922760 w 9770845"/>
              <a:gd name="connsiteY1" fmla="*/ 17296260 h 72741609"/>
              <a:gd name="connsiteX2" fmla="*/ 1834156 w 9770845"/>
              <a:gd name="connsiteY2" fmla="*/ 15141762 h 72741609"/>
              <a:gd name="connsiteX3" fmla="*/ 2841778 w 9770845"/>
              <a:gd name="connsiteY3" fmla="*/ 69236542 h 72741609"/>
              <a:gd name="connsiteX4" fmla="*/ 3826611 w 9770845"/>
              <a:gd name="connsiteY4" fmla="*/ 60636103 h 72741609"/>
              <a:gd name="connsiteX5" fmla="*/ 4859506 w 9770845"/>
              <a:gd name="connsiteY5" fmla="*/ 5540445 h 72741609"/>
              <a:gd name="connsiteX6" fmla="*/ 5792777 w 9770845"/>
              <a:gd name="connsiteY6" fmla="*/ 18726814 h 72741609"/>
              <a:gd name="connsiteX7" fmla="*/ 6731600 w 9770845"/>
              <a:gd name="connsiteY7" fmla="*/ 23785752 h 72741609"/>
              <a:gd name="connsiteX8" fmla="*/ 7785274 w 9770845"/>
              <a:gd name="connsiteY8" fmla="*/ 55591021 h 72741609"/>
              <a:gd name="connsiteX9" fmla="*/ 8646117 w 9770845"/>
              <a:gd name="connsiteY9" fmla="*/ 565907 h 72741609"/>
              <a:gd name="connsiteX10" fmla="*/ 9770845 w 9770845"/>
              <a:gd name="connsiteY10" fmla="*/ 15580820 h 72741609"/>
              <a:gd name="connsiteX0" fmla="*/ 0 w 9770845"/>
              <a:gd name="connsiteY0" fmla="*/ 18659691 h 72741609"/>
              <a:gd name="connsiteX1" fmla="*/ 922760 w 9770845"/>
              <a:gd name="connsiteY1" fmla="*/ 17296260 h 72741609"/>
              <a:gd name="connsiteX2" fmla="*/ 1834156 w 9770845"/>
              <a:gd name="connsiteY2" fmla="*/ 15141762 h 72741609"/>
              <a:gd name="connsiteX3" fmla="*/ 2841778 w 9770845"/>
              <a:gd name="connsiteY3" fmla="*/ 69236542 h 72741609"/>
              <a:gd name="connsiteX4" fmla="*/ 3826611 w 9770845"/>
              <a:gd name="connsiteY4" fmla="*/ 60636103 h 72741609"/>
              <a:gd name="connsiteX5" fmla="*/ 4859506 w 9770845"/>
              <a:gd name="connsiteY5" fmla="*/ 5540445 h 72741609"/>
              <a:gd name="connsiteX6" fmla="*/ 5792777 w 9770845"/>
              <a:gd name="connsiteY6" fmla="*/ 18726814 h 72741609"/>
              <a:gd name="connsiteX7" fmla="*/ 6731600 w 9770845"/>
              <a:gd name="connsiteY7" fmla="*/ 23785752 h 72741609"/>
              <a:gd name="connsiteX8" fmla="*/ 7785274 w 9770845"/>
              <a:gd name="connsiteY8" fmla="*/ 55591021 h 72741609"/>
              <a:gd name="connsiteX9" fmla="*/ 8646117 w 9770845"/>
              <a:gd name="connsiteY9" fmla="*/ 565907 h 72741609"/>
              <a:gd name="connsiteX10" fmla="*/ 9770845 w 9770845"/>
              <a:gd name="connsiteY10" fmla="*/ 15580820 h 72741609"/>
              <a:gd name="connsiteX0" fmla="*/ 0 w 9770845"/>
              <a:gd name="connsiteY0" fmla="*/ 17986697 h 72741609"/>
              <a:gd name="connsiteX1" fmla="*/ 922760 w 9770845"/>
              <a:gd name="connsiteY1" fmla="*/ 17296260 h 72741609"/>
              <a:gd name="connsiteX2" fmla="*/ 1834156 w 9770845"/>
              <a:gd name="connsiteY2" fmla="*/ 15141762 h 72741609"/>
              <a:gd name="connsiteX3" fmla="*/ 2841778 w 9770845"/>
              <a:gd name="connsiteY3" fmla="*/ 69236542 h 72741609"/>
              <a:gd name="connsiteX4" fmla="*/ 3826611 w 9770845"/>
              <a:gd name="connsiteY4" fmla="*/ 60636103 h 72741609"/>
              <a:gd name="connsiteX5" fmla="*/ 4859506 w 9770845"/>
              <a:gd name="connsiteY5" fmla="*/ 5540445 h 72741609"/>
              <a:gd name="connsiteX6" fmla="*/ 5792777 w 9770845"/>
              <a:gd name="connsiteY6" fmla="*/ 18726814 h 72741609"/>
              <a:gd name="connsiteX7" fmla="*/ 6731600 w 9770845"/>
              <a:gd name="connsiteY7" fmla="*/ 23785752 h 72741609"/>
              <a:gd name="connsiteX8" fmla="*/ 7785274 w 9770845"/>
              <a:gd name="connsiteY8" fmla="*/ 55591021 h 72741609"/>
              <a:gd name="connsiteX9" fmla="*/ 8646117 w 9770845"/>
              <a:gd name="connsiteY9" fmla="*/ 565907 h 72741609"/>
              <a:gd name="connsiteX10" fmla="*/ 9770845 w 9770845"/>
              <a:gd name="connsiteY10" fmla="*/ 15580820 h 72741609"/>
              <a:gd name="connsiteX0" fmla="*/ 0 w 9770845"/>
              <a:gd name="connsiteY0" fmla="*/ 17986697 h 72492714"/>
              <a:gd name="connsiteX1" fmla="*/ 922760 w 9770845"/>
              <a:gd name="connsiteY1" fmla="*/ 17296260 h 72492714"/>
              <a:gd name="connsiteX2" fmla="*/ 1845707 w 9770845"/>
              <a:gd name="connsiteY2" fmla="*/ 18506733 h 72492714"/>
              <a:gd name="connsiteX3" fmla="*/ 2841778 w 9770845"/>
              <a:gd name="connsiteY3" fmla="*/ 69236542 h 72492714"/>
              <a:gd name="connsiteX4" fmla="*/ 3826611 w 9770845"/>
              <a:gd name="connsiteY4" fmla="*/ 60636103 h 72492714"/>
              <a:gd name="connsiteX5" fmla="*/ 4859506 w 9770845"/>
              <a:gd name="connsiteY5" fmla="*/ 5540445 h 72492714"/>
              <a:gd name="connsiteX6" fmla="*/ 5792777 w 9770845"/>
              <a:gd name="connsiteY6" fmla="*/ 18726814 h 72492714"/>
              <a:gd name="connsiteX7" fmla="*/ 6731600 w 9770845"/>
              <a:gd name="connsiteY7" fmla="*/ 23785752 h 72492714"/>
              <a:gd name="connsiteX8" fmla="*/ 7785274 w 9770845"/>
              <a:gd name="connsiteY8" fmla="*/ 55591021 h 72492714"/>
              <a:gd name="connsiteX9" fmla="*/ 8646117 w 9770845"/>
              <a:gd name="connsiteY9" fmla="*/ 565907 h 72492714"/>
              <a:gd name="connsiteX10" fmla="*/ 9770845 w 9770845"/>
              <a:gd name="connsiteY10" fmla="*/ 15580820 h 72492714"/>
              <a:gd name="connsiteX0" fmla="*/ 0 w 9770845"/>
              <a:gd name="connsiteY0" fmla="*/ 17986697 h 60720063"/>
              <a:gd name="connsiteX1" fmla="*/ 922760 w 9770845"/>
              <a:gd name="connsiteY1" fmla="*/ 17296260 h 60720063"/>
              <a:gd name="connsiteX2" fmla="*/ 1845707 w 9770845"/>
              <a:gd name="connsiteY2" fmla="*/ 18506733 h 60720063"/>
              <a:gd name="connsiteX3" fmla="*/ 2853329 w 9770845"/>
              <a:gd name="connsiteY3" fmla="*/ 18088982 h 60720063"/>
              <a:gd name="connsiteX4" fmla="*/ 3826611 w 9770845"/>
              <a:gd name="connsiteY4" fmla="*/ 60636103 h 60720063"/>
              <a:gd name="connsiteX5" fmla="*/ 4859506 w 9770845"/>
              <a:gd name="connsiteY5" fmla="*/ 5540445 h 60720063"/>
              <a:gd name="connsiteX6" fmla="*/ 5792777 w 9770845"/>
              <a:gd name="connsiteY6" fmla="*/ 18726814 h 60720063"/>
              <a:gd name="connsiteX7" fmla="*/ 6731600 w 9770845"/>
              <a:gd name="connsiteY7" fmla="*/ 23785752 h 60720063"/>
              <a:gd name="connsiteX8" fmla="*/ 7785274 w 9770845"/>
              <a:gd name="connsiteY8" fmla="*/ 55591021 h 60720063"/>
              <a:gd name="connsiteX9" fmla="*/ 8646117 w 9770845"/>
              <a:gd name="connsiteY9" fmla="*/ 565907 h 60720063"/>
              <a:gd name="connsiteX10" fmla="*/ 9770845 w 9770845"/>
              <a:gd name="connsiteY10" fmla="*/ 15580820 h 60720063"/>
              <a:gd name="connsiteX0" fmla="*/ 0 w 9770845"/>
              <a:gd name="connsiteY0" fmla="*/ 17986697 h 60720505"/>
              <a:gd name="connsiteX1" fmla="*/ 922760 w 9770845"/>
              <a:gd name="connsiteY1" fmla="*/ 17296260 h 60720505"/>
              <a:gd name="connsiteX2" fmla="*/ 1845707 w 9770845"/>
              <a:gd name="connsiteY2" fmla="*/ 17160745 h 60720505"/>
              <a:gd name="connsiteX3" fmla="*/ 2853329 w 9770845"/>
              <a:gd name="connsiteY3" fmla="*/ 18088982 h 60720505"/>
              <a:gd name="connsiteX4" fmla="*/ 3826611 w 9770845"/>
              <a:gd name="connsiteY4" fmla="*/ 60636103 h 60720505"/>
              <a:gd name="connsiteX5" fmla="*/ 4859506 w 9770845"/>
              <a:gd name="connsiteY5" fmla="*/ 5540445 h 60720505"/>
              <a:gd name="connsiteX6" fmla="*/ 5792777 w 9770845"/>
              <a:gd name="connsiteY6" fmla="*/ 18726814 h 60720505"/>
              <a:gd name="connsiteX7" fmla="*/ 6731600 w 9770845"/>
              <a:gd name="connsiteY7" fmla="*/ 23785752 h 60720505"/>
              <a:gd name="connsiteX8" fmla="*/ 7785274 w 9770845"/>
              <a:gd name="connsiteY8" fmla="*/ 55591021 h 60720505"/>
              <a:gd name="connsiteX9" fmla="*/ 8646117 w 9770845"/>
              <a:gd name="connsiteY9" fmla="*/ 565907 h 60720505"/>
              <a:gd name="connsiteX10" fmla="*/ 9770845 w 9770845"/>
              <a:gd name="connsiteY10" fmla="*/ 15580820 h 60720505"/>
              <a:gd name="connsiteX0" fmla="*/ 0 w 9770845"/>
              <a:gd name="connsiteY0" fmla="*/ 17313703 h 60720505"/>
              <a:gd name="connsiteX1" fmla="*/ 922760 w 9770845"/>
              <a:gd name="connsiteY1" fmla="*/ 17296260 h 60720505"/>
              <a:gd name="connsiteX2" fmla="*/ 1845707 w 9770845"/>
              <a:gd name="connsiteY2" fmla="*/ 17160745 h 60720505"/>
              <a:gd name="connsiteX3" fmla="*/ 2853329 w 9770845"/>
              <a:gd name="connsiteY3" fmla="*/ 18088982 h 60720505"/>
              <a:gd name="connsiteX4" fmla="*/ 3826611 w 9770845"/>
              <a:gd name="connsiteY4" fmla="*/ 60636103 h 60720505"/>
              <a:gd name="connsiteX5" fmla="*/ 4859506 w 9770845"/>
              <a:gd name="connsiteY5" fmla="*/ 5540445 h 60720505"/>
              <a:gd name="connsiteX6" fmla="*/ 5792777 w 9770845"/>
              <a:gd name="connsiteY6" fmla="*/ 18726814 h 60720505"/>
              <a:gd name="connsiteX7" fmla="*/ 6731600 w 9770845"/>
              <a:gd name="connsiteY7" fmla="*/ 23785752 h 60720505"/>
              <a:gd name="connsiteX8" fmla="*/ 7785274 w 9770845"/>
              <a:gd name="connsiteY8" fmla="*/ 55591021 h 60720505"/>
              <a:gd name="connsiteX9" fmla="*/ 8646117 w 9770845"/>
              <a:gd name="connsiteY9" fmla="*/ 565907 h 60720505"/>
              <a:gd name="connsiteX10" fmla="*/ 9770845 w 9770845"/>
              <a:gd name="connsiteY10" fmla="*/ 15580820 h 60720505"/>
              <a:gd name="connsiteX0" fmla="*/ 0 w 9770845"/>
              <a:gd name="connsiteY0" fmla="*/ 17313703 h 60754287"/>
              <a:gd name="connsiteX1" fmla="*/ 922760 w 9770845"/>
              <a:gd name="connsiteY1" fmla="*/ 17296260 h 60754287"/>
              <a:gd name="connsiteX2" fmla="*/ 1845707 w 9770845"/>
              <a:gd name="connsiteY2" fmla="*/ 17160745 h 60754287"/>
              <a:gd name="connsiteX3" fmla="*/ 2853329 w 9770845"/>
              <a:gd name="connsiteY3" fmla="*/ 20107965 h 60754287"/>
              <a:gd name="connsiteX4" fmla="*/ 3826611 w 9770845"/>
              <a:gd name="connsiteY4" fmla="*/ 60636103 h 60754287"/>
              <a:gd name="connsiteX5" fmla="*/ 4859506 w 9770845"/>
              <a:gd name="connsiteY5" fmla="*/ 5540445 h 60754287"/>
              <a:gd name="connsiteX6" fmla="*/ 5792777 w 9770845"/>
              <a:gd name="connsiteY6" fmla="*/ 18726814 h 60754287"/>
              <a:gd name="connsiteX7" fmla="*/ 6731600 w 9770845"/>
              <a:gd name="connsiteY7" fmla="*/ 23785752 h 60754287"/>
              <a:gd name="connsiteX8" fmla="*/ 7785274 w 9770845"/>
              <a:gd name="connsiteY8" fmla="*/ 55591021 h 60754287"/>
              <a:gd name="connsiteX9" fmla="*/ 8646117 w 9770845"/>
              <a:gd name="connsiteY9" fmla="*/ 565907 h 60754287"/>
              <a:gd name="connsiteX10" fmla="*/ 9770845 w 9770845"/>
              <a:gd name="connsiteY10" fmla="*/ 15580820 h 60754287"/>
              <a:gd name="connsiteX0" fmla="*/ 0 w 9770845"/>
              <a:gd name="connsiteY0" fmla="*/ 17313703 h 55939276"/>
              <a:gd name="connsiteX1" fmla="*/ 922760 w 9770845"/>
              <a:gd name="connsiteY1" fmla="*/ 17296260 h 55939276"/>
              <a:gd name="connsiteX2" fmla="*/ 1845707 w 9770845"/>
              <a:gd name="connsiteY2" fmla="*/ 17160745 h 55939276"/>
              <a:gd name="connsiteX3" fmla="*/ 2853329 w 9770845"/>
              <a:gd name="connsiteY3" fmla="*/ 20107965 h 55939276"/>
              <a:gd name="connsiteX4" fmla="*/ 3803510 w 9770845"/>
              <a:gd name="connsiteY4" fmla="*/ 18237470 h 55939276"/>
              <a:gd name="connsiteX5" fmla="*/ 4859506 w 9770845"/>
              <a:gd name="connsiteY5" fmla="*/ 5540445 h 55939276"/>
              <a:gd name="connsiteX6" fmla="*/ 5792777 w 9770845"/>
              <a:gd name="connsiteY6" fmla="*/ 18726814 h 55939276"/>
              <a:gd name="connsiteX7" fmla="*/ 6731600 w 9770845"/>
              <a:gd name="connsiteY7" fmla="*/ 23785752 h 55939276"/>
              <a:gd name="connsiteX8" fmla="*/ 7785274 w 9770845"/>
              <a:gd name="connsiteY8" fmla="*/ 55591021 h 55939276"/>
              <a:gd name="connsiteX9" fmla="*/ 8646117 w 9770845"/>
              <a:gd name="connsiteY9" fmla="*/ 565907 h 55939276"/>
              <a:gd name="connsiteX10" fmla="*/ 9770845 w 9770845"/>
              <a:gd name="connsiteY10" fmla="*/ 15580820 h 55939276"/>
              <a:gd name="connsiteX0" fmla="*/ 0 w 9770845"/>
              <a:gd name="connsiteY0" fmla="*/ 17313703 h 55939276"/>
              <a:gd name="connsiteX1" fmla="*/ 922760 w 9770845"/>
              <a:gd name="connsiteY1" fmla="*/ 17296260 h 55939276"/>
              <a:gd name="connsiteX2" fmla="*/ 1845707 w 9770845"/>
              <a:gd name="connsiteY2" fmla="*/ 17160745 h 55939276"/>
              <a:gd name="connsiteX3" fmla="*/ 2864880 w 9770845"/>
              <a:gd name="connsiteY3" fmla="*/ 17415988 h 55939276"/>
              <a:gd name="connsiteX4" fmla="*/ 3803510 w 9770845"/>
              <a:gd name="connsiteY4" fmla="*/ 18237470 h 55939276"/>
              <a:gd name="connsiteX5" fmla="*/ 4859506 w 9770845"/>
              <a:gd name="connsiteY5" fmla="*/ 5540445 h 55939276"/>
              <a:gd name="connsiteX6" fmla="*/ 5792777 w 9770845"/>
              <a:gd name="connsiteY6" fmla="*/ 18726814 h 55939276"/>
              <a:gd name="connsiteX7" fmla="*/ 6731600 w 9770845"/>
              <a:gd name="connsiteY7" fmla="*/ 23785752 h 55939276"/>
              <a:gd name="connsiteX8" fmla="*/ 7785274 w 9770845"/>
              <a:gd name="connsiteY8" fmla="*/ 55591021 h 55939276"/>
              <a:gd name="connsiteX9" fmla="*/ 8646117 w 9770845"/>
              <a:gd name="connsiteY9" fmla="*/ 565907 h 55939276"/>
              <a:gd name="connsiteX10" fmla="*/ 9770845 w 9770845"/>
              <a:gd name="connsiteY10" fmla="*/ 15580820 h 55939276"/>
              <a:gd name="connsiteX0" fmla="*/ 0 w 9770845"/>
              <a:gd name="connsiteY0" fmla="*/ 17313703 h 55939276"/>
              <a:gd name="connsiteX1" fmla="*/ 922760 w 9770845"/>
              <a:gd name="connsiteY1" fmla="*/ 17296260 h 55939276"/>
              <a:gd name="connsiteX2" fmla="*/ 1845707 w 9770845"/>
              <a:gd name="connsiteY2" fmla="*/ 17160745 h 55939276"/>
              <a:gd name="connsiteX3" fmla="*/ 2864880 w 9770845"/>
              <a:gd name="connsiteY3" fmla="*/ 17415988 h 55939276"/>
              <a:gd name="connsiteX4" fmla="*/ 3826612 w 9770845"/>
              <a:gd name="connsiteY4" fmla="*/ 16891481 h 55939276"/>
              <a:gd name="connsiteX5" fmla="*/ 4859506 w 9770845"/>
              <a:gd name="connsiteY5" fmla="*/ 5540445 h 55939276"/>
              <a:gd name="connsiteX6" fmla="*/ 5792777 w 9770845"/>
              <a:gd name="connsiteY6" fmla="*/ 18726814 h 55939276"/>
              <a:gd name="connsiteX7" fmla="*/ 6731600 w 9770845"/>
              <a:gd name="connsiteY7" fmla="*/ 23785752 h 55939276"/>
              <a:gd name="connsiteX8" fmla="*/ 7785274 w 9770845"/>
              <a:gd name="connsiteY8" fmla="*/ 55591021 h 55939276"/>
              <a:gd name="connsiteX9" fmla="*/ 8646117 w 9770845"/>
              <a:gd name="connsiteY9" fmla="*/ 565907 h 55939276"/>
              <a:gd name="connsiteX10" fmla="*/ 9770845 w 9770845"/>
              <a:gd name="connsiteY10" fmla="*/ 15580820 h 55939276"/>
              <a:gd name="connsiteX0" fmla="*/ 0 w 9770845"/>
              <a:gd name="connsiteY0" fmla="*/ 17313703 h 55939276"/>
              <a:gd name="connsiteX1" fmla="*/ 922760 w 9770845"/>
              <a:gd name="connsiteY1" fmla="*/ 17296260 h 55939276"/>
              <a:gd name="connsiteX2" fmla="*/ 1845707 w 9770845"/>
              <a:gd name="connsiteY2" fmla="*/ 17160745 h 55939276"/>
              <a:gd name="connsiteX3" fmla="*/ 2864880 w 9770845"/>
              <a:gd name="connsiteY3" fmla="*/ 17415988 h 55939276"/>
              <a:gd name="connsiteX4" fmla="*/ 3826612 w 9770845"/>
              <a:gd name="connsiteY4" fmla="*/ 16891481 h 55939276"/>
              <a:gd name="connsiteX5" fmla="*/ 4882608 w 9770845"/>
              <a:gd name="connsiteY5" fmla="*/ 14962364 h 55939276"/>
              <a:gd name="connsiteX6" fmla="*/ 5792777 w 9770845"/>
              <a:gd name="connsiteY6" fmla="*/ 18726814 h 55939276"/>
              <a:gd name="connsiteX7" fmla="*/ 6731600 w 9770845"/>
              <a:gd name="connsiteY7" fmla="*/ 23785752 h 55939276"/>
              <a:gd name="connsiteX8" fmla="*/ 7785274 w 9770845"/>
              <a:gd name="connsiteY8" fmla="*/ 55591021 h 55939276"/>
              <a:gd name="connsiteX9" fmla="*/ 8646117 w 9770845"/>
              <a:gd name="connsiteY9" fmla="*/ 565907 h 55939276"/>
              <a:gd name="connsiteX10" fmla="*/ 9770845 w 9770845"/>
              <a:gd name="connsiteY10" fmla="*/ 15580820 h 55939276"/>
              <a:gd name="connsiteX0" fmla="*/ 0 w 9770845"/>
              <a:gd name="connsiteY0" fmla="*/ 17313703 h 55942809"/>
              <a:gd name="connsiteX1" fmla="*/ 922760 w 9770845"/>
              <a:gd name="connsiteY1" fmla="*/ 17296260 h 55942809"/>
              <a:gd name="connsiteX2" fmla="*/ 1845707 w 9770845"/>
              <a:gd name="connsiteY2" fmla="*/ 17160745 h 55942809"/>
              <a:gd name="connsiteX3" fmla="*/ 2864880 w 9770845"/>
              <a:gd name="connsiteY3" fmla="*/ 17415988 h 55942809"/>
              <a:gd name="connsiteX4" fmla="*/ 3826612 w 9770845"/>
              <a:gd name="connsiteY4" fmla="*/ 16891481 h 55942809"/>
              <a:gd name="connsiteX5" fmla="*/ 4882608 w 9770845"/>
              <a:gd name="connsiteY5" fmla="*/ 14962364 h 55942809"/>
              <a:gd name="connsiteX6" fmla="*/ 5792777 w 9770845"/>
              <a:gd name="connsiteY6" fmla="*/ 16707832 h 55942809"/>
              <a:gd name="connsiteX7" fmla="*/ 6731600 w 9770845"/>
              <a:gd name="connsiteY7" fmla="*/ 23785752 h 55942809"/>
              <a:gd name="connsiteX8" fmla="*/ 7785274 w 9770845"/>
              <a:gd name="connsiteY8" fmla="*/ 55591021 h 55942809"/>
              <a:gd name="connsiteX9" fmla="*/ 8646117 w 9770845"/>
              <a:gd name="connsiteY9" fmla="*/ 565907 h 55942809"/>
              <a:gd name="connsiteX10" fmla="*/ 9770845 w 9770845"/>
              <a:gd name="connsiteY10" fmla="*/ 15580820 h 55942809"/>
              <a:gd name="connsiteX0" fmla="*/ 0 w 9770845"/>
              <a:gd name="connsiteY0" fmla="*/ 17313703 h 55776327"/>
              <a:gd name="connsiteX1" fmla="*/ 922760 w 9770845"/>
              <a:gd name="connsiteY1" fmla="*/ 17296260 h 55776327"/>
              <a:gd name="connsiteX2" fmla="*/ 1845707 w 9770845"/>
              <a:gd name="connsiteY2" fmla="*/ 17160745 h 55776327"/>
              <a:gd name="connsiteX3" fmla="*/ 2864880 w 9770845"/>
              <a:gd name="connsiteY3" fmla="*/ 17415988 h 55776327"/>
              <a:gd name="connsiteX4" fmla="*/ 3826612 w 9770845"/>
              <a:gd name="connsiteY4" fmla="*/ 16891481 h 55776327"/>
              <a:gd name="connsiteX5" fmla="*/ 4882608 w 9770845"/>
              <a:gd name="connsiteY5" fmla="*/ 14962364 h 55776327"/>
              <a:gd name="connsiteX6" fmla="*/ 5792777 w 9770845"/>
              <a:gd name="connsiteY6" fmla="*/ 16707832 h 55776327"/>
              <a:gd name="connsiteX7" fmla="*/ 6731600 w 9770845"/>
              <a:gd name="connsiteY7" fmla="*/ 18401799 h 55776327"/>
              <a:gd name="connsiteX8" fmla="*/ 7785274 w 9770845"/>
              <a:gd name="connsiteY8" fmla="*/ 55591021 h 55776327"/>
              <a:gd name="connsiteX9" fmla="*/ 8646117 w 9770845"/>
              <a:gd name="connsiteY9" fmla="*/ 565907 h 55776327"/>
              <a:gd name="connsiteX10" fmla="*/ 9770845 w 9770845"/>
              <a:gd name="connsiteY10" fmla="*/ 15580820 h 55776327"/>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82608 w 9770845"/>
              <a:gd name="connsiteY5" fmla="*/ 14962364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82608 w 9770845"/>
              <a:gd name="connsiteY5" fmla="*/ 15635358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82608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36405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36405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508831"/>
              <a:gd name="connsiteX1" fmla="*/ 922760 w 9770845"/>
              <a:gd name="connsiteY1" fmla="*/ 17296260 h 18508831"/>
              <a:gd name="connsiteX2" fmla="*/ 1845707 w 9770845"/>
              <a:gd name="connsiteY2" fmla="*/ 17160745 h 18508831"/>
              <a:gd name="connsiteX3" fmla="*/ 2864880 w 9770845"/>
              <a:gd name="connsiteY3" fmla="*/ 17415988 h 18508831"/>
              <a:gd name="connsiteX4" fmla="*/ 3826612 w 9770845"/>
              <a:gd name="connsiteY4" fmla="*/ 16891481 h 18508831"/>
              <a:gd name="connsiteX5" fmla="*/ 4836405 w 9770845"/>
              <a:gd name="connsiteY5" fmla="*/ 16981346 h 18508831"/>
              <a:gd name="connsiteX6" fmla="*/ 5792777 w 9770845"/>
              <a:gd name="connsiteY6" fmla="*/ 18053820 h 18508831"/>
              <a:gd name="connsiteX7" fmla="*/ 6731600 w 9770845"/>
              <a:gd name="connsiteY7" fmla="*/ 18401799 h 18508831"/>
              <a:gd name="connsiteX8" fmla="*/ 7785274 w 9770845"/>
              <a:gd name="connsiteY8" fmla="*/ 16557358 h 18508831"/>
              <a:gd name="connsiteX9" fmla="*/ 8646117 w 9770845"/>
              <a:gd name="connsiteY9" fmla="*/ 565907 h 18508831"/>
              <a:gd name="connsiteX10" fmla="*/ 9770845 w 9770845"/>
              <a:gd name="connsiteY10" fmla="*/ 15580820 h 18508831"/>
              <a:gd name="connsiteX0" fmla="*/ 0 w 9770845"/>
              <a:gd name="connsiteY0" fmla="*/ 17313703 h 18554812"/>
              <a:gd name="connsiteX1" fmla="*/ 922760 w 9770845"/>
              <a:gd name="connsiteY1" fmla="*/ 17296260 h 18554812"/>
              <a:gd name="connsiteX2" fmla="*/ 1845707 w 9770845"/>
              <a:gd name="connsiteY2" fmla="*/ 17160745 h 18554812"/>
              <a:gd name="connsiteX3" fmla="*/ 2864880 w 9770845"/>
              <a:gd name="connsiteY3" fmla="*/ 17415988 h 18554812"/>
              <a:gd name="connsiteX4" fmla="*/ 3826612 w 9770845"/>
              <a:gd name="connsiteY4" fmla="*/ 16891481 h 18554812"/>
              <a:gd name="connsiteX5" fmla="*/ 4836405 w 9770845"/>
              <a:gd name="connsiteY5" fmla="*/ 16981346 h 18554812"/>
              <a:gd name="connsiteX6" fmla="*/ 5792777 w 9770845"/>
              <a:gd name="connsiteY6" fmla="*/ 17380826 h 18554812"/>
              <a:gd name="connsiteX7" fmla="*/ 6731600 w 9770845"/>
              <a:gd name="connsiteY7" fmla="*/ 18401799 h 18554812"/>
              <a:gd name="connsiteX8" fmla="*/ 7785274 w 9770845"/>
              <a:gd name="connsiteY8" fmla="*/ 16557358 h 18554812"/>
              <a:gd name="connsiteX9" fmla="*/ 8646117 w 9770845"/>
              <a:gd name="connsiteY9" fmla="*/ 565907 h 18554812"/>
              <a:gd name="connsiteX10" fmla="*/ 9770845 w 9770845"/>
              <a:gd name="connsiteY10" fmla="*/ 15580820 h 18554812"/>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36405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601401"/>
              <a:gd name="connsiteX1" fmla="*/ 922760 w 9770845"/>
              <a:gd name="connsiteY1" fmla="*/ 17296260 h 18601401"/>
              <a:gd name="connsiteX2" fmla="*/ 1845707 w 9770845"/>
              <a:gd name="connsiteY2" fmla="*/ 17160745 h 18601401"/>
              <a:gd name="connsiteX3" fmla="*/ 2864880 w 9770845"/>
              <a:gd name="connsiteY3" fmla="*/ 17415988 h 18601401"/>
              <a:gd name="connsiteX4" fmla="*/ 3826612 w 9770845"/>
              <a:gd name="connsiteY4" fmla="*/ 16891481 h 18601401"/>
              <a:gd name="connsiteX5" fmla="*/ 4836405 w 9770845"/>
              <a:gd name="connsiteY5" fmla="*/ 16981346 h 18601401"/>
              <a:gd name="connsiteX6" fmla="*/ 5792777 w 9770845"/>
              <a:gd name="connsiteY6" fmla="*/ 16707832 h 18601401"/>
              <a:gd name="connsiteX7" fmla="*/ 6731600 w 9770845"/>
              <a:gd name="connsiteY7" fmla="*/ 18401799 h 18601401"/>
              <a:gd name="connsiteX8" fmla="*/ 7785274 w 9770845"/>
              <a:gd name="connsiteY8" fmla="*/ 16557358 h 18601401"/>
              <a:gd name="connsiteX9" fmla="*/ 8646117 w 9770845"/>
              <a:gd name="connsiteY9" fmla="*/ 565907 h 18601401"/>
              <a:gd name="connsiteX10" fmla="*/ 9770845 w 9770845"/>
              <a:gd name="connsiteY10" fmla="*/ 15580820 h 18601401"/>
              <a:gd name="connsiteX0" fmla="*/ 0 w 9770845"/>
              <a:gd name="connsiteY0" fmla="*/ 17313703 h 18508831"/>
              <a:gd name="connsiteX1" fmla="*/ 922760 w 9770845"/>
              <a:gd name="connsiteY1" fmla="*/ 17296260 h 18508831"/>
              <a:gd name="connsiteX2" fmla="*/ 1845707 w 9770845"/>
              <a:gd name="connsiteY2" fmla="*/ 17160745 h 18508831"/>
              <a:gd name="connsiteX3" fmla="*/ 2864880 w 9770845"/>
              <a:gd name="connsiteY3" fmla="*/ 17415988 h 18508831"/>
              <a:gd name="connsiteX4" fmla="*/ 3826612 w 9770845"/>
              <a:gd name="connsiteY4" fmla="*/ 16891481 h 18508831"/>
              <a:gd name="connsiteX5" fmla="*/ 4836405 w 9770845"/>
              <a:gd name="connsiteY5" fmla="*/ 16981346 h 18508831"/>
              <a:gd name="connsiteX6" fmla="*/ 5792777 w 9770845"/>
              <a:gd name="connsiteY6" fmla="*/ 18053820 h 18508831"/>
              <a:gd name="connsiteX7" fmla="*/ 6731600 w 9770845"/>
              <a:gd name="connsiteY7" fmla="*/ 18401799 h 18508831"/>
              <a:gd name="connsiteX8" fmla="*/ 7785274 w 9770845"/>
              <a:gd name="connsiteY8" fmla="*/ 16557358 h 18508831"/>
              <a:gd name="connsiteX9" fmla="*/ 8646117 w 9770845"/>
              <a:gd name="connsiteY9" fmla="*/ 565907 h 18508831"/>
              <a:gd name="connsiteX10" fmla="*/ 9770845 w 9770845"/>
              <a:gd name="connsiteY10" fmla="*/ 15580820 h 18508831"/>
              <a:gd name="connsiteX0" fmla="*/ 0 w 9770845"/>
              <a:gd name="connsiteY0" fmla="*/ 17313703 h 18648431"/>
              <a:gd name="connsiteX1" fmla="*/ 922760 w 9770845"/>
              <a:gd name="connsiteY1" fmla="*/ 17296260 h 18648431"/>
              <a:gd name="connsiteX2" fmla="*/ 1845707 w 9770845"/>
              <a:gd name="connsiteY2" fmla="*/ 17160745 h 18648431"/>
              <a:gd name="connsiteX3" fmla="*/ 2864880 w 9770845"/>
              <a:gd name="connsiteY3" fmla="*/ 17415988 h 18648431"/>
              <a:gd name="connsiteX4" fmla="*/ 3826612 w 9770845"/>
              <a:gd name="connsiteY4" fmla="*/ 16891481 h 18648431"/>
              <a:gd name="connsiteX5" fmla="*/ 4836405 w 9770845"/>
              <a:gd name="connsiteY5" fmla="*/ 16981346 h 18648431"/>
              <a:gd name="connsiteX6" fmla="*/ 5792777 w 9770845"/>
              <a:gd name="connsiteY6" fmla="*/ 16034838 h 18648431"/>
              <a:gd name="connsiteX7" fmla="*/ 6731600 w 9770845"/>
              <a:gd name="connsiteY7" fmla="*/ 18401799 h 18648431"/>
              <a:gd name="connsiteX8" fmla="*/ 7785274 w 9770845"/>
              <a:gd name="connsiteY8" fmla="*/ 16557358 h 18648431"/>
              <a:gd name="connsiteX9" fmla="*/ 8646117 w 9770845"/>
              <a:gd name="connsiteY9" fmla="*/ 565907 h 18648431"/>
              <a:gd name="connsiteX10" fmla="*/ 9770845 w 9770845"/>
              <a:gd name="connsiteY10" fmla="*/ 15580820 h 18648431"/>
              <a:gd name="connsiteX0" fmla="*/ 0 w 9770845"/>
              <a:gd name="connsiteY0" fmla="*/ 17313703 h 18254029"/>
              <a:gd name="connsiteX1" fmla="*/ 922760 w 9770845"/>
              <a:gd name="connsiteY1" fmla="*/ 17296260 h 18254029"/>
              <a:gd name="connsiteX2" fmla="*/ 1845707 w 9770845"/>
              <a:gd name="connsiteY2" fmla="*/ 17160745 h 18254029"/>
              <a:gd name="connsiteX3" fmla="*/ 2864880 w 9770845"/>
              <a:gd name="connsiteY3" fmla="*/ 17415988 h 18254029"/>
              <a:gd name="connsiteX4" fmla="*/ 3826612 w 9770845"/>
              <a:gd name="connsiteY4" fmla="*/ 16891481 h 18254029"/>
              <a:gd name="connsiteX5" fmla="*/ 4836405 w 9770845"/>
              <a:gd name="connsiteY5" fmla="*/ 16981346 h 18254029"/>
              <a:gd name="connsiteX6" fmla="*/ 5792777 w 9770845"/>
              <a:gd name="connsiteY6" fmla="*/ 16034838 h 18254029"/>
              <a:gd name="connsiteX7" fmla="*/ 6731600 w 9770845"/>
              <a:gd name="connsiteY7" fmla="*/ 17728805 h 18254029"/>
              <a:gd name="connsiteX8" fmla="*/ 7785274 w 9770845"/>
              <a:gd name="connsiteY8" fmla="*/ 16557358 h 18254029"/>
              <a:gd name="connsiteX9" fmla="*/ 8646117 w 9770845"/>
              <a:gd name="connsiteY9" fmla="*/ 565907 h 18254029"/>
              <a:gd name="connsiteX10" fmla="*/ 9770845 w 9770845"/>
              <a:gd name="connsiteY10" fmla="*/ 15580820 h 18254029"/>
              <a:gd name="connsiteX0" fmla="*/ 0 w 9770845"/>
              <a:gd name="connsiteY0" fmla="*/ 6494736 h 6924024"/>
              <a:gd name="connsiteX1" fmla="*/ 922760 w 9770845"/>
              <a:gd name="connsiteY1" fmla="*/ 6477293 h 6924024"/>
              <a:gd name="connsiteX2" fmla="*/ 1845707 w 9770845"/>
              <a:gd name="connsiteY2" fmla="*/ 6341778 h 6924024"/>
              <a:gd name="connsiteX3" fmla="*/ 2864880 w 9770845"/>
              <a:gd name="connsiteY3" fmla="*/ 6597021 h 6924024"/>
              <a:gd name="connsiteX4" fmla="*/ 3826612 w 9770845"/>
              <a:gd name="connsiteY4" fmla="*/ 6072514 h 6924024"/>
              <a:gd name="connsiteX5" fmla="*/ 4836405 w 9770845"/>
              <a:gd name="connsiteY5" fmla="*/ 6162379 h 6924024"/>
              <a:gd name="connsiteX6" fmla="*/ 5792777 w 9770845"/>
              <a:gd name="connsiteY6" fmla="*/ 5215871 h 6924024"/>
              <a:gd name="connsiteX7" fmla="*/ 6731600 w 9770845"/>
              <a:gd name="connsiteY7" fmla="*/ 6909838 h 6924024"/>
              <a:gd name="connsiteX8" fmla="*/ 7785274 w 9770845"/>
              <a:gd name="connsiteY8" fmla="*/ 5738391 h 6924024"/>
              <a:gd name="connsiteX9" fmla="*/ 8726972 w 9770845"/>
              <a:gd name="connsiteY9" fmla="*/ 1187841 h 6924024"/>
              <a:gd name="connsiteX10" fmla="*/ 9770845 w 9770845"/>
              <a:gd name="connsiteY10" fmla="*/ 4761853 h 6924024"/>
              <a:gd name="connsiteX0" fmla="*/ 0 w 9782396"/>
              <a:gd name="connsiteY0" fmla="*/ 6163096 h 8468179"/>
              <a:gd name="connsiteX1" fmla="*/ 922760 w 9782396"/>
              <a:gd name="connsiteY1" fmla="*/ 6145653 h 8468179"/>
              <a:gd name="connsiteX2" fmla="*/ 1845707 w 9782396"/>
              <a:gd name="connsiteY2" fmla="*/ 6010138 h 8468179"/>
              <a:gd name="connsiteX3" fmla="*/ 2864880 w 9782396"/>
              <a:gd name="connsiteY3" fmla="*/ 6265381 h 8468179"/>
              <a:gd name="connsiteX4" fmla="*/ 3826612 w 9782396"/>
              <a:gd name="connsiteY4" fmla="*/ 5740874 h 8468179"/>
              <a:gd name="connsiteX5" fmla="*/ 4836405 w 9782396"/>
              <a:gd name="connsiteY5" fmla="*/ 5830739 h 8468179"/>
              <a:gd name="connsiteX6" fmla="*/ 5792777 w 9782396"/>
              <a:gd name="connsiteY6" fmla="*/ 4884231 h 8468179"/>
              <a:gd name="connsiteX7" fmla="*/ 6731600 w 9782396"/>
              <a:gd name="connsiteY7" fmla="*/ 6578198 h 8468179"/>
              <a:gd name="connsiteX8" fmla="*/ 7785274 w 9782396"/>
              <a:gd name="connsiteY8" fmla="*/ 5406751 h 8468179"/>
              <a:gd name="connsiteX9" fmla="*/ 8726972 w 9782396"/>
              <a:gd name="connsiteY9" fmla="*/ 856201 h 8468179"/>
              <a:gd name="connsiteX10" fmla="*/ 9782396 w 9782396"/>
              <a:gd name="connsiteY10" fmla="*/ 8468179 h 8468179"/>
              <a:gd name="connsiteX0" fmla="*/ 0 w 9782396"/>
              <a:gd name="connsiteY0" fmla="*/ 7237944 h 7667232"/>
              <a:gd name="connsiteX1" fmla="*/ 922760 w 9782396"/>
              <a:gd name="connsiteY1" fmla="*/ 7220501 h 7667232"/>
              <a:gd name="connsiteX2" fmla="*/ 1845707 w 9782396"/>
              <a:gd name="connsiteY2" fmla="*/ 7084986 h 7667232"/>
              <a:gd name="connsiteX3" fmla="*/ 2864880 w 9782396"/>
              <a:gd name="connsiteY3" fmla="*/ 7340229 h 7667232"/>
              <a:gd name="connsiteX4" fmla="*/ 3826612 w 9782396"/>
              <a:gd name="connsiteY4" fmla="*/ 6815722 h 7667232"/>
              <a:gd name="connsiteX5" fmla="*/ 4836405 w 9782396"/>
              <a:gd name="connsiteY5" fmla="*/ 6905587 h 7667232"/>
              <a:gd name="connsiteX6" fmla="*/ 5792777 w 9782396"/>
              <a:gd name="connsiteY6" fmla="*/ 5959079 h 7667232"/>
              <a:gd name="connsiteX7" fmla="*/ 6731600 w 9782396"/>
              <a:gd name="connsiteY7" fmla="*/ 7653046 h 7667232"/>
              <a:gd name="connsiteX8" fmla="*/ 7785274 w 9782396"/>
              <a:gd name="connsiteY8" fmla="*/ 6481599 h 7667232"/>
              <a:gd name="connsiteX9" fmla="*/ 8726972 w 9782396"/>
              <a:gd name="connsiteY9" fmla="*/ 1931049 h 7667232"/>
              <a:gd name="connsiteX10" fmla="*/ 9782396 w 9782396"/>
              <a:gd name="connsiteY10" fmla="*/ 1467097 h 7667232"/>
              <a:gd name="connsiteX0" fmla="*/ 0 w 9782396"/>
              <a:gd name="connsiteY0" fmla="*/ 5855800 h 6277801"/>
              <a:gd name="connsiteX1" fmla="*/ 922760 w 9782396"/>
              <a:gd name="connsiteY1" fmla="*/ 5838357 h 6277801"/>
              <a:gd name="connsiteX2" fmla="*/ 1845707 w 9782396"/>
              <a:gd name="connsiteY2" fmla="*/ 5702842 h 6277801"/>
              <a:gd name="connsiteX3" fmla="*/ 2864880 w 9782396"/>
              <a:gd name="connsiteY3" fmla="*/ 5958085 h 6277801"/>
              <a:gd name="connsiteX4" fmla="*/ 3826612 w 9782396"/>
              <a:gd name="connsiteY4" fmla="*/ 5433578 h 6277801"/>
              <a:gd name="connsiteX5" fmla="*/ 4836405 w 9782396"/>
              <a:gd name="connsiteY5" fmla="*/ 5523443 h 6277801"/>
              <a:gd name="connsiteX6" fmla="*/ 5792777 w 9782396"/>
              <a:gd name="connsiteY6" fmla="*/ 4576935 h 6277801"/>
              <a:gd name="connsiteX7" fmla="*/ 6731600 w 9782396"/>
              <a:gd name="connsiteY7" fmla="*/ 6270902 h 6277801"/>
              <a:gd name="connsiteX8" fmla="*/ 7785274 w 9782396"/>
              <a:gd name="connsiteY8" fmla="*/ 5099455 h 6277801"/>
              <a:gd name="connsiteX9" fmla="*/ 8726972 w 9782396"/>
              <a:gd name="connsiteY9" fmla="*/ 3240882 h 6277801"/>
              <a:gd name="connsiteX10" fmla="*/ 9782396 w 9782396"/>
              <a:gd name="connsiteY10" fmla="*/ 84953 h 6277801"/>
              <a:gd name="connsiteX0" fmla="*/ 0 w 9782396"/>
              <a:gd name="connsiteY0" fmla="*/ 5855800 h 6277801"/>
              <a:gd name="connsiteX1" fmla="*/ 922760 w 9782396"/>
              <a:gd name="connsiteY1" fmla="*/ 5838357 h 6277801"/>
              <a:gd name="connsiteX2" fmla="*/ 1845707 w 9782396"/>
              <a:gd name="connsiteY2" fmla="*/ 5702842 h 6277801"/>
              <a:gd name="connsiteX3" fmla="*/ 2864880 w 9782396"/>
              <a:gd name="connsiteY3" fmla="*/ 5958085 h 6277801"/>
              <a:gd name="connsiteX4" fmla="*/ 3826612 w 9782396"/>
              <a:gd name="connsiteY4" fmla="*/ 5433578 h 6277801"/>
              <a:gd name="connsiteX5" fmla="*/ 4836405 w 9782396"/>
              <a:gd name="connsiteY5" fmla="*/ 5523443 h 6277801"/>
              <a:gd name="connsiteX6" fmla="*/ 5792777 w 9782396"/>
              <a:gd name="connsiteY6" fmla="*/ 4576935 h 6277801"/>
              <a:gd name="connsiteX7" fmla="*/ 6731600 w 9782396"/>
              <a:gd name="connsiteY7" fmla="*/ 6270902 h 6277801"/>
              <a:gd name="connsiteX8" fmla="*/ 7785274 w 9782396"/>
              <a:gd name="connsiteY8" fmla="*/ 5099455 h 6277801"/>
              <a:gd name="connsiteX9" fmla="*/ 8726972 w 9782396"/>
              <a:gd name="connsiteY9" fmla="*/ 3240882 h 6277801"/>
              <a:gd name="connsiteX10" fmla="*/ 9782396 w 9782396"/>
              <a:gd name="connsiteY10" fmla="*/ 84953 h 6277801"/>
              <a:gd name="connsiteX0" fmla="*/ 0 w 9782396"/>
              <a:gd name="connsiteY0" fmla="*/ 5770848 h 6192849"/>
              <a:gd name="connsiteX1" fmla="*/ 922760 w 9782396"/>
              <a:gd name="connsiteY1" fmla="*/ 5753405 h 6192849"/>
              <a:gd name="connsiteX2" fmla="*/ 1845707 w 9782396"/>
              <a:gd name="connsiteY2" fmla="*/ 5617890 h 6192849"/>
              <a:gd name="connsiteX3" fmla="*/ 2864880 w 9782396"/>
              <a:gd name="connsiteY3" fmla="*/ 5873133 h 6192849"/>
              <a:gd name="connsiteX4" fmla="*/ 3826612 w 9782396"/>
              <a:gd name="connsiteY4" fmla="*/ 5348626 h 6192849"/>
              <a:gd name="connsiteX5" fmla="*/ 4836405 w 9782396"/>
              <a:gd name="connsiteY5" fmla="*/ 5438491 h 6192849"/>
              <a:gd name="connsiteX6" fmla="*/ 5792777 w 9782396"/>
              <a:gd name="connsiteY6" fmla="*/ 4491983 h 6192849"/>
              <a:gd name="connsiteX7" fmla="*/ 6731600 w 9782396"/>
              <a:gd name="connsiteY7" fmla="*/ 6185950 h 6192849"/>
              <a:gd name="connsiteX8" fmla="*/ 7785274 w 9782396"/>
              <a:gd name="connsiteY8" fmla="*/ 5014503 h 6192849"/>
              <a:gd name="connsiteX9" fmla="*/ 8726972 w 9782396"/>
              <a:gd name="connsiteY9" fmla="*/ 3155930 h 6192849"/>
              <a:gd name="connsiteX10" fmla="*/ 9782396 w 9782396"/>
              <a:gd name="connsiteY10" fmla="*/ 1 h 6192849"/>
              <a:gd name="connsiteX0" fmla="*/ 0 w 9782396"/>
              <a:gd name="connsiteY0" fmla="*/ 3114420 h 3536421"/>
              <a:gd name="connsiteX1" fmla="*/ 922760 w 9782396"/>
              <a:gd name="connsiteY1" fmla="*/ 3096977 h 3536421"/>
              <a:gd name="connsiteX2" fmla="*/ 1845707 w 9782396"/>
              <a:gd name="connsiteY2" fmla="*/ 2961462 h 3536421"/>
              <a:gd name="connsiteX3" fmla="*/ 2864880 w 9782396"/>
              <a:gd name="connsiteY3" fmla="*/ 3216705 h 3536421"/>
              <a:gd name="connsiteX4" fmla="*/ 3826612 w 9782396"/>
              <a:gd name="connsiteY4" fmla="*/ 2692198 h 3536421"/>
              <a:gd name="connsiteX5" fmla="*/ 4836405 w 9782396"/>
              <a:gd name="connsiteY5" fmla="*/ 2782063 h 3536421"/>
              <a:gd name="connsiteX6" fmla="*/ 5792777 w 9782396"/>
              <a:gd name="connsiteY6" fmla="*/ 1835555 h 3536421"/>
              <a:gd name="connsiteX7" fmla="*/ 6731600 w 9782396"/>
              <a:gd name="connsiteY7" fmla="*/ 3529522 h 3536421"/>
              <a:gd name="connsiteX8" fmla="*/ 7785274 w 9782396"/>
              <a:gd name="connsiteY8" fmla="*/ 2358075 h 3536421"/>
              <a:gd name="connsiteX9" fmla="*/ 8726972 w 9782396"/>
              <a:gd name="connsiteY9" fmla="*/ 499502 h 3536421"/>
              <a:gd name="connsiteX10" fmla="*/ 9782396 w 9782396"/>
              <a:gd name="connsiteY10" fmla="*/ 35549 h 3536421"/>
              <a:gd name="connsiteX0" fmla="*/ 0 w 9782396"/>
              <a:gd name="connsiteY0" fmla="*/ 3114420 h 3536421"/>
              <a:gd name="connsiteX1" fmla="*/ 922760 w 9782396"/>
              <a:gd name="connsiteY1" fmla="*/ 3096977 h 3536421"/>
              <a:gd name="connsiteX2" fmla="*/ 1845707 w 9782396"/>
              <a:gd name="connsiteY2" fmla="*/ 2961462 h 3536421"/>
              <a:gd name="connsiteX3" fmla="*/ 2864880 w 9782396"/>
              <a:gd name="connsiteY3" fmla="*/ 3216705 h 3536421"/>
              <a:gd name="connsiteX4" fmla="*/ 3826612 w 9782396"/>
              <a:gd name="connsiteY4" fmla="*/ 2692198 h 3536421"/>
              <a:gd name="connsiteX5" fmla="*/ 4836405 w 9782396"/>
              <a:gd name="connsiteY5" fmla="*/ 2782063 h 3536421"/>
              <a:gd name="connsiteX6" fmla="*/ 5792777 w 9782396"/>
              <a:gd name="connsiteY6" fmla="*/ 1835555 h 3536421"/>
              <a:gd name="connsiteX7" fmla="*/ 6731600 w 9782396"/>
              <a:gd name="connsiteY7" fmla="*/ 3529522 h 3536421"/>
              <a:gd name="connsiteX8" fmla="*/ 7785274 w 9782396"/>
              <a:gd name="connsiteY8" fmla="*/ 2358075 h 3536421"/>
              <a:gd name="connsiteX9" fmla="*/ 8726972 w 9782396"/>
              <a:gd name="connsiteY9" fmla="*/ 499502 h 3536421"/>
              <a:gd name="connsiteX10" fmla="*/ 9782396 w 9782396"/>
              <a:gd name="connsiteY10" fmla="*/ 35549 h 3536421"/>
              <a:gd name="connsiteX0" fmla="*/ 0 w 9782396"/>
              <a:gd name="connsiteY0" fmla="*/ 3114420 h 3221562"/>
              <a:gd name="connsiteX1" fmla="*/ 922760 w 9782396"/>
              <a:gd name="connsiteY1" fmla="*/ 3096977 h 3221562"/>
              <a:gd name="connsiteX2" fmla="*/ 1845707 w 9782396"/>
              <a:gd name="connsiteY2" fmla="*/ 2961462 h 3221562"/>
              <a:gd name="connsiteX3" fmla="*/ 2864880 w 9782396"/>
              <a:gd name="connsiteY3" fmla="*/ 3216705 h 3221562"/>
              <a:gd name="connsiteX4" fmla="*/ 3826612 w 9782396"/>
              <a:gd name="connsiteY4" fmla="*/ 2692198 h 3221562"/>
              <a:gd name="connsiteX5" fmla="*/ 4836405 w 9782396"/>
              <a:gd name="connsiteY5" fmla="*/ 2782063 h 3221562"/>
              <a:gd name="connsiteX6" fmla="*/ 5792777 w 9782396"/>
              <a:gd name="connsiteY6" fmla="*/ 1835555 h 3221562"/>
              <a:gd name="connsiteX7" fmla="*/ 6743151 w 9782396"/>
              <a:gd name="connsiteY7" fmla="*/ 1510539 h 3221562"/>
              <a:gd name="connsiteX8" fmla="*/ 7785274 w 9782396"/>
              <a:gd name="connsiteY8" fmla="*/ 2358075 h 3221562"/>
              <a:gd name="connsiteX9" fmla="*/ 8726972 w 9782396"/>
              <a:gd name="connsiteY9" fmla="*/ 499502 h 3221562"/>
              <a:gd name="connsiteX10" fmla="*/ 9782396 w 9782396"/>
              <a:gd name="connsiteY10" fmla="*/ 35549 h 3221562"/>
              <a:gd name="connsiteX0" fmla="*/ 0 w 9782396"/>
              <a:gd name="connsiteY0" fmla="*/ 3114420 h 3221562"/>
              <a:gd name="connsiteX1" fmla="*/ 922760 w 9782396"/>
              <a:gd name="connsiteY1" fmla="*/ 3096977 h 3221562"/>
              <a:gd name="connsiteX2" fmla="*/ 1845707 w 9782396"/>
              <a:gd name="connsiteY2" fmla="*/ 2961462 h 3221562"/>
              <a:gd name="connsiteX3" fmla="*/ 2864880 w 9782396"/>
              <a:gd name="connsiteY3" fmla="*/ 3216705 h 3221562"/>
              <a:gd name="connsiteX4" fmla="*/ 3826612 w 9782396"/>
              <a:gd name="connsiteY4" fmla="*/ 2692198 h 3221562"/>
              <a:gd name="connsiteX5" fmla="*/ 4836405 w 9782396"/>
              <a:gd name="connsiteY5" fmla="*/ 2782063 h 3221562"/>
              <a:gd name="connsiteX6" fmla="*/ 5792778 w 9782396"/>
              <a:gd name="connsiteY6" fmla="*/ 2508548 h 3221562"/>
              <a:gd name="connsiteX7" fmla="*/ 6743151 w 9782396"/>
              <a:gd name="connsiteY7" fmla="*/ 1510539 h 3221562"/>
              <a:gd name="connsiteX8" fmla="*/ 7785274 w 9782396"/>
              <a:gd name="connsiteY8" fmla="*/ 2358075 h 3221562"/>
              <a:gd name="connsiteX9" fmla="*/ 8726972 w 9782396"/>
              <a:gd name="connsiteY9" fmla="*/ 499502 h 3221562"/>
              <a:gd name="connsiteX10" fmla="*/ 9782396 w 9782396"/>
              <a:gd name="connsiteY10" fmla="*/ 35549 h 3221562"/>
              <a:gd name="connsiteX0" fmla="*/ 0 w 9782396"/>
              <a:gd name="connsiteY0" fmla="*/ 3114420 h 3221562"/>
              <a:gd name="connsiteX1" fmla="*/ 922760 w 9782396"/>
              <a:gd name="connsiteY1" fmla="*/ 3096977 h 3221562"/>
              <a:gd name="connsiteX2" fmla="*/ 1845707 w 9782396"/>
              <a:gd name="connsiteY2" fmla="*/ 2961462 h 3221562"/>
              <a:gd name="connsiteX3" fmla="*/ 2864880 w 9782396"/>
              <a:gd name="connsiteY3" fmla="*/ 3216705 h 3221562"/>
              <a:gd name="connsiteX4" fmla="*/ 3826612 w 9782396"/>
              <a:gd name="connsiteY4" fmla="*/ 2692198 h 3221562"/>
              <a:gd name="connsiteX5" fmla="*/ 4836405 w 9782396"/>
              <a:gd name="connsiteY5" fmla="*/ 2782063 h 3221562"/>
              <a:gd name="connsiteX6" fmla="*/ 5792778 w 9782396"/>
              <a:gd name="connsiteY6" fmla="*/ 2508548 h 3221562"/>
              <a:gd name="connsiteX7" fmla="*/ 6743151 w 9782396"/>
              <a:gd name="connsiteY7" fmla="*/ 2856527 h 3221562"/>
              <a:gd name="connsiteX8" fmla="*/ 7785274 w 9782396"/>
              <a:gd name="connsiteY8" fmla="*/ 2358075 h 3221562"/>
              <a:gd name="connsiteX9" fmla="*/ 8726972 w 9782396"/>
              <a:gd name="connsiteY9" fmla="*/ 499502 h 3221562"/>
              <a:gd name="connsiteX10" fmla="*/ 9782396 w 9782396"/>
              <a:gd name="connsiteY10" fmla="*/ 35549 h 3221562"/>
              <a:gd name="connsiteX0" fmla="*/ 0 w 9782396"/>
              <a:gd name="connsiteY0" fmla="*/ 3114420 h 3221562"/>
              <a:gd name="connsiteX1" fmla="*/ 922760 w 9782396"/>
              <a:gd name="connsiteY1" fmla="*/ 3096977 h 3221562"/>
              <a:gd name="connsiteX2" fmla="*/ 1845707 w 9782396"/>
              <a:gd name="connsiteY2" fmla="*/ 2961462 h 3221562"/>
              <a:gd name="connsiteX3" fmla="*/ 2864880 w 9782396"/>
              <a:gd name="connsiteY3" fmla="*/ 3216705 h 3221562"/>
              <a:gd name="connsiteX4" fmla="*/ 3826612 w 9782396"/>
              <a:gd name="connsiteY4" fmla="*/ 2692198 h 3221562"/>
              <a:gd name="connsiteX5" fmla="*/ 4836405 w 9782396"/>
              <a:gd name="connsiteY5" fmla="*/ 2782063 h 3221562"/>
              <a:gd name="connsiteX6" fmla="*/ 5792778 w 9782396"/>
              <a:gd name="connsiteY6" fmla="*/ 2508548 h 3221562"/>
              <a:gd name="connsiteX7" fmla="*/ 6743151 w 9782396"/>
              <a:gd name="connsiteY7" fmla="*/ 2183533 h 3221562"/>
              <a:gd name="connsiteX8" fmla="*/ 7785274 w 9782396"/>
              <a:gd name="connsiteY8" fmla="*/ 2358075 h 3221562"/>
              <a:gd name="connsiteX9" fmla="*/ 8726972 w 9782396"/>
              <a:gd name="connsiteY9" fmla="*/ 499502 h 3221562"/>
              <a:gd name="connsiteX10" fmla="*/ 9782396 w 9782396"/>
              <a:gd name="connsiteY10" fmla="*/ 35549 h 3221562"/>
              <a:gd name="connsiteX0" fmla="*/ 0 w 9782396"/>
              <a:gd name="connsiteY0" fmla="*/ 3078871 h 3186013"/>
              <a:gd name="connsiteX1" fmla="*/ 922760 w 9782396"/>
              <a:gd name="connsiteY1" fmla="*/ 3061428 h 3186013"/>
              <a:gd name="connsiteX2" fmla="*/ 1845707 w 9782396"/>
              <a:gd name="connsiteY2" fmla="*/ 2925913 h 3186013"/>
              <a:gd name="connsiteX3" fmla="*/ 2864880 w 9782396"/>
              <a:gd name="connsiteY3" fmla="*/ 3181156 h 3186013"/>
              <a:gd name="connsiteX4" fmla="*/ 3826612 w 9782396"/>
              <a:gd name="connsiteY4" fmla="*/ 2656649 h 3186013"/>
              <a:gd name="connsiteX5" fmla="*/ 4836405 w 9782396"/>
              <a:gd name="connsiteY5" fmla="*/ 2746514 h 3186013"/>
              <a:gd name="connsiteX6" fmla="*/ 5792778 w 9782396"/>
              <a:gd name="connsiteY6" fmla="*/ 2472999 h 3186013"/>
              <a:gd name="connsiteX7" fmla="*/ 6743151 w 9782396"/>
              <a:gd name="connsiteY7" fmla="*/ 2147984 h 3186013"/>
              <a:gd name="connsiteX8" fmla="*/ 7785274 w 9782396"/>
              <a:gd name="connsiteY8" fmla="*/ 2322526 h 3186013"/>
              <a:gd name="connsiteX9" fmla="*/ 8726972 w 9782396"/>
              <a:gd name="connsiteY9" fmla="*/ 1809941 h 3186013"/>
              <a:gd name="connsiteX10" fmla="*/ 9782396 w 9782396"/>
              <a:gd name="connsiteY10" fmla="*/ 0 h 3186013"/>
              <a:gd name="connsiteX0" fmla="*/ 0 w 9782396"/>
              <a:gd name="connsiteY0" fmla="*/ 1529583 h 1636725"/>
              <a:gd name="connsiteX1" fmla="*/ 922760 w 9782396"/>
              <a:gd name="connsiteY1" fmla="*/ 1512140 h 1636725"/>
              <a:gd name="connsiteX2" fmla="*/ 1845707 w 9782396"/>
              <a:gd name="connsiteY2" fmla="*/ 1376625 h 1636725"/>
              <a:gd name="connsiteX3" fmla="*/ 2864880 w 9782396"/>
              <a:gd name="connsiteY3" fmla="*/ 1631868 h 1636725"/>
              <a:gd name="connsiteX4" fmla="*/ 3826612 w 9782396"/>
              <a:gd name="connsiteY4" fmla="*/ 1107361 h 1636725"/>
              <a:gd name="connsiteX5" fmla="*/ 4836405 w 9782396"/>
              <a:gd name="connsiteY5" fmla="*/ 1197226 h 1636725"/>
              <a:gd name="connsiteX6" fmla="*/ 5792778 w 9782396"/>
              <a:gd name="connsiteY6" fmla="*/ 923711 h 1636725"/>
              <a:gd name="connsiteX7" fmla="*/ 6743151 w 9782396"/>
              <a:gd name="connsiteY7" fmla="*/ 598696 h 1636725"/>
              <a:gd name="connsiteX8" fmla="*/ 7785274 w 9782396"/>
              <a:gd name="connsiteY8" fmla="*/ 773238 h 1636725"/>
              <a:gd name="connsiteX9" fmla="*/ 8726972 w 9782396"/>
              <a:gd name="connsiteY9" fmla="*/ 260653 h 1636725"/>
              <a:gd name="connsiteX10" fmla="*/ 9782396 w 9782396"/>
              <a:gd name="connsiteY10" fmla="*/ 469694 h 1636725"/>
              <a:gd name="connsiteX0" fmla="*/ 0 w 9688379"/>
              <a:gd name="connsiteY0" fmla="*/ 37156908 h 37156907"/>
              <a:gd name="connsiteX1" fmla="*/ 828743 w 9688379"/>
              <a:gd name="connsiteY1" fmla="*/ 2609281 h 37156907"/>
              <a:gd name="connsiteX2" fmla="*/ 1751690 w 9688379"/>
              <a:gd name="connsiteY2" fmla="*/ 2473766 h 37156907"/>
              <a:gd name="connsiteX3" fmla="*/ 2770863 w 9688379"/>
              <a:gd name="connsiteY3" fmla="*/ 2729009 h 37156907"/>
              <a:gd name="connsiteX4" fmla="*/ 3732595 w 9688379"/>
              <a:gd name="connsiteY4" fmla="*/ 2204502 h 37156907"/>
              <a:gd name="connsiteX5" fmla="*/ 4742388 w 9688379"/>
              <a:gd name="connsiteY5" fmla="*/ 2294367 h 37156907"/>
              <a:gd name="connsiteX6" fmla="*/ 5698761 w 9688379"/>
              <a:gd name="connsiteY6" fmla="*/ 2020852 h 37156907"/>
              <a:gd name="connsiteX7" fmla="*/ 6649134 w 9688379"/>
              <a:gd name="connsiteY7" fmla="*/ 1695837 h 37156907"/>
              <a:gd name="connsiteX8" fmla="*/ 7691257 w 9688379"/>
              <a:gd name="connsiteY8" fmla="*/ 1870379 h 37156907"/>
              <a:gd name="connsiteX9" fmla="*/ 8632955 w 9688379"/>
              <a:gd name="connsiteY9" fmla="*/ 1357794 h 37156907"/>
              <a:gd name="connsiteX10" fmla="*/ 9688379 w 9688379"/>
              <a:gd name="connsiteY10" fmla="*/ 1566835 h 37156907"/>
              <a:gd name="connsiteX0" fmla="*/ 0 w 9654801"/>
              <a:gd name="connsiteY0" fmla="*/ 44688501 h 44688501"/>
              <a:gd name="connsiteX1" fmla="*/ 795165 w 9654801"/>
              <a:gd name="connsiteY1" fmla="*/ 3128600 h 44688501"/>
              <a:gd name="connsiteX2" fmla="*/ 1718112 w 9654801"/>
              <a:gd name="connsiteY2" fmla="*/ 2993085 h 44688501"/>
              <a:gd name="connsiteX3" fmla="*/ 2737285 w 9654801"/>
              <a:gd name="connsiteY3" fmla="*/ 3248328 h 44688501"/>
              <a:gd name="connsiteX4" fmla="*/ 3699017 w 9654801"/>
              <a:gd name="connsiteY4" fmla="*/ 2723821 h 44688501"/>
              <a:gd name="connsiteX5" fmla="*/ 4708810 w 9654801"/>
              <a:gd name="connsiteY5" fmla="*/ 2813686 h 44688501"/>
              <a:gd name="connsiteX6" fmla="*/ 5665183 w 9654801"/>
              <a:gd name="connsiteY6" fmla="*/ 2540171 h 44688501"/>
              <a:gd name="connsiteX7" fmla="*/ 6615556 w 9654801"/>
              <a:gd name="connsiteY7" fmla="*/ 2215156 h 44688501"/>
              <a:gd name="connsiteX8" fmla="*/ 7657679 w 9654801"/>
              <a:gd name="connsiteY8" fmla="*/ 2389698 h 44688501"/>
              <a:gd name="connsiteX9" fmla="*/ 8599377 w 9654801"/>
              <a:gd name="connsiteY9" fmla="*/ 1877113 h 44688501"/>
              <a:gd name="connsiteX10" fmla="*/ 9654801 w 9654801"/>
              <a:gd name="connsiteY10" fmla="*/ 2086154 h 44688501"/>
              <a:gd name="connsiteX0" fmla="*/ 0 w 9654801"/>
              <a:gd name="connsiteY0" fmla="*/ 44280384 h 44280384"/>
              <a:gd name="connsiteX1" fmla="*/ 895898 w 9654801"/>
              <a:gd name="connsiteY1" fmla="*/ 38738113 h 44280384"/>
              <a:gd name="connsiteX2" fmla="*/ 1718112 w 9654801"/>
              <a:gd name="connsiteY2" fmla="*/ 2584968 h 44280384"/>
              <a:gd name="connsiteX3" fmla="*/ 2737285 w 9654801"/>
              <a:gd name="connsiteY3" fmla="*/ 2840211 h 44280384"/>
              <a:gd name="connsiteX4" fmla="*/ 3699017 w 9654801"/>
              <a:gd name="connsiteY4" fmla="*/ 2315704 h 44280384"/>
              <a:gd name="connsiteX5" fmla="*/ 4708810 w 9654801"/>
              <a:gd name="connsiteY5" fmla="*/ 2405569 h 44280384"/>
              <a:gd name="connsiteX6" fmla="*/ 5665183 w 9654801"/>
              <a:gd name="connsiteY6" fmla="*/ 2132054 h 44280384"/>
              <a:gd name="connsiteX7" fmla="*/ 6615556 w 9654801"/>
              <a:gd name="connsiteY7" fmla="*/ 1807039 h 44280384"/>
              <a:gd name="connsiteX8" fmla="*/ 7657679 w 9654801"/>
              <a:gd name="connsiteY8" fmla="*/ 1981581 h 44280384"/>
              <a:gd name="connsiteX9" fmla="*/ 8599377 w 9654801"/>
              <a:gd name="connsiteY9" fmla="*/ 1468996 h 44280384"/>
              <a:gd name="connsiteX10" fmla="*/ 9654801 w 9654801"/>
              <a:gd name="connsiteY10" fmla="*/ 1678037 h 44280384"/>
              <a:gd name="connsiteX0" fmla="*/ 0 w 9654801"/>
              <a:gd name="connsiteY0" fmla="*/ 44280384 h 44280384"/>
              <a:gd name="connsiteX1" fmla="*/ 895898 w 9654801"/>
              <a:gd name="connsiteY1" fmla="*/ 38738113 h 44280384"/>
              <a:gd name="connsiteX2" fmla="*/ 1718112 w 9654801"/>
              <a:gd name="connsiteY2" fmla="*/ 2584968 h 44280384"/>
              <a:gd name="connsiteX3" fmla="*/ 2737285 w 9654801"/>
              <a:gd name="connsiteY3" fmla="*/ 2840211 h 44280384"/>
              <a:gd name="connsiteX4" fmla="*/ 3699017 w 9654801"/>
              <a:gd name="connsiteY4" fmla="*/ 2315704 h 44280384"/>
              <a:gd name="connsiteX5" fmla="*/ 4708810 w 9654801"/>
              <a:gd name="connsiteY5" fmla="*/ 2405569 h 44280384"/>
              <a:gd name="connsiteX6" fmla="*/ 5665183 w 9654801"/>
              <a:gd name="connsiteY6" fmla="*/ 2132054 h 44280384"/>
              <a:gd name="connsiteX7" fmla="*/ 6615556 w 9654801"/>
              <a:gd name="connsiteY7" fmla="*/ 1807039 h 44280384"/>
              <a:gd name="connsiteX8" fmla="*/ 7657679 w 9654801"/>
              <a:gd name="connsiteY8" fmla="*/ 1981581 h 44280384"/>
              <a:gd name="connsiteX9" fmla="*/ 8599377 w 9654801"/>
              <a:gd name="connsiteY9" fmla="*/ 1468996 h 44280384"/>
              <a:gd name="connsiteX10" fmla="*/ 9654801 w 9654801"/>
              <a:gd name="connsiteY10" fmla="*/ 1678037 h 44280384"/>
              <a:gd name="connsiteX0" fmla="*/ 0 w 9654801"/>
              <a:gd name="connsiteY0" fmla="*/ 43072056 h 43072056"/>
              <a:gd name="connsiteX1" fmla="*/ 895898 w 9654801"/>
              <a:gd name="connsiteY1" fmla="*/ 37529785 h 43072056"/>
              <a:gd name="connsiteX2" fmla="*/ 1919578 w 9654801"/>
              <a:gd name="connsiteY2" fmla="*/ 16676156 h 43072056"/>
              <a:gd name="connsiteX3" fmla="*/ 2737285 w 9654801"/>
              <a:gd name="connsiteY3" fmla="*/ 1631883 h 43072056"/>
              <a:gd name="connsiteX4" fmla="*/ 3699017 w 9654801"/>
              <a:gd name="connsiteY4" fmla="*/ 1107376 h 43072056"/>
              <a:gd name="connsiteX5" fmla="*/ 4708810 w 9654801"/>
              <a:gd name="connsiteY5" fmla="*/ 1197241 h 43072056"/>
              <a:gd name="connsiteX6" fmla="*/ 5665183 w 9654801"/>
              <a:gd name="connsiteY6" fmla="*/ 923726 h 43072056"/>
              <a:gd name="connsiteX7" fmla="*/ 6615556 w 9654801"/>
              <a:gd name="connsiteY7" fmla="*/ 598711 h 43072056"/>
              <a:gd name="connsiteX8" fmla="*/ 7657679 w 9654801"/>
              <a:gd name="connsiteY8" fmla="*/ 773253 h 43072056"/>
              <a:gd name="connsiteX9" fmla="*/ 8599377 w 9654801"/>
              <a:gd name="connsiteY9" fmla="*/ 260668 h 43072056"/>
              <a:gd name="connsiteX10" fmla="*/ 9654801 w 9654801"/>
              <a:gd name="connsiteY10" fmla="*/ 469709 h 43072056"/>
              <a:gd name="connsiteX0" fmla="*/ 0 w 9654801"/>
              <a:gd name="connsiteY0" fmla="*/ 43072056 h 43072056"/>
              <a:gd name="connsiteX1" fmla="*/ 895898 w 9654801"/>
              <a:gd name="connsiteY1" fmla="*/ 37529785 h 43072056"/>
              <a:gd name="connsiteX2" fmla="*/ 1919578 w 9654801"/>
              <a:gd name="connsiteY2" fmla="*/ 16676156 h 43072056"/>
              <a:gd name="connsiteX3" fmla="*/ 2737285 w 9654801"/>
              <a:gd name="connsiteY3" fmla="*/ 1631883 h 43072056"/>
              <a:gd name="connsiteX4" fmla="*/ 3699017 w 9654801"/>
              <a:gd name="connsiteY4" fmla="*/ 1107376 h 43072056"/>
              <a:gd name="connsiteX5" fmla="*/ 4708810 w 9654801"/>
              <a:gd name="connsiteY5" fmla="*/ 1197241 h 43072056"/>
              <a:gd name="connsiteX6" fmla="*/ 5665183 w 9654801"/>
              <a:gd name="connsiteY6" fmla="*/ 923726 h 43072056"/>
              <a:gd name="connsiteX7" fmla="*/ 6615556 w 9654801"/>
              <a:gd name="connsiteY7" fmla="*/ 598711 h 43072056"/>
              <a:gd name="connsiteX8" fmla="*/ 7657679 w 9654801"/>
              <a:gd name="connsiteY8" fmla="*/ 773253 h 43072056"/>
              <a:gd name="connsiteX9" fmla="*/ 8599377 w 9654801"/>
              <a:gd name="connsiteY9" fmla="*/ 260668 h 43072056"/>
              <a:gd name="connsiteX10" fmla="*/ 9654801 w 9654801"/>
              <a:gd name="connsiteY10" fmla="*/ 469709 h 43072056"/>
              <a:gd name="connsiteX0" fmla="*/ 0 w 9654801"/>
              <a:gd name="connsiteY0" fmla="*/ 44745219 h 44745219"/>
              <a:gd name="connsiteX1" fmla="*/ 895898 w 9654801"/>
              <a:gd name="connsiteY1" fmla="*/ 39202948 h 44745219"/>
              <a:gd name="connsiteX2" fmla="*/ 1919578 w 9654801"/>
              <a:gd name="connsiteY2" fmla="*/ 18349319 h 44745219"/>
              <a:gd name="connsiteX3" fmla="*/ 2824587 w 9654801"/>
              <a:gd name="connsiteY3" fmla="*/ 40810130 h 44745219"/>
              <a:gd name="connsiteX4" fmla="*/ 3699017 w 9654801"/>
              <a:gd name="connsiteY4" fmla="*/ 2780539 h 44745219"/>
              <a:gd name="connsiteX5" fmla="*/ 4708810 w 9654801"/>
              <a:gd name="connsiteY5" fmla="*/ 2870404 h 44745219"/>
              <a:gd name="connsiteX6" fmla="*/ 5665183 w 9654801"/>
              <a:gd name="connsiteY6" fmla="*/ 2596889 h 44745219"/>
              <a:gd name="connsiteX7" fmla="*/ 6615556 w 9654801"/>
              <a:gd name="connsiteY7" fmla="*/ 2271874 h 44745219"/>
              <a:gd name="connsiteX8" fmla="*/ 7657679 w 9654801"/>
              <a:gd name="connsiteY8" fmla="*/ 2446416 h 44745219"/>
              <a:gd name="connsiteX9" fmla="*/ 8599377 w 9654801"/>
              <a:gd name="connsiteY9" fmla="*/ 1933831 h 44745219"/>
              <a:gd name="connsiteX10" fmla="*/ 9654801 w 9654801"/>
              <a:gd name="connsiteY10" fmla="*/ 2142872 h 44745219"/>
              <a:gd name="connsiteX0" fmla="*/ 0 w 9654801"/>
              <a:gd name="connsiteY0" fmla="*/ 45327567 h 49407313"/>
              <a:gd name="connsiteX1" fmla="*/ 895898 w 9654801"/>
              <a:gd name="connsiteY1" fmla="*/ 39785296 h 49407313"/>
              <a:gd name="connsiteX2" fmla="*/ 1919578 w 9654801"/>
              <a:gd name="connsiteY2" fmla="*/ 18931667 h 49407313"/>
              <a:gd name="connsiteX3" fmla="*/ 2851448 w 9654801"/>
              <a:gd name="connsiteY3" fmla="*/ 49254742 h 49407313"/>
              <a:gd name="connsiteX4" fmla="*/ 3699017 w 9654801"/>
              <a:gd name="connsiteY4" fmla="*/ 3362887 h 49407313"/>
              <a:gd name="connsiteX5" fmla="*/ 4708810 w 9654801"/>
              <a:gd name="connsiteY5" fmla="*/ 3452752 h 49407313"/>
              <a:gd name="connsiteX6" fmla="*/ 5665183 w 9654801"/>
              <a:gd name="connsiteY6" fmla="*/ 3179237 h 49407313"/>
              <a:gd name="connsiteX7" fmla="*/ 6615556 w 9654801"/>
              <a:gd name="connsiteY7" fmla="*/ 2854222 h 49407313"/>
              <a:gd name="connsiteX8" fmla="*/ 7657679 w 9654801"/>
              <a:gd name="connsiteY8" fmla="*/ 3028764 h 49407313"/>
              <a:gd name="connsiteX9" fmla="*/ 8599377 w 9654801"/>
              <a:gd name="connsiteY9" fmla="*/ 2516179 h 49407313"/>
              <a:gd name="connsiteX10" fmla="*/ 9654801 w 9654801"/>
              <a:gd name="connsiteY10" fmla="*/ 2725220 h 49407313"/>
              <a:gd name="connsiteX0" fmla="*/ 0 w 9654801"/>
              <a:gd name="connsiteY0" fmla="*/ 45327567 h 49254801"/>
              <a:gd name="connsiteX1" fmla="*/ 895898 w 9654801"/>
              <a:gd name="connsiteY1" fmla="*/ 39785296 h 49254801"/>
              <a:gd name="connsiteX2" fmla="*/ 1919578 w 9654801"/>
              <a:gd name="connsiteY2" fmla="*/ 18931667 h 49254801"/>
              <a:gd name="connsiteX3" fmla="*/ 2851448 w 9654801"/>
              <a:gd name="connsiteY3" fmla="*/ 49254742 h 49254801"/>
              <a:gd name="connsiteX4" fmla="*/ 3699017 w 9654801"/>
              <a:gd name="connsiteY4" fmla="*/ 3362887 h 49254801"/>
              <a:gd name="connsiteX5" fmla="*/ 4708810 w 9654801"/>
              <a:gd name="connsiteY5" fmla="*/ 3452752 h 49254801"/>
              <a:gd name="connsiteX6" fmla="*/ 5665183 w 9654801"/>
              <a:gd name="connsiteY6" fmla="*/ 3179237 h 49254801"/>
              <a:gd name="connsiteX7" fmla="*/ 6615556 w 9654801"/>
              <a:gd name="connsiteY7" fmla="*/ 2854222 h 49254801"/>
              <a:gd name="connsiteX8" fmla="*/ 7657679 w 9654801"/>
              <a:gd name="connsiteY8" fmla="*/ 3028764 h 49254801"/>
              <a:gd name="connsiteX9" fmla="*/ 8599377 w 9654801"/>
              <a:gd name="connsiteY9" fmla="*/ 2516179 h 49254801"/>
              <a:gd name="connsiteX10" fmla="*/ 9654801 w 9654801"/>
              <a:gd name="connsiteY10" fmla="*/ 2725220 h 49254801"/>
              <a:gd name="connsiteX0" fmla="*/ 0 w 9654801"/>
              <a:gd name="connsiteY0" fmla="*/ 44682266 h 44682265"/>
              <a:gd name="connsiteX1" fmla="*/ 895898 w 9654801"/>
              <a:gd name="connsiteY1" fmla="*/ 39139995 h 44682265"/>
              <a:gd name="connsiteX2" fmla="*/ 1919578 w 9654801"/>
              <a:gd name="connsiteY2" fmla="*/ 18286366 h 44682265"/>
              <a:gd name="connsiteX3" fmla="*/ 2851448 w 9654801"/>
              <a:gd name="connsiteY3" fmla="*/ 39897218 h 44682265"/>
              <a:gd name="connsiteX4" fmla="*/ 3699017 w 9654801"/>
              <a:gd name="connsiteY4" fmla="*/ 2717586 h 44682265"/>
              <a:gd name="connsiteX5" fmla="*/ 4708810 w 9654801"/>
              <a:gd name="connsiteY5" fmla="*/ 2807451 h 44682265"/>
              <a:gd name="connsiteX6" fmla="*/ 5665183 w 9654801"/>
              <a:gd name="connsiteY6" fmla="*/ 2533936 h 44682265"/>
              <a:gd name="connsiteX7" fmla="*/ 6615556 w 9654801"/>
              <a:gd name="connsiteY7" fmla="*/ 2208921 h 44682265"/>
              <a:gd name="connsiteX8" fmla="*/ 7657679 w 9654801"/>
              <a:gd name="connsiteY8" fmla="*/ 2383463 h 44682265"/>
              <a:gd name="connsiteX9" fmla="*/ 8599377 w 9654801"/>
              <a:gd name="connsiteY9" fmla="*/ 1870878 h 44682265"/>
              <a:gd name="connsiteX10" fmla="*/ 9654801 w 9654801"/>
              <a:gd name="connsiteY10" fmla="*/ 2079919 h 44682265"/>
              <a:gd name="connsiteX0" fmla="*/ 0 w 9654801"/>
              <a:gd name="connsiteY0" fmla="*/ 44606123 h 44606122"/>
              <a:gd name="connsiteX1" fmla="*/ 895898 w 9654801"/>
              <a:gd name="connsiteY1" fmla="*/ 39063852 h 44606122"/>
              <a:gd name="connsiteX2" fmla="*/ 1919578 w 9654801"/>
              <a:gd name="connsiteY2" fmla="*/ 18210223 h 44606122"/>
              <a:gd name="connsiteX3" fmla="*/ 2851448 w 9654801"/>
              <a:gd name="connsiteY3" fmla="*/ 39821075 h 44606122"/>
              <a:gd name="connsiteX4" fmla="*/ 3806465 w 9654801"/>
              <a:gd name="connsiteY4" fmla="*/ 38659077 h 44606122"/>
              <a:gd name="connsiteX5" fmla="*/ 4708810 w 9654801"/>
              <a:gd name="connsiteY5" fmla="*/ 2731308 h 44606122"/>
              <a:gd name="connsiteX6" fmla="*/ 5665183 w 9654801"/>
              <a:gd name="connsiteY6" fmla="*/ 2457793 h 44606122"/>
              <a:gd name="connsiteX7" fmla="*/ 6615556 w 9654801"/>
              <a:gd name="connsiteY7" fmla="*/ 2132778 h 44606122"/>
              <a:gd name="connsiteX8" fmla="*/ 7657679 w 9654801"/>
              <a:gd name="connsiteY8" fmla="*/ 2307320 h 44606122"/>
              <a:gd name="connsiteX9" fmla="*/ 8599377 w 9654801"/>
              <a:gd name="connsiteY9" fmla="*/ 1794735 h 44606122"/>
              <a:gd name="connsiteX10" fmla="*/ 9654801 w 9654801"/>
              <a:gd name="connsiteY10" fmla="*/ 2003776 h 44606122"/>
              <a:gd name="connsiteX0" fmla="*/ 0 w 9654801"/>
              <a:gd name="connsiteY0" fmla="*/ 44606123 h 44606122"/>
              <a:gd name="connsiteX1" fmla="*/ 895898 w 9654801"/>
              <a:gd name="connsiteY1" fmla="*/ 39063852 h 44606122"/>
              <a:gd name="connsiteX2" fmla="*/ 1919578 w 9654801"/>
              <a:gd name="connsiteY2" fmla="*/ 18210223 h 44606122"/>
              <a:gd name="connsiteX3" fmla="*/ 2851448 w 9654801"/>
              <a:gd name="connsiteY3" fmla="*/ 39821075 h 44606122"/>
              <a:gd name="connsiteX4" fmla="*/ 3806465 w 9654801"/>
              <a:gd name="connsiteY4" fmla="*/ 38659077 h 44606122"/>
              <a:gd name="connsiteX5" fmla="*/ 4708810 w 9654801"/>
              <a:gd name="connsiteY5" fmla="*/ 2731308 h 44606122"/>
              <a:gd name="connsiteX6" fmla="*/ 5665183 w 9654801"/>
              <a:gd name="connsiteY6" fmla="*/ 2457793 h 44606122"/>
              <a:gd name="connsiteX7" fmla="*/ 6615556 w 9654801"/>
              <a:gd name="connsiteY7" fmla="*/ 2132778 h 44606122"/>
              <a:gd name="connsiteX8" fmla="*/ 7657679 w 9654801"/>
              <a:gd name="connsiteY8" fmla="*/ 2307320 h 44606122"/>
              <a:gd name="connsiteX9" fmla="*/ 8599377 w 9654801"/>
              <a:gd name="connsiteY9" fmla="*/ 1794735 h 44606122"/>
              <a:gd name="connsiteX10" fmla="*/ 9654801 w 9654801"/>
              <a:gd name="connsiteY10" fmla="*/ 2003776 h 44606122"/>
              <a:gd name="connsiteX0" fmla="*/ 0 w 9654801"/>
              <a:gd name="connsiteY0" fmla="*/ 44606123 h 44606122"/>
              <a:gd name="connsiteX1" fmla="*/ 895898 w 9654801"/>
              <a:gd name="connsiteY1" fmla="*/ 39063852 h 44606122"/>
              <a:gd name="connsiteX2" fmla="*/ 1919578 w 9654801"/>
              <a:gd name="connsiteY2" fmla="*/ 18210223 h 44606122"/>
              <a:gd name="connsiteX3" fmla="*/ 2851448 w 9654801"/>
              <a:gd name="connsiteY3" fmla="*/ 39821075 h 44606122"/>
              <a:gd name="connsiteX4" fmla="*/ 3806465 w 9654801"/>
              <a:gd name="connsiteY4" fmla="*/ 38659077 h 44606122"/>
              <a:gd name="connsiteX5" fmla="*/ 4708810 w 9654801"/>
              <a:gd name="connsiteY5" fmla="*/ 2731308 h 44606122"/>
              <a:gd name="connsiteX6" fmla="*/ 5665183 w 9654801"/>
              <a:gd name="connsiteY6" fmla="*/ 2457793 h 44606122"/>
              <a:gd name="connsiteX7" fmla="*/ 6615556 w 9654801"/>
              <a:gd name="connsiteY7" fmla="*/ 2132778 h 44606122"/>
              <a:gd name="connsiteX8" fmla="*/ 7657679 w 9654801"/>
              <a:gd name="connsiteY8" fmla="*/ 2307320 h 44606122"/>
              <a:gd name="connsiteX9" fmla="*/ 8599377 w 9654801"/>
              <a:gd name="connsiteY9" fmla="*/ 1794735 h 44606122"/>
              <a:gd name="connsiteX10" fmla="*/ 9654801 w 9654801"/>
              <a:gd name="connsiteY10" fmla="*/ 2003776 h 44606122"/>
              <a:gd name="connsiteX0" fmla="*/ 0 w 9654801"/>
              <a:gd name="connsiteY0" fmla="*/ 44606123 h 44606122"/>
              <a:gd name="connsiteX1" fmla="*/ 895898 w 9654801"/>
              <a:gd name="connsiteY1" fmla="*/ 39063852 h 44606122"/>
              <a:gd name="connsiteX2" fmla="*/ 1919578 w 9654801"/>
              <a:gd name="connsiteY2" fmla="*/ 18210223 h 44606122"/>
              <a:gd name="connsiteX3" fmla="*/ 2851448 w 9654801"/>
              <a:gd name="connsiteY3" fmla="*/ 39821075 h 44606122"/>
              <a:gd name="connsiteX4" fmla="*/ 3806465 w 9654801"/>
              <a:gd name="connsiteY4" fmla="*/ 38659077 h 44606122"/>
              <a:gd name="connsiteX5" fmla="*/ 4708810 w 9654801"/>
              <a:gd name="connsiteY5" fmla="*/ 2731308 h 44606122"/>
              <a:gd name="connsiteX6" fmla="*/ 5665183 w 9654801"/>
              <a:gd name="connsiteY6" fmla="*/ 2457793 h 44606122"/>
              <a:gd name="connsiteX7" fmla="*/ 6615556 w 9654801"/>
              <a:gd name="connsiteY7" fmla="*/ 2132778 h 44606122"/>
              <a:gd name="connsiteX8" fmla="*/ 7657679 w 9654801"/>
              <a:gd name="connsiteY8" fmla="*/ 2307320 h 44606122"/>
              <a:gd name="connsiteX9" fmla="*/ 8599377 w 9654801"/>
              <a:gd name="connsiteY9" fmla="*/ 1794735 h 44606122"/>
              <a:gd name="connsiteX10" fmla="*/ 9654801 w 9654801"/>
              <a:gd name="connsiteY10" fmla="*/ 2003776 h 44606122"/>
              <a:gd name="connsiteX0" fmla="*/ 0 w 9654801"/>
              <a:gd name="connsiteY0" fmla="*/ 44606123 h 44606122"/>
              <a:gd name="connsiteX1" fmla="*/ 895898 w 9654801"/>
              <a:gd name="connsiteY1" fmla="*/ 39063852 h 44606122"/>
              <a:gd name="connsiteX2" fmla="*/ 1919578 w 9654801"/>
              <a:gd name="connsiteY2" fmla="*/ 18210223 h 44606122"/>
              <a:gd name="connsiteX3" fmla="*/ 2851448 w 9654801"/>
              <a:gd name="connsiteY3" fmla="*/ 39821075 h 44606122"/>
              <a:gd name="connsiteX4" fmla="*/ 3806465 w 9654801"/>
              <a:gd name="connsiteY4" fmla="*/ 38659077 h 44606122"/>
              <a:gd name="connsiteX5" fmla="*/ 4708810 w 9654801"/>
              <a:gd name="connsiteY5" fmla="*/ 2731308 h 44606122"/>
              <a:gd name="connsiteX6" fmla="*/ 5665183 w 9654801"/>
              <a:gd name="connsiteY6" fmla="*/ 2457793 h 44606122"/>
              <a:gd name="connsiteX7" fmla="*/ 6615556 w 9654801"/>
              <a:gd name="connsiteY7" fmla="*/ 2132778 h 44606122"/>
              <a:gd name="connsiteX8" fmla="*/ 7657679 w 9654801"/>
              <a:gd name="connsiteY8" fmla="*/ 2307320 h 44606122"/>
              <a:gd name="connsiteX9" fmla="*/ 8599377 w 9654801"/>
              <a:gd name="connsiteY9" fmla="*/ 1794735 h 44606122"/>
              <a:gd name="connsiteX10" fmla="*/ 9654801 w 9654801"/>
              <a:gd name="connsiteY10" fmla="*/ 2003776 h 44606122"/>
              <a:gd name="connsiteX0" fmla="*/ 0 w 9654801"/>
              <a:gd name="connsiteY0" fmla="*/ 44661192 h 44661191"/>
              <a:gd name="connsiteX1" fmla="*/ 895898 w 9654801"/>
              <a:gd name="connsiteY1" fmla="*/ 39118921 h 44661191"/>
              <a:gd name="connsiteX2" fmla="*/ 1919578 w 9654801"/>
              <a:gd name="connsiteY2" fmla="*/ 18265292 h 44661191"/>
              <a:gd name="connsiteX3" fmla="*/ 2851448 w 9654801"/>
              <a:gd name="connsiteY3" fmla="*/ 39876144 h 44661191"/>
              <a:gd name="connsiteX4" fmla="*/ 3840043 w 9654801"/>
              <a:gd name="connsiteY4" fmla="*/ 39457879 h 44661191"/>
              <a:gd name="connsiteX5" fmla="*/ 4708810 w 9654801"/>
              <a:gd name="connsiteY5" fmla="*/ 2786377 h 44661191"/>
              <a:gd name="connsiteX6" fmla="*/ 5665183 w 9654801"/>
              <a:gd name="connsiteY6" fmla="*/ 2512862 h 44661191"/>
              <a:gd name="connsiteX7" fmla="*/ 6615556 w 9654801"/>
              <a:gd name="connsiteY7" fmla="*/ 2187847 h 44661191"/>
              <a:gd name="connsiteX8" fmla="*/ 7657679 w 9654801"/>
              <a:gd name="connsiteY8" fmla="*/ 2362389 h 44661191"/>
              <a:gd name="connsiteX9" fmla="*/ 8599377 w 9654801"/>
              <a:gd name="connsiteY9" fmla="*/ 1849804 h 44661191"/>
              <a:gd name="connsiteX10" fmla="*/ 9654801 w 9654801"/>
              <a:gd name="connsiteY10" fmla="*/ 2058845 h 44661191"/>
              <a:gd name="connsiteX0" fmla="*/ 0 w 9654801"/>
              <a:gd name="connsiteY0" fmla="*/ 44661192 h 44661191"/>
              <a:gd name="connsiteX1" fmla="*/ 895898 w 9654801"/>
              <a:gd name="connsiteY1" fmla="*/ 39118921 h 44661191"/>
              <a:gd name="connsiteX2" fmla="*/ 1919578 w 9654801"/>
              <a:gd name="connsiteY2" fmla="*/ 18265292 h 44661191"/>
              <a:gd name="connsiteX3" fmla="*/ 2851448 w 9654801"/>
              <a:gd name="connsiteY3" fmla="*/ 39876144 h 44661191"/>
              <a:gd name="connsiteX4" fmla="*/ 3840043 w 9654801"/>
              <a:gd name="connsiteY4" fmla="*/ 39457879 h 44661191"/>
              <a:gd name="connsiteX5" fmla="*/ 4708810 w 9654801"/>
              <a:gd name="connsiteY5" fmla="*/ 2786377 h 44661191"/>
              <a:gd name="connsiteX6" fmla="*/ 5665183 w 9654801"/>
              <a:gd name="connsiteY6" fmla="*/ 2512862 h 44661191"/>
              <a:gd name="connsiteX7" fmla="*/ 6615556 w 9654801"/>
              <a:gd name="connsiteY7" fmla="*/ 2187847 h 44661191"/>
              <a:gd name="connsiteX8" fmla="*/ 7657679 w 9654801"/>
              <a:gd name="connsiteY8" fmla="*/ 2362389 h 44661191"/>
              <a:gd name="connsiteX9" fmla="*/ 8599377 w 9654801"/>
              <a:gd name="connsiteY9" fmla="*/ 1849804 h 44661191"/>
              <a:gd name="connsiteX10" fmla="*/ 9654801 w 9654801"/>
              <a:gd name="connsiteY10" fmla="*/ 2058845 h 44661191"/>
              <a:gd name="connsiteX0" fmla="*/ 0 w 9654801"/>
              <a:gd name="connsiteY0" fmla="*/ 44661192 h 44661191"/>
              <a:gd name="connsiteX1" fmla="*/ 895898 w 9654801"/>
              <a:gd name="connsiteY1" fmla="*/ 39118921 h 44661191"/>
              <a:gd name="connsiteX2" fmla="*/ 1919578 w 9654801"/>
              <a:gd name="connsiteY2" fmla="*/ 18265292 h 44661191"/>
              <a:gd name="connsiteX3" fmla="*/ 2851448 w 9654801"/>
              <a:gd name="connsiteY3" fmla="*/ 39876144 h 44661191"/>
              <a:gd name="connsiteX4" fmla="*/ 3840043 w 9654801"/>
              <a:gd name="connsiteY4" fmla="*/ 39457879 h 44661191"/>
              <a:gd name="connsiteX5" fmla="*/ 4708810 w 9654801"/>
              <a:gd name="connsiteY5" fmla="*/ 2786377 h 44661191"/>
              <a:gd name="connsiteX6" fmla="*/ 5665183 w 9654801"/>
              <a:gd name="connsiteY6" fmla="*/ 2512862 h 44661191"/>
              <a:gd name="connsiteX7" fmla="*/ 6615556 w 9654801"/>
              <a:gd name="connsiteY7" fmla="*/ 2187847 h 44661191"/>
              <a:gd name="connsiteX8" fmla="*/ 7657679 w 9654801"/>
              <a:gd name="connsiteY8" fmla="*/ 2362389 h 44661191"/>
              <a:gd name="connsiteX9" fmla="*/ 8599377 w 9654801"/>
              <a:gd name="connsiteY9" fmla="*/ 1849804 h 44661191"/>
              <a:gd name="connsiteX10" fmla="*/ 9654801 w 9654801"/>
              <a:gd name="connsiteY10" fmla="*/ 2058845 h 44661191"/>
              <a:gd name="connsiteX0" fmla="*/ 0 w 9654801"/>
              <a:gd name="connsiteY0" fmla="*/ 43935746 h 43935745"/>
              <a:gd name="connsiteX1" fmla="*/ 895898 w 9654801"/>
              <a:gd name="connsiteY1" fmla="*/ 38393475 h 43935745"/>
              <a:gd name="connsiteX2" fmla="*/ 1919578 w 9654801"/>
              <a:gd name="connsiteY2" fmla="*/ 17539846 h 43935745"/>
              <a:gd name="connsiteX3" fmla="*/ 2851448 w 9654801"/>
              <a:gd name="connsiteY3" fmla="*/ 39150698 h 43935745"/>
              <a:gd name="connsiteX4" fmla="*/ 3840043 w 9654801"/>
              <a:gd name="connsiteY4" fmla="*/ 38732433 h 43935745"/>
              <a:gd name="connsiteX5" fmla="*/ 4802827 w 9654801"/>
              <a:gd name="connsiteY5" fmla="*/ 24478989 h 43935745"/>
              <a:gd name="connsiteX6" fmla="*/ 5665183 w 9654801"/>
              <a:gd name="connsiteY6" fmla="*/ 1787416 h 43935745"/>
              <a:gd name="connsiteX7" fmla="*/ 6615556 w 9654801"/>
              <a:gd name="connsiteY7" fmla="*/ 1462401 h 43935745"/>
              <a:gd name="connsiteX8" fmla="*/ 7657679 w 9654801"/>
              <a:gd name="connsiteY8" fmla="*/ 1636943 h 43935745"/>
              <a:gd name="connsiteX9" fmla="*/ 8599377 w 9654801"/>
              <a:gd name="connsiteY9" fmla="*/ 1124358 h 43935745"/>
              <a:gd name="connsiteX10" fmla="*/ 9654801 w 9654801"/>
              <a:gd name="connsiteY10" fmla="*/ 1333399 h 43935745"/>
              <a:gd name="connsiteX0" fmla="*/ 0 w 9654801"/>
              <a:gd name="connsiteY0" fmla="*/ 44029981 h 44029980"/>
              <a:gd name="connsiteX1" fmla="*/ 895898 w 9654801"/>
              <a:gd name="connsiteY1" fmla="*/ 38487710 h 44029980"/>
              <a:gd name="connsiteX2" fmla="*/ 1919578 w 9654801"/>
              <a:gd name="connsiteY2" fmla="*/ 17634081 h 44029980"/>
              <a:gd name="connsiteX3" fmla="*/ 2851448 w 9654801"/>
              <a:gd name="connsiteY3" fmla="*/ 39244933 h 44029980"/>
              <a:gd name="connsiteX4" fmla="*/ 3840043 w 9654801"/>
              <a:gd name="connsiteY4" fmla="*/ 38826668 h 44029980"/>
              <a:gd name="connsiteX5" fmla="*/ 4775965 w 9654801"/>
              <a:gd name="connsiteY5" fmla="*/ 25848192 h 44029980"/>
              <a:gd name="connsiteX6" fmla="*/ 5665183 w 9654801"/>
              <a:gd name="connsiteY6" fmla="*/ 1881651 h 44029980"/>
              <a:gd name="connsiteX7" fmla="*/ 6615556 w 9654801"/>
              <a:gd name="connsiteY7" fmla="*/ 1556636 h 44029980"/>
              <a:gd name="connsiteX8" fmla="*/ 7657679 w 9654801"/>
              <a:gd name="connsiteY8" fmla="*/ 1731178 h 44029980"/>
              <a:gd name="connsiteX9" fmla="*/ 8599377 w 9654801"/>
              <a:gd name="connsiteY9" fmla="*/ 1218593 h 44029980"/>
              <a:gd name="connsiteX10" fmla="*/ 9654801 w 9654801"/>
              <a:gd name="connsiteY10" fmla="*/ 1427634 h 44029980"/>
              <a:gd name="connsiteX0" fmla="*/ 0 w 9654801"/>
              <a:gd name="connsiteY0" fmla="*/ 44029981 h 44029980"/>
              <a:gd name="connsiteX1" fmla="*/ 895898 w 9654801"/>
              <a:gd name="connsiteY1" fmla="*/ 38487710 h 44029980"/>
              <a:gd name="connsiteX2" fmla="*/ 1919578 w 9654801"/>
              <a:gd name="connsiteY2" fmla="*/ 17634081 h 44029980"/>
              <a:gd name="connsiteX3" fmla="*/ 2851448 w 9654801"/>
              <a:gd name="connsiteY3" fmla="*/ 39244933 h 44029980"/>
              <a:gd name="connsiteX4" fmla="*/ 3840043 w 9654801"/>
              <a:gd name="connsiteY4" fmla="*/ 38826668 h 44029980"/>
              <a:gd name="connsiteX5" fmla="*/ 4775965 w 9654801"/>
              <a:gd name="connsiteY5" fmla="*/ 25848192 h 44029980"/>
              <a:gd name="connsiteX6" fmla="*/ 5665183 w 9654801"/>
              <a:gd name="connsiteY6" fmla="*/ 1881651 h 44029980"/>
              <a:gd name="connsiteX7" fmla="*/ 6615556 w 9654801"/>
              <a:gd name="connsiteY7" fmla="*/ 1556636 h 44029980"/>
              <a:gd name="connsiteX8" fmla="*/ 7657679 w 9654801"/>
              <a:gd name="connsiteY8" fmla="*/ 1731178 h 44029980"/>
              <a:gd name="connsiteX9" fmla="*/ 8599377 w 9654801"/>
              <a:gd name="connsiteY9" fmla="*/ 1218593 h 44029980"/>
              <a:gd name="connsiteX10" fmla="*/ 9654801 w 9654801"/>
              <a:gd name="connsiteY10" fmla="*/ 1427634 h 44029980"/>
              <a:gd name="connsiteX0" fmla="*/ 0 w 9654801"/>
              <a:gd name="connsiteY0" fmla="*/ 44167744 h 44167743"/>
              <a:gd name="connsiteX1" fmla="*/ 895898 w 9654801"/>
              <a:gd name="connsiteY1" fmla="*/ 38625473 h 44167743"/>
              <a:gd name="connsiteX2" fmla="*/ 1919578 w 9654801"/>
              <a:gd name="connsiteY2" fmla="*/ 17771844 h 44167743"/>
              <a:gd name="connsiteX3" fmla="*/ 2851448 w 9654801"/>
              <a:gd name="connsiteY3" fmla="*/ 39382696 h 44167743"/>
              <a:gd name="connsiteX4" fmla="*/ 3840043 w 9654801"/>
              <a:gd name="connsiteY4" fmla="*/ 38964431 h 44167743"/>
              <a:gd name="connsiteX5" fmla="*/ 4775965 w 9654801"/>
              <a:gd name="connsiteY5" fmla="*/ 25985955 h 44167743"/>
              <a:gd name="connsiteX6" fmla="*/ 5759201 w 9654801"/>
              <a:gd name="connsiteY6" fmla="*/ 25499941 h 44167743"/>
              <a:gd name="connsiteX7" fmla="*/ 6615556 w 9654801"/>
              <a:gd name="connsiteY7" fmla="*/ 1694399 h 44167743"/>
              <a:gd name="connsiteX8" fmla="*/ 7657679 w 9654801"/>
              <a:gd name="connsiteY8" fmla="*/ 1868941 h 44167743"/>
              <a:gd name="connsiteX9" fmla="*/ 8599377 w 9654801"/>
              <a:gd name="connsiteY9" fmla="*/ 1356356 h 44167743"/>
              <a:gd name="connsiteX10" fmla="*/ 9654801 w 9654801"/>
              <a:gd name="connsiteY10" fmla="*/ 1565397 h 44167743"/>
              <a:gd name="connsiteX0" fmla="*/ 0 w 9654801"/>
              <a:gd name="connsiteY0" fmla="*/ 44167744 h 44167743"/>
              <a:gd name="connsiteX1" fmla="*/ 895898 w 9654801"/>
              <a:gd name="connsiteY1" fmla="*/ 38625473 h 44167743"/>
              <a:gd name="connsiteX2" fmla="*/ 1919578 w 9654801"/>
              <a:gd name="connsiteY2" fmla="*/ 17771844 h 44167743"/>
              <a:gd name="connsiteX3" fmla="*/ 2851448 w 9654801"/>
              <a:gd name="connsiteY3" fmla="*/ 39382696 h 44167743"/>
              <a:gd name="connsiteX4" fmla="*/ 3840043 w 9654801"/>
              <a:gd name="connsiteY4" fmla="*/ 38964431 h 44167743"/>
              <a:gd name="connsiteX5" fmla="*/ 4775965 w 9654801"/>
              <a:gd name="connsiteY5" fmla="*/ 25985955 h 44167743"/>
              <a:gd name="connsiteX6" fmla="*/ 5759201 w 9654801"/>
              <a:gd name="connsiteY6" fmla="*/ 25499941 h 44167743"/>
              <a:gd name="connsiteX7" fmla="*/ 6615556 w 9654801"/>
              <a:gd name="connsiteY7" fmla="*/ 1694399 h 44167743"/>
              <a:gd name="connsiteX8" fmla="*/ 7657679 w 9654801"/>
              <a:gd name="connsiteY8" fmla="*/ 1868941 h 44167743"/>
              <a:gd name="connsiteX9" fmla="*/ 8599377 w 9654801"/>
              <a:gd name="connsiteY9" fmla="*/ 1356356 h 44167743"/>
              <a:gd name="connsiteX10" fmla="*/ 9654801 w 9654801"/>
              <a:gd name="connsiteY10" fmla="*/ 1565397 h 44167743"/>
              <a:gd name="connsiteX0" fmla="*/ 0 w 9654801"/>
              <a:gd name="connsiteY0" fmla="*/ 44167744 h 44167743"/>
              <a:gd name="connsiteX1" fmla="*/ 895898 w 9654801"/>
              <a:gd name="connsiteY1" fmla="*/ 38625473 h 44167743"/>
              <a:gd name="connsiteX2" fmla="*/ 1919578 w 9654801"/>
              <a:gd name="connsiteY2" fmla="*/ 17771844 h 44167743"/>
              <a:gd name="connsiteX3" fmla="*/ 2851448 w 9654801"/>
              <a:gd name="connsiteY3" fmla="*/ 39382696 h 44167743"/>
              <a:gd name="connsiteX4" fmla="*/ 3840043 w 9654801"/>
              <a:gd name="connsiteY4" fmla="*/ 38964431 h 44167743"/>
              <a:gd name="connsiteX5" fmla="*/ 4775965 w 9654801"/>
              <a:gd name="connsiteY5" fmla="*/ 25985955 h 44167743"/>
              <a:gd name="connsiteX6" fmla="*/ 5759201 w 9654801"/>
              <a:gd name="connsiteY6" fmla="*/ 25499941 h 44167743"/>
              <a:gd name="connsiteX7" fmla="*/ 6615556 w 9654801"/>
              <a:gd name="connsiteY7" fmla="*/ 1694399 h 44167743"/>
              <a:gd name="connsiteX8" fmla="*/ 7657679 w 9654801"/>
              <a:gd name="connsiteY8" fmla="*/ 1868941 h 44167743"/>
              <a:gd name="connsiteX9" fmla="*/ 8599377 w 9654801"/>
              <a:gd name="connsiteY9" fmla="*/ 1356356 h 44167743"/>
              <a:gd name="connsiteX10" fmla="*/ 9654801 w 9654801"/>
              <a:gd name="connsiteY10" fmla="*/ 1565397 h 44167743"/>
              <a:gd name="connsiteX0" fmla="*/ 0 w 9654801"/>
              <a:gd name="connsiteY0" fmla="*/ 45158763 h 45158762"/>
              <a:gd name="connsiteX1" fmla="*/ 895898 w 9654801"/>
              <a:gd name="connsiteY1" fmla="*/ 39616492 h 45158762"/>
              <a:gd name="connsiteX2" fmla="*/ 1919578 w 9654801"/>
              <a:gd name="connsiteY2" fmla="*/ 18762863 h 45158762"/>
              <a:gd name="connsiteX3" fmla="*/ 2851448 w 9654801"/>
              <a:gd name="connsiteY3" fmla="*/ 40373715 h 45158762"/>
              <a:gd name="connsiteX4" fmla="*/ 3840043 w 9654801"/>
              <a:gd name="connsiteY4" fmla="*/ 39955450 h 45158762"/>
              <a:gd name="connsiteX5" fmla="*/ 4775965 w 9654801"/>
              <a:gd name="connsiteY5" fmla="*/ 26976974 h 45158762"/>
              <a:gd name="connsiteX6" fmla="*/ 5786064 w 9654801"/>
              <a:gd name="connsiteY6" fmla="*/ 39878032 h 45158762"/>
              <a:gd name="connsiteX7" fmla="*/ 6615556 w 9654801"/>
              <a:gd name="connsiteY7" fmla="*/ 2685418 h 45158762"/>
              <a:gd name="connsiteX8" fmla="*/ 7657679 w 9654801"/>
              <a:gd name="connsiteY8" fmla="*/ 2859960 h 45158762"/>
              <a:gd name="connsiteX9" fmla="*/ 8599377 w 9654801"/>
              <a:gd name="connsiteY9" fmla="*/ 2347375 h 45158762"/>
              <a:gd name="connsiteX10" fmla="*/ 9654801 w 9654801"/>
              <a:gd name="connsiteY10" fmla="*/ 2556416 h 45158762"/>
              <a:gd name="connsiteX0" fmla="*/ 0 w 9654801"/>
              <a:gd name="connsiteY0" fmla="*/ 45158763 h 45158762"/>
              <a:gd name="connsiteX1" fmla="*/ 895898 w 9654801"/>
              <a:gd name="connsiteY1" fmla="*/ 39616492 h 45158762"/>
              <a:gd name="connsiteX2" fmla="*/ 1919578 w 9654801"/>
              <a:gd name="connsiteY2" fmla="*/ 18762863 h 45158762"/>
              <a:gd name="connsiteX3" fmla="*/ 2851448 w 9654801"/>
              <a:gd name="connsiteY3" fmla="*/ 40373715 h 45158762"/>
              <a:gd name="connsiteX4" fmla="*/ 3840043 w 9654801"/>
              <a:gd name="connsiteY4" fmla="*/ 39955450 h 45158762"/>
              <a:gd name="connsiteX5" fmla="*/ 4775965 w 9654801"/>
              <a:gd name="connsiteY5" fmla="*/ 26976974 h 45158762"/>
              <a:gd name="connsiteX6" fmla="*/ 5786064 w 9654801"/>
              <a:gd name="connsiteY6" fmla="*/ 39878032 h 45158762"/>
              <a:gd name="connsiteX7" fmla="*/ 6615556 w 9654801"/>
              <a:gd name="connsiteY7" fmla="*/ 2685418 h 45158762"/>
              <a:gd name="connsiteX8" fmla="*/ 7657679 w 9654801"/>
              <a:gd name="connsiteY8" fmla="*/ 2859960 h 45158762"/>
              <a:gd name="connsiteX9" fmla="*/ 8599377 w 9654801"/>
              <a:gd name="connsiteY9" fmla="*/ 2347375 h 45158762"/>
              <a:gd name="connsiteX10" fmla="*/ 9654801 w 9654801"/>
              <a:gd name="connsiteY10" fmla="*/ 2556416 h 45158762"/>
              <a:gd name="connsiteX0" fmla="*/ 0 w 9654801"/>
              <a:gd name="connsiteY0" fmla="*/ 45158763 h 45158762"/>
              <a:gd name="connsiteX1" fmla="*/ 895898 w 9654801"/>
              <a:gd name="connsiteY1" fmla="*/ 39616492 h 45158762"/>
              <a:gd name="connsiteX2" fmla="*/ 1919578 w 9654801"/>
              <a:gd name="connsiteY2" fmla="*/ 18762863 h 45158762"/>
              <a:gd name="connsiteX3" fmla="*/ 2851448 w 9654801"/>
              <a:gd name="connsiteY3" fmla="*/ 40373715 h 45158762"/>
              <a:gd name="connsiteX4" fmla="*/ 3840043 w 9654801"/>
              <a:gd name="connsiteY4" fmla="*/ 39955450 h 45158762"/>
              <a:gd name="connsiteX5" fmla="*/ 4775965 w 9654801"/>
              <a:gd name="connsiteY5" fmla="*/ 26976974 h 45158762"/>
              <a:gd name="connsiteX6" fmla="*/ 5786064 w 9654801"/>
              <a:gd name="connsiteY6" fmla="*/ 39878032 h 45158762"/>
              <a:gd name="connsiteX7" fmla="*/ 6615556 w 9654801"/>
              <a:gd name="connsiteY7" fmla="*/ 2685418 h 45158762"/>
              <a:gd name="connsiteX8" fmla="*/ 7657679 w 9654801"/>
              <a:gd name="connsiteY8" fmla="*/ 2859960 h 45158762"/>
              <a:gd name="connsiteX9" fmla="*/ 8599377 w 9654801"/>
              <a:gd name="connsiteY9" fmla="*/ 2347375 h 45158762"/>
              <a:gd name="connsiteX10" fmla="*/ 9654801 w 9654801"/>
              <a:gd name="connsiteY10" fmla="*/ 2556416 h 45158762"/>
              <a:gd name="connsiteX0" fmla="*/ 0 w 9654801"/>
              <a:gd name="connsiteY0" fmla="*/ 45158763 h 45158762"/>
              <a:gd name="connsiteX1" fmla="*/ 895898 w 9654801"/>
              <a:gd name="connsiteY1" fmla="*/ 39616492 h 45158762"/>
              <a:gd name="connsiteX2" fmla="*/ 1919578 w 9654801"/>
              <a:gd name="connsiteY2" fmla="*/ 18762863 h 45158762"/>
              <a:gd name="connsiteX3" fmla="*/ 2851448 w 9654801"/>
              <a:gd name="connsiteY3" fmla="*/ 40373715 h 45158762"/>
              <a:gd name="connsiteX4" fmla="*/ 3840043 w 9654801"/>
              <a:gd name="connsiteY4" fmla="*/ 39955450 h 45158762"/>
              <a:gd name="connsiteX5" fmla="*/ 4775965 w 9654801"/>
              <a:gd name="connsiteY5" fmla="*/ 26976974 h 45158762"/>
              <a:gd name="connsiteX6" fmla="*/ 5786064 w 9654801"/>
              <a:gd name="connsiteY6" fmla="*/ 39878032 h 45158762"/>
              <a:gd name="connsiteX7" fmla="*/ 6615556 w 9654801"/>
              <a:gd name="connsiteY7" fmla="*/ 2685418 h 45158762"/>
              <a:gd name="connsiteX8" fmla="*/ 7657679 w 9654801"/>
              <a:gd name="connsiteY8" fmla="*/ 2859960 h 45158762"/>
              <a:gd name="connsiteX9" fmla="*/ 8599377 w 9654801"/>
              <a:gd name="connsiteY9" fmla="*/ 2347375 h 45158762"/>
              <a:gd name="connsiteX10" fmla="*/ 9654801 w 9654801"/>
              <a:gd name="connsiteY10" fmla="*/ 2556416 h 45158762"/>
              <a:gd name="connsiteX0" fmla="*/ 0 w 9654801"/>
              <a:gd name="connsiteY0" fmla="*/ 45158763 h 45158762"/>
              <a:gd name="connsiteX1" fmla="*/ 895898 w 9654801"/>
              <a:gd name="connsiteY1" fmla="*/ 39616492 h 45158762"/>
              <a:gd name="connsiteX2" fmla="*/ 1919578 w 9654801"/>
              <a:gd name="connsiteY2" fmla="*/ 18762863 h 45158762"/>
              <a:gd name="connsiteX3" fmla="*/ 2851448 w 9654801"/>
              <a:gd name="connsiteY3" fmla="*/ 40373715 h 45158762"/>
              <a:gd name="connsiteX4" fmla="*/ 3840043 w 9654801"/>
              <a:gd name="connsiteY4" fmla="*/ 39955450 h 45158762"/>
              <a:gd name="connsiteX5" fmla="*/ 4775965 w 9654801"/>
              <a:gd name="connsiteY5" fmla="*/ 26976974 h 45158762"/>
              <a:gd name="connsiteX6" fmla="*/ 5786064 w 9654801"/>
              <a:gd name="connsiteY6" fmla="*/ 39878032 h 45158762"/>
              <a:gd name="connsiteX7" fmla="*/ 6615556 w 9654801"/>
              <a:gd name="connsiteY7" fmla="*/ 2685418 h 45158762"/>
              <a:gd name="connsiteX8" fmla="*/ 7657679 w 9654801"/>
              <a:gd name="connsiteY8" fmla="*/ 2859960 h 45158762"/>
              <a:gd name="connsiteX9" fmla="*/ 8599377 w 9654801"/>
              <a:gd name="connsiteY9" fmla="*/ 2347375 h 45158762"/>
              <a:gd name="connsiteX10" fmla="*/ 9654801 w 9654801"/>
              <a:gd name="connsiteY10" fmla="*/ 2556416 h 45158762"/>
              <a:gd name="connsiteX0" fmla="*/ 0 w 9654801"/>
              <a:gd name="connsiteY0" fmla="*/ 45158763 h 45158762"/>
              <a:gd name="connsiteX1" fmla="*/ 895898 w 9654801"/>
              <a:gd name="connsiteY1" fmla="*/ 39616492 h 45158762"/>
              <a:gd name="connsiteX2" fmla="*/ 1919578 w 9654801"/>
              <a:gd name="connsiteY2" fmla="*/ 18762863 h 45158762"/>
              <a:gd name="connsiteX3" fmla="*/ 2851448 w 9654801"/>
              <a:gd name="connsiteY3" fmla="*/ 40373715 h 45158762"/>
              <a:gd name="connsiteX4" fmla="*/ 3819896 w 9654801"/>
              <a:gd name="connsiteY4" fmla="*/ 39636711 h 45158762"/>
              <a:gd name="connsiteX5" fmla="*/ 4775965 w 9654801"/>
              <a:gd name="connsiteY5" fmla="*/ 26976974 h 45158762"/>
              <a:gd name="connsiteX6" fmla="*/ 5786064 w 9654801"/>
              <a:gd name="connsiteY6" fmla="*/ 39878032 h 45158762"/>
              <a:gd name="connsiteX7" fmla="*/ 6615556 w 9654801"/>
              <a:gd name="connsiteY7" fmla="*/ 2685418 h 45158762"/>
              <a:gd name="connsiteX8" fmla="*/ 7657679 w 9654801"/>
              <a:gd name="connsiteY8" fmla="*/ 2859960 h 45158762"/>
              <a:gd name="connsiteX9" fmla="*/ 8599377 w 9654801"/>
              <a:gd name="connsiteY9" fmla="*/ 2347375 h 45158762"/>
              <a:gd name="connsiteX10" fmla="*/ 9654801 w 9654801"/>
              <a:gd name="connsiteY10" fmla="*/ 2556416 h 45158762"/>
              <a:gd name="connsiteX0" fmla="*/ 0 w 9654801"/>
              <a:gd name="connsiteY0" fmla="*/ 45158763 h 45158762"/>
              <a:gd name="connsiteX1" fmla="*/ 895898 w 9654801"/>
              <a:gd name="connsiteY1" fmla="*/ 39616492 h 45158762"/>
              <a:gd name="connsiteX2" fmla="*/ 1919578 w 9654801"/>
              <a:gd name="connsiteY2" fmla="*/ 18762863 h 45158762"/>
              <a:gd name="connsiteX3" fmla="*/ 2851448 w 9654801"/>
              <a:gd name="connsiteY3" fmla="*/ 39736237 h 45158762"/>
              <a:gd name="connsiteX4" fmla="*/ 3819896 w 9654801"/>
              <a:gd name="connsiteY4" fmla="*/ 39636711 h 45158762"/>
              <a:gd name="connsiteX5" fmla="*/ 4775965 w 9654801"/>
              <a:gd name="connsiteY5" fmla="*/ 26976974 h 45158762"/>
              <a:gd name="connsiteX6" fmla="*/ 5786064 w 9654801"/>
              <a:gd name="connsiteY6" fmla="*/ 39878032 h 45158762"/>
              <a:gd name="connsiteX7" fmla="*/ 6615556 w 9654801"/>
              <a:gd name="connsiteY7" fmla="*/ 2685418 h 45158762"/>
              <a:gd name="connsiteX8" fmla="*/ 7657679 w 9654801"/>
              <a:gd name="connsiteY8" fmla="*/ 2859960 h 45158762"/>
              <a:gd name="connsiteX9" fmla="*/ 8599377 w 9654801"/>
              <a:gd name="connsiteY9" fmla="*/ 2347375 h 45158762"/>
              <a:gd name="connsiteX10" fmla="*/ 9654801 w 9654801"/>
              <a:gd name="connsiteY10" fmla="*/ 2556416 h 45158762"/>
              <a:gd name="connsiteX0" fmla="*/ 0 w 9654801"/>
              <a:gd name="connsiteY0" fmla="*/ 45158763 h 45158762"/>
              <a:gd name="connsiteX1" fmla="*/ 895898 w 9654801"/>
              <a:gd name="connsiteY1" fmla="*/ 39616492 h 45158762"/>
              <a:gd name="connsiteX2" fmla="*/ 1919578 w 9654801"/>
              <a:gd name="connsiteY2" fmla="*/ 18762863 h 45158762"/>
              <a:gd name="connsiteX3" fmla="*/ 2851448 w 9654801"/>
              <a:gd name="connsiteY3" fmla="*/ 39736237 h 45158762"/>
              <a:gd name="connsiteX4" fmla="*/ 3819896 w 9654801"/>
              <a:gd name="connsiteY4" fmla="*/ 39636711 h 45158762"/>
              <a:gd name="connsiteX5" fmla="*/ 4775965 w 9654801"/>
              <a:gd name="connsiteY5" fmla="*/ 26976974 h 45158762"/>
              <a:gd name="connsiteX6" fmla="*/ 5786064 w 9654801"/>
              <a:gd name="connsiteY6" fmla="*/ 39878032 h 45158762"/>
              <a:gd name="connsiteX7" fmla="*/ 6615556 w 9654801"/>
              <a:gd name="connsiteY7" fmla="*/ 2685418 h 45158762"/>
              <a:gd name="connsiteX8" fmla="*/ 7657679 w 9654801"/>
              <a:gd name="connsiteY8" fmla="*/ 2859960 h 45158762"/>
              <a:gd name="connsiteX9" fmla="*/ 8599377 w 9654801"/>
              <a:gd name="connsiteY9" fmla="*/ 2347375 h 45158762"/>
              <a:gd name="connsiteX10" fmla="*/ 9654801 w 9654801"/>
              <a:gd name="connsiteY10" fmla="*/ 2556416 h 45158762"/>
              <a:gd name="connsiteX0" fmla="*/ 0 w 9654801"/>
              <a:gd name="connsiteY0" fmla="*/ 44303918 h 44303917"/>
              <a:gd name="connsiteX1" fmla="*/ 895898 w 9654801"/>
              <a:gd name="connsiteY1" fmla="*/ 38761647 h 44303917"/>
              <a:gd name="connsiteX2" fmla="*/ 1919578 w 9654801"/>
              <a:gd name="connsiteY2" fmla="*/ 17908018 h 44303917"/>
              <a:gd name="connsiteX3" fmla="*/ 2851448 w 9654801"/>
              <a:gd name="connsiteY3" fmla="*/ 38881392 h 44303917"/>
              <a:gd name="connsiteX4" fmla="*/ 3819896 w 9654801"/>
              <a:gd name="connsiteY4" fmla="*/ 38781866 h 44303917"/>
              <a:gd name="connsiteX5" fmla="*/ 4775965 w 9654801"/>
              <a:gd name="connsiteY5" fmla="*/ 26122129 h 44303917"/>
              <a:gd name="connsiteX6" fmla="*/ 5786064 w 9654801"/>
              <a:gd name="connsiteY6" fmla="*/ 39023187 h 44303917"/>
              <a:gd name="connsiteX7" fmla="*/ 6770013 w 9654801"/>
              <a:gd name="connsiteY7" fmla="*/ 26692306 h 44303917"/>
              <a:gd name="connsiteX8" fmla="*/ 7657679 w 9654801"/>
              <a:gd name="connsiteY8" fmla="*/ 2005115 h 44303917"/>
              <a:gd name="connsiteX9" fmla="*/ 8599377 w 9654801"/>
              <a:gd name="connsiteY9" fmla="*/ 1492530 h 44303917"/>
              <a:gd name="connsiteX10" fmla="*/ 9654801 w 9654801"/>
              <a:gd name="connsiteY10" fmla="*/ 1701571 h 44303917"/>
              <a:gd name="connsiteX0" fmla="*/ 0 w 9654801"/>
              <a:gd name="connsiteY0" fmla="*/ 44303918 h 44303917"/>
              <a:gd name="connsiteX1" fmla="*/ 895898 w 9654801"/>
              <a:gd name="connsiteY1" fmla="*/ 38761647 h 44303917"/>
              <a:gd name="connsiteX2" fmla="*/ 1919578 w 9654801"/>
              <a:gd name="connsiteY2" fmla="*/ 17908018 h 44303917"/>
              <a:gd name="connsiteX3" fmla="*/ 2851448 w 9654801"/>
              <a:gd name="connsiteY3" fmla="*/ 38881392 h 44303917"/>
              <a:gd name="connsiteX4" fmla="*/ 3819896 w 9654801"/>
              <a:gd name="connsiteY4" fmla="*/ 38781866 h 44303917"/>
              <a:gd name="connsiteX5" fmla="*/ 4775965 w 9654801"/>
              <a:gd name="connsiteY5" fmla="*/ 26122129 h 44303917"/>
              <a:gd name="connsiteX6" fmla="*/ 5786064 w 9654801"/>
              <a:gd name="connsiteY6" fmla="*/ 39023187 h 44303917"/>
              <a:gd name="connsiteX7" fmla="*/ 6770013 w 9654801"/>
              <a:gd name="connsiteY7" fmla="*/ 26692306 h 44303917"/>
              <a:gd name="connsiteX8" fmla="*/ 7657679 w 9654801"/>
              <a:gd name="connsiteY8" fmla="*/ 2005115 h 44303917"/>
              <a:gd name="connsiteX9" fmla="*/ 8599377 w 9654801"/>
              <a:gd name="connsiteY9" fmla="*/ 1492530 h 44303917"/>
              <a:gd name="connsiteX10" fmla="*/ 9654801 w 9654801"/>
              <a:gd name="connsiteY10" fmla="*/ 1701571 h 44303917"/>
              <a:gd name="connsiteX0" fmla="*/ 0 w 9654801"/>
              <a:gd name="connsiteY0" fmla="*/ 46462975 h 58558515"/>
              <a:gd name="connsiteX1" fmla="*/ 895898 w 9654801"/>
              <a:gd name="connsiteY1" fmla="*/ 40920704 h 58558515"/>
              <a:gd name="connsiteX2" fmla="*/ 1919578 w 9654801"/>
              <a:gd name="connsiteY2" fmla="*/ 20067075 h 58558515"/>
              <a:gd name="connsiteX3" fmla="*/ 2851448 w 9654801"/>
              <a:gd name="connsiteY3" fmla="*/ 41040449 h 58558515"/>
              <a:gd name="connsiteX4" fmla="*/ 3819896 w 9654801"/>
              <a:gd name="connsiteY4" fmla="*/ 40940923 h 58558515"/>
              <a:gd name="connsiteX5" fmla="*/ 4775965 w 9654801"/>
              <a:gd name="connsiteY5" fmla="*/ 28281186 h 58558515"/>
              <a:gd name="connsiteX6" fmla="*/ 5786064 w 9654801"/>
              <a:gd name="connsiteY6" fmla="*/ 41182244 h 58558515"/>
              <a:gd name="connsiteX7" fmla="*/ 6770014 w 9654801"/>
              <a:gd name="connsiteY7" fmla="*/ 58069218 h 58558515"/>
              <a:gd name="connsiteX8" fmla="*/ 7657679 w 9654801"/>
              <a:gd name="connsiteY8" fmla="*/ 4164172 h 58558515"/>
              <a:gd name="connsiteX9" fmla="*/ 8599377 w 9654801"/>
              <a:gd name="connsiteY9" fmla="*/ 3651587 h 58558515"/>
              <a:gd name="connsiteX10" fmla="*/ 9654801 w 9654801"/>
              <a:gd name="connsiteY10" fmla="*/ 3860628 h 58558515"/>
              <a:gd name="connsiteX0" fmla="*/ 0 w 9654801"/>
              <a:gd name="connsiteY0" fmla="*/ 46462975 h 58069383"/>
              <a:gd name="connsiteX1" fmla="*/ 895898 w 9654801"/>
              <a:gd name="connsiteY1" fmla="*/ 40920704 h 58069383"/>
              <a:gd name="connsiteX2" fmla="*/ 1919578 w 9654801"/>
              <a:gd name="connsiteY2" fmla="*/ 20067075 h 58069383"/>
              <a:gd name="connsiteX3" fmla="*/ 2851448 w 9654801"/>
              <a:gd name="connsiteY3" fmla="*/ 41040449 h 58069383"/>
              <a:gd name="connsiteX4" fmla="*/ 3819896 w 9654801"/>
              <a:gd name="connsiteY4" fmla="*/ 40940923 h 58069383"/>
              <a:gd name="connsiteX5" fmla="*/ 4775965 w 9654801"/>
              <a:gd name="connsiteY5" fmla="*/ 28281186 h 58069383"/>
              <a:gd name="connsiteX6" fmla="*/ 5786064 w 9654801"/>
              <a:gd name="connsiteY6" fmla="*/ 41182244 h 58069383"/>
              <a:gd name="connsiteX7" fmla="*/ 6770014 w 9654801"/>
              <a:gd name="connsiteY7" fmla="*/ 58069218 h 58069383"/>
              <a:gd name="connsiteX8" fmla="*/ 7657679 w 9654801"/>
              <a:gd name="connsiteY8" fmla="*/ 4164172 h 58069383"/>
              <a:gd name="connsiteX9" fmla="*/ 8599377 w 9654801"/>
              <a:gd name="connsiteY9" fmla="*/ 3651587 h 58069383"/>
              <a:gd name="connsiteX10" fmla="*/ 9654801 w 9654801"/>
              <a:gd name="connsiteY10" fmla="*/ 3860628 h 58069383"/>
              <a:gd name="connsiteX0" fmla="*/ 0 w 9654801"/>
              <a:gd name="connsiteY0" fmla="*/ 46462975 h 58069383"/>
              <a:gd name="connsiteX1" fmla="*/ 895898 w 9654801"/>
              <a:gd name="connsiteY1" fmla="*/ 40920704 h 58069383"/>
              <a:gd name="connsiteX2" fmla="*/ 1919578 w 9654801"/>
              <a:gd name="connsiteY2" fmla="*/ 20067075 h 58069383"/>
              <a:gd name="connsiteX3" fmla="*/ 2851448 w 9654801"/>
              <a:gd name="connsiteY3" fmla="*/ 41040449 h 58069383"/>
              <a:gd name="connsiteX4" fmla="*/ 3819896 w 9654801"/>
              <a:gd name="connsiteY4" fmla="*/ 40940923 h 58069383"/>
              <a:gd name="connsiteX5" fmla="*/ 4775965 w 9654801"/>
              <a:gd name="connsiteY5" fmla="*/ 28281186 h 58069383"/>
              <a:gd name="connsiteX6" fmla="*/ 5786064 w 9654801"/>
              <a:gd name="connsiteY6" fmla="*/ 41182244 h 58069383"/>
              <a:gd name="connsiteX7" fmla="*/ 6770015 w 9654801"/>
              <a:gd name="connsiteY7" fmla="*/ 58069218 h 58069383"/>
              <a:gd name="connsiteX8" fmla="*/ 7657679 w 9654801"/>
              <a:gd name="connsiteY8" fmla="*/ 4164172 h 58069383"/>
              <a:gd name="connsiteX9" fmla="*/ 8599377 w 9654801"/>
              <a:gd name="connsiteY9" fmla="*/ 3651587 h 58069383"/>
              <a:gd name="connsiteX10" fmla="*/ 9654801 w 9654801"/>
              <a:gd name="connsiteY10" fmla="*/ 3860628 h 58069383"/>
              <a:gd name="connsiteX0" fmla="*/ 0 w 9654801"/>
              <a:gd name="connsiteY0" fmla="*/ 46462975 h 58069383"/>
              <a:gd name="connsiteX1" fmla="*/ 895898 w 9654801"/>
              <a:gd name="connsiteY1" fmla="*/ 40920704 h 58069383"/>
              <a:gd name="connsiteX2" fmla="*/ 1919578 w 9654801"/>
              <a:gd name="connsiteY2" fmla="*/ 20067075 h 58069383"/>
              <a:gd name="connsiteX3" fmla="*/ 2851448 w 9654801"/>
              <a:gd name="connsiteY3" fmla="*/ 41040449 h 58069383"/>
              <a:gd name="connsiteX4" fmla="*/ 3819896 w 9654801"/>
              <a:gd name="connsiteY4" fmla="*/ 40622185 h 58069383"/>
              <a:gd name="connsiteX5" fmla="*/ 4775965 w 9654801"/>
              <a:gd name="connsiteY5" fmla="*/ 28281186 h 58069383"/>
              <a:gd name="connsiteX6" fmla="*/ 5786064 w 9654801"/>
              <a:gd name="connsiteY6" fmla="*/ 41182244 h 58069383"/>
              <a:gd name="connsiteX7" fmla="*/ 6770015 w 9654801"/>
              <a:gd name="connsiteY7" fmla="*/ 58069218 h 58069383"/>
              <a:gd name="connsiteX8" fmla="*/ 7657679 w 9654801"/>
              <a:gd name="connsiteY8" fmla="*/ 4164172 h 58069383"/>
              <a:gd name="connsiteX9" fmla="*/ 8599377 w 9654801"/>
              <a:gd name="connsiteY9" fmla="*/ 3651587 h 58069383"/>
              <a:gd name="connsiteX10" fmla="*/ 9654801 w 9654801"/>
              <a:gd name="connsiteY10" fmla="*/ 3860628 h 58069383"/>
              <a:gd name="connsiteX0" fmla="*/ 0 w 9654801"/>
              <a:gd name="connsiteY0" fmla="*/ 46462975 h 58069383"/>
              <a:gd name="connsiteX1" fmla="*/ 895898 w 9654801"/>
              <a:gd name="connsiteY1" fmla="*/ 40920704 h 58069383"/>
              <a:gd name="connsiteX2" fmla="*/ 1919578 w 9654801"/>
              <a:gd name="connsiteY2" fmla="*/ 20067075 h 58069383"/>
              <a:gd name="connsiteX3" fmla="*/ 2851448 w 9654801"/>
              <a:gd name="connsiteY3" fmla="*/ 41040449 h 58069383"/>
              <a:gd name="connsiteX4" fmla="*/ 3819896 w 9654801"/>
              <a:gd name="connsiteY4" fmla="*/ 40622185 h 58069383"/>
              <a:gd name="connsiteX5" fmla="*/ 4775965 w 9654801"/>
              <a:gd name="connsiteY5" fmla="*/ 28281186 h 58069383"/>
              <a:gd name="connsiteX6" fmla="*/ 5786064 w 9654801"/>
              <a:gd name="connsiteY6" fmla="*/ 41182244 h 58069383"/>
              <a:gd name="connsiteX7" fmla="*/ 6770015 w 9654801"/>
              <a:gd name="connsiteY7" fmla="*/ 58069218 h 58069383"/>
              <a:gd name="connsiteX8" fmla="*/ 7657679 w 9654801"/>
              <a:gd name="connsiteY8" fmla="*/ 4164172 h 58069383"/>
              <a:gd name="connsiteX9" fmla="*/ 8599377 w 9654801"/>
              <a:gd name="connsiteY9" fmla="*/ 3651587 h 58069383"/>
              <a:gd name="connsiteX10" fmla="*/ 9654801 w 9654801"/>
              <a:gd name="connsiteY10" fmla="*/ 3860628 h 58069383"/>
              <a:gd name="connsiteX0" fmla="*/ 0 w 9654801"/>
              <a:gd name="connsiteY0" fmla="*/ 46462975 h 58069383"/>
              <a:gd name="connsiteX1" fmla="*/ 895898 w 9654801"/>
              <a:gd name="connsiteY1" fmla="*/ 40920704 h 58069383"/>
              <a:gd name="connsiteX2" fmla="*/ 1919578 w 9654801"/>
              <a:gd name="connsiteY2" fmla="*/ 20067075 h 58069383"/>
              <a:gd name="connsiteX3" fmla="*/ 2851448 w 9654801"/>
              <a:gd name="connsiteY3" fmla="*/ 41040449 h 58069383"/>
              <a:gd name="connsiteX4" fmla="*/ 3819896 w 9654801"/>
              <a:gd name="connsiteY4" fmla="*/ 40622185 h 58069383"/>
              <a:gd name="connsiteX5" fmla="*/ 4775965 w 9654801"/>
              <a:gd name="connsiteY5" fmla="*/ 28281186 h 58069383"/>
              <a:gd name="connsiteX6" fmla="*/ 5786064 w 9654801"/>
              <a:gd name="connsiteY6" fmla="*/ 41182244 h 58069383"/>
              <a:gd name="connsiteX7" fmla="*/ 6770015 w 9654801"/>
              <a:gd name="connsiteY7" fmla="*/ 58069218 h 58069383"/>
              <a:gd name="connsiteX8" fmla="*/ 7657679 w 9654801"/>
              <a:gd name="connsiteY8" fmla="*/ 4164172 h 58069383"/>
              <a:gd name="connsiteX9" fmla="*/ 8599377 w 9654801"/>
              <a:gd name="connsiteY9" fmla="*/ 3651587 h 58069383"/>
              <a:gd name="connsiteX10" fmla="*/ 9654801 w 9654801"/>
              <a:gd name="connsiteY10" fmla="*/ 3860628 h 58069383"/>
              <a:gd name="connsiteX0" fmla="*/ 0 w 9654801"/>
              <a:gd name="connsiteY0" fmla="*/ 43072057 h 54946781"/>
              <a:gd name="connsiteX1" fmla="*/ 895898 w 9654801"/>
              <a:gd name="connsiteY1" fmla="*/ 37529786 h 54946781"/>
              <a:gd name="connsiteX2" fmla="*/ 1919578 w 9654801"/>
              <a:gd name="connsiteY2" fmla="*/ 16676157 h 54946781"/>
              <a:gd name="connsiteX3" fmla="*/ 2851448 w 9654801"/>
              <a:gd name="connsiteY3" fmla="*/ 37649531 h 54946781"/>
              <a:gd name="connsiteX4" fmla="*/ 3819896 w 9654801"/>
              <a:gd name="connsiteY4" fmla="*/ 37231267 h 54946781"/>
              <a:gd name="connsiteX5" fmla="*/ 4775965 w 9654801"/>
              <a:gd name="connsiteY5" fmla="*/ 24890268 h 54946781"/>
              <a:gd name="connsiteX6" fmla="*/ 5786064 w 9654801"/>
              <a:gd name="connsiteY6" fmla="*/ 37791326 h 54946781"/>
              <a:gd name="connsiteX7" fmla="*/ 6770015 w 9654801"/>
              <a:gd name="connsiteY7" fmla="*/ 54678300 h 54946781"/>
              <a:gd name="connsiteX8" fmla="*/ 7852429 w 9654801"/>
              <a:gd name="connsiteY8" fmla="*/ 23403821 h 54946781"/>
              <a:gd name="connsiteX9" fmla="*/ 8599377 w 9654801"/>
              <a:gd name="connsiteY9" fmla="*/ 260669 h 54946781"/>
              <a:gd name="connsiteX10" fmla="*/ 9654801 w 9654801"/>
              <a:gd name="connsiteY10" fmla="*/ 469710 h 54946781"/>
              <a:gd name="connsiteX0" fmla="*/ 0 w 9654801"/>
              <a:gd name="connsiteY0" fmla="*/ 43072057 h 54946781"/>
              <a:gd name="connsiteX1" fmla="*/ 895898 w 9654801"/>
              <a:gd name="connsiteY1" fmla="*/ 37529786 h 54946781"/>
              <a:gd name="connsiteX2" fmla="*/ 1919578 w 9654801"/>
              <a:gd name="connsiteY2" fmla="*/ 16676157 h 54946781"/>
              <a:gd name="connsiteX3" fmla="*/ 2851448 w 9654801"/>
              <a:gd name="connsiteY3" fmla="*/ 37649531 h 54946781"/>
              <a:gd name="connsiteX4" fmla="*/ 3819896 w 9654801"/>
              <a:gd name="connsiteY4" fmla="*/ 37231267 h 54946781"/>
              <a:gd name="connsiteX5" fmla="*/ 4775965 w 9654801"/>
              <a:gd name="connsiteY5" fmla="*/ 24890268 h 54946781"/>
              <a:gd name="connsiteX6" fmla="*/ 5786064 w 9654801"/>
              <a:gd name="connsiteY6" fmla="*/ 37791326 h 54946781"/>
              <a:gd name="connsiteX7" fmla="*/ 6770015 w 9654801"/>
              <a:gd name="connsiteY7" fmla="*/ 54678300 h 54946781"/>
              <a:gd name="connsiteX8" fmla="*/ 7852429 w 9654801"/>
              <a:gd name="connsiteY8" fmla="*/ 23403821 h 54946781"/>
              <a:gd name="connsiteX9" fmla="*/ 8599377 w 9654801"/>
              <a:gd name="connsiteY9" fmla="*/ 260669 h 54946781"/>
              <a:gd name="connsiteX10" fmla="*/ 9654801 w 9654801"/>
              <a:gd name="connsiteY10" fmla="*/ 469710 h 54946781"/>
              <a:gd name="connsiteX0" fmla="*/ 0 w 9654801"/>
              <a:gd name="connsiteY0" fmla="*/ 43072057 h 54903253"/>
              <a:gd name="connsiteX1" fmla="*/ 895898 w 9654801"/>
              <a:gd name="connsiteY1" fmla="*/ 37529786 h 54903253"/>
              <a:gd name="connsiteX2" fmla="*/ 1919578 w 9654801"/>
              <a:gd name="connsiteY2" fmla="*/ 16676157 h 54903253"/>
              <a:gd name="connsiteX3" fmla="*/ 2851448 w 9654801"/>
              <a:gd name="connsiteY3" fmla="*/ 37649531 h 54903253"/>
              <a:gd name="connsiteX4" fmla="*/ 3819896 w 9654801"/>
              <a:gd name="connsiteY4" fmla="*/ 37231267 h 54903253"/>
              <a:gd name="connsiteX5" fmla="*/ 4775965 w 9654801"/>
              <a:gd name="connsiteY5" fmla="*/ 24890268 h 54903253"/>
              <a:gd name="connsiteX6" fmla="*/ 5786064 w 9654801"/>
              <a:gd name="connsiteY6" fmla="*/ 37791326 h 54903253"/>
              <a:gd name="connsiteX7" fmla="*/ 6770015 w 9654801"/>
              <a:gd name="connsiteY7" fmla="*/ 54678300 h 54903253"/>
              <a:gd name="connsiteX8" fmla="*/ 7771842 w 9654801"/>
              <a:gd name="connsiteY8" fmla="*/ 24785031 h 54903253"/>
              <a:gd name="connsiteX9" fmla="*/ 8599377 w 9654801"/>
              <a:gd name="connsiteY9" fmla="*/ 260669 h 54903253"/>
              <a:gd name="connsiteX10" fmla="*/ 9654801 w 9654801"/>
              <a:gd name="connsiteY10" fmla="*/ 469710 h 54903253"/>
              <a:gd name="connsiteX0" fmla="*/ 0 w 9654801"/>
              <a:gd name="connsiteY0" fmla="*/ 43072057 h 55154886"/>
              <a:gd name="connsiteX1" fmla="*/ 895898 w 9654801"/>
              <a:gd name="connsiteY1" fmla="*/ 37529786 h 55154886"/>
              <a:gd name="connsiteX2" fmla="*/ 1919578 w 9654801"/>
              <a:gd name="connsiteY2" fmla="*/ 16676157 h 55154886"/>
              <a:gd name="connsiteX3" fmla="*/ 2851448 w 9654801"/>
              <a:gd name="connsiteY3" fmla="*/ 37649531 h 55154886"/>
              <a:gd name="connsiteX4" fmla="*/ 3819896 w 9654801"/>
              <a:gd name="connsiteY4" fmla="*/ 37231267 h 55154886"/>
              <a:gd name="connsiteX5" fmla="*/ 4775965 w 9654801"/>
              <a:gd name="connsiteY5" fmla="*/ 24890268 h 55154886"/>
              <a:gd name="connsiteX6" fmla="*/ 5786064 w 9654801"/>
              <a:gd name="connsiteY6" fmla="*/ 37791326 h 55154886"/>
              <a:gd name="connsiteX7" fmla="*/ 6770015 w 9654801"/>
              <a:gd name="connsiteY7" fmla="*/ 54678300 h 55154886"/>
              <a:gd name="connsiteX8" fmla="*/ 7751696 w 9654801"/>
              <a:gd name="connsiteY8" fmla="*/ 17666500 h 55154886"/>
              <a:gd name="connsiteX9" fmla="*/ 8599377 w 9654801"/>
              <a:gd name="connsiteY9" fmla="*/ 260669 h 55154886"/>
              <a:gd name="connsiteX10" fmla="*/ 9654801 w 9654801"/>
              <a:gd name="connsiteY10" fmla="*/ 469710 h 55154886"/>
              <a:gd name="connsiteX0" fmla="*/ 0 w 9654801"/>
              <a:gd name="connsiteY0" fmla="*/ 43072057 h 55154886"/>
              <a:gd name="connsiteX1" fmla="*/ 895898 w 9654801"/>
              <a:gd name="connsiteY1" fmla="*/ 37529786 h 55154886"/>
              <a:gd name="connsiteX2" fmla="*/ 1919578 w 9654801"/>
              <a:gd name="connsiteY2" fmla="*/ 16676157 h 55154886"/>
              <a:gd name="connsiteX3" fmla="*/ 2851448 w 9654801"/>
              <a:gd name="connsiteY3" fmla="*/ 37649531 h 55154886"/>
              <a:gd name="connsiteX4" fmla="*/ 3819896 w 9654801"/>
              <a:gd name="connsiteY4" fmla="*/ 37231267 h 55154886"/>
              <a:gd name="connsiteX5" fmla="*/ 4775965 w 9654801"/>
              <a:gd name="connsiteY5" fmla="*/ 24890268 h 55154886"/>
              <a:gd name="connsiteX6" fmla="*/ 5786064 w 9654801"/>
              <a:gd name="connsiteY6" fmla="*/ 37791326 h 55154886"/>
              <a:gd name="connsiteX7" fmla="*/ 6770015 w 9654801"/>
              <a:gd name="connsiteY7" fmla="*/ 54678300 h 55154886"/>
              <a:gd name="connsiteX8" fmla="*/ 7751696 w 9654801"/>
              <a:gd name="connsiteY8" fmla="*/ 17666500 h 55154886"/>
              <a:gd name="connsiteX9" fmla="*/ 8599377 w 9654801"/>
              <a:gd name="connsiteY9" fmla="*/ 260669 h 55154886"/>
              <a:gd name="connsiteX10" fmla="*/ 9654801 w 9654801"/>
              <a:gd name="connsiteY10" fmla="*/ 469710 h 55154886"/>
              <a:gd name="connsiteX0" fmla="*/ 0 w 9654801"/>
              <a:gd name="connsiteY0" fmla="*/ 42602351 h 54685180"/>
              <a:gd name="connsiteX1" fmla="*/ 895898 w 9654801"/>
              <a:gd name="connsiteY1" fmla="*/ 37060080 h 54685180"/>
              <a:gd name="connsiteX2" fmla="*/ 1919578 w 9654801"/>
              <a:gd name="connsiteY2" fmla="*/ 16206451 h 54685180"/>
              <a:gd name="connsiteX3" fmla="*/ 2851448 w 9654801"/>
              <a:gd name="connsiteY3" fmla="*/ 37179825 h 54685180"/>
              <a:gd name="connsiteX4" fmla="*/ 3819896 w 9654801"/>
              <a:gd name="connsiteY4" fmla="*/ 36761561 h 54685180"/>
              <a:gd name="connsiteX5" fmla="*/ 4775965 w 9654801"/>
              <a:gd name="connsiteY5" fmla="*/ 24420562 h 54685180"/>
              <a:gd name="connsiteX6" fmla="*/ 5786064 w 9654801"/>
              <a:gd name="connsiteY6" fmla="*/ 37321620 h 54685180"/>
              <a:gd name="connsiteX7" fmla="*/ 6770015 w 9654801"/>
              <a:gd name="connsiteY7" fmla="*/ 54208594 h 54685180"/>
              <a:gd name="connsiteX8" fmla="*/ 7751696 w 9654801"/>
              <a:gd name="connsiteY8" fmla="*/ 17196794 h 54685180"/>
              <a:gd name="connsiteX9" fmla="*/ 8747118 w 9654801"/>
              <a:gd name="connsiteY9" fmla="*/ 17321667 h 54685180"/>
              <a:gd name="connsiteX10" fmla="*/ 9654801 w 9654801"/>
              <a:gd name="connsiteY10" fmla="*/ 4 h 54685180"/>
              <a:gd name="connsiteX0" fmla="*/ 0 w 9654801"/>
              <a:gd name="connsiteY0" fmla="*/ 42602351 h 54685180"/>
              <a:gd name="connsiteX1" fmla="*/ 895898 w 9654801"/>
              <a:gd name="connsiteY1" fmla="*/ 37060080 h 54685180"/>
              <a:gd name="connsiteX2" fmla="*/ 1919578 w 9654801"/>
              <a:gd name="connsiteY2" fmla="*/ 16206451 h 54685180"/>
              <a:gd name="connsiteX3" fmla="*/ 2851448 w 9654801"/>
              <a:gd name="connsiteY3" fmla="*/ 37179825 h 54685180"/>
              <a:gd name="connsiteX4" fmla="*/ 3819896 w 9654801"/>
              <a:gd name="connsiteY4" fmla="*/ 36761561 h 54685180"/>
              <a:gd name="connsiteX5" fmla="*/ 4775965 w 9654801"/>
              <a:gd name="connsiteY5" fmla="*/ 24420562 h 54685180"/>
              <a:gd name="connsiteX6" fmla="*/ 5786064 w 9654801"/>
              <a:gd name="connsiteY6" fmla="*/ 37321620 h 54685180"/>
              <a:gd name="connsiteX7" fmla="*/ 6770015 w 9654801"/>
              <a:gd name="connsiteY7" fmla="*/ 54208594 h 54685180"/>
              <a:gd name="connsiteX8" fmla="*/ 7751696 w 9654801"/>
              <a:gd name="connsiteY8" fmla="*/ 17196794 h 54685180"/>
              <a:gd name="connsiteX9" fmla="*/ 8747118 w 9654801"/>
              <a:gd name="connsiteY9" fmla="*/ 17321667 h 54685180"/>
              <a:gd name="connsiteX10" fmla="*/ 9654801 w 9654801"/>
              <a:gd name="connsiteY10" fmla="*/ 4 h 54685180"/>
              <a:gd name="connsiteX0" fmla="*/ 0 w 9654801"/>
              <a:gd name="connsiteY0" fmla="*/ 42602351 h 54685180"/>
              <a:gd name="connsiteX1" fmla="*/ 895898 w 9654801"/>
              <a:gd name="connsiteY1" fmla="*/ 37060080 h 54685180"/>
              <a:gd name="connsiteX2" fmla="*/ 1919578 w 9654801"/>
              <a:gd name="connsiteY2" fmla="*/ 16206451 h 54685180"/>
              <a:gd name="connsiteX3" fmla="*/ 2851448 w 9654801"/>
              <a:gd name="connsiteY3" fmla="*/ 37179825 h 54685180"/>
              <a:gd name="connsiteX4" fmla="*/ 3819896 w 9654801"/>
              <a:gd name="connsiteY4" fmla="*/ 36761561 h 54685180"/>
              <a:gd name="connsiteX5" fmla="*/ 4775965 w 9654801"/>
              <a:gd name="connsiteY5" fmla="*/ 24420562 h 54685180"/>
              <a:gd name="connsiteX6" fmla="*/ 5786064 w 9654801"/>
              <a:gd name="connsiteY6" fmla="*/ 37321620 h 54685180"/>
              <a:gd name="connsiteX7" fmla="*/ 6770015 w 9654801"/>
              <a:gd name="connsiteY7" fmla="*/ 54208594 h 54685180"/>
              <a:gd name="connsiteX8" fmla="*/ 7751696 w 9654801"/>
              <a:gd name="connsiteY8" fmla="*/ 17196794 h 54685180"/>
              <a:gd name="connsiteX9" fmla="*/ 8747118 w 9654801"/>
              <a:gd name="connsiteY9" fmla="*/ 17321667 h 54685180"/>
              <a:gd name="connsiteX10" fmla="*/ 9654801 w 9654801"/>
              <a:gd name="connsiteY10" fmla="*/ 4 h 54685180"/>
              <a:gd name="connsiteX0" fmla="*/ 0 w 9654801"/>
              <a:gd name="connsiteY0" fmla="*/ 42602351 h 54685180"/>
              <a:gd name="connsiteX1" fmla="*/ 895898 w 9654801"/>
              <a:gd name="connsiteY1" fmla="*/ 37060080 h 54685180"/>
              <a:gd name="connsiteX2" fmla="*/ 1919578 w 9654801"/>
              <a:gd name="connsiteY2" fmla="*/ 16206451 h 54685180"/>
              <a:gd name="connsiteX3" fmla="*/ 2851448 w 9654801"/>
              <a:gd name="connsiteY3" fmla="*/ 37179825 h 54685180"/>
              <a:gd name="connsiteX4" fmla="*/ 3819896 w 9654801"/>
              <a:gd name="connsiteY4" fmla="*/ 36761561 h 54685180"/>
              <a:gd name="connsiteX5" fmla="*/ 4775965 w 9654801"/>
              <a:gd name="connsiteY5" fmla="*/ 24420562 h 54685180"/>
              <a:gd name="connsiteX6" fmla="*/ 5786064 w 9654801"/>
              <a:gd name="connsiteY6" fmla="*/ 37321620 h 54685180"/>
              <a:gd name="connsiteX7" fmla="*/ 6770015 w 9654801"/>
              <a:gd name="connsiteY7" fmla="*/ 54208594 h 54685180"/>
              <a:gd name="connsiteX8" fmla="*/ 7751696 w 9654801"/>
              <a:gd name="connsiteY8" fmla="*/ 17196794 h 54685180"/>
              <a:gd name="connsiteX9" fmla="*/ 8726972 w 9654801"/>
              <a:gd name="connsiteY9" fmla="*/ 16152954 h 54685180"/>
              <a:gd name="connsiteX10" fmla="*/ 9654801 w 9654801"/>
              <a:gd name="connsiteY10" fmla="*/ 4 h 54685180"/>
              <a:gd name="connsiteX0" fmla="*/ 0 w 9654801"/>
              <a:gd name="connsiteY0" fmla="*/ 42602351 h 54685180"/>
              <a:gd name="connsiteX1" fmla="*/ 895898 w 9654801"/>
              <a:gd name="connsiteY1" fmla="*/ 37060080 h 54685180"/>
              <a:gd name="connsiteX2" fmla="*/ 1919578 w 9654801"/>
              <a:gd name="connsiteY2" fmla="*/ 16206451 h 54685180"/>
              <a:gd name="connsiteX3" fmla="*/ 2851448 w 9654801"/>
              <a:gd name="connsiteY3" fmla="*/ 37179825 h 54685180"/>
              <a:gd name="connsiteX4" fmla="*/ 3819896 w 9654801"/>
              <a:gd name="connsiteY4" fmla="*/ 36761561 h 54685180"/>
              <a:gd name="connsiteX5" fmla="*/ 4775965 w 9654801"/>
              <a:gd name="connsiteY5" fmla="*/ 24420562 h 54685180"/>
              <a:gd name="connsiteX6" fmla="*/ 5786064 w 9654801"/>
              <a:gd name="connsiteY6" fmla="*/ 37321620 h 54685180"/>
              <a:gd name="connsiteX7" fmla="*/ 6770015 w 9654801"/>
              <a:gd name="connsiteY7" fmla="*/ 54208594 h 54685180"/>
              <a:gd name="connsiteX8" fmla="*/ 7751696 w 9654801"/>
              <a:gd name="connsiteY8" fmla="*/ 17196794 h 54685180"/>
              <a:gd name="connsiteX9" fmla="*/ 8726972 w 9654801"/>
              <a:gd name="connsiteY9" fmla="*/ 16152954 h 54685180"/>
              <a:gd name="connsiteX10" fmla="*/ 9654801 w 9654801"/>
              <a:gd name="connsiteY10" fmla="*/ 4 h 54685180"/>
              <a:gd name="connsiteX0" fmla="*/ 0 w 9654801"/>
              <a:gd name="connsiteY0" fmla="*/ 42602351 h 54685180"/>
              <a:gd name="connsiteX1" fmla="*/ 895898 w 9654801"/>
              <a:gd name="connsiteY1" fmla="*/ 37060080 h 54685180"/>
              <a:gd name="connsiteX2" fmla="*/ 1919578 w 9654801"/>
              <a:gd name="connsiteY2" fmla="*/ 16206451 h 54685180"/>
              <a:gd name="connsiteX3" fmla="*/ 2851448 w 9654801"/>
              <a:gd name="connsiteY3" fmla="*/ 37179825 h 54685180"/>
              <a:gd name="connsiteX4" fmla="*/ 3819896 w 9654801"/>
              <a:gd name="connsiteY4" fmla="*/ 36761561 h 54685180"/>
              <a:gd name="connsiteX5" fmla="*/ 4775965 w 9654801"/>
              <a:gd name="connsiteY5" fmla="*/ 24420562 h 54685180"/>
              <a:gd name="connsiteX6" fmla="*/ 5786064 w 9654801"/>
              <a:gd name="connsiteY6" fmla="*/ 37321620 h 54685180"/>
              <a:gd name="connsiteX7" fmla="*/ 6770015 w 9654801"/>
              <a:gd name="connsiteY7" fmla="*/ 54208594 h 54685180"/>
              <a:gd name="connsiteX8" fmla="*/ 7751696 w 9654801"/>
              <a:gd name="connsiteY8" fmla="*/ 17196794 h 54685180"/>
              <a:gd name="connsiteX9" fmla="*/ 8726972 w 9654801"/>
              <a:gd name="connsiteY9" fmla="*/ 22740249 h 54685180"/>
              <a:gd name="connsiteX10" fmla="*/ 9654801 w 9654801"/>
              <a:gd name="connsiteY10" fmla="*/ 4 h 54685180"/>
              <a:gd name="connsiteX0" fmla="*/ 0 w 9789111"/>
              <a:gd name="connsiteY0" fmla="*/ 26842046 h 38924875"/>
              <a:gd name="connsiteX1" fmla="*/ 895898 w 9789111"/>
              <a:gd name="connsiteY1" fmla="*/ 21299775 h 38924875"/>
              <a:gd name="connsiteX2" fmla="*/ 1919578 w 9789111"/>
              <a:gd name="connsiteY2" fmla="*/ 446146 h 38924875"/>
              <a:gd name="connsiteX3" fmla="*/ 2851448 w 9789111"/>
              <a:gd name="connsiteY3" fmla="*/ 21419520 h 38924875"/>
              <a:gd name="connsiteX4" fmla="*/ 3819896 w 9789111"/>
              <a:gd name="connsiteY4" fmla="*/ 21001256 h 38924875"/>
              <a:gd name="connsiteX5" fmla="*/ 4775965 w 9789111"/>
              <a:gd name="connsiteY5" fmla="*/ 8660257 h 38924875"/>
              <a:gd name="connsiteX6" fmla="*/ 5786064 w 9789111"/>
              <a:gd name="connsiteY6" fmla="*/ 21561315 h 38924875"/>
              <a:gd name="connsiteX7" fmla="*/ 6770015 w 9789111"/>
              <a:gd name="connsiteY7" fmla="*/ 38448289 h 38924875"/>
              <a:gd name="connsiteX8" fmla="*/ 7751696 w 9789111"/>
              <a:gd name="connsiteY8" fmla="*/ 1436489 h 38924875"/>
              <a:gd name="connsiteX9" fmla="*/ 8726972 w 9789111"/>
              <a:gd name="connsiteY9" fmla="*/ 6979944 h 38924875"/>
              <a:gd name="connsiteX10" fmla="*/ 9789111 w 9789111"/>
              <a:gd name="connsiteY10" fmla="*/ 6870240 h 38924875"/>
              <a:gd name="connsiteX0" fmla="*/ 0 w 9789111"/>
              <a:gd name="connsiteY0" fmla="*/ 26842046 h 38924875"/>
              <a:gd name="connsiteX1" fmla="*/ 895898 w 9789111"/>
              <a:gd name="connsiteY1" fmla="*/ 21299775 h 38924875"/>
              <a:gd name="connsiteX2" fmla="*/ 1919578 w 9789111"/>
              <a:gd name="connsiteY2" fmla="*/ 446146 h 38924875"/>
              <a:gd name="connsiteX3" fmla="*/ 2851448 w 9789111"/>
              <a:gd name="connsiteY3" fmla="*/ 21419520 h 38924875"/>
              <a:gd name="connsiteX4" fmla="*/ 3819896 w 9789111"/>
              <a:gd name="connsiteY4" fmla="*/ 21001256 h 38924875"/>
              <a:gd name="connsiteX5" fmla="*/ 4775965 w 9789111"/>
              <a:gd name="connsiteY5" fmla="*/ 8660257 h 38924875"/>
              <a:gd name="connsiteX6" fmla="*/ 5786064 w 9789111"/>
              <a:gd name="connsiteY6" fmla="*/ 21561315 h 38924875"/>
              <a:gd name="connsiteX7" fmla="*/ 6770015 w 9789111"/>
              <a:gd name="connsiteY7" fmla="*/ 38448289 h 38924875"/>
              <a:gd name="connsiteX8" fmla="*/ 7751696 w 9789111"/>
              <a:gd name="connsiteY8" fmla="*/ 1436489 h 38924875"/>
              <a:gd name="connsiteX9" fmla="*/ 8726972 w 9789111"/>
              <a:gd name="connsiteY9" fmla="*/ 6979944 h 38924875"/>
              <a:gd name="connsiteX10" fmla="*/ 9789111 w 9789111"/>
              <a:gd name="connsiteY10" fmla="*/ 6870240 h 38924875"/>
              <a:gd name="connsiteX0" fmla="*/ 0 w 9802542"/>
              <a:gd name="connsiteY0" fmla="*/ 26842046 h 38924875"/>
              <a:gd name="connsiteX1" fmla="*/ 895898 w 9802542"/>
              <a:gd name="connsiteY1" fmla="*/ 21299775 h 38924875"/>
              <a:gd name="connsiteX2" fmla="*/ 1919578 w 9802542"/>
              <a:gd name="connsiteY2" fmla="*/ 446146 h 38924875"/>
              <a:gd name="connsiteX3" fmla="*/ 2851448 w 9802542"/>
              <a:gd name="connsiteY3" fmla="*/ 21419520 h 38924875"/>
              <a:gd name="connsiteX4" fmla="*/ 3819896 w 9802542"/>
              <a:gd name="connsiteY4" fmla="*/ 21001256 h 38924875"/>
              <a:gd name="connsiteX5" fmla="*/ 4775965 w 9802542"/>
              <a:gd name="connsiteY5" fmla="*/ 8660257 h 38924875"/>
              <a:gd name="connsiteX6" fmla="*/ 5786064 w 9802542"/>
              <a:gd name="connsiteY6" fmla="*/ 21561315 h 38924875"/>
              <a:gd name="connsiteX7" fmla="*/ 6770015 w 9802542"/>
              <a:gd name="connsiteY7" fmla="*/ 38448289 h 38924875"/>
              <a:gd name="connsiteX8" fmla="*/ 7751696 w 9802542"/>
              <a:gd name="connsiteY8" fmla="*/ 1436489 h 38924875"/>
              <a:gd name="connsiteX9" fmla="*/ 8726972 w 9802542"/>
              <a:gd name="connsiteY9" fmla="*/ 6979944 h 38924875"/>
              <a:gd name="connsiteX10" fmla="*/ 9802542 w 9802542"/>
              <a:gd name="connsiteY10" fmla="*/ 7082737 h 38924875"/>
              <a:gd name="connsiteX0" fmla="*/ 0 w 9802542"/>
              <a:gd name="connsiteY0" fmla="*/ 26842046 h 38924875"/>
              <a:gd name="connsiteX1" fmla="*/ 895898 w 9802542"/>
              <a:gd name="connsiteY1" fmla="*/ 21299775 h 38924875"/>
              <a:gd name="connsiteX2" fmla="*/ 1919578 w 9802542"/>
              <a:gd name="connsiteY2" fmla="*/ 446146 h 38924875"/>
              <a:gd name="connsiteX3" fmla="*/ 2851448 w 9802542"/>
              <a:gd name="connsiteY3" fmla="*/ 21419520 h 38924875"/>
              <a:gd name="connsiteX4" fmla="*/ 3819896 w 9802542"/>
              <a:gd name="connsiteY4" fmla="*/ 21001256 h 38924875"/>
              <a:gd name="connsiteX5" fmla="*/ 4775965 w 9802542"/>
              <a:gd name="connsiteY5" fmla="*/ 8660257 h 38924875"/>
              <a:gd name="connsiteX6" fmla="*/ 5786064 w 9802542"/>
              <a:gd name="connsiteY6" fmla="*/ 21561315 h 38924875"/>
              <a:gd name="connsiteX7" fmla="*/ 6770015 w 9802542"/>
              <a:gd name="connsiteY7" fmla="*/ 38448289 h 38924875"/>
              <a:gd name="connsiteX8" fmla="*/ 7751696 w 9802542"/>
              <a:gd name="connsiteY8" fmla="*/ 1436489 h 38924875"/>
              <a:gd name="connsiteX9" fmla="*/ 8726972 w 9802542"/>
              <a:gd name="connsiteY9" fmla="*/ 6979944 h 38924875"/>
              <a:gd name="connsiteX10" fmla="*/ 9802542 w 9802542"/>
              <a:gd name="connsiteY10" fmla="*/ 7082737 h 3892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2542" h="38924875">
                <a:moveTo>
                  <a:pt x="0" y="26842046"/>
                </a:moveTo>
                <a:cubicBezTo>
                  <a:pt x="305505" y="25988323"/>
                  <a:pt x="495381" y="25592843"/>
                  <a:pt x="895898" y="21299775"/>
                </a:cubicBezTo>
                <a:cubicBezTo>
                  <a:pt x="1296415" y="17006707"/>
                  <a:pt x="1593653" y="426189"/>
                  <a:pt x="1919578" y="446146"/>
                </a:cubicBezTo>
                <a:cubicBezTo>
                  <a:pt x="2245503" y="466103"/>
                  <a:pt x="2534728" y="17993668"/>
                  <a:pt x="2851448" y="21419520"/>
                </a:cubicBezTo>
                <a:cubicBezTo>
                  <a:pt x="3168168" y="24845372"/>
                  <a:pt x="3693892" y="22065346"/>
                  <a:pt x="3819896" y="21001256"/>
                </a:cubicBezTo>
                <a:cubicBezTo>
                  <a:pt x="3945900" y="19937166"/>
                  <a:pt x="4448270" y="8566914"/>
                  <a:pt x="4775965" y="8660257"/>
                </a:cubicBezTo>
                <a:cubicBezTo>
                  <a:pt x="5103660" y="8753600"/>
                  <a:pt x="5453722" y="16596643"/>
                  <a:pt x="5786064" y="21561315"/>
                </a:cubicBezTo>
                <a:cubicBezTo>
                  <a:pt x="6118406" y="26525987"/>
                  <a:pt x="6442410" y="41802427"/>
                  <a:pt x="6770015" y="38448289"/>
                </a:cubicBezTo>
                <a:cubicBezTo>
                  <a:pt x="7097620" y="35094151"/>
                  <a:pt x="7425537" y="6681213"/>
                  <a:pt x="7751696" y="1436489"/>
                </a:cubicBezTo>
                <a:cubicBezTo>
                  <a:pt x="8077855" y="-3808235"/>
                  <a:pt x="8462225" y="6997331"/>
                  <a:pt x="8726972" y="6979944"/>
                </a:cubicBezTo>
                <a:cubicBezTo>
                  <a:pt x="9008104" y="6714536"/>
                  <a:pt x="9802542" y="7082737"/>
                  <a:pt x="9802542" y="7082737"/>
                </a:cubicBezTo>
              </a:path>
            </a:pathLst>
          </a:custGeom>
          <a:noFill/>
          <a:ln w="136525" cap="rnd" algn="ctr">
            <a:solidFill>
              <a:srgbClr val="32E9FF"/>
            </a:solidFill>
            <a:round/>
            <a:headEnd/>
            <a:tailEnd/>
          </a:ln>
        </p:spPr>
        <p:txBody>
          <a:bodyPr rtlCol="0" anchor="ctr"/>
          <a:lstStyle/>
          <a:p>
            <a:pPr algn="ctr"/>
            <a:endParaRPr lang="en-US" dirty="0"/>
          </a:p>
        </p:txBody>
      </p:sp>
      <p:grpSp>
        <p:nvGrpSpPr>
          <p:cNvPr id="94" name="Group 90"/>
          <p:cNvGrpSpPr/>
          <p:nvPr/>
        </p:nvGrpSpPr>
        <p:grpSpPr>
          <a:xfrm>
            <a:off x="8960144" y="237259"/>
            <a:ext cx="2430508" cy="289004"/>
            <a:chOff x="9447824" y="732559"/>
            <a:chExt cx="2430508" cy="289004"/>
          </a:xfrm>
        </p:grpSpPr>
        <p:grpSp>
          <p:nvGrpSpPr>
            <p:cNvPr id="95" name="Group 94">
              <a:extLst>
                <a:ext uri="{FF2B5EF4-FFF2-40B4-BE49-F238E27FC236}">
                  <a16:creationId xmlns:a16="http://schemas.microsoft.com/office/drawing/2014/main" id="{9E3B8F89-E451-43EC-BA52-C6EFBDC3D7F8}"/>
                </a:ext>
              </a:extLst>
            </p:cNvPr>
            <p:cNvGrpSpPr/>
            <p:nvPr/>
          </p:nvGrpSpPr>
          <p:grpSpPr>
            <a:xfrm>
              <a:off x="10424261" y="732559"/>
              <a:ext cx="674512" cy="289004"/>
              <a:chOff x="9617861" y="632954"/>
              <a:chExt cx="674512" cy="289004"/>
            </a:xfrm>
          </p:grpSpPr>
          <p:sp>
            <p:nvSpPr>
              <p:cNvPr id="102" name="Text Box 15">
                <a:extLst>
                  <a:ext uri="{FF2B5EF4-FFF2-40B4-BE49-F238E27FC236}">
                    <a16:creationId xmlns:a16="http://schemas.microsoft.com/office/drawing/2014/main" id="{8E83FE02-9BAB-4204-BC4A-81D213230F88}"/>
                  </a:ext>
                </a:extLst>
              </p:cNvPr>
              <p:cNvSpPr txBox="1">
                <a:spLocks noChangeArrowheads="1"/>
              </p:cNvSpPr>
              <p:nvPr/>
            </p:nvSpPr>
            <p:spPr bwMode="auto">
              <a:xfrm>
                <a:off x="9712102" y="632954"/>
                <a:ext cx="5565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altLang="ja-JP" sz="900" b="1" dirty="0">
                    <a:solidFill>
                      <a:srgbClr val="000000"/>
                    </a:solidFill>
                    <a:latin typeface="+mj-lt"/>
                  </a:rPr>
                  <a:t>MSBU</a:t>
                </a:r>
                <a:endParaRPr lang="en-US" sz="900" b="1" dirty="0">
                  <a:solidFill>
                    <a:srgbClr val="000000"/>
                  </a:solidFill>
                  <a:latin typeface="+mj-lt"/>
                </a:endParaRPr>
              </a:p>
            </p:txBody>
          </p:sp>
          <p:sp>
            <p:nvSpPr>
              <p:cNvPr id="103" name="Line 13">
                <a:extLst>
                  <a:ext uri="{FF2B5EF4-FFF2-40B4-BE49-F238E27FC236}">
                    <a16:creationId xmlns:a16="http://schemas.microsoft.com/office/drawing/2014/main" id="{3143BAE3-5404-4A1E-9130-0EEEB281941B}"/>
                  </a:ext>
                </a:extLst>
              </p:cNvPr>
              <p:cNvSpPr>
                <a:spLocks noChangeShapeType="1"/>
              </p:cNvSpPr>
              <p:nvPr/>
            </p:nvSpPr>
            <p:spPr bwMode="auto">
              <a:xfrm>
                <a:off x="9617861" y="921958"/>
                <a:ext cx="674512" cy="0"/>
              </a:xfrm>
              <a:prstGeom prst="line">
                <a:avLst/>
              </a:prstGeom>
              <a:noFill/>
              <a:ln w="127000" cap="flat" cmpd="sng" algn="ctr">
                <a:solidFill>
                  <a:srgbClr val="FFCD00"/>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96" name="Group 95">
              <a:extLst>
                <a:ext uri="{FF2B5EF4-FFF2-40B4-BE49-F238E27FC236}">
                  <a16:creationId xmlns:a16="http://schemas.microsoft.com/office/drawing/2014/main" id="{A1485764-3FE6-4A3F-A445-8201FFE463F4}"/>
                </a:ext>
              </a:extLst>
            </p:cNvPr>
            <p:cNvGrpSpPr/>
            <p:nvPr/>
          </p:nvGrpSpPr>
          <p:grpSpPr>
            <a:xfrm>
              <a:off x="11203820" y="732559"/>
              <a:ext cx="674512" cy="289004"/>
              <a:chOff x="10540690" y="632954"/>
              <a:chExt cx="674512" cy="289004"/>
            </a:xfrm>
          </p:grpSpPr>
          <p:sp>
            <p:nvSpPr>
              <p:cNvPr id="100" name="Text Box 15">
                <a:extLst>
                  <a:ext uri="{FF2B5EF4-FFF2-40B4-BE49-F238E27FC236}">
                    <a16:creationId xmlns:a16="http://schemas.microsoft.com/office/drawing/2014/main" id="{A0C2D952-A75C-4D5A-981A-913FBFE28294}"/>
                  </a:ext>
                </a:extLst>
              </p:cNvPr>
              <p:cNvSpPr txBox="1">
                <a:spLocks noChangeArrowheads="1"/>
              </p:cNvSpPr>
              <p:nvPr/>
            </p:nvSpPr>
            <p:spPr bwMode="auto">
              <a:xfrm>
                <a:off x="10660579" y="632954"/>
                <a:ext cx="5325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PSBU</a:t>
                </a:r>
              </a:p>
            </p:txBody>
          </p:sp>
          <p:sp>
            <p:nvSpPr>
              <p:cNvPr id="101" name="Line 13">
                <a:extLst>
                  <a:ext uri="{FF2B5EF4-FFF2-40B4-BE49-F238E27FC236}">
                    <a16:creationId xmlns:a16="http://schemas.microsoft.com/office/drawing/2014/main" id="{76EB2B03-4AC3-469B-BD5A-3EF5ABB9F3F0}"/>
                  </a:ext>
                </a:extLst>
              </p:cNvPr>
              <p:cNvSpPr>
                <a:spLocks noChangeShapeType="1"/>
              </p:cNvSpPr>
              <p:nvPr/>
            </p:nvSpPr>
            <p:spPr bwMode="auto">
              <a:xfrm>
                <a:off x="10540690" y="921958"/>
                <a:ext cx="674512" cy="0"/>
              </a:xfrm>
              <a:prstGeom prst="line">
                <a:avLst/>
              </a:prstGeom>
              <a:noFill/>
              <a:ln w="127000" cap="flat" cmpd="sng" algn="ctr">
                <a:solidFill>
                  <a:srgbClr val="32E9FF"/>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nvGrpSpPr>
            <p:cNvPr id="97" name="Group 96">
              <a:extLst>
                <a:ext uri="{FF2B5EF4-FFF2-40B4-BE49-F238E27FC236}">
                  <a16:creationId xmlns:a16="http://schemas.microsoft.com/office/drawing/2014/main" id="{735947D3-BDD1-4649-A310-5F226B001159}"/>
                </a:ext>
              </a:extLst>
            </p:cNvPr>
            <p:cNvGrpSpPr/>
            <p:nvPr/>
          </p:nvGrpSpPr>
          <p:grpSpPr>
            <a:xfrm>
              <a:off x="9447824" y="732559"/>
              <a:ext cx="989373" cy="289004"/>
              <a:chOff x="8683236" y="655736"/>
              <a:chExt cx="989373" cy="289004"/>
            </a:xfrm>
            <a:solidFill>
              <a:schemeClr val="bg1"/>
            </a:solidFill>
          </p:grpSpPr>
          <p:sp>
            <p:nvSpPr>
              <p:cNvPr id="98" name="Text Box 15">
                <a:extLst>
                  <a:ext uri="{FF2B5EF4-FFF2-40B4-BE49-F238E27FC236}">
                    <a16:creationId xmlns:a16="http://schemas.microsoft.com/office/drawing/2014/main" id="{86ECE751-0968-4D3D-BC54-40A3603B3E45}"/>
                  </a:ext>
                </a:extLst>
              </p:cNvPr>
              <p:cNvSpPr txBox="1">
                <a:spLocks noChangeArrowheads="1"/>
              </p:cNvSpPr>
              <p:nvPr/>
            </p:nvSpPr>
            <p:spPr bwMode="auto">
              <a:xfrm>
                <a:off x="8683236" y="655736"/>
                <a:ext cx="989373" cy="2308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eaLnBrk="1" hangingPunct="1"/>
                <a:r>
                  <a:rPr lang="en-US" sz="900" b="1" dirty="0">
                    <a:solidFill>
                      <a:srgbClr val="000000"/>
                    </a:solidFill>
                    <a:latin typeface="+mj-lt"/>
                  </a:rPr>
                  <a:t>Target State</a:t>
                </a:r>
              </a:p>
            </p:txBody>
          </p:sp>
          <p:sp>
            <p:nvSpPr>
              <p:cNvPr id="99" name="Line 13">
                <a:extLst>
                  <a:ext uri="{FF2B5EF4-FFF2-40B4-BE49-F238E27FC236}">
                    <a16:creationId xmlns:a16="http://schemas.microsoft.com/office/drawing/2014/main" id="{8EF73387-7D8E-4727-A874-02916A80696C}"/>
                  </a:ext>
                </a:extLst>
              </p:cNvPr>
              <p:cNvSpPr>
                <a:spLocks noChangeShapeType="1"/>
              </p:cNvSpPr>
              <p:nvPr/>
            </p:nvSpPr>
            <p:spPr bwMode="auto">
              <a:xfrm>
                <a:off x="8843146" y="944740"/>
                <a:ext cx="674512" cy="0"/>
              </a:xfrm>
              <a:prstGeom prst="line">
                <a:avLst/>
              </a:prstGeom>
              <a:grpFill/>
              <a:ln w="127000" cap="flat" cmpd="sng" algn="ctr">
                <a:solidFill>
                  <a:srgbClr val="43B02A">
                    <a:alpha val="50000"/>
                  </a:srgbClr>
                </a:solidFill>
                <a:prstDash val="solid"/>
                <a:round/>
                <a:headEnd type="none" w="med" len="med"/>
                <a:tailEnd type="none" w="med" len="med"/>
              </a:ln>
              <a:effectLst/>
            </p:spPr>
            <p:txBody>
              <a:bodyPr/>
              <a:lstStyle/>
              <a:p>
                <a:pPr>
                  <a:defRPr/>
                </a:pPr>
                <a:endParaRPr lang="en-US" sz="2880" kern="0" dirty="0">
                  <a:solidFill>
                    <a:srgbClr val="000000"/>
                  </a:solidFill>
                  <a:latin typeface="+mj-lt"/>
                </a:endParaRPr>
              </a:p>
            </p:txBody>
          </p:sp>
        </p:grpSp>
      </p:grpSp>
      <p:cxnSp>
        <p:nvCxnSpPr>
          <p:cNvPr id="8" name="Straight Connector 7">
            <a:extLst>
              <a:ext uri="{FF2B5EF4-FFF2-40B4-BE49-F238E27FC236}">
                <a16:creationId xmlns:a16="http://schemas.microsoft.com/office/drawing/2014/main" id="{A9336825-7FDC-472F-8FDD-6EBBC0FC5E6E}"/>
              </a:ext>
            </a:extLst>
          </p:cNvPr>
          <p:cNvCxnSpPr>
            <a:cxnSpLocks/>
          </p:cNvCxnSpPr>
          <p:nvPr/>
        </p:nvCxnSpPr>
        <p:spPr>
          <a:xfrm>
            <a:off x="6054975" y="3352502"/>
            <a:ext cx="318112" cy="0"/>
          </a:xfrm>
          <a:prstGeom prst="line">
            <a:avLst/>
          </a:prstGeom>
          <a:noFill/>
          <a:ln w="136525" cap="rnd" algn="ctr">
            <a:solidFill>
              <a:srgbClr val="A1D794"/>
            </a:solidFill>
            <a:round/>
            <a:headEnd/>
            <a:tailEnd/>
          </a:ln>
        </p:spPr>
      </p:cxnSp>
      <p:cxnSp>
        <p:nvCxnSpPr>
          <p:cNvPr id="87" name="Straight Connector 86">
            <a:extLst>
              <a:ext uri="{FF2B5EF4-FFF2-40B4-BE49-F238E27FC236}">
                <a16:creationId xmlns:a16="http://schemas.microsoft.com/office/drawing/2014/main" id="{92916F9B-BA86-4B7D-812D-06856878F8DA}"/>
              </a:ext>
            </a:extLst>
          </p:cNvPr>
          <p:cNvCxnSpPr>
            <a:cxnSpLocks/>
          </p:cNvCxnSpPr>
          <p:nvPr/>
        </p:nvCxnSpPr>
        <p:spPr>
          <a:xfrm flipV="1">
            <a:off x="8121897" y="2451214"/>
            <a:ext cx="304800" cy="1"/>
          </a:xfrm>
          <a:prstGeom prst="line">
            <a:avLst/>
          </a:prstGeom>
          <a:noFill/>
          <a:ln w="136525" cap="rnd" algn="ctr">
            <a:solidFill>
              <a:srgbClr val="A1D794"/>
            </a:solidFill>
            <a:round/>
            <a:headEnd/>
            <a:tailEnd/>
          </a:ln>
        </p:spPr>
      </p:cxnSp>
    </p:spTree>
    <p:extLst>
      <p:ext uri="{BB962C8B-B14F-4D97-AF65-F5344CB8AC3E}">
        <p14:creationId xmlns:p14="http://schemas.microsoft.com/office/powerpoint/2010/main" val="13071980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Group 29"/>
          <p:cNvGraphicFramePr>
            <a:graphicFrameLocks noGrp="1"/>
          </p:cNvGraphicFramePr>
          <p:nvPr>
            <p:extLst>
              <p:ext uri="{D42A27DB-BD31-4B8C-83A1-F6EECF244321}">
                <p14:modId xmlns:p14="http://schemas.microsoft.com/office/powerpoint/2010/main" val="888259829"/>
              </p:ext>
            </p:extLst>
          </p:nvPr>
        </p:nvGraphicFramePr>
        <p:xfrm>
          <a:off x="373085" y="885473"/>
          <a:ext cx="11445832" cy="5825007"/>
        </p:xfrm>
        <a:graphic>
          <a:graphicData uri="http://schemas.openxmlformats.org/drawingml/2006/table">
            <a:tbl>
              <a:tblPr/>
              <a:tblGrid>
                <a:gridCol w="1923228">
                  <a:extLst>
                    <a:ext uri="{9D8B030D-6E8A-4147-A177-3AD203B41FA5}">
                      <a16:colId xmlns:a16="http://schemas.microsoft.com/office/drawing/2014/main" val="20000"/>
                    </a:ext>
                  </a:extLst>
                </a:gridCol>
                <a:gridCol w="4761302">
                  <a:extLst>
                    <a:ext uri="{9D8B030D-6E8A-4147-A177-3AD203B41FA5}">
                      <a16:colId xmlns:a16="http://schemas.microsoft.com/office/drawing/2014/main" val="20001"/>
                    </a:ext>
                  </a:extLst>
                </a:gridCol>
                <a:gridCol w="4761302">
                  <a:extLst>
                    <a:ext uri="{9D8B030D-6E8A-4147-A177-3AD203B41FA5}">
                      <a16:colId xmlns:a16="http://schemas.microsoft.com/office/drawing/2014/main" val="20002"/>
                    </a:ext>
                  </a:extLst>
                </a:gridCol>
              </a:tblGrid>
              <a:tr h="37975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50" b="1" i="0" u="none" strike="noStrike" cap="none" normalizeH="0" baseline="0" dirty="0">
                        <a:ln>
                          <a:noFill/>
                        </a:ln>
                        <a:solidFill>
                          <a:srgbClr val="002776"/>
                        </a:solidFill>
                        <a:effectLst/>
                        <a:latin typeface="+mj-lt"/>
                        <a:cs typeface="Arial" pitchFamily="34" charset="0"/>
                      </a:endParaRPr>
                    </a:p>
                  </a:txBody>
                  <a:tcPr marL="54864" marR="54864" marT="36576" marB="36576"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Key</a:t>
                      </a:r>
                      <a:r>
                        <a:rPr lang="en-US" altLang="en-US" sz="1050" b="1" kern="1200" baseline="0" dirty="0">
                          <a:solidFill>
                            <a:schemeClr val="bg1"/>
                          </a:solidFill>
                          <a:latin typeface="+mn-lt"/>
                          <a:ea typeface="+mn-ea"/>
                          <a:cs typeface="+mn-cs"/>
                        </a:rPr>
                        <a:t> Observations</a:t>
                      </a:r>
                      <a:endParaRPr lang="en-US" altLang="en-US" sz="1050" b="1" kern="1200" dirty="0">
                        <a:solidFill>
                          <a:schemeClr val="bg1"/>
                        </a:solidFill>
                        <a:latin typeface="+mn-lt"/>
                        <a:ea typeface="+mn-ea"/>
                        <a:cs typeface="+mn-cs"/>
                      </a:endParaRP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algn="ctr" eaLnBrk="0" hangingPunct="0">
                        <a:lnSpc>
                          <a:spcPct val="90000"/>
                        </a:lnSpc>
                        <a:buSzPct val="100000"/>
                        <a:buFont typeface="Wingdings 2" pitchFamily="18" charset="2"/>
                        <a:buNone/>
                      </a:pPr>
                      <a:r>
                        <a:rPr lang="en-US" altLang="en-US" sz="1050" b="1" kern="1200" dirty="0">
                          <a:solidFill>
                            <a:schemeClr val="bg1"/>
                          </a:solidFill>
                          <a:latin typeface="+mn-lt"/>
                          <a:ea typeface="+mn-ea"/>
                          <a:cs typeface="+mn-cs"/>
                        </a:rPr>
                        <a:t>Business Implications</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833165">
                <a:tc>
                  <a:txBody>
                    <a:bodyPr/>
                    <a:lstStyle/>
                    <a:p>
                      <a:pPr algn="l"/>
                      <a:r>
                        <a:rPr lang="en-US" sz="1050" b="1" dirty="0">
                          <a:solidFill>
                            <a:schemeClr val="bg1"/>
                          </a:solidFill>
                        </a:rPr>
                        <a:t>Systems Engineering</a:t>
                      </a:r>
                      <a:r>
                        <a:rPr lang="en-US" sz="1050" b="1" baseline="0" dirty="0">
                          <a:solidFill>
                            <a:schemeClr val="bg1"/>
                          </a:solidFill>
                        </a:rPr>
                        <a:t> </a:t>
                      </a:r>
                      <a:r>
                        <a:rPr lang="en-US" sz="1050" b="1" dirty="0">
                          <a:solidFill>
                            <a:schemeClr val="bg1"/>
                          </a:solidFill>
                        </a:rPr>
                        <a:t>Approach</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solidFill>
                            <a:schemeClr val="tx1"/>
                          </a:solidFill>
                        </a:rPr>
                        <a:t>Utilize</a:t>
                      </a:r>
                      <a:r>
                        <a:rPr lang="ja-JP" altLang="en-US" sz="1050" dirty="0">
                          <a:solidFill>
                            <a:schemeClr val="tx1"/>
                          </a:solidFill>
                        </a:rPr>
                        <a:t> </a:t>
                      </a:r>
                      <a:r>
                        <a:rPr lang="en-US" altLang="ja-JP" sz="1050" dirty="0">
                          <a:solidFill>
                            <a:schemeClr val="tx1"/>
                          </a:solidFill>
                        </a:rPr>
                        <a:t>design</a:t>
                      </a:r>
                      <a:r>
                        <a:rPr lang="ja-JP" altLang="en-US" sz="1050" dirty="0">
                          <a:solidFill>
                            <a:schemeClr val="tx1"/>
                          </a:solidFill>
                        </a:rPr>
                        <a:t> </a:t>
                      </a:r>
                      <a:r>
                        <a:rPr lang="en-US" altLang="ja-JP" sz="1050" dirty="0">
                          <a:solidFill>
                            <a:schemeClr val="tx1"/>
                          </a:solidFill>
                        </a:rPr>
                        <a:t>tool</a:t>
                      </a:r>
                      <a:r>
                        <a:rPr lang="ja-JP" altLang="en-US" sz="1050" dirty="0">
                          <a:solidFill>
                            <a:schemeClr val="tx1"/>
                          </a:solidFill>
                        </a:rPr>
                        <a:t> </a:t>
                      </a:r>
                      <a:r>
                        <a:rPr lang="en-US" altLang="ja-JP" sz="1050" dirty="0">
                          <a:solidFill>
                            <a:schemeClr val="tx1"/>
                          </a:solidFill>
                        </a:rPr>
                        <a:t>IF</a:t>
                      </a:r>
                      <a:r>
                        <a:rPr lang="ja-JP" altLang="en-US" sz="1050" dirty="0">
                          <a:solidFill>
                            <a:schemeClr val="tx1"/>
                          </a:solidFill>
                        </a:rPr>
                        <a:t> </a:t>
                      </a:r>
                      <a:r>
                        <a:rPr lang="en-US" altLang="ja-JP" sz="1050" dirty="0">
                          <a:solidFill>
                            <a:schemeClr val="tx1"/>
                          </a:solidFill>
                        </a:rPr>
                        <a:t>with</a:t>
                      </a:r>
                      <a:r>
                        <a:rPr lang="ja-JP" altLang="en-US" sz="1050" dirty="0">
                          <a:solidFill>
                            <a:schemeClr val="tx1"/>
                          </a:solidFill>
                        </a:rPr>
                        <a:t> </a:t>
                      </a:r>
                      <a:r>
                        <a:rPr lang="en-US" altLang="ja-JP" sz="1050" dirty="0">
                          <a:solidFill>
                            <a:schemeClr val="tx1"/>
                          </a:solidFill>
                        </a:rPr>
                        <a:t>mecha</a:t>
                      </a:r>
                      <a:r>
                        <a:rPr lang="ja-JP" altLang="en-US" sz="1050" dirty="0">
                          <a:solidFill>
                            <a:schemeClr val="tx1"/>
                          </a:solidFill>
                        </a:rPr>
                        <a:t> </a:t>
                      </a:r>
                      <a:r>
                        <a:rPr lang="en-US" altLang="ja-JP" sz="1050" dirty="0">
                          <a:solidFill>
                            <a:schemeClr val="tx1"/>
                          </a:solidFill>
                        </a:rPr>
                        <a:t>system.</a:t>
                      </a:r>
                      <a:r>
                        <a:rPr lang="en-US" altLang="ja-JP" sz="1050" baseline="0" dirty="0">
                          <a:solidFill>
                            <a:schemeClr val="tx1"/>
                          </a:solidFill>
                        </a:rPr>
                        <a:t> There is one process among different products.</a:t>
                      </a:r>
                      <a:r>
                        <a:rPr lang="ja-JP" altLang="en-US" sz="1050" dirty="0">
                          <a:solidFill>
                            <a:schemeClr val="tx1"/>
                          </a:solidFill>
                        </a:rPr>
                        <a:t> </a:t>
                      </a:r>
                      <a:r>
                        <a:rPr lang="en-US" altLang="ja-JP" sz="1050" dirty="0">
                          <a:solidFill>
                            <a:schemeClr val="tx1"/>
                          </a:solidFill>
                        </a:rPr>
                        <a:t>(MSBU)</a:t>
                      </a:r>
                    </a:p>
                    <a:p>
                      <a:pPr marL="171450" indent="-171450">
                        <a:lnSpc>
                          <a:spcPct val="100000"/>
                        </a:lnSpc>
                        <a:spcBef>
                          <a:spcPts val="0"/>
                        </a:spcBef>
                        <a:buFont typeface="Arial" panose="020B0604020202020204" pitchFamily="34" charset="0"/>
                        <a:buChar char="•"/>
                      </a:pPr>
                      <a:r>
                        <a:rPr lang="en-US" altLang="ja-JP" sz="1050" dirty="0">
                          <a:solidFill>
                            <a:schemeClr val="tx1"/>
                          </a:solidFill>
                        </a:rPr>
                        <a:t>Process</a:t>
                      </a:r>
                      <a:r>
                        <a:rPr lang="en-US" altLang="ja-JP" sz="1050" baseline="0" dirty="0">
                          <a:solidFill>
                            <a:schemeClr val="tx1"/>
                          </a:solidFill>
                        </a:rPr>
                        <a:t> isn’t standardized. Product development rework has consuming time because concurrent development isn’t perfectly doing. (PSBU)</a:t>
                      </a:r>
                      <a:endParaRPr lang="en-US" altLang="ja-JP"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Don’t need Advance capability with all clients.</a:t>
                      </a:r>
                      <a:endParaRPr lang="ja-JP" altLang="en-US" sz="105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79755">
                <a:tc>
                  <a:txBody>
                    <a:bodyPr/>
                    <a:lstStyle/>
                    <a:p>
                      <a:pPr algn="l"/>
                      <a:r>
                        <a:rPr lang="en-US" sz="1050" b="1" dirty="0">
                          <a:solidFill>
                            <a:schemeClr val="bg1"/>
                          </a:solidFill>
                        </a:rPr>
                        <a:t>Voice Driven</a:t>
                      </a:r>
                      <a:r>
                        <a:rPr lang="en-US" sz="1050" b="1" baseline="0" dirty="0">
                          <a:solidFill>
                            <a:schemeClr val="bg1"/>
                          </a:solidFill>
                        </a:rPr>
                        <a:t> </a:t>
                      </a:r>
                      <a:r>
                        <a:rPr lang="en-US" sz="1050" b="1" dirty="0">
                          <a:solidFill>
                            <a:schemeClr val="bg1"/>
                          </a:solidFill>
                        </a:rPr>
                        <a:t>Requiremen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he environment for communicating with customers is in place, but the market has not caught up.</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dirty="0">
                          <a:solidFill>
                            <a:schemeClr val="tx1"/>
                          </a:solidFill>
                        </a:rPr>
                        <a:t>Most</a:t>
                      </a:r>
                      <a:r>
                        <a:rPr lang="en-US" altLang="ja-JP" sz="1050" baseline="0" dirty="0">
                          <a:solidFill>
                            <a:schemeClr val="tx1"/>
                          </a:solidFill>
                        </a:rPr>
                        <a:t> important. (</a:t>
                      </a:r>
                      <a:r>
                        <a:rPr lang="en-US" altLang="ja-JP" sz="1050" dirty="0">
                          <a:solidFill>
                            <a:schemeClr val="tx1"/>
                          </a:solidFill>
                        </a:rPr>
                        <a:t>PSBU)</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dirty="0">
                          <a:solidFill>
                            <a:schemeClr val="tx1"/>
                          </a:solidFill>
                        </a:rPr>
                        <a:t>Not most important. (M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79755">
                <a:tc>
                  <a:txBody>
                    <a:bodyPr/>
                    <a:lstStyle/>
                    <a:p>
                      <a:pPr algn="l"/>
                      <a:r>
                        <a:rPr lang="en-US" sz="1050" b="1" dirty="0">
                          <a:solidFill>
                            <a:schemeClr val="bg1"/>
                          </a:solidFill>
                        </a:rPr>
                        <a:t>Flow-Down</a:t>
                      </a:r>
                      <a:r>
                        <a:rPr lang="en-US" sz="1050" b="1" baseline="0" dirty="0">
                          <a:solidFill>
                            <a:schemeClr val="bg1"/>
                          </a:solidFill>
                        </a:rPr>
                        <a:t> </a:t>
                      </a:r>
                      <a:r>
                        <a:rPr lang="en-US" sz="1050" b="1" dirty="0">
                          <a:solidFill>
                            <a:schemeClr val="bg1"/>
                          </a:solidFill>
                        </a:rPr>
                        <a:t>and</a:t>
                      </a:r>
                      <a:r>
                        <a:rPr lang="en-US" sz="1050" b="1" baseline="0" dirty="0">
                          <a:solidFill>
                            <a:schemeClr val="bg1"/>
                          </a:solidFill>
                        </a:rPr>
                        <a:t> </a:t>
                      </a:r>
                      <a:r>
                        <a:rPr lang="en-US" sz="1050" b="1" dirty="0">
                          <a:solidFill>
                            <a:schemeClr val="bg1"/>
                          </a:solidFill>
                        </a:rPr>
                        <a:t>Traceability</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Not have enough time to action traceability. (MSBU)</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Cant action because takes too much cost. (PSBU)</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Don’t have much value. (MSBU)</a:t>
                      </a:r>
                    </a:p>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Customer demand is weak because of general product. (PSBU)</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79755">
                <a:tc>
                  <a:txBody>
                    <a:bodyPr/>
                    <a:lstStyle/>
                    <a:p>
                      <a:pPr algn="l"/>
                      <a:r>
                        <a:rPr lang="en-US" sz="1050" b="1" dirty="0">
                          <a:solidFill>
                            <a:schemeClr val="bg1"/>
                          </a:solidFill>
                        </a:rPr>
                        <a:t>Validation </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dirty="0"/>
                        <a:t>There is a standard rule process but there is variation in the quality of human verification.</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Quality check is most important in the business. A system that can double check the quality is required.</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96658287"/>
                  </a:ext>
                </a:extLst>
              </a:tr>
              <a:tr h="379755">
                <a:tc>
                  <a:txBody>
                    <a:bodyPr/>
                    <a:lstStyle/>
                    <a:p>
                      <a:pPr algn="l"/>
                      <a:r>
                        <a:rPr lang="en-US" sz="1050" b="1" dirty="0">
                          <a:solidFill>
                            <a:schemeClr val="bg1"/>
                          </a:solidFill>
                        </a:rPr>
                        <a:t>Verification </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he accuracy of digital verification is low and the range that can be used is small. Need</a:t>
                      </a:r>
                      <a:r>
                        <a:rPr lang="ja-JP" altLang="en-US" sz="1050" b="0" baseline="0" dirty="0">
                          <a:solidFill>
                            <a:schemeClr val="tx1"/>
                          </a:solidFill>
                        </a:rPr>
                        <a:t> </a:t>
                      </a:r>
                      <a:r>
                        <a:rPr lang="en-US" altLang="ja-JP" sz="1050" b="0" baseline="0" dirty="0">
                          <a:solidFill>
                            <a:schemeClr val="tx1"/>
                          </a:solidFill>
                        </a:rPr>
                        <a:t>physical prototype</a:t>
                      </a:r>
                      <a:r>
                        <a:rPr lang="ja-JP" altLang="en-US" sz="1050" b="0" baseline="0" dirty="0">
                          <a:solidFill>
                            <a:schemeClr val="tx1"/>
                          </a:solidFill>
                        </a:rPr>
                        <a:t> </a:t>
                      </a:r>
                      <a:r>
                        <a:rPr lang="en-US" altLang="ja-JP" sz="1050" b="0" baseline="0" dirty="0">
                          <a:solidFill>
                            <a:schemeClr val="tx1"/>
                          </a:solidFill>
                        </a:rPr>
                        <a:t>to verify all.</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his component is the key point of this section.</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3551714"/>
                  </a:ext>
                </a:extLst>
              </a:tr>
              <a:tr h="527816">
                <a:tc>
                  <a:txBody>
                    <a:bodyPr/>
                    <a:lstStyle/>
                    <a:p>
                      <a:pPr algn="l"/>
                      <a:r>
                        <a:rPr lang="en-US" sz="1050" b="1" dirty="0">
                          <a:solidFill>
                            <a:schemeClr val="bg1"/>
                          </a:solidFill>
                        </a:rPr>
                        <a:t>Systems Eng. Interface Mgmt.</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Division of labor is progressing for each function, and system engineering has not been completed across departments.</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collaboration between departments progresses is effective. Especially the effect of purchasing is large. (PSBU)</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Isn’t much important. (MSBU)</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86354471"/>
                  </a:ext>
                </a:extLst>
              </a:tr>
              <a:tr h="527816">
                <a:tc>
                  <a:txBody>
                    <a:bodyPr/>
                    <a:lstStyle/>
                    <a:p>
                      <a:pPr algn="l"/>
                      <a:r>
                        <a:rPr lang="en-US" sz="1050" b="1" dirty="0">
                          <a:solidFill>
                            <a:schemeClr val="bg1"/>
                          </a:solidFill>
                        </a:rPr>
                        <a:t>Design and</a:t>
                      </a:r>
                      <a:r>
                        <a:rPr lang="en-US" sz="1050" b="1" baseline="0" dirty="0">
                          <a:solidFill>
                            <a:schemeClr val="bg1"/>
                          </a:solidFill>
                        </a:rPr>
                        <a:t> </a:t>
                      </a:r>
                      <a:r>
                        <a:rPr lang="en-US" sz="1050" b="1" dirty="0">
                          <a:solidFill>
                            <a:schemeClr val="bg1"/>
                          </a:solidFill>
                        </a:rPr>
                        <a:t>Requirement</a:t>
                      </a:r>
                      <a:r>
                        <a:rPr lang="en-US" sz="1050" b="1" baseline="0" dirty="0">
                          <a:solidFill>
                            <a:schemeClr val="bg1"/>
                          </a:solidFill>
                        </a:rPr>
                        <a:t> </a:t>
                      </a:r>
                      <a:r>
                        <a:rPr lang="en-US" sz="1050" b="1" dirty="0">
                          <a:solidFill>
                            <a:schemeClr val="bg1"/>
                          </a:solidFill>
                        </a:rPr>
                        <a:t>Integr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We have acquired some traceability of DFMEA and FMEA, but there are many manual operation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It can contribute to the improvement of product maturity and can be expected to have an effect on cost.</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46147242"/>
                  </a:ext>
                </a:extLst>
              </a:tr>
              <a:tr h="527816">
                <a:tc>
                  <a:txBody>
                    <a:bodyPr/>
                    <a:lstStyle/>
                    <a:p>
                      <a:pPr algn="l"/>
                      <a:r>
                        <a:rPr lang="en-US" sz="1050" b="1" dirty="0">
                          <a:solidFill>
                            <a:schemeClr val="bg1"/>
                          </a:solidFill>
                        </a:rPr>
                        <a:t>Release</a:t>
                      </a:r>
                      <a:r>
                        <a:rPr lang="en-US" sz="1050" b="1" baseline="0" dirty="0">
                          <a:solidFill>
                            <a:schemeClr val="bg1"/>
                          </a:solidFill>
                        </a:rPr>
                        <a:t> </a:t>
                      </a:r>
                      <a:r>
                        <a:rPr lang="en-US" sz="1050" b="1" dirty="0">
                          <a:solidFill>
                            <a:schemeClr val="bg1"/>
                          </a:solidFill>
                        </a:rPr>
                        <a:t>and Governance</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Change management and formalization can be well managed on the system. There is a mechanism to do impact analysis. (PSBU)</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There are release criteria but not enough. (MSBU)</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b="0" baseline="0" dirty="0">
                          <a:solidFill>
                            <a:schemeClr val="tx1"/>
                          </a:solidFill>
                        </a:rPr>
                        <a:t>Need High level governance.</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9054611"/>
                  </a:ext>
                </a:extLst>
              </a:tr>
              <a:tr h="379755">
                <a:tc>
                  <a:txBody>
                    <a:bodyPr/>
                    <a:lstStyle/>
                    <a:p>
                      <a:pPr algn="l"/>
                      <a:r>
                        <a:rPr lang="en-US" sz="1050" b="1" dirty="0">
                          <a:solidFill>
                            <a:schemeClr val="bg1"/>
                          </a:solidFill>
                        </a:rPr>
                        <a:t>Requirement Storage </a:t>
                      </a:r>
                    </a:p>
                    <a:p>
                      <a:pPr algn="l"/>
                      <a:r>
                        <a:rPr lang="en-US" sz="1050" b="1" dirty="0">
                          <a:solidFill>
                            <a:schemeClr val="bg1"/>
                          </a:solidFill>
                        </a:rPr>
                        <a:t>And</a:t>
                      </a:r>
                      <a:r>
                        <a:rPr lang="en-US" sz="1050" b="1" baseline="0" dirty="0">
                          <a:solidFill>
                            <a:schemeClr val="bg1"/>
                          </a:solidFill>
                        </a:rPr>
                        <a:t> </a:t>
                      </a:r>
                      <a:r>
                        <a:rPr lang="en-US" sz="1050" b="1" dirty="0">
                          <a:solidFill>
                            <a:schemeClr val="bg1"/>
                          </a:solidFill>
                        </a:rPr>
                        <a:t>Collaboration</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Not standardize. Manage in SharePoint</a:t>
                      </a:r>
                      <a:r>
                        <a:rPr lang="ja-JP" altLang="en-US" sz="1050" baseline="0" dirty="0">
                          <a:solidFill>
                            <a:schemeClr val="tx1"/>
                          </a:solidFill>
                        </a:rPr>
                        <a:t>、</a:t>
                      </a:r>
                      <a:r>
                        <a:rPr lang="en-US" altLang="ja-JP" sz="1050" baseline="0" dirty="0">
                          <a:solidFill>
                            <a:schemeClr val="tx1"/>
                          </a:solidFill>
                        </a:rPr>
                        <a:t>Email</a:t>
                      </a:r>
                      <a:r>
                        <a:rPr lang="ja-JP" altLang="en-US" sz="1050" baseline="0" dirty="0">
                          <a:solidFill>
                            <a:schemeClr val="tx1"/>
                          </a:solidFill>
                        </a:rPr>
                        <a:t>、</a:t>
                      </a:r>
                      <a:r>
                        <a:rPr lang="en-US" altLang="ja-JP" sz="1050" baseline="0" dirty="0">
                          <a:solidFill>
                            <a:schemeClr val="tx1"/>
                          </a:solidFill>
                        </a:rPr>
                        <a:t>Excel</a:t>
                      </a:r>
                      <a:r>
                        <a:rPr lang="ja-JP" altLang="en-US" sz="1050" baseline="0" dirty="0">
                          <a:solidFill>
                            <a:schemeClr val="tx1"/>
                          </a:solidFill>
                        </a:rPr>
                        <a:t> </a:t>
                      </a:r>
                      <a:r>
                        <a:rPr lang="en-US" altLang="ja-JP" sz="1050" baseline="0" dirty="0">
                          <a:solidFill>
                            <a:schemeClr val="tx1"/>
                          </a:solidFill>
                        </a:rPr>
                        <a:t>etc.</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50" b="0" baseline="0" dirty="0">
                          <a:solidFill>
                            <a:schemeClr val="tx1"/>
                          </a:solidFill>
                        </a:rPr>
                        <a:t>Need High level. Have to discuss the process rules.</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04600831"/>
                  </a:ext>
                </a:extLst>
              </a:tr>
              <a:tr h="527816">
                <a:tc>
                  <a:txBody>
                    <a:bodyPr/>
                    <a:lstStyle/>
                    <a:p>
                      <a:pPr algn="l"/>
                      <a:r>
                        <a:rPr lang="en-US" sz="1050" b="1" dirty="0">
                          <a:solidFill>
                            <a:schemeClr val="bg1"/>
                          </a:solidFill>
                        </a:rPr>
                        <a:t>Reuse</a:t>
                      </a:r>
                      <a:r>
                        <a:rPr lang="en-US" sz="1050" b="1" baseline="0" dirty="0">
                          <a:solidFill>
                            <a:schemeClr val="bg1"/>
                          </a:solidFill>
                        </a:rPr>
                        <a:t> </a:t>
                      </a:r>
                      <a:r>
                        <a:rPr lang="en-US" sz="1050" b="1" dirty="0">
                          <a:solidFill>
                            <a:schemeClr val="bg1"/>
                          </a:solidFill>
                        </a:rPr>
                        <a:t>and Standardize</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Culture of reuse has not been fostered yet.</a:t>
                      </a:r>
                    </a:p>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It takes time to search, and often not possible to use because of the data problem.</a:t>
                      </a: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aseline="0" dirty="0">
                          <a:solidFill>
                            <a:schemeClr val="tx1"/>
                          </a:solidFill>
                        </a:rPr>
                        <a:t>Need an environment where you can focus on advanced activity. Percentage of the reuse must be high.</a:t>
                      </a:r>
                      <a:endParaRPr lang="en-US" sz="105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572184056"/>
                  </a:ext>
                </a:extLst>
              </a:tr>
              <a:tr h="379755">
                <a:tc>
                  <a:txBody>
                    <a:bodyPr/>
                    <a:lstStyle/>
                    <a:p>
                      <a:pPr algn="l"/>
                      <a:r>
                        <a:rPr lang="en-US" sz="1050" b="1" dirty="0">
                          <a:solidFill>
                            <a:schemeClr val="bg1"/>
                          </a:solidFill>
                        </a:rPr>
                        <a:t>Digital Product</a:t>
                      </a:r>
                      <a:r>
                        <a:rPr lang="en-US" sz="1050" b="1" baseline="0" dirty="0">
                          <a:solidFill>
                            <a:schemeClr val="bg1"/>
                          </a:solidFill>
                        </a:rPr>
                        <a:t> </a:t>
                      </a:r>
                      <a:r>
                        <a:rPr lang="en-US" sz="1050" b="1" dirty="0">
                          <a:solidFill>
                            <a:schemeClr val="bg1"/>
                          </a:solidFill>
                        </a:rPr>
                        <a:t>Enablement </a:t>
                      </a:r>
                    </a:p>
                  </a:txBody>
                  <a:tcPr marL="54864" marR="54864" marT="36576" marB="3657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Digital(AR</a:t>
                      </a:r>
                      <a:r>
                        <a:rPr lang="ja-JP" altLang="en-US" sz="1050" b="0" baseline="0" dirty="0">
                          <a:solidFill>
                            <a:schemeClr val="tx1"/>
                          </a:solidFill>
                        </a:rPr>
                        <a:t>・</a:t>
                      </a:r>
                      <a:r>
                        <a:rPr lang="en-US" altLang="ja-JP" sz="1050" b="0" baseline="0" dirty="0">
                          <a:solidFill>
                            <a:schemeClr val="tx1"/>
                          </a:solidFill>
                        </a:rPr>
                        <a:t>VR</a:t>
                      </a:r>
                      <a:r>
                        <a:rPr lang="ja-JP" altLang="en-US" sz="1050" b="0" baseline="0" dirty="0">
                          <a:solidFill>
                            <a:schemeClr val="tx1"/>
                          </a:solidFill>
                        </a:rPr>
                        <a:t>・</a:t>
                      </a:r>
                      <a:r>
                        <a:rPr lang="en-US" altLang="ja-JP" sz="1050" b="0" baseline="0" dirty="0">
                          <a:solidFill>
                            <a:schemeClr val="tx1"/>
                          </a:solidFill>
                        </a:rPr>
                        <a:t>IoT</a:t>
                      </a:r>
                      <a:r>
                        <a:rPr lang="ja-JP" altLang="en-US" sz="1050" b="0" baseline="0" dirty="0">
                          <a:solidFill>
                            <a:schemeClr val="tx1"/>
                          </a:solidFill>
                        </a:rPr>
                        <a:t>等</a:t>
                      </a:r>
                      <a:r>
                        <a:rPr lang="en-US" altLang="ja-JP" sz="1050" b="0" baseline="0" dirty="0">
                          <a:solidFill>
                            <a:schemeClr val="tx1"/>
                          </a:solidFill>
                        </a:rPr>
                        <a:t>)</a:t>
                      </a:r>
                      <a:r>
                        <a:rPr lang="ja-JP" altLang="en-US" sz="1050" b="0" baseline="0" dirty="0">
                          <a:solidFill>
                            <a:schemeClr val="tx1"/>
                          </a:solidFill>
                        </a:rPr>
                        <a:t>については検討していない</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indent="-171450">
                        <a:lnSpc>
                          <a:spcPct val="100000"/>
                        </a:lnSpc>
                        <a:spcBef>
                          <a:spcPts val="0"/>
                        </a:spcBef>
                        <a:buFont typeface="Arial" panose="020B0604020202020204" pitchFamily="34" charset="0"/>
                        <a:buChar char="•"/>
                      </a:pPr>
                      <a:r>
                        <a:rPr lang="en-US" altLang="ja-JP" sz="1050" b="0" baseline="0" dirty="0">
                          <a:solidFill>
                            <a:schemeClr val="tx1"/>
                          </a:solidFill>
                        </a:rPr>
                        <a:t>Need to discuss the value.</a:t>
                      </a:r>
                      <a:endParaRPr lang="en-US" sz="1050" b="0" baseline="0" dirty="0">
                        <a:solidFill>
                          <a:schemeClr val="tx1"/>
                        </a:solidFill>
                      </a:endParaRPr>
                    </a:p>
                  </a:txBody>
                  <a:tcPr marL="54864" marR="54864" marT="36576" marB="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751795117"/>
                  </a:ext>
                </a:extLst>
              </a:tr>
            </a:tbl>
          </a:graphicData>
        </a:graphic>
      </p:graphicFrame>
      <p:sp>
        <p:nvSpPr>
          <p:cNvPr id="4" name="Title 3">
            <a:extLst>
              <a:ext uri="{FF2B5EF4-FFF2-40B4-BE49-F238E27FC236}">
                <a16:creationId xmlns:a16="http://schemas.microsoft.com/office/drawing/2014/main" id="{026705D2-9A1E-4A1F-80F4-6BC1AE8E4025}"/>
              </a:ext>
            </a:extLst>
          </p:cNvPr>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dirty="0"/>
              <a:t>Requirements Mgmt. &amp; Systems Engineering</a:t>
            </a:r>
          </a:p>
        </p:txBody>
      </p:sp>
      <p:sp>
        <p:nvSpPr>
          <p:cNvPr id="2" name="テキスト ボックス 1"/>
          <p:cNvSpPr txBox="1"/>
          <p:nvPr/>
        </p:nvSpPr>
        <p:spPr bwMode="gray">
          <a:xfrm>
            <a:off x="9121140" y="251460"/>
            <a:ext cx="914400" cy="914400"/>
          </a:xfrm>
          <a:prstGeom prst="rect">
            <a:avLst/>
          </a:prstGeom>
        </p:spPr>
        <p:txBody>
          <a:bodyPr wrap="none" lIns="0" rIns="0" rtlCol="0" anchor="b" anchorCtr="0">
            <a:normAutofit/>
          </a:bodyPr>
          <a:lstStyle/>
          <a:p>
            <a:pPr>
              <a:lnSpc>
                <a:spcPts val="900"/>
              </a:lnSpc>
            </a:pPr>
            <a:endParaRPr kumimoji="1" lang="ja-JP" altLang="en-US" sz="1300" b="1" dirty="0">
              <a:solidFill>
                <a:schemeClr val="tx1"/>
              </a:solidFill>
            </a:endParaRPr>
          </a:p>
        </p:txBody>
      </p:sp>
    </p:spTree>
    <p:extLst>
      <p:ext uri="{BB962C8B-B14F-4D97-AF65-F5344CB8AC3E}">
        <p14:creationId xmlns:p14="http://schemas.microsoft.com/office/powerpoint/2010/main" val="9619706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p:txBody>
          <a:bodyPr/>
          <a:lstStyle/>
          <a:p>
            <a:r>
              <a:rPr lang="en-US" altLang="ja-JP" dirty="0"/>
              <a:t>Current</a:t>
            </a:r>
            <a:r>
              <a:rPr lang="ja-JP" altLang="en-US" dirty="0"/>
              <a:t> </a:t>
            </a:r>
            <a:r>
              <a:rPr lang="en-US" altLang="ja-JP" dirty="0"/>
              <a:t>State</a:t>
            </a:r>
            <a:r>
              <a:rPr lang="ja-JP" altLang="en-US" dirty="0"/>
              <a:t> </a:t>
            </a:r>
            <a:r>
              <a:rPr lang="en-US" altLang="ja-JP" dirty="0"/>
              <a:t>Management</a:t>
            </a:r>
            <a:r>
              <a:rPr lang="en-US" dirty="0"/>
              <a:t> Capability /Change Management</a:t>
            </a:r>
          </a:p>
        </p:txBody>
      </p:sp>
      <p:sp>
        <p:nvSpPr>
          <p:cNvPr id="7" name="Rectangle 6">
            <a:extLst>
              <a:ext uri="{FF2B5EF4-FFF2-40B4-BE49-F238E27FC236}">
                <a16:creationId xmlns:a16="http://schemas.microsoft.com/office/drawing/2014/main" id="{1617907B-D8E2-4123-ACEC-F245D7D4077D}"/>
              </a:ext>
            </a:extLst>
          </p:cNvPr>
          <p:cNvSpPr>
            <a:spLocks noChangeArrowheads="1"/>
          </p:cNvSpPr>
          <p:nvPr/>
        </p:nvSpPr>
        <p:spPr bwMode="gray">
          <a:xfrm>
            <a:off x="1512503" y="1431414"/>
            <a:ext cx="3085363" cy="215444"/>
          </a:xfrm>
          <a:prstGeom prst="rect">
            <a:avLst/>
          </a:prstGeom>
          <a:solidFill>
            <a:schemeClr val="bg1"/>
          </a:solidFill>
          <a:ln w="12700" cap="rnd" algn="ctr">
            <a:noFill/>
            <a:miter lim="800000"/>
            <a:headEnd/>
            <a:tailEnd/>
          </a:ln>
        </p:spPr>
        <p:txBody>
          <a:bodyPr wrap="square" lIns="71966" tIns="0" rIns="71966" bIns="0" anchor="ctr" anchorCtr="1">
            <a:spAutoFit/>
          </a:bodyPr>
          <a:lstStyle/>
          <a:p>
            <a:pPr defTabSz="913961" fontAlgn="base">
              <a:spcBef>
                <a:spcPct val="20000"/>
              </a:spcBef>
              <a:spcAft>
                <a:spcPct val="0"/>
              </a:spcAft>
            </a:pPr>
            <a:r>
              <a:rPr lang="en-US" sz="1400" b="1" dirty="0">
                <a:solidFill>
                  <a:srgbClr val="92D400"/>
                </a:solidFill>
                <a:latin typeface="+mj-lt"/>
                <a:cs typeface="Arial" pitchFamily="34" charset="0"/>
              </a:rPr>
              <a:t>Current State Journey</a:t>
            </a:r>
          </a:p>
        </p:txBody>
      </p:sp>
      <p:pic>
        <p:nvPicPr>
          <p:cNvPr id="8" name="Picture 7">
            <a:extLst>
              <a:ext uri="{FF2B5EF4-FFF2-40B4-BE49-F238E27FC236}">
                <a16:creationId xmlns:a16="http://schemas.microsoft.com/office/drawing/2014/main" id="{F58A16F7-C5FE-4FA0-95B9-317D632AC5C9}"/>
              </a:ext>
            </a:extLst>
          </p:cNvPr>
          <p:cNvPicPr>
            <a:picLocks noChangeAspect="1" noChangeArrowheads="1"/>
          </p:cNvPicPr>
          <p:nvPr/>
        </p:nvPicPr>
        <p:blipFill>
          <a:blip r:embed="rId2">
            <a:lum contrast="22000"/>
            <a:extLst>
              <a:ext uri="{28A0092B-C50C-407E-A947-70E740481C1C}">
                <a14:useLocalDpi xmlns:a14="http://schemas.microsoft.com/office/drawing/2010/main" val="0"/>
              </a:ext>
            </a:extLst>
          </a:blip>
          <a:srcRect/>
          <a:stretch>
            <a:fillRect/>
          </a:stretch>
        </p:blipFill>
        <p:spPr bwMode="auto">
          <a:xfrm>
            <a:off x="1424392" y="1806778"/>
            <a:ext cx="9311976" cy="2749079"/>
          </a:xfrm>
          <a:prstGeom prst="rect">
            <a:avLst/>
          </a:prstGeom>
          <a:solidFill>
            <a:schemeClr val="accent1">
              <a:lumMod val="20000"/>
              <a:lumOff val="80000"/>
            </a:schemeClr>
          </a:solidFill>
          <a:ln>
            <a:noFill/>
          </a:ln>
          <a:effectLst/>
        </p:spPr>
      </p:pic>
      <p:sp>
        <p:nvSpPr>
          <p:cNvPr id="9" name="Rectangle 8">
            <a:extLst>
              <a:ext uri="{FF2B5EF4-FFF2-40B4-BE49-F238E27FC236}">
                <a16:creationId xmlns:a16="http://schemas.microsoft.com/office/drawing/2014/main" id="{7B1A2920-D963-46D7-9BBE-A417E9448C54}"/>
              </a:ext>
            </a:extLst>
          </p:cNvPr>
          <p:cNvSpPr/>
          <p:nvPr/>
        </p:nvSpPr>
        <p:spPr bwMode="invGray">
          <a:xfrm>
            <a:off x="7551070" y="2230166"/>
            <a:ext cx="1354655" cy="230832"/>
          </a:xfrm>
          <a:prstGeom prst="rect">
            <a:avLst/>
          </a:prstGeom>
          <a:scene3d>
            <a:camera prst="orthographicFront">
              <a:rot lat="0" lon="0" rev="0"/>
            </a:camera>
            <a:lightRig rig="threePt" dir="t"/>
          </a:scene3d>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900" dirty="0">
              <a:solidFill>
                <a:prstClr val="white"/>
              </a:solidFill>
              <a:latin typeface="+mj-lt"/>
            </a:endParaRPr>
          </a:p>
        </p:txBody>
      </p:sp>
      <p:sp>
        <p:nvSpPr>
          <p:cNvPr id="10" name="Text Box 24">
            <a:extLst>
              <a:ext uri="{FF2B5EF4-FFF2-40B4-BE49-F238E27FC236}">
                <a16:creationId xmlns:a16="http://schemas.microsoft.com/office/drawing/2014/main" id="{EE00105A-566B-47B3-A87C-CAE93F806529}"/>
              </a:ext>
            </a:extLst>
          </p:cNvPr>
          <p:cNvSpPr txBox="1">
            <a:spLocks noChangeArrowheads="1"/>
          </p:cNvSpPr>
          <p:nvPr/>
        </p:nvSpPr>
        <p:spPr bwMode="auto">
          <a:xfrm>
            <a:off x="3868697" y="3924103"/>
            <a:ext cx="2095323" cy="34414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Change review by CRB</a:t>
            </a:r>
          </a:p>
          <a:p>
            <a:pPr algn="l" defTabSz="913961" fontAlgn="auto">
              <a:spcBef>
                <a:spcPts val="0"/>
              </a:spcBef>
              <a:spcAft>
                <a:spcPts val="0"/>
              </a:spcAft>
              <a:defRPr/>
            </a:pPr>
            <a:r>
              <a:rPr lang="en-US" kern="0" dirty="0">
                <a:solidFill>
                  <a:srgbClr val="002776"/>
                </a:solidFill>
                <a:latin typeface="+mj-lt"/>
              </a:rPr>
              <a:t>-IAR</a:t>
            </a:r>
          </a:p>
          <a:p>
            <a:pPr algn="l" defTabSz="913961" fontAlgn="auto">
              <a:spcBef>
                <a:spcPts val="0"/>
              </a:spcBef>
              <a:spcAft>
                <a:spcPts val="0"/>
              </a:spcAft>
              <a:defRPr/>
            </a:pPr>
            <a:r>
              <a:rPr lang="en-US" kern="0" dirty="0">
                <a:solidFill>
                  <a:srgbClr val="002776"/>
                </a:solidFill>
                <a:latin typeface="+mj-lt"/>
              </a:rPr>
              <a:t>-Notification to customer</a:t>
            </a:r>
          </a:p>
          <a:p>
            <a:pPr algn="l" defTabSz="913961" fontAlgn="auto">
              <a:spcBef>
                <a:spcPts val="0"/>
              </a:spcBef>
              <a:spcAft>
                <a:spcPts val="0"/>
              </a:spcAft>
              <a:defRPr/>
            </a:pPr>
            <a:r>
              <a:rPr lang="en-US" kern="0" dirty="0">
                <a:solidFill>
                  <a:srgbClr val="002776"/>
                </a:solidFill>
                <a:latin typeface="+mj-lt"/>
              </a:rPr>
              <a:t>-Risks</a:t>
            </a:r>
          </a:p>
        </p:txBody>
      </p:sp>
      <p:sp>
        <p:nvSpPr>
          <p:cNvPr id="11" name="Text Box 24">
            <a:extLst>
              <a:ext uri="{FF2B5EF4-FFF2-40B4-BE49-F238E27FC236}">
                <a16:creationId xmlns:a16="http://schemas.microsoft.com/office/drawing/2014/main" id="{FEC057F0-58B4-4B1B-BE17-B6AD277A3863}"/>
              </a:ext>
            </a:extLst>
          </p:cNvPr>
          <p:cNvSpPr txBox="1">
            <a:spLocks noChangeArrowheads="1"/>
          </p:cNvSpPr>
          <p:nvPr/>
        </p:nvSpPr>
        <p:spPr bwMode="auto">
          <a:xfrm>
            <a:off x="4545766" y="2218242"/>
            <a:ext cx="1889780" cy="33237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marL="171450" indent="-171450" algn="l" defTabSz="913961" fontAlgn="auto">
              <a:spcBef>
                <a:spcPts val="0"/>
              </a:spcBef>
              <a:spcAft>
                <a:spcPts val="0"/>
              </a:spcAft>
              <a:buFontTx/>
              <a:buChar char="-"/>
              <a:defRPr/>
            </a:pPr>
            <a:r>
              <a:rPr lang="en-US" kern="0" dirty="0">
                <a:solidFill>
                  <a:srgbClr val="002776"/>
                </a:solidFill>
                <a:latin typeface="+mj-lt"/>
              </a:rPr>
              <a:t>Pre announcement to customers</a:t>
            </a:r>
          </a:p>
          <a:p>
            <a:pPr algn="l" defTabSz="913961" fontAlgn="auto">
              <a:spcBef>
                <a:spcPts val="0"/>
              </a:spcBef>
              <a:spcAft>
                <a:spcPts val="0"/>
              </a:spcAft>
              <a:defRPr/>
            </a:pPr>
            <a:r>
              <a:rPr lang="en-US" kern="0" dirty="0">
                <a:solidFill>
                  <a:srgbClr val="002776"/>
                </a:solidFill>
                <a:latin typeface="+mj-lt"/>
              </a:rPr>
              <a:t>-  Internal Risk assessments</a:t>
            </a:r>
          </a:p>
        </p:txBody>
      </p:sp>
      <p:sp>
        <p:nvSpPr>
          <p:cNvPr id="12" name="Text Box 9">
            <a:extLst>
              <a:ext uri="{FF2B5EF4-FFF2-40B4-BE49-F238E27FC236}">
                <a16:creationId xmlns:a16="http://schemas.microsoft.com/office/drawing/2014/main" id="{C8A41943-F33A-4533-A39B-9CD8C84306AD}"/>
              </a:ext>
            </a:extLst>
          </p:cNvPr>
          <p:cNvSpPr txBox="1">
            <a:spLocks noChangeArrowheads="1"/>
          </p:cNvSpPr>
          <p:nvPr/>
        </p:nvSpPr>
        <p:spPr bwMode="gray">
          <a:xfrm>
            <a:off x="2404898" y="2262013"/>
            <a:ext cx="855935" cy="176095"/>
          </a:xfrm>
          <a:prstGeom prst="rect">
            <a:avLst/>
          </a:prstGeom>
          <a:noFill/>
          <a:ln w="12700" algn="ctr">
            <a:noFill/>
            <a:miter lim="800000"/>
            <a:headEnd/>
            <a:tailEnd/>
          </a:ln>
          <a:effectLst/>
        </p:spPr>
        <p:txBody>
          <a:bodyPr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1</a:t>
            </a:r>
          </a:p>
        </p:txBody>
      </p:sp>
      <p:sp>
        <p:nvSpPr>
          <p:cNvPr id="13" name="Oval 12">
            <a:extLst>
              <a:ext uri="{FF2B5EF4-FFF2-40B4-BE49-F238E27FC236}">
                <a16:creationId xmlns:a16="http://schemas.microsoft.com/office/drawing/2014/main" id="{032AF74C-4888-4BB8-A919-D966CF10B213}"/>
              </a:ext>
            </a:extLst>
          </p:cNvPr>
          <p:cNvSpPr>
            <a:spLocks noChangeArrowheads="1"/>
          </p:cNvSpPr>
          <p:nvPr/>
        </p:nvSpPr>
        <p:spPr bwMode="gray">
          <a:xfrm>
            <a:off x="1934774" y="2214620"/>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1</a:t>
            </a:r>
          </a:p>
        </p:txBody>
      </p:sp>
      <p:sp>
        <p:nvSpPr>
          <p:cNvPr id="14" name="Text Box 10">
            <a:extLst>
              <a:ext uri="{FF2B5EF4-FFF2-40B4-BE49-F238E27FC236}">
                <a16:creationId xmlns:a16="http://schemas.microsoft.com/office/drawing/2014/main" id="{9AB60634-0756-4848-9686-A7E0E572378C}"/>
              </a:ext>
            </a:extLst>
          </p:cNvPr>
          <p:cNvSpPr txBox="1">
            <a:spLocks noChangeArrowheads="1"/>
          </p:cNvSpPr>
          <p:nvPr/>
        </p:nvSpPr>
        <p:spPr bwMode="gray">
          <a:xfrm>
            <a:off x="3879179" y="3706745"/>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2</a:t>
            </a:r>
          </a:p>
        </p:txBody>
      </p:sp>
      <p:sp>
        <p:nvSpPr>
          <p:cNvPr id="15" name="Line 28">
            <a:extLst>
              <a:ext uri="{FF2B5EF4-FFF2-40B4-BE49-F238E27FC236}">
                <a16:creationId xmlns:a16="http://schemas.microsoft.com/office/drawing/2014/main" id="{888E09D3-4434-4D5C-8407-D2929B50A26B}"/>
              </a:ext>
            </a:extLst>
          </p:cNvPr>
          <p:cNvSpPr>
            <a:spLocks noChangeShapeType="1"/>
          </p:cNvSpPr>
          <p:nvPr/>
        </p:nvSpPr>
        <p:spPr bwMode="auto">
          <a:xfrm flipV="1">
            <a:off x="3625692" y="3493513"/>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16" name="Text Box 11">
            <a:extLst>
              <a:ext uri="{FF2B5EF4-FFF2-40B4-BE49-F238E27FC236}">
                <a16:creationId xmlns:a16="http://schemas.microsoft.com/office/drawing/2014/main" id="{46B996A9-99E3-4826-B6E1-B3F9341EA480}"/>
              </a:ext>
            </a:extLst>
          </p:cNvPr>
          <p:cNvSpPr txBox="1">
            <a:spLocks noChangeArrowheads="1"/>
          </p:cNvSpPr>
          <p:nvPr/>
        </p:nvSpPr>
        <p:spPr bwMode="gray">
          <a:xfrm>
            <a:off x="4545768" y="2003670"/>
            <a:ext cx="1477186" cy="177539"/>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3</a:t>
            </a:r>
          </a:p>
        </p:txBody>
      </p:sp>
      <p:sp>
        <p:nvSpPr>
          <p:cNvPr id="17" name="Rectangle 16">
            <a:extLst>
              <a:ext uri="{FF2B5EF4-FFF2-40B4-BE49-F238E27FC236}">
                <a16:creationId xmlns:a16="http://schemas.microsoft.com/office/drawing/2014/main" id="{9EB41562-1EC8-4C34-977A-A1ADF53BCBD8}"/>
              </a:ext>
            </a:extLst>
          </p:cNvPr>
          <p:cNvSpPr/>
          <p:nvPr/>
        </p:nvSpPr>
        <p:spPr bwMode="auto">
          <a:xfrm>
            <a:off x="1433818" y="1338102"/>
            <a:ext cx="9313296" cy="326953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defPPr>
              <a:defRPr lang="en-US"/>
            </a:defPPr>
            <a:lvl1pPr algn="ctr" rtl="0" fontAlgn="base">
              <a:spcBef>
                <a:spcPct val="20000"/>
              </a:spcBef>
              <a:spcAft>
                <a:spcPct val="0"/>
              </a:spcAft>
              <a:defRPr sz="1100" b="1" kern="1200">
                <a:solidFill>
                  <a:schemeClr val="lt1"/>
                </a:solidFill>
                <a:latin typeface="+mn-lt"/>
                <a:ea typeface="+mn-ea"/>
                <a:cs typeface="+mn-cs"/>
              </a:defRPr>
            </a:lvl1pPr>
            <a:lvl2pPr marL="457200" algn="ctr" rtl="0" fontAlgn="base">
              <a:spcBef>
                <a:spcPct val="20000"/>
              </a:spcBef>
              <a:spcAft>
                <a:spcPct val="0"/>
              </a:spcAft>
              <a:defRPr sz="1100" b="1" kern="1200">
                <a:solidFill>
                  <a:schemeClr val="lt1"/>
                </a:solidFill>
                <a:latin typeface="+mn-lt"/>
                <a:ea typeface="+mn-ea"/>
                <a:cs typeface="+mn-cs"/>
              </a:defRPr>
            </a:lvl2pPr>
            <a:lvl3pPr marL="914400" algn="ctr" rtl="0" fontAlgn="base">
              <a:spcBef>
                <a:spcPct val="20000"/>
              </a:spcBef>
              <a:spcAft>
                <a:spcPct val="0"/>
              </a:spcAft>
              <a:defRPr sz="1100" b="1" kern="1200">
                <a:solidFill>
                  <a:schemeClr val="lt1"/>
                </a:solidFill>
                <a:latin typeface="+mn-lt"/>
                <a:ea typeface="+mn-ea"/>
                <a:cs typeface="+mn-cs"/>
              </a:defRPr>
            </a:lvl3pPr>
            <a:lvl4pPr marL="1371600" algn="ctr" rtl="0" fontAlgn="base">
              <a:spcBef>
                <a:spcPct val="20000"/>
              </a:spcBef>
              <a:spcAft>
                <a:spcPct val="0"/>
              </a:spcAft>
              <a:defRPr sz="1100" b="1" kern="1200">
                <a:solidFill>
                  <a:schemeClr val="lt1"/>
                </a:solidFill>
                <a:latin typeface="+mn-lt"/>
                <a:ea typeface="+mn-ea"/>
                <a:cs typeface="+mn-cs"/>
              </a:defRPr>
            </a:lvl4pPr>
            <a:lvl5pPr marL="1828800" algn="ctr" rtl="0" fontAlgn="base">
              <a:spcBef>
                <a:spcPct val="20000"/>
              </a:spcBef>
              <a:spcAft>
                <a:spcPct val="0"/>
              </a:spcAft>
              <a:defRPr sz="1100" b="1" kern="1200">
                <a:solidFill>
                  <a:schemeClr val="lt1"/>
                </a:solidFill>
                <a:latin typeface="+mn-lt"/>
                <a:ea typeface="+mn-ea"/>
                <a:cs typeface="+mn-cs"/>
              </a:defRPr>
            </a:lvl5pPr>
            <a:lvl6pPr marL="2286000" algn="l" defTabSz="914400" rtl="0" eaLnBrk="1" latinLnBrk="0" hangingPunct="1">
              <a:defRPr sz="1100" b="1" kern="1200">
                <a:solidFill>
                  <a:schemeClr val="lt1"/>
                </a:solidFill>
                <a:latin typeface="+mn-lt"/>
                <a:ea typeface="+mn-ea"/>
                <a:cs typeface="+mn-cs"/>
              </a:defRPr>
            </a:lvl6pPr>
            <a:lvl7pPr marL="2743200" algn="l" defTabSz="914400" rtl="0" eaLnBrk="1" latinLnBrk="0" hangingPunct="1">
              <a:defRPr sz="1100" b="1" kern="1200">
                <a:solidFill>
                  <a:schemeClr val="lt1"/>
                </a:solidFill>
                <a:latin typeface="+mn-lt"/>
                <a:ea typeface="+mn-ea"/>
                <a:cs typeface="+mn-cs"/>
              </a:defRPr>
            </a:lvl7pPr>
            <a:lvl8pPr marL="3200400" algn="l" defTabSz="914400" rtl="0" eaLnBrk="1" latinLnBrk="0" hangingPunct="1">
              <a:defRPr sz="1100" b="1" kern="1200">
                <a:solidFill>
                  <a:schemeClr val="lt1"/>
                </a:solidFill>
                <a:latin typeface="+mn-lt"/>
                <a:ea typeface="+mn-ea"/>
                <a:cs typeface="+mn-cs"/>
              </a:defRPr>
            </a:lvl8pPr>
            <a:lvl9pPr marL="3657600" algn="l" defTabSz="914400" rtl="0" eaLnBrk="1" latinLnBrk="0" hangingPunct="1">
              <a:defRPr sz="1100" b="1" kern="1200">
                <a:solidFill>
                  <a:schemeClr val="lt1"/>
                </a:solidFill>
                <a:latin typeface="+mn-lt"/>
                <a:ea typeface="+mn-ea"/>
                <a:cs typeface="+mn-cs"/>
              </a:defRPr>
            </a:lvl9pPr>
          </a:lstStyle>
          <a:p>
            <a:pPr defTabSz="913961" fontAlgn="auto">
              <a:spcBef>
                <a:spcPts val="0"/>
              </a:spcBef>
              <a:spcAft>
                <a:spcPts val="0"/>
              </a:spcAft>
              <a:defRPr/>
            </a:pPr>
            <a:endParaRPr lang="en-US" sz="1050" dirty="0">
              <a:solidFill>
                <a:prstClr val="white"/>
              </a:solidFill>
              <a:latin typeface="+mj-lt"/>
            </a:endParaRPr>
          </a:p>
        </p:txBody>
      </p:sp>
      <p:sp>
        <p:nvSpPr>
          <p:cNvPr id="18" name="Text Box 24">
            <a:extLst>
              <a:ext uri="{FF2B5EF4-FFF2-40B4-BE49-F238E27FC236}">
                <a16:creationId xmlns:a16="http://schemas.microsoft.com/office/drawing/2014/main" id="{FFC98F6A-C43A-4D2B-AF2D-DF855F9BFC67}"/>
              </a:ext>
            </a:extLst>
          </p:cNvPr>
          <p:cNvSpPr txBox="1">
            <a:spLocks noChangeArrowheads="1"/>
          </p:cNvSpPr>
          <p:nvPr/>
        </p:nvSpPr>
        <p:spPr bwMode="auto">
          <a:xfrm>
            <a:off x="2139938" y="2507156"/>
            <a:ext cx="2454248" cy="419674"/>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Define Scope of change</a:t>
            </a:r>
          </a:p>
          <a:p>
            <a:pPr algn="l" defTabSz="913961" fontAlgn="auto">
              <a:spcBef>
                <a:spcPts val="0"/>
              </a:spcBef>
              <a:spcAft>
                <a:spcPts val="0"/>
              </a:spcAft>
              <a:defRPr/>
            </a:pPr>
            <a:r>
              <a:rPr lang="en-US" kern="0" dirty="0">
                <a:solidFill>
                  <a:srgbClr val="002776"/>
                </a:solidFill>
                <a:latin typeface="+mj-lt"/>
              </a:rPr>
              <a:t>-customer</a:t>
            </a:r>
          </a:p>
          <a:p>
            <a:pPr algn="l" defTabSz="913961" fontAlgn="auto">
              <a:spcBef>
                <a:spcPts val="0"/>
              </a:spcBef>
              <a:spcAft>
                <a:spcPts val="0"/>
              </a:spcAft>
              <a:defRPr/>
            </a:pPr>
            <a:r>
              <a:rPr lang="en-US" kern="0" dirty="0">
                <a:solidFill>
                  <a:srgbClr val="002776"/>
                </a:solidFill>
                <a:latin typeface="+mj-lt"/>
              </a:rPr>
              <a:t>-product</a:t>
            </a:r>
          </a:p>
          <a:p>
            <a:pPr algn="l" defTabSz="913961" fontAlgn="auto">
              <a:spcBef>
                <a:spcPts val="0"/>
              </a:spcBef>
              <a:spcAft>
                <a:spcPts val="0"/>
              </a:spcAft>
              <a:defRPr/>
            </a:pPr>
            <a:r>
              <a:rPr lang="en-US" kern="0" dirty="0">
                <a:solidFill>
                  <a:srgbClr val="002776"/>
                </a:solidFill>
                <a:latin typeface="+mj-lt"/>
              </a:rPr>
              <a:t>-process</a:t>
            </a:r>
          </a:p>
        </p:txBody>
      </p:sp>
      <p:sp>
        <p:nvSpPr>
          <p:cNvPr id="19" name="Text Box 24">
            <a:extLst>
              <a:ext uri="{FF2B5EF4-FFF2-40B4-BE49-F238E27FC236}">
                <a16:creationId xmlns:a16="http://schemas.microsoft.com/office/drawing/2014/main" id="{FE7CF495-07E0-40DF-B5B1-35D4E6592281}"/>
              </a:ext>
            </a:extLst>
          </p:cNvPr>
          <p:cNvSpPr txBox="1">
            <a:spLocks noChangeArrowheads="1"/>
          </p:cNvSpPr>
          <p:nvPr/>
        </p:nvSpPr>
        <p:spPr bwMode="auto">
          <a:xfrm>
            <a:off x="6481436" y="1827935"/>
            <a:ext cx="2174050" cy="625361"/>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spc="-20" dirty="0">
                <a:solidFill>
                  <a:srgbClr val="002776"/>
                </a:solidFill>
                <a:latin typeface="+mj-lt"/>
              </a:rPr>
              <a:t>-Final customer agreement</a:t>
            </a:r>
          </a:p>
        </p:txBody>
      </p:sp>
      <p:sp>
        <p:nvSpPr>
          <p:cNvPr id="20" name="Text Box 11">
            <a:extLst>
              <a:ext uri="{FF2B5EF4-FFF2-40B4-BE49-F238E27FC236}">
                <a16:creationId xmlns:a16="http://schemas.microsoft.com/office/drawing/2014/main" id="{D580D44A-823E-476D-8183-36AB135B8253}"/>
              </a:ext>
            </a:extLst>
          </p:cNvPr>
          <p:cNvSpPr txBox="1">
            <a:spLocks noChangeArrowheads="1"/>
          </p:cNvSpPr>
          <p:nvPr/>
        </p:nvSpPr>
        <p:spPr bwMode="gray">
          <a:xfrm>
            <a:off x="6481435" y="1632577"/>
            <a:ext cx="1341777"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5</a:t>
            </a:r>
          </a:p>
        </p:txBody>
      </p:sp>
      <p:sp>
        <p:nvSpPr>
          <p:cNvPr id="21" name="Text Box 24">
            <a:extLst>
              <a:ext uri="{FF2B5EF4-FFF2-40B4-BE49-F238E27FC236}">
                <a16:creationId xmlns:a16="http://schemas.microsoft.com/office/drawing/2014/main" id="{97A0FE0F-77A4-4B69-ABDE-A9988C3C23AA}"/>
              </a:ext>
            </a:extLst>
          </p:cNvPr>
          <p:cNvSpPr txBox="1">
            <a:spLocks noChangeArrowheads="1"/>
          </p:cNvSpPr>
          <p:nvPr/>
        </p:nvSpPr>
        <p:spPr bwMode="auto">
          <a:xfrm>
            <a:off x="6140827" y="3643749"/>
            <a:ext cx="2196459" cy="495523"/>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endParaRPr lang="en-US" kern="0" dirty="0">
              <a:solidFill>
                <a:srgbClr val="002776"/>
              </a:solidFill>
              <a:latin typeface="+mj-lt"/>
            </a:endParaRPr>
          </a:p>
          <a:p>
            <a:pPr algn="l" defTabSz="913961" fontAlgn="auto">
              <a:spcBef>
                <a:spcPts val="0"/>
              </a:spcBef>
              <a:spcAft>
                <a:spcPts val="0"/>
              </a:spcAft>
              <a:defRPr/>
            </a:pPr>
            <a:r>
              <a:rPr lang="en-US" kern="0" dirty="0">
                <a:solidFill>
                  <a:srgbClr val="002776"/>
                </a:solidFill>
                <a:latin typeface="+mj-lt"/>
              </a:rPr>
              <a:t>-  Internal Qualification</a:t>
            </a:r>
          </a:p>
          <a:p>
            <a:pPr algn="l" defTabSz="913961" fontAlgn="auto">
              <a:spcBef>
                <a:spcPts val="0"/>
              </a:spcBef>
              <a:spcAft>
                <a:spcPts val="0"/>
              </a:spcAft>
              <a:defRPr/>
            </a:pPr>
            <a:endParaRPr lang="en-US" kern="0" dirty="0">
              <a:solidFill>
                <a:srgbClr val="002776"/>
              </a:solidFill>
              <a:latin typeface="+mj-lt"/>
            </a:endParaRPr>
          </a:p>
        </p:txBody>
      </p:sp>
      <p:sp>
        <p:nvSpPr>
          <p:cNvPr id="22" name="Text Box 14">
            <a:extLst>
              <a:ext uri="{FF2B5EF4-FFF2-40B4-BE49-F238E27FC236}">
                <a16:creationId xmlns:a16="http://schemas.microsoft.com/office/drawing/2014/main" id="{957A023C-F13B-4843-A681-19BADC0F0BE1}"/>
              </a:ext>
            </a:extLst>
          </p:cNvPr>
          <p:cNvSpPr txBox="1">
            <a:spLocks noChangeArrowheads="1"/>
          </p:cNvSpPr>
          <p:nvPr/>
        </p:nvSpPr>
        <p:spPr bwMode="gray">
          <a:xfrm>
            <a:off x="6320728" y="3412257"/>
            <a:ext cx="1151165" cy="176095"/>
          </a:xfrm>
          <a:prstGeom prst="rect">
            <a:avLst/>
          </a:prstGeom>
          <a:noFill/>
          <a:ln w="12700" algn="ctr">
            <a:noFill/>
            <a:miter lim="800000"/>
            <a:headEnd/>
            <a:tailEnd/>
          </a:ln>
          <a:effectLst/>
        </p:spPr>
        <p:txBody>
          <a:bodyPr wrap="non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4</a:t>
            </a:r>
          </a:p>
        </p:txBody>
      </p:sp>
      <p:sp>
        <p:nvSpPr>
          <p:cNvPr id="23" name="Text Box 24">
            <a:extLst>
              <a:ext uri="{FF2B5EF4-FFF2-40B4-BE49-F238E27FC236}">
                <a16:creationId xmlns:a16="http://schemas.microsoft.com/office/drawing/2014/main" id="{FF7A872D-426A-4D46-A4A4-DABD2E0C69F0}"/>
              </a:ext>
            </a:extLst>
          </p:cNvPr>
          <p:cNvSpPr txBox="1">
            <a:spLocks noChangeArrowheads="1"/>
          </p:cNvSpPr>
          <p:nvPr/>
        </p:nvSpPr>
        <p:spPr bwMode="auto">
          <a:xfrm>
            <a:off x="8533228" y="3338874"/>
            <a:ext cx="2233430" cy="495523"/>
          </a:xfrm>
          <a:prstGeom prst="rect">
            <a:avLst/>
          </a:prstGeom>
          <a:noFill/>
          <a:ln w="9525">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spcBef>
                <a:spcPts val="0"/>
              </a:spcBef>
              <a:spcAft>
                <a:spcPts val="0"/>
              </a:spcAft>
              <a:defRPr/>
            </a:pPr>
            <a:r>
              <a:rPr lang="en-US" kern="0" dirty="0">
                <a:solidFill>
                  <a:srgbClr val="002776"/>
                </a:solidFill>
                <a:latin typeface="+mj-lt"/>
              </a:rPr>
              <a:t>- Implement change @ plants</a:t>
            </a:r>
          </a:p>
        </p:txBody>
      </p:sp>
      <p:sp>
        <p:nvSpPr>
          <p:cNvPr id="24" name="Text Box 10">
            <a:extLst>
              <a:ext uri="{FF2B5EF4-FFF2-40B4-BE49-F238E27FC236}">
                <a16:creationId xmlns:a16="http://schemas.microsoft.com/office/drawing/2014/main" id="{9CFBC63D-CE03-4161-9C29-FAB75D09F3AC}"/>
              </a:ext>
            </a:extLst>
          </p:cNvPr>
          <p:cNvSpPr txBox="1">
            <a:spLocks noChangeArrowheads="1"/>
          </p:cNvSpPr>
          <p:nvPr/>
        </p:nvSpPr>
        <p:spPr bwMode="gray">
          <a:xfrm>
            <a:off x="8533228" y="3117630"/>
            <a:ext cx="1418945" cy="176095"/>
          </a:xfrm>
          <a:prstGeom prst="rect">
            <a:avLst/>
          </a:prstGeom>
          <a:noFill/>
          <a:ln w="12700" algn="ctr">
            <a:noFill/>
            <a:miter lim="800000"/>
            <a:headEnd/>
            <a:tailEnd/>
          </a:ln>
          <a:effectLst/>
        </p:spPr>
        <p:txBody>
          <a:bodyPr wrap="square" lIns="0" tIns="0" rIns="0" bIns="0" anchor="t">
            <a:no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defTabSz="913961" fontAlgn="auto">
              <a:lnSpc>
                <a:spcPct val="95000"/>
              </a:lnSpc>
              <a:spcAft>
                <a:spcPts val="0"/>
              </a:spcAft>
              <a:defRPr/>
            </a:pPr>
            <a:r>
              <a:rPr lang="en-US" sz="1200" kern="0" dirty="0">
                <a:solidFill>
                  <a:srgbClr val="00A1DE"/>
                </a:solidFill>
                <a:latin typeface="+mj-lt"/>
              </a:rPr>
              <a:t>Step #6</a:t>
            </a:r>
          </a:p>
        </p:txBody>
      </p:sp>
      <p:sp>
        <p:nvSpPr>
          <p:cNvPr id="25" name="Oval 24">
            <a:extLst>
              <a:ext uri="{FF2B5EF4-FFF2-40B4-BE49-F238E27FC236}">
                <a16:creationId xmlns:a16="http://schemas.microsoft.com/office/drawing/2014/main" id="{562825D5-3D20-41DE-A3D7-832BE944793B}"/>
              </a:ext>
            </a:extLst>
          </p:cNvPr>
          <p:cNvSpPr>
            <a:spLocks noChangeArrowheads="1"/>
          </p:cNvSpPr>
          <p:nvPr/>
        </p:nvSpPr>
        <p:spPr bwMode="gray">
          <a:xfrm>
            <a:off x="3459906" y="3794791"/>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2</a:t>
            </a:r>
          </a:p>
        </p:txBody>
      </p:sp>
      <p:sp>
        <p:nvSpPr>
          <p:cNvPr id="26" name="Oval 25">
            <a:extLst>
              <a:ext uri="{FF2B5EF4-FFF2-40B4-BE49-F238E27FC236}">
                <a16:creationId xmlns:a16="http://schemas.microsoft.com/office/drawing/2014/main" id="{2955288C-C806-4891-9240-DFB031C3690C}"/>
              </a:ext>
            </a:extLst>
          </p:cNvPr>
          <p:cNvSpPr>
            <a:spLocks noChangeArrowheads="1"/>
          </p:cNvSpPr>
          <p:nvPr/>
        </p:nvSpPr>
        <p:spPr bwMode="gray">
          <a:xfrm>
            <a:off x="4165150" y="1919153"/>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3</a:t>
            </a:r>
          </a:p>
        </p:txBody>
      </p:sp>
      <p:sp>
        <p:nvSpPr>
          <p:cNvPr id="27" name="Oval 26">
            <a:extLst>
              <a:ext uri="{FF2B5EF4-FFF2-40B4-BE49-F238E27FC236}">
                <a16:creationId xmlns:a16="http://schemas.microsoft.com/office/drawing/2014/main" id="{6EABAB19-C5C1-49C9-8BC5-5F7CA5E9D95E}"/>
              </a:ext>
            </a:extLst>
          </p:cNvPr>
          <p:cNvSpPr>
            <a:spLocks noChangeArrowheads="1"/>
          </p:cNvSpPr>
          <p:nvPr/>
        </p:nvSpPr>
        <p:spPr bwMode="gray">
          <a:xfrm>
            <a:off x="7564953" y="3354809"/>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4</a:t>
            </a:r>
          </a:p>
        </p:txBody>
      </p:sp>
      <p:sp>
        <p:nvSpPr>
          <p:cNvPr id="28" name="Oval 27">
            <a:extLst>
              <a:ext uri="{FF2B5EF4-FFF2-40B4-BE49-F238E27FC236}">
                <a16:creationId xmlns:a16="http://schemas.microsoft.com/office/drawing/2014/main" id="{2E12D42A-ECC4-48E8-9A65-F5076BFE4749}"/>
              </a:ext>
            </a:extLst>
          </p:cNvPr>
          <p:cNvSpPr>
            <a:spLocks noChangeArrowheads="1"/>
          </p:cNvSpPr>
          <p:nvPr/>
        </p:nvSpPr>
        <p:spPr bwMode="gray">
          <a:xfrm>
            <a:off x="8529116" y="1583643"/>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5</a:t>
            </a:r>
          </a:p>
        </p:txBody>
      </p:sp>
      <p:sp>
        <p:nvSpPr>
          <p:cNvPr id="29" name="Line 28">
            <a:extLst>
              <a:ext uri="{FF2B5EF4-FFF2-40B4-BE49-F238E27FC236}">
                <a16:creationId xmlns:a16="http://schemas.microsoft.com/office/drawing/2014/main" id="{E47B6F27-9413-4D13-9C97-7C4233E36561}"/>
              </a:ext>
            </a:extLst>
          </p:cNvPr>
          <p:cNvSpPr>
            <a:spLocks noChangeShapeType="1"/>
          </p:cNvSpPr>
          <p:nvPr/>
        </p:nvSpPr>
        <p:spPr bwMode="auto">
          <a:xfrm flipH="1">
            <a:off x="8687078" y="1979069"/>
            <a:ext cx="0" cy="708058"/>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0" name="Oval 29">
            <a:extLst>
              <a:ext uri="{FF2B5EF4-FFF2-40B4-BE49-F238E27FC236}">
                <a16:creationId xmlns:a16="http://schemas.microsoft.com/office/drawing/2014/main" id="{1F289621-C8DD-44CC-94E4-CCBBE5737121}"/>
              </a:ext>
            </a:extLst>
          </p:cNvPr>
          <p:cNvSpPr>
            <a:spLocks noChangeArrowheads="1"/>
          </p:cNvSpPr>
          <p:nvPr/>
        </p:nvSpPr>
        <p:spPr bwMode="gray">
          <a:xfrm>
            <a:off x="9970188" y="3056966"/>
            <a:ext cx="315933" cy="256975"/>
          </a:xfrm>
          <a:prstGeom prst="ellipse">
            <a:avLst/>
          </a:prstGeom>
          <a:solidFill>
            <a:schemeClr val="accent1"/>
          </a:solidFill>
          <a:ln w="12700" algn="ctr">
            <a:solidFill>
              <a:schemeClr val="bg2"/>
            </a:solidFill>
            <a:round/>
            <a:headEnd/>
            <a:tailEnd/>
          </a:ln>
          <a:effectLst/>
        </p:spPr>
        <p:txBody>
          <a:bodyPr wrap="none" lIns="45720" rIns="4572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lnSpc>
                <a:spcPct val="95000"/>
              </a:lnSpc>
              <a:spcAft>
                <a:spcPts val="0"/>
              </a:spcAft>
              <a:defRPr/>
            </a:pPr>
            <a:r>
              <a:rPr lang="en-US" kern="0" dirty="0">
                <a:solidFill>
                  <a:srgbClr val="FFFFFF"/>
                </a:solidFill>
                <a:latin typeface="+mj-lt"/>
              </a:rPr>
              <a:t>6</a:t>
            </a:r>
          </a:p>
        </p:txBody>
      </p:sp>
      <p:sp>
        <p:nvSpPr>
          <p:cNvPr id="33" name="Line 28">
            <a:extLst>
              <a:ext uri="{FF2B5EF4-FFF2-40B4-BE49-F238E27FC236}">
                <a16:creationId xmlns:a16="http://schemas.microsoft.com/office/drawing/2014/main" id="{312CD55C-5FB0-4E6D-A463-1F16AF8532D2}"/>
              </a:ext>
            </a:extLst>
          </p:cNvPr>
          <p:cNvSpPr>
            <a:spLocks noChangeShapeType="1"/>
          </p:cNvSpPr>
          <p:nvPr/>
        </p:nvSpPr>
        <p:spPr bwMode="auto">
          <a:xfrm flipH="1">
            <a:off x="4323113" y="2292505"/>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4" name="Line 28">
            <a:extLst>
              <a:ext uri="{FF2B5EF4-FFF2-40B4-BE49-F238E27FC236}">
                <a16:creationId xmlns:a16="http://schemas.microsoft.com/office/drawing/2014/main" id="{3751E61F-80AC-4F1D-A479-3A6E82BAF3B1}"/>
              </a:ext>
            </a:extLst>
          </p:cNvPr>
          <p:cNvSpPr>
            <a:spLocks noChangeShapeType="1"/>
          </p:cNvSpPr>
          <p:nvPr/>
        </p:nvSpPr>
        <p:spPr bwMode="auto">
          <a:xfrm flipH="1">
            <a:off x="2092737" y="2570928"/>
            <a:ext cx="0" cy="786731"/>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5" name="Line 28">
            <a:extLst>
              <a:ext uri="{FF2B5EF4-FFF2-40B4-BE49-F238E27FC236}">
                <a16:creationId xmlns:a16="http://schemas.microsoft.com/office/drawing/2014/main" id="{68083D47-6964-4128-A1EE-ED0743EC6C88}"/>
              </a:ext>
            </a:extLst>
          </p:cNvPr>
          <p:cNvSpPr>
            <a:spLocks noChangeShapeType="1"/>
          </p:cNvSpPr>
          <p:nvPr/>
        </p:nvSpPr>
        <p:spPr bwMode="auto">
          <a:xfrm flipV="1">
            <a:off x="7139127" y="2999248"/>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
        <p:nvSpPr>
          <p:cNvPr id="36" name="Line 28">
            <a:extLst>
              <a:ext uri="{FF2B5EF4-FFF2-40B4-BE49-F238E27FC236}">
                <a16:creationId xmlns:a16="http://schemas.microsoft.com/office/drawing/2014/main" id="{46D2E657-231D-4CAB-8C61-68DEC1453E60}"/>
              </a:ext>
            </a:extLst>
          </p:cNvPr>
          <p:cNvSpPr>
            <a:spLocks noChangeShapeType="1"/>
          </p:cNvSpPr>
          <p:nvPr/>
        </p:nvSpPr>
        <p:spPr bwMode="auto">
          <a:xfrm flipV="1">
            <a:off x="10126311" y="2658256"/>
            <a:ext cx="1840" cy="314693"/>
          </a:xfrm>
          <a:prstGeom prst="line">
            <a:avLst/>
          </a:prstGeom>
          <a:noFill/>
          <a:ln w="22225" cap="sq">
            <a:solidFill>
              <a:schemeClr val="bg1">
                <a:lumMod val="65000"/>
              </a:schemeClr>
            </a:solidFill>
            <a:round/>
            <a:headEnd type="oval" w="med" len="med"/>
            <a:tailEnd type="triangle" w="med" len="med"/>
          </a:ln>
          <a:effectLst/>
        </p:spPr>
        <p:txBody>
          <a:bodyPr wrap="square"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913961" fontAlgn="auto">
              <a:spcBef>
                <a:spcPts val="0"/>
              </a:spcBef>
              <a:spcAft>
                <a:spcPts val="0"/>
              </a:spcAft>
              <a:defRPr/>
            </a:pPr>
            <a:endParaRPr lang="en-US" sz="1400" kern="0" dirty="0">
              <a:solidFill>
                <a:srgbClr val="1F497D"/>
              </a:solidFill>
              <a:latin typeface="+mj-lt"/>
            </a:endParaRPr>
          </a:p>
        </p:txBody>
      </p:sp>
    </p:spTree>
    <p:extLst>
      <p:ext uri="{BB962C8B-B14F-4D97-AF65-F5344CB8AC3E}">
        <p14:creationId xmlns:p14="http://schemas.microsoft.com/office/powerpoint/2010/main" val="345664111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96F1-FFCA-41FA-941E-E5C09BCA7CC3}"/>
              </a:ext>
            </a:extLst>
          </p:cNvPr>
          <p:cNvSpPr>
            <a:spLocks noGrp="1"/>
          </p:cNvSpPr>
          <p:nvPr>
            <p:ph type="title"/>
          </p:nvPr>
        </p:nvSpPr>
        <p:spPr>
          <a:xfrm>
            <a:off x="469900" y="442343"/>
            <a:ext cx="11252200" cy="334102"/>
          </a:xfrm>
        </p:spPr>
        <p:txBody>
          <a:bodyPr/>
          <a:lstStyle/>
          <a:p>
            <a:r>
              <a:rPr lang="en-US" dirty="0"/>
              <a:t>Current-State Capability /Change Management</a:t>
            </a:r>
          </a:p>
        </p:txBody>
      </p:sp>
      <p:grpSp>
        <p:nvGrpSpPr>
          <p:cNvPr id="2" name="Group 1">
            <a:extLst>
              <a:ext uri="{FF2B5EF4-FFF2-40B4-BE49-F238E27FC236}">
                <a16:creationId xmlns:a16="http://schemas.microsoft.com/office/drawing/2014/main" id="{E7A21B8F-4ED2-46A4-8680-2EDCE3257591}"/>
              </a:ext>
            </a:extLst>
          </p:cNvPr>
          <p:cNvGrpSpPr/>
          <p:nvPr/>
        </p:nvGrpSpPr>
        <p:grpSpPr>
          <a:xfrm>
            <a:off x="321088" y="1192608"/>
            <a:ext cx="11592615" cy="5353966"/>
            <a:chOff x="649252" y="4827051"/>
            <a:chExt cx="11032987" cy="2061490"/>
          </a:xfrm>
        </p:grpSpPr>
        <p:sp>
          <p:nvSpPr>
            <p:cNvPr id="5" name="Content Placeholder 2">
              <a:extLst>
                <a:ext uri="{FF2B5EF4-FFF2-40B4-BE49-F238E27FC236}">
                  <a16:creationId xmlns:a16="http://schemas.microsoft.com/office/drawing/2014/main" id="{D105B340-91FE-4713-91F6-44138599D7D9}"/>
                </a:ext>
              </a:extLst>
            </p:cNvPr>
            <p:cNvSpPr txBox="1">
              <a:spLocks/>
            </p:cNvSpPr>
            <p:nvPr/>
          </p:nvSpPr>
          <p:spPr>
            <a:xfrm>
              <a:off x="649252" y="4827051"/>
              <a:ext cx="4223913" cy="2061490"/>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Pain Points </a:t>
              </a:r>
            </a:p>
            <a:p>
              <a:pPr marL="344487" lvl="1" indent="-342900">
                <a:buFont typeface="Arial" panose="020B0604020202020204" pitchFamily="34" charset="0"/>
                <a:buAutoNum type="arabicPeriod"/>
              </a:pPr>
              <a:r>
                <a:rPr lang="en-US" altLang="ja-JP" sz="1400" dirty="0"/>
                <a:t>The current PCN system can cover only customer’s communication </a:t>
              </a:r>
            </a:p>
            <a:p>
              <a:pPr marL="1587" lvl="1" indent="0">
                <a:buNone/>
              </a:pPr>
              <a:r>
                <a:rPr lang="en-US" altLang="ja-JP" sz="1400" dirty="0"/>
                <a:t>-Not cover Ends to Ends of whole supply chain, supplier, internal document, plants, lot tracking , product status,…</a:t>
              </a:r>
            </a:p>
            <a:p>
              <a:pPr marL="1587" lvl="1" indent="0">
                <a:buNone/>
              </a:pPr>
              <a:r>
                <a:rPr lang="en-US" altLang="ja-JP" sz="1400" dirty="0"/>
                <a:t>-Not cover proto/pre-launch</a:t>
              </a:r>
            </a:p>
            <a:p>
              <a:pPr marL="1587" lvl="1" indent="0">
                <a:buNone/>
              </a:pPr>
              <a:r>
                <a:rPr lang="en-US" altLang="ja-JP" sz="1400" dirty="0"/>
                <a:t>- One way automated customer notification system (To many PCN form customer POV, not unreactive)</a:t>
              </a:r>
            </a:p>
            <a:p>
              <a:pPr marL="344487" lvl="1" indent="-342900">
                <a:buFont typeface="+mj-lt"/>
                <a:buAutoNum type="arabicPeriod" startAt="2"/>
              </a:pPr>
              <a:r>
                <a:rPr lang="en-US" sz="1400" dirty="0">
                  <a:latin typeface="+mj-lt"/>
                </a:rPr>
                <a:t>Need to align Different requirements by industry or customer, possible risk to miss notify customers</a:t>
              </a:r>
            </a:p>
            <a:p>
              <a:pPr marL="344487" lvl="1" indent="-342900">
                <a:buFont typeface="+mj-lt"/>
                <a:buAutoNum type="arabicPeriod" startAt="3"/>
              </a:pPr>
              <a:r>
                <a:rPr lang="en-US" altLang="ja-JP" sz="1400" dirty="0">
                  <a:latin typeface="+mj-lt"/>
                </a:rPr>
                <a:t>Customer</a:t>
              </a:r>
              <a:r>
                <a:rPr lang="ja-JP" altLang="en-US" sz="1400" dirty="0">
                  <a:latin typeface="+mj-lt"/>
                </a:rPr>
                <a:t> </a:t>
              </a:r>
              <a:r>
                <a:rPr lang="en-US" altLang="ja-JP" sz="1400" dirty="0">
                  <a:latin typeface="+mj-lt"/>
                </a:rPr>
                <a:t>face</a:t>
              </a:r>
              <a:r>
                <a:rPr lang="ja-JP" altLang="en-US" sz="1400" dirty="0">
                  <a:latin typeface="+mj-lt"/>
                </a:rPr>
                <a:t> </a:t>
              </a:r>
              <a:r>
                <a:rPr lang="en-US" altLang="ja-JP" sz="1400" dirty="0">
                  <a:latin typeface="+mj-lt"/>
                </a:rPr>
                <a:t>document</a:t>
              </a:r>
              <a:r>
                <a:rPr lang="ja-JP" altLang="en-US" sz="1400" dirty="0">
                  <a:latin typeface="+mj-lt"/>
                </a:rPr>
                <a:t> </a:t>
              </a:r>
              <a:r>
                <a:rPr lang="en-US" altLang="ja-JP" sz="1400" dirty="0">
                  <a:latin typeface="+mj-lt"/>
                </a:rPr>
                <a:t>by</a:t>
              </a:r>
              <a:r>
                <a:rPr lang="ja-JP" altLang="en-US" sz="1400" dirty="0">
                  <a:latin typeface="+mj-lt"/>
                </a:rPr>
                <a:t> </a:t>
              </a:r>
              <a:r>
                <a:rPr lang="en-US" altLang="ja-JP" sz="1400" dirty="0">
                  <a:latin typeface="+mj-lt"/>
                </a:rPr>
                <a:t>Current</a:t>
              </a:r>
              <a:r>
                <a:rPr lang="ja-JP" altLang="en-US" sz="1400" dirty="0">
                  <a:latin typeface="+mj-lt"/>
                </a:rPr>
                <a:t> </a:t>
              </a:r>
              <a:r>
                <a:rPr lang="en-US" altLang="ja-JP" sz="1400" dirty="0">
                  <a:latin typeface="+mj-lt"/>
                </a:rPr>
                <a:t>PCN</a:t>
              </a:r>
              <a:r>
                <a:rPr lang="ja-JP" altLang="en-US" sz="1400" dirty="0">
                  <a:latin typeface="+mj-lt"/>
                </a:rPr>
                <a:t> </a:t>
              </a:r>
              <a:r>
                <a:rPr lang="en-US" altLang="ja-JP" sz="1400" dirty="0">
                  <a:latin typeface="+mj-lt"/>
                </a:rPr>
                <a:t>system</a:t>
              </a:r>
              <a:r>
                <a:rPr lang="ja-JP" altLang="en-US" sz="1400" dirty="0">
                  <a:latin typeface="+mj-lt"/>
                </a:rPr>
                <a:t> </a:t>
              </a:r>
              <a:r>
                <a:rPr lang="en-US" altLang="ja-JP" sz="1400" dirty="0">
                  <a:latin typeface="+mj-lt"/>
                </a:rPr>
                <a:t>is</a:t>
              </a:r>
              <a:r>
                <a:rPr lang="ja-JP" altLang="en-US" sz="1400" dirty="0">
                  <a:latin typeface="+mj-lt"/>
                </a:rPr>
                <a:t> </a:t>
              </a:r>
              <a:r>
                <a:rPr lang="en-US" altLang="ja-JP" sz="1400" dirty="0">
                  <a:latin typeface="+mj-lt"/>
                </a:rPr>
                <a:t>only</a:t>
              </a:r>
              <a:r>
                <a:rPr lang="ja-JP" altLang="en-US" sz="1400" dirty="0">
                  <a:latin typeface="+mj-lt"/>
                </a:rPr>
                <a:t> </a:t>
              </a:r>
              <a:r>
                <a:rPr lang="en-US" altLang="ja-JP" sz="1400" dirty="0">
                  <a:latin typeface="+mj-lt"/>
                </a:rPr>
                <a:t>English</a:t>
              </a:r>
            </a:p>
            <a:p>
              <a:pPr marL="344487" lvl="1" indent="-342900">
                <a:buFont typeface="+mj-lt"/>
                <a:buAutoNum type="arabicPeriod" startAt="3"/>
              </a:pPr>
              <a:r>
                <a:rPr lang="en-US" altLang="ja-JP" sz="1400" dirty="0">
                  <a:latin typeface="+mj-lt"/>
                </a:rPr>
                <a:t>Dashboard for only limited authorized members , not user friendly (change record tracking)</a:t>
              </a:r>
            </a:p>
            <a:p>
              <a:pPr marL="1587" lvl="1" indent="0">
                <a:buNone/>
              </a:pPr>
              <a:endParaRPr lang="en-US" sz="1400" dirty="0">
                <a:latin typeface="+mj-lt"/>
              </a:endParaRPr>
            </a:p>
            <a:p>
              <a:pPr marL="1587" lvl="1" indent="0">
                <a:buNone/>
              </a:pPr>
              <a:endParaRPr lang="en-US" sz="1400" dirty="0">
                <a:latin typeface="+mj-lt"/>
              </a:endParaRPr>
            </a:p>
            <a:p>
              <a:pPr lvl="1"/>
              <a:endParaRPr lang="en-US" dirty="0">
                <a:latin typeface="+mj-lt"/>
              </a:endParaRPr>
            </a:p>
            <a:p>
              <a:pPr lvl="1"/>
              <a:endParaRPr lang="en-US" dirty="0">
                <a:latin typeface="+mj-lt"/>
              </a:endParaRPr>
            </a:p>
            <a:p>
              <a:pPr lvl="1"/>
              <a:endParaRPr lang="en-US" dirty="0">
                <a:latin typeface="+mj-lt"/>
              </a:endParaRPr>
            </a:p>
          </p:txBody>
        </p:sp>
        <p:sp>
          <p:nvSpPr>
            <p:cNvPr id="38" name="Content Placeholder 2">
              <a:extLst>
                <a:ext uri="{FF2B5EF4-FFF2-40B4-BE49-F238E27FC236}">
                  <a16:creationId xmlns:a16="http://schemas.microsoft.com/office/drawing/2014/main" id="{1CC05C0C-D496-46EE-A944-9B2BB98AFC14}"/>
                </a:ext>
              </a:extLst>
            </p:cNvPr>
            <p:cNvSpPr txBox="1">
              <a:spLocks/>
            </p:cNvSpPr>
            <p:nvPr/>
          </p:nvSpPr>
          <p:spPr>
            <a:xfrm>
              <a:off x="5095908" y="4827052"/>
              <a:ext cx="4223913" cy="2061489"/>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Improvement Opportunities  </a:t>
              </a:r>
            </a:p>
            <a:p>
              <a:pPr marL="344487" lvl="1" indent="-342900">
                <a:buFont typeface="Arial" panose="020B0604020202020204" pitchFamily="34" charset="0"/>
                <a:buAutoNum type="arabicPeriod"/>
              </a:pPr>
              <a:r>
                <a:rPr lang="en-US" sz="1400" dirty="0">
                  <a:latin typeface="+mj-lt"/>
                </a:rPr>
                <a:t>Change process by customer, industry or General/custom products, to cover end to end</a:t>
              </a:r>
            </a:p>
            <a:p>
              <a:pPr marL="344487" lvl="1" indent="-342900">
                <a:buFont typeface="Arial" panose="020B0604020202020204" pitchFamily="34" charset="0"/>
                <a:buAutoNum type="arabicPeriod"/>
              </a:pPr>
              <a:r>
                <a:rPr lang="en-US" sz="1400" dirty="0">
                  <a:latin typeface="+mj-lt"/>
                </a:rPr>
                <a:t>Consistent understanding for Molex change management policy</a:t>
              </a:r>
            </a:p>
            <a:p>
              <a:pPr marL="0" lvl="1" indent="0">
                <a:buNone/>
              </a:pPr>
              <a:endParaRPr lang="en-US" dirty="0">
                <a:latin typeface="+mj-lt"/>
              </a:endParaRPr>
            </a:p>
            <a:p>
              <a:pPr lvl="1"/>
              <a:endParaRPr lang="en-US" dirty="0">
                <a:latin typeface="+mj-lt"/>
              </a:endParaRPr>
            </a:p>
            <a:p>
              <a:pPr lvl="1"/>
              <a:endParaRPr lang="en-US" dirty="0">
                <a:latin typeface="+mj-lt"/>
              </a:endParaRPr>
            </a:p>
          </p:txBody>
        </p:sp>
        <p:sp>
          <p:nvSpPr>
            <p:cNvPr id="37" name="Content Placeholder 2">
              <a:extLst>
                <a:ext uri="{FF2B5EF4-FFF2-40B4-BE49-F238E27FC236}">
                  <a16:creationId xmlns:a16="http://schemas.microsoft.com/office/drawing/2014/main" id="{1368719C-95CF-444F-8171-A5A2E1569750}"/>
                </a:ext>
              </a:extLst>
            </p:cNvPr>
            <p:cNvSpPr txBox="1">
              <a:spLocks/>
            </p:cNvSpPr>
            <p:nvPr/>
          </p:nvSpPr>
          <p:spPr>
            <a:xfrm>
              <a:off x="9416117" y="4827052"/>
              <a:ext cx="2266122" cy="2061488"/>
            </a:xfrm>
            <a:prstGeom prst="rect">
              <a:avLst/>
            </a:prstGeom>
            <a:ln w="19050">
              <a:solidFill>
                <a:srgbClr val="9BD0EE"/>
              </a:solid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587" lvl="1" indent="0">
                <a:buFont typeface="Arial" panose="020B0604020202020204" pitchFamily="34" charset="0"/>
                <a:buNone/>
              </a:pPr>
              <a:r>
                <a:rPr lang="en-US" sz="1400" b="1" dirty="0">
                  <a:solidFill>
                    <a:schemeClr val="accent3"/>
                  </a:solidFill>
                  <a:latin typeface="+mj-lt"/>
                </a:rPr>
                <a:t>Technology / Data Utilized   </a:t>
              </a:r>
            </a:p>
            <a:p>
              <a:pPr marL="344487" lvl="1" indent="-342900">
                <a:buFont typeface="Arial" panose="020B0604020202020204" pitchFamily="34" charset="0"/>
                <a:buAutoNum type="arabicPeriod"/>
              </a:pPr>
              <a:r>
                <a:rPr lang="en-US" sz="1400" dirty="0">
                  <a:latin typeface="+mj-lt"/>
                </a:rPr>
                <a:t>SAP</a:t>
              </a:r>
            </a:p>
            <a:p>
              <a:pPr marL="344487" lvl="1" indent="-342900">
                <a:buFont typeface="Arial" panose="020B0604020202020204" pitchFamily="34" charset="0"/>
                <a:buAutoNum type="arabicPeriod"/>
              </a:pPr>
              <a:r>
                <a:rPr lang="en-US" sz="1400" dirty="0">
                  <a:latin typeface="+mj-lt"/>
                </a:rPr>
                <a:t>ECTR</a:t>
              </a:r>
            </a:p>
            <a:p>
              <a:pPr marL="1587" lvl="1" indent="0">
                <a:buNone/>
              </a:pPr>
              <a:endParaRPr lang="en-US" sz="1400" dirty="0">
                <a:latin typeface="+mj-lt"/>
              </a:endParaRPr>
            </a:p>
            <a:p>
              <a:pPr lvl="1"/>
              <a:endParaRPr lang="en-US" dirty="0">
                <a:latin typeface="+mj-lt"/>
              </a:endParaRPr>
            </a:p>
            <a:p>
              <a:pPr lvl="1"/>
              <a:endParaRPr lang="en-US" dirty="0">
                <a:latin typeface="+mj-lt"/>
              </a:endParaRPr>
            </a:p>
            <a:p>
              <a:pPr lvl="1"/>
              <a:endParaRPr lang="en-US" dirty="0">
                <a:latin typeface="+mj-lt"/>
              </a:endParaRPr>
            </a:p>
          </p:txBody>
        </p:sp>
      </p:grpSp>
    </p:spTree>
    <p:extLst>
      <p:ext uri="{BB962C8B-B14F-4D97-AF65-F5344CB8AC3E}">
        <p14:creationId xmlns:p14="http://schemas.microsoft.com/office/powerpoint/2010/main" val="55453406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t9zBQGYRhy7ODgv.vqUdQ"/>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250B804-2FDB-4928-98F0-F76F4A35E307}" vid="{34B986A3-8F99-4F88-AF27-8B60A5DA0FDB}"/>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a:tailEnd/>
        </a:ln>
      </a:spPr>
      <a:bodyPr lIns="0" tIns="0" rIns="0" bIns="0" anchor="ctr"/>
      <a:lstStyle>
        <a:defPPr algn="ctr" eaLnBrk="0" hangingPunct="0">
          <a:lnSpc>
            <a:spcPct val="80000"/>
          </a:lnSpc>
          <a:spcBef>
            <a:spcPct val="50000"/>
          </a:spcBef>
          <a:buClr>
            <a:srgbClr val="8099CC"/>
          </a:buClr>
          <a:buSzPct val="100000"/>
          <a:buFont typeface="Monotype Sorts" pitchFamily="2" charset="2"/>
          <a:buNone/>
          <a:defRPr sz="900" dirty="0">
            <a:latin typeface="+mj-lt"/>
            <a:ea typeface="Tahoma" pitchFamily="34" charset="0"/>
            <a:cs typeface="Tahoma" pitchFamily="34" charset="0"/>
          </a:defRPr>
        </a:defPPr>
      </a:lstStyle>
      <a:style>
        <a:lnRef idx="2">
          <a:schemeClr val="dk1"/>
        </a:lnRef>
        <a:fillRef idx="1">
          <a:schemeClr val="lt1"/>
        </a:fillRef>
        <a:effectRef idx="0">
          <a:schemeClr val="dk1"/>
        </a:effectRef>
        <a:fontRef idx="minor">
          <a:schemeClr val="dk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250B804-2FDB-4928-98F0-F76F4A35E307}" vid="{34B986A3-8F99-4F88-AF27-8B60A5DA0FDB}"/>
    </a:ext>
  </a:extLst>
</a:theme>
</file>

<file path=ppt/theme/theme3.xml><?xml version="1.0" encoding="utf-8"?>
<a:theme xmlns:a="http://schemas.openxmlformats.org/drawingml/2006/main" name="3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250B804-2FDB-4928-98F0-F76F4A35E307}" vid="{34B986A3-8F99-4F88-AF27-8B60A5DA0FDB}"/>
    </a:ext>
  </a:extLst>
</a:theme>
</file>

<file path=ppt/theme/theme4.xml><?xml version="1.0" encoding="utf-8"?>
<a:theme xmlns:a="http://schemas.openxmlformats.org/drawingml/2006/main" name="5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250B804-2FDB-4928-98F0-F76F4A35E307}" vid="{34B986A3-8F99-4F88-AF27-8B60A5DA0FD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E1330A9AC7EB14B95735387F077E344" ma:contentTypeVersion="7" ma:contentTypeDescription="Create a new document." ma:contentTypeScope="" ma:versionID="8639b36cc5731e761665059faf3b2c0c">
  <xsd:schema xmlns:xsd="http://www.w3.org/2001/XMLSchema" xmlns:xs="http://www.w3.org/2001/XMLSchema" xmlns:p="http://schemas.microsoft.com/office/2006/metadata/properties" xmlns:ns2="cceceb7d-57bc-460a-b2f3-c17de45f2e25" targetNamespace="http://schemas.microsoft.com/office/2006/metadata/properties" ma:root="true" ma:fieldsID="bb6e7a8bef8f9ba3840675053ea0eb60" ns2:_="">
    <xsd:import namespace="cceceb7d-57bc-460a-b2f3-c17de45f2e2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eceb7d-57bc-460a-b2f3-c17de45f2e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8A49276-427C-4FC7-9915-1A0891F02C04}">
  <ds:schemaRefs>
    <ds:schemaRef ds:uri="http://schemas.microsoft.com/sharepoint/v3/contenttype/forms"/>
  </ds:schemaRefs>
</ds:datastoreItem>
</file>

<file path=customXml/itemProps2.xml><?xml version="1.0" encoding="utf-8"?>
<ds:datastoreItem xmlns:ds="http://schemas.openxmlformats.org/officeDocument/2006/customXml" ds:itemID="{5AF3B7E4-DD44-42F6-A9F9-A478BD6D6ED3}">
  <ds:schemaRefs>
    <ds:schemaRef ds:uri="http://schemas.microsoft.com/office/2006/documentManagement/types"/>
    <ds:schemaRef ds:uri="f110fa1b-f325-4124-bd6d-de129665e93d"/>
    <ds:schemaRef ds:uri="http://purl.org/dc/elements/1.1/"/>
    <ds:schemaRef ds:uri="http://www.w3.org/XML/1998/namespace"/>
    <ds:schemaRef ds:uri="http://purl.org/dc/terms/"/>
    <ds:schemaRef ds:uri="http://purl.org/dc/dcmityp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8760A36E-C184-4F42-82BC-2DB9132A0710}"/>
</file>

<file path=docMetadata/LabelInfo.xml><?xml version="1.0" encoding="utf-8"?>
<clbl:labelList xmlns:clbl="http://schemas.microsoft.com/office/2020/mipLabelMetadata">
  <clbl:label id="{101ce67d-13f2-447a-bb65-0989b89dfdb4}" enabled="0" method="" siteId="{101ce67d-13f2-447a-bb65-0989b89dfdb4}" removed="1"/>
</clbl:labelList>
</file>

<file path=docProps/app.xml><?xml version="1.0" encoding="utf-8"?>
<Properties xmlns="http://schemas.openxmlformats.org/officeDocument/2006/extended-properties" xmlns:vt="http://schemas.openxmlformats.org/officeDocument/2006/docPropsVTypes">
  <Template>Deloitte_16_9_Onscreen_US</Template>
  <TotalTime>25807</TotalTime>
  <Words>16786</Words>
  <Application>Microsoft Macintosh PowerPoint</Application>
  <PresentationFormat>Widescreen</PresentationFormat>
  <Paragraphs>1815</Paragraphs>
  <Slides>52</Slides>
  <Notes>26</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52</vt:i4>
      </vt:variant>
    </vt:vector>
  </HeadingPairs>
  <TitlesOfParts>
    <vt:vector size="66" baseType="lpstr">
      <vt:lpstr>Arial</vt:lpstr>
      <vt:lpstr>Calibri</vt:lpstr>
      <vt:lpstr>Courier New</vt:lpstr>
      <vt:lpstr>Frutiger Next Pro Light</vt:lpstr>
      <vt:lpstr>Monotype Sorts</vt:lpstr>
      <vt:lpstr>Tahoma</vt:lpstr>
      <vt:lpstr>Verdana</vt:lpstr>
      <vt:lpstr>Wingdings</vt:lpstr>
      <vt:lpstr>Wingdings 2</vt:lpstr>
      <vt:lpstr>Deloitte_US_Onscreen</vt:lpstr>
      <vt:lpstr>1_Deloitte_US_Onscreen</vt:lpstr>
      <vt:lpstr>3_Deloitte_US_Onscreen</vt:lpstr>
      <vt:lpstr>5_Deloitte_US_Onscreen</vt:lpstr>
      <vt:lpstr>think-cell スライド</vt:lpstr>
      <vt:lpstr>PowerPoint Presentation</vt:lpstr>
      <vt:lpstr>PowerPoint Presentation</vt:lpstr>
      <vt:lpstr>Summary of Engineering Capability Maturity Model (1 of 2)  </vt:lpstr>
      <vt:lpstr>Summary of Engineering Capability Maturity Model (2 of 2)</vt:lpstr>
      <vt:lpstr>Current-State Requirements management and simulation</vt:lpstr>
      <vt:lpstr>Requirements Mgmt. &amp; Systems Engineering</vt:lpstr>
      <vt:lpstr>PowerPoint Presentation</vt:lpstr>
      <vt:lpstr>Current State Management Capability /Change Management</vt:lpstr>
      <vt:lpstr>Current-State Capability /Change Management</vt:lpstr>
      <vt:lpstr>PowerPoint Presentation</vt:lpstr>
      <vt:lpstr>PowerPoint Presentation</vt:lpstr>
      <vt:lpstr>Current-State Capability BOM Management</vt:lpstr>
      <vt:lpstr>Current-State Capability BOM Management</vt:lpstr>
      <vt:lpstr>PowerPoint Presentation</vt:lpstr>
      <vt:lpstr>PowerPoint Presentation</vt:lpstr>
      <vt:lpstr> CAD Design/Management</vt:lpstr>
      <vt:lpstr> CAD Design/Management</vt:lpstr>
      <vt:lpstr>PowerPoint Presentation</vt:lpstr>
      <vt:lpstr>PowerPoint Presentation</vt:lpstr>
      <vt:lpstr>Current-State Capability Product Quality Management</vt:lpstr>
      <vt:lpstr>1. Process control  1) Product development process</vt:lpstr>
      <vt:lpstr>Current-State Capability /Product Quality Management</vt:lpstr>
      <vt:lpstr>PowerPoint Presentation</vt:lpstr>
      <vt:lpstr>PowerPoint Presentation</vt:lpstr>
      <vt:lpstr>Current-State Capability Digital Product Development</vt:lpstr>
      <vt:lpstr>Digital Product Development</vt:lpstr>
      <vt:lpstr>PowerPoint Presentation</vt:lpstr>
      <vt:lpstr>Current-State Product Portfolio Management</vt:lpstr>
      <vt:lpstr>Project Management</vt:lpstr>
      <vt:lpstr>PowerPoint Presentation</vt:lpstr>
      <vt:lpstr>Portfolio Management and Technology Roadmaps</vt:lpstr>
      <vt:lpstr>PowerPoint Presentation</vt:lpstr>
      <vt:lpstr>Current-State Capability Variants and Options Management</vt:lpstr>
      <vt:lpstr>Current-State Capability Variants and Options Management</vt:lpstr>
      <vt:lpstr>PowerPoint Presentation</vt:lpstr>
      <vt:lpstr>Variants &amp; Options Management </vt:lpstr>
      <vt:lpstr>PowerPoint Presentation</vt:lpstr>
      <vt:lpstr>Current-State Capability Demonstration</vt:lpstr>
      <vt:lpstr>R&amp;D Talent</vt:lpstr>
      <vt:lpstr>PowerPoint Presentation</vt:lpstr>
      <vt:lpstr>PowerPoint Presentation</vt:lpstr>
      <vt:lpstr>Current-State Capability Product Cost Management</vt:lpstr>
      <vt:lpstr>Current-State Capability Product Cost Management</vt:lpstr>
      <vt:lpstr>PowerPoint Presentation</vt:lpstr>
      <vt:lpstr>PowerPoint Presentation</vt:lpstr>
      <vt:lpstr>Current-State Capability of Design for X</vt:lpstr>
      <vt:lpstr>PowerPoint Presentation</vt:lpstr>
      <vt:lpstr>PowerPoint Presentation</vt:lpstr>
      <vt:lpstr>Current-State Capability Product Development Collaboration (Big Bet. A New New.)</vt:lpstr>
      <vt:lpstr>Current-State Capability Product Development Collaboration (Big Bet. A New New.)</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meron, Esther (US - Tampa)</dc:creator>
  <cp:lastModifiedBy>Stenger, Joe</cp:lastModifiedBy>
  <cp:revision>1099</cp:revision>
  <cp:lastPrinted>2014-06-25T02:16:22Z</cp:lastPrinted>
  <dcterms:created xsi:type="dcterms:W3CDTF">2018-06-11T00:27:49Z</dcterms:created>
  <dcterms:modified xsi:type="dcterms:W3CDTF">2025-08-04T16:1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1330A9AC7EB14B95735387F077E344</vt:lpwstr>
  </property>
</Properties>
</file>